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5.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16.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7.xml" ContentType="application/vnd.openxmlformats-officedocument.presentationml.notesSlide+xml"/>
  <Override PartName="/ppt/tags/tag18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8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8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tags/tag186.xml" ContentType="application/vnd.openxmlformats-officedocument.presentationml.tags+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187.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tags/tag188.xml" ContentType="application/vnd.openxmlformats-officedocument.presentationml.tags+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tags/tag189.xml" ContentType="application/vnd.openxmlformats-officedocument.presentationml.tags+xml"/>
  <Override PartName="/ppt/notesSlides/notesSlide160.xml" ContentType="application/vnd.openxmlformats-officedocument.presentationml.notesSlide+xml"/>
  <Override PartName="/ppt/tags/tag190.xml" ContentType="application/vnd.openxmlformats-officedocument.presentationml.tags+xml"/>
  <Override PartName="/ppt/notesSlides/notesSlide161.xml" ContentType="application/vnd.openxmlformats-officedocument.presentationml.notesSlide+xml"/>
  <Override PartName="/ppt/tags/tag191.xml" ContentType="application/vnd.openxmlformats-officedocument.presentationml.tags+xml"/>
  <Override PartName="/ppt/notesSlides/notesSlide162.xml" ContentType="application/vnd.openxmlformats-officedocument.presentationml.notesSlide+xml"/>
  <Override PartName="/ppt/tags/tag192.xml" ContentType="application/vnd.openxmlformats-officedocument.presentationml.tags+xml"/>
  <Override PartName="/ppt/notesSlides/notesSlide163.xml" ContentType="application/vnd.openxmlformats-officedocument.presentationml.notesSlide+xml"/>
  <Override PartName="/ppt/tags/tag193.xml" ContentType="application/vnd.openxmlformats-officedocument.presentationml.tags+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tags/tag194.xml" ContentType="application/vnd.openxmlformats-officedocument.presentationml.tags+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tags/tag195.xml" ContentType="application/vnd.openxmlformats-officedocument.presentationml.tags+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tags/tag196.xml" ContentType="application/vnd.openxmlformats-officedocument.presentationml.tags+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6" r:id="rId6"/>
    <p:sldMasterId id="2147483720" r:id="rId7"/>
  </p:sldMasterIdLst>
  <p:notesMasterIdLst>
    <p:notesMasterId r:id="rId213"/>
  </p:notesMasterIdLst>
  <p:handoutMasterIdLst>
    <p:handoutMasterId r:id="rId214"/>
  </p:handoutMasterIdLst>
  <p:sldIdLst>
    <p:sldId id="1060" r:id="rId8"/>
    <p:sldId id="416" r:id="rId9"/>
    <p:sldId id="838" r:id="rId10"/>
    <p:sldId id="1059" r:id="rId11"/>
    <p:sldId id="1193" r:id="rId12"/>
    <p:sldId id="1194" r:id="rId13"/>
    <p:sldId id="803" r:id="rId14"/>
    <p:sldId id="1111" r:id="rId15"/>
    <p:sldId id="1076" r:id="rId16"/>
    <p:sldId id="1077" r:id="rId17"/>
    <p:sldId id="1093" r:id="rId18"/>
    <p:sldId id="804" r:id="rId19"/>
    <p:sldId id="805" r:id="rId20"/>
    <p:sldId id="367" r:id="rId21"/>
    <p:sldId id="807" r:id="rId22"/>
    <p:sldId id="1112" r:id="rId23"/>
    <p:sldId id="1113" r:id="rId24"/>
    <p:sldId id="839" r:id="rId25"/>
    <p:sldId id="1061" r:id="rId26"/>
    <p:sldId id="848" r:id="rId27"/>
    <p:sldId id="845" r:id="rId28"/>
    <p:sldId id="849" r:id="rId29"/>
    <p:sldId id="846" r:id="rId30"/>
    <p:sldId id="850" r:id="rId31"/>
    <p:sldId id="847" r:id="rId32"/>
    <p:sldId id="851" r:id="rId33"/>
    <p:sldId id="852" r:id="rId34"/>
    <p:sldId id="853" r:id="rId35"/>
    <p:sldId id="856" r:id="rId36"/>
    <p:sldId id="854" r:id="rId37"/>
    <p:sldId id="858" r:id="rId38"/>
    <p:sldId id="859" r:id="rId39"/>
    <p:sldId id="840" r:id="rId40"/>
    <p:sldId id="1062" r:id="rId41"/>
    <p:sldId id="1198" r:id="rId42"/>
    <p:sldId id="1197" r:id="rId43"/>
    <p:sldId id="1199" r:id="rId44"/>
    <p:sldId id="1200" r:id="rId45"/>
    <p:sldId id="402" r:id="rId46"/>
    <p:sldId id="809" r:id="rId47"/>
    <p:sldId id="811" r:id="rId48"/>
    <p:sldId id="810" r:id="rId49"/>
    <p:sldId id="357" r:id="rId50"/>
    <p:sldId id="815" r:id="rId51"/>
    <p:sldId id="812" r:id="rId52"/>
    <p:sldId id="1202" r:id="rId53"/>
    <p:sldId id="1201" r:id="rId54"/>
    <p:sldId id="1128" r:id="rId55"/>
    <p:sldId id="1135" r:id="rId56"/>
    <p:sldId id="1136" r:id="rId57"/>
    <p:sldId id="841" r:id="rId58"/>
    <p:sldId id="1063" r:id="rId59"/>
    <p:sldId id="1069" r:id="rId60"/>
    <p:sldId id="842" r:id="rId61"/>
    <p:sldId id="860" r:id="rId62"/>
    <p:sldId id="861" r:id="rId63"/>
    <p:sldId id="1068" r:id="rId64"/>
    <p:sldId id="816" r:id="rId65"/>
    <p:sldId id="834" r:id="rId66"/>
    <p:sldId id="862" r:id="rId67"/>
    <p:sldId id="1073" r:id="rId68"/>
    <p:sldId id="872" r:id="rId69"/>
    <p:sldId id="873" r:id="rId70"/>
    <p:sldId id="1081" r:id="rId71"/>
    <p:sldId id="1082" r:id="rId72"/>
    <p:sldId id="1226" r:id="rId73"/>
    <p:sldId id="1227" r:id="rId74"/>
    <p:sldId id="874" r:id="rId75"/>
    <p:sldId id="875" r:id="rId76"/>
    <p:sldId id="1203" r:id="rId77"/>
    <p:sldId id="1204" r:id="rId78"/>
    <p:sldId id="1205" r:id="rId79"/>
    <p:sldId id="1207" r:id="rId80"/>
    <p:sldId id="1206" r:id="rId81"/>
    <p:sldId id="1208" r:id="rId82"/>
    <p:sldId id="1210" r:id="rId83"/>
    <p:sldId id="1209" r:id="rId84"/>
    <p:sldId id="1211" r:id="rId85"/>
    <p:sldId id="1212" r:id="rId86"/>
    <p:sldId id="1214" r:id="rId87"/>
    <p:sldId id="1213" r:id="rId88"/>
    <p:sldId id="1225" r:id="rId89"/>
    <p:sldId id="876" r:id="rId90"/>
    <p:sldId id="1215" r:id="rId91"/>
    <p:sldId id="1216" r:id="rId92"/>
    <p:sldId id="1217" r:id="rId93"/>
    <p:sldId id="877" r:id="rId94"/>
    <p:sldId id="1218" r:id="rId95"/>
    <p:sldId id="1219" r:id="rId96"/>
    <p:sldId id="878" r:id="rId97"/>
    <p:sldId id="1220" r:id="rId98"/>
    <p:sldId id="1221" r:id="rId99"/>
    <p:sldId id="879" r:id="rId100"/>
    <p:sldId id="1223" r:id="rId101"/>
    <p:sldId id="1224" r:id="rId102"/>
    <p:sldId id="880" r:id="rId103"/>
    <p:sldId id="1222" r:id="rId104"/>
    <p:sldId id="1228" r:id="rId105"/>
    <p:sldId id="1084" r:id="rId106"/>
    <p:sldId id="1085" r:id="rId107"/>
    <p:sldId id="1083" r:id="rId108"/>
    <p:sldId id="863" r:id="rId109"/>
    <p:sldId id="865" r:id="rId110"/>
    <p:sldId id="864" r:id="rId111"/>
    <p:sldId id="917" r:id="rId112"/>
    <p:sldId id="866" r:id="rId113"/>
    <p:sldId id="919" r:id="rId114"/>
    <p:sldId id="867" r:id="rId115"/>
    <p:sldId id="868" r:id="rId116"/>
    <p:sldId id="1152" r:id="rId117"/>
    <p:sldId id="1153" r:id="rId118"/>
    <p:sldId id="1155" r:id="rId119"/>
    <p:sldId id="1156" r:id="rId120"/>
    <p:sldId id="1158" r:id="rId121"/>
    <p:sldId id="1229" r:id="rId122"/>
    <p:sldId id="1230" r:id="rId123"/>
    <p:sldId id="890" r:id="rId124"/>
    <p:sldId id="1161" r:id="rId125"/>
    <p:sldId id="869" r:id="rId126"/>
    <p:sldId id="870" r:id="rId127"/>
    <p:sldId id="871" r:id="rId128"/>
    <p:sldId id="477" r:id="rId129"/>
    <p:sldId id="1177" r:id="rId130"/>
    <p:sldId id="835" r:id="rId131"/>
    <p:sldId id="1175" r:id="rId132"/>
    <p:sldId id="1176" r:id="rId133"/>
    <p:sldId id="836" r:id="rId134"/>
    <p:sldId id="1231" r:id="rId135"/>
    <p:sldId id="1232" r:id="rId136"/>
    <p:sldId id="959" r:id="rId137"/>
    <p:sldId id="1064" r:id="rId138"/>
    <p:sldId id="964" r:id="rId139"/>
    <p:sldId id="965" r:id="rId140"/>
    <p:sldId id="966" r:id="rId141"/>
    <p:sldId id="967" r:id="rId142"/>
    <p:sldId id="968" r:id="rId143"/>
    <p:sldId id="961" r:id="rId144"/>
    <p:sldId id="962" r:id="rId145"/>
    <p:sldId id="1115" r:id="rId146"/>
    <p:sldId id="1116" r:id="rId147"/>
    <p:sldId id="1130" r:id="rId148"/>
    <p:sldId id="1131" r:id="rId149"/>
    <p:sldId id="1132" r:id="rId150"/>
    <p:sldId id="969" r:id="rId151"/>
    <p:sldId id="1065" r:id="rId152"/>
    <p:sldId id="974" r:id="rId153"/>
    <p:sldId id="970" r:id="rId154"/>
    <p:sldId id="971" r:id="rId155"/>
    <p:sldId id="973" r:id="rId156"/>
    <p:sldId id="978" r:id="rId157"/>
    <p:sldId id="1190" r:id="rId158"/>
    <p:sldId id="972" r:id="rId159"/>
    <p:sldId id="1195" r:id="rId160"/>
    <p:sldId id="1196" r:id="rId161"/>
    <p:sldId id="977" r:id="rId162"/>
    <p:sldId id="976" r:id="rId163"/>
    <p:sldId id="979" r:id="rId164"/>
    <p:sldId id="980" r:id="rId165"/>
    <p:sldId id="983" r:id="rId166"/>
    <p:sldId id="1097" r:id="rId167"/>
    <p:sldId id="1098" r:id="rId168"/>
    <p:sldId id="1099" r:id="rId169"/>
    <p:sldId id="1100" r:id="rId170"/>
    <p:sldId id="1101" r:id="rId171"/>
    <p:sldId id="1102" r:id="rId172"/>
    <p:sldId id="984" r:id="rId173"/>
    <p:sldId id="1066" r:id="rId174"/>
    <p:sldId id="1233" r:id="rId175"/>
    <p:sldId id="987" r:id="rId176"/>
    <p:sldId id="1234" r:id="rId177"/>
    <p:sldId id="988" r:id="rId178"/>
    <p:sldId id="989" r:id="rId179"/>
    <p:sldId id="990" r:id="rId180"/>
    <p:sldId id="991" r:id="rId181"/>
    <p:sldId id="992" r:id="rId182"/>
    <p:sldId id="993" r:id="rId183"/>
    <p:sldId id="994" r:id="rId184"/>
    <p:sldId id="996" r:id="rId185"/>
    <p:sldId id="998" r:id="rId186"/>
    <p:sldId id="1088" r:id="rId187"/>
    <p:sldId id="1001" r:id="rId188"/>
    <p:sldId id="1010" r:id="rId189"/>
    <p:sldId id="1067" r:id="rId190"/>
    <p:sldId id="1181" r:id="rId191"/>
    <p:sldId id="1004" r:id="rId192"/>
    <p:sldId id="1006" r:id="rId193"/>
    <p:sldId id="1005" r:id="rId194"/>
    <p:sldId id="1007" r:id="rId195"/>
    <p:sldId id="1011" r:id="rId196"/>
    <p:sldId id="1008" r:id="rId197"/>
    <p:sldId id="1009" r:id="rId198"/>
    <p:sldId id="1012" r:id="rId199"/>
    <p:sldId id="1017" r:id="rId200"/>
    <p:sldId id="1013" r:id="rId201"/>
    <p:sldId id="1014" r:id="rId202"/>
    <p:sldId id="1015" r:id="rId203"/>
    <p:sldId id="1182" r:id="rId204"/>
    <p:sldId id="1016" r:id="rId205"/>
    <p:sldId id="1019" r:id="rId206"/>
    <p:sldId id="1020" r:id="rId207"/>
    <p:sldId id="1021" r:id="rId208"/>
    <p:sldId id="1235" r:id="rId209"/>
    <p:sldId id="1236" r:id="rId210"/>
    <p:sldId id="1237" r:id="rId211"/>
    <p:sldId id="1238" r:id="rId212"/>
  </p:sldIdLst>
  <p:sldSz cx="12192000" cy="6858000"/>
  <p:notesSz cx="7099300" cy="10234613"/>
  <p:embeddedFontLst>
    <p:embeddedFont>
      <p:font typeface="MS PGothic" panose="020B0600070205080204" pitchFamily="34" charset="-128"/>
      <p:regular r:id="rId215"/>
    </p:embeddedFont>
    <p:embeddedFont>
      <p:font typeface="SimSun" panose="02010600030101010101" pitchFamily="2" charset="-122"/>
      <p:regular r:id="rId216"/>
    </p:embeddedFont>
    <p:embeddedFont>
      <p:font typeface="Arial Rounded MT Bold" panose="020F0704030504030204" pitchFamily="34" charset="0"/>
      <p:regular r:id="rId217"/>
    </p:embeddedFont>
    <p:embeddedFont>
      <p:font typeface="Microsoft YaHei" panose="020B0503020204020204" pitchFamily="34" charset="-122"/>
      <p:regular r:id="rId218"/>
      <p:bold r:id="rId219"/>
    </p:embeddedFont>
    <p:embeddedFont>
      <p:font typeface="MS PGothic" panose="020B0600070205080204" pitchFamily="34" charset="-128"/>
      <p:regular r:id="rId215"/>
    </p:embeddedFont>
    <p:embeddedFont>
      <p:font typeface="Ericsson Capital TT" panose="02000503000000020004" pitchFamily="2" charset="0"/>
      <p:regular r:id="rId220"/>
    </p:embeddedFont>
    <p:embeddedFont>
      <p:font typeface="DengXian" panose="020B0604020202020204" charset="0"/>
      <p:regular r:id="rId221"/>
      <p:bold r:id="rId222"/>
    </p:embeddedFont>
    <p:embeddedFont>
      <p:font typeface="Segoe UI" panose="020B0502040204020203" pitchFamily="34" charset="0"/>
      <p:regular r:id="rId223"/>
      <p:bold r:id="rId224"/>
      <p:italic r:id="rId225"/>
      <p:boldItalic r:id="rId226"/>
    </p:embeddedFont>
    <p:embeddedFont>
      <p:font typeface="Batang" panose="02030600000101010101" pitchFamily="18" charset="-127"/>
      <p:regular r:id="rId227"/>
    </p:embeddedFont>
    <p:embeddedFont>
      <p:font typeface="Calibri" panose="020F0502020204030204" pitchFamily="34" charset="0"/>
      <p:regular r:id="rId228"/>
      <p:bold r:id="rId229"/>
      <p:italic r:id="rId230"/>
      <p:boldItalic r:id="rId231"/>
    </p:embeddedFont>
  </p:embeddedFontLst>
  <p:custDataLst>
    <p:tags r:id="rId232"/>
  </p:custDataLst>
  <p:defaultTex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9386CF36-BFA9-4BB0-91B9-1B19D4CB6FFA}">
          <p14:sldIdLst>
            <p14:sldId id="1060"/>
            <p14:sldId id="416"/>
            <p14:sldId id="838"/>
            <p14:sldId id="1059"/>
            <p14:sldId id="1193"/>
            <p14:sldId id="1194"/>
            <p14:sldId id="803"/>
            <p14:sldId id="1111"/>
            <p14:sldId id="1076"/>
            <p14:sldId id="1077"/>
            <p14:sldId id="1093"/>
            <p14:sldId id="804"/>
            <p14:sldId id="805"/>
            <p14:sldId id="367"/>
            <p14:sldId id="807"/>
            <p14:sldId id="1112"/>
            <p14:sldId id="1113"/>
            <p14:sldId id="839"/>
            <p14:sldId id="1061"/>
            <p14:sldId id="848"/>
            <p14:sldId id="845"/>
            <p14:sldId id="849"/>
            <p14:sldId id="846"/>
            <p14:sldId id="850"/>
            <p14:sldId id="847"/>
            <p14:sldId id="851"/>
            <p14:sldId id="852"/>
            <p14:sldId id="853"/>
            <p14:sldId id="856"/>
            <p14:sldId id="854"/>
            <p14:sldId id="858"/>
            <p14:sldId id="859"/>
            <p14:sldId id="840"/>
            <p14:sldId id="1062"/>
            <p14:sldId id="1198"/>
            <p14:sldId id="1197"/>
            <p14:sldId id="1199"/>
            <p14:sldId id="1200"/>
            <p14:sldId id="402"/>
            <p14:sldId id="809"/>
            <p14:sldId id="811"/>
            <p14:sldId id="810"/>
            <p14:sldId id="357"/>
            <p14:sldId id="815"/>
            <p14:sldId id="812"/>
            <p14:sldId id="1202"/>
            <p14:sldId id="1201"/>
            <p14:sldId id="1128"/>
            <p14:sldId id="1135"/>
            <p14:sldId id="1136"/>
            <p14:sldId id="841"/>
            <p14:sldId id="1063"/>
            <p14:sldId id="1069"/>
            <p14:sldId id="842"/>
            <p14:sldId id="860"/>
            <p14:sldId id="861"/>
            <p14:sldId id="1068"/>
            <p14:sldId id="816"/>
            <p14:sldId id="834"/>
            <p14:sldId id="862"/>
            <p14:sldId id="1073"/>
            <p14:sldId id="872"/>
            <p14:sldId id="873"/>
            <p14:sldId id="1081"/>
            <p14:sldId id="1082"/>
            <p14:sldId id="1226"/>
            <p14:sldId id="1227"/>
            <p14:sldId id="874"/>
            <p14:sldId id="875"/>
            <p14:sldId id="1203"/>
            <p14:sldId id="1204"/>
            <p14:sldId id="1205"/>
            <p14:sldId id="1207"/>
            <p14:sldId id="1206"/>
            <p14:sldId id="1208"/>
            <p14:sldId id="1210"/>
            <p14:sldId id="1209"/>
            <p14:sldId id="1211"/>
            <p14:sldId id="1212"/>
            <p14:sldId id="1214"/>
            <p14:sldId id="1213"/>
            <p14:sldId id="1225"/>
            <p14:sldId id="876"/>
            <p14:sldId id="1215"/>
            <p14:sldId id="1216"/>
            <p14:sldId id="1217"/>
            <p14:sldId id="877"/>
            <p14:sldId id="1218"/>
            <p14:sldId id="1219"/>
            <p14:sldId id="878"/>
            <p14:sldId id="1220"/>
            <p14:sldId id="1221"/>
            <p14:sldId id="879"/>
            <p14:sldId id="1223"/>
            <p14:sldId id="1224"/>
            <p14:sldId id="880"/>
            <p14:sldId id="1222"/>
            <p14:sldId id="1228"/>
            <p14:sldId id="1084"/>
            <p14:sldId id="1085"/>
            <p14:sldId id="1083"/>
            <p14:sldId id="863"/>
            <p14:sldId id="865"/>
            <p14:sldId id="864"/>
            <p14:sldId id="917"/>
            <p14:sldId id="866"/>
            <p14:sldId id="919"/>
            <p14:sldId id="867"/>
            <p14:sldId id="868"/>
            <p14:sldId id="1152"/>
            <p14:sldId id="1153"/>
            <p14:sldId id="1155"/>
            <p14:sldId id="1156"/>
            <p14:sldId id="1158"/>
            <p14:sldId id="1229"/>
            <p14:sldId id="1230"/>
            <p14:sldId id="890"/>
            <p14:sldId id="1161"/>
            <p14:sldId id="869"/>
            <p14:sldId id="870"/>
            <p14:sldId id="871"/>
            <p14:sldId id="477"/>
            <p14:sldId id="1177"/>
            <p14:sldId id="835"/>
            <p14:sldId id="1175"/>
            <p14:sldId id="1176"/>
            <p14:sldId id="836"/>
            <p14:sldId id="1231"/>
            <p14:sldId id="1232"/>
            <p14:sldId id="959"/>
            <p14:sldId id="1064"/>
            <p14:sldId id="964"/>
            <p14:sldId id="965"/>
            <p14:sldId id="966"/>
            <p14:sldId id="967"/>
            <p14:sldId id="968"/>
            <p14:sldId id="961"/>
            <p14:sldId id="962"/>
            <p14:sldId id="1115"/>
            <p14:sldId id="1116"/>
            <p14:sldId id="1130"/>
            <p14:sldId id="1131"/>
            <p14:sldId id="1132"/>
            <p14:sldId id="969"/>
            <p14:sldId id="1065"/>
            <p14:sldId id="974"/>
            <p14:sldId id="970"/>
            <p14:sldId id="971"/>
            <p14:sldId id="973"/>
            <p14:sldId id="978"/>
            <p14:sldId id="1190"/>
            <p14:sldId id="972"/>
            <p14:sldId id="1195"/>
            <p14:sldId id="1196"/>
            <p14:sldId id="977"/>
            <p14:sldId id="976"/>
            <p14:sldId id="979"/>
            <p14:sldId id="980"/>
            <p14:sldId id="983"/>
            <p14:sldId id="1097"/>
            <p14:sldId id="1098"/>
            <p14:sldId id="1099"/>
            <p14:sldId id="1100"/>
            <p14:sldId id="1101"/>
            <p14:sldId id="1102"/>
            <p14:sldId id="984"/>
            <p14:sldId id="1066"/>
            <p14:sldId id="1233"/>
            <p14:sldId id="987"/>
            <p14:sldId id="1234"/>
            <p14:sldId id="988"/>
            <p14:sldId id="989"/>
            <p14:sldId id="990"/>
            <p14:sldId id="991"/>
            <p14:sldId id="992"/>
            <p14:sldId id="993"/>
            <p14:sldId id="994"/>
            <p14:sldId id="996"/>
            <p14:sldId id="998"/>
            <p14:sldId id="1088"/>
            <p14:sldId id="1001"/>
            <p14:sldId id="1010"/>
            <p14:sldId id="1067"/>
            <p14:sldId id="1181"/>
            <p14:sldId id="1004"/>
            <p14:sldId id="1006"/>
            <p14:sldId id="1005"/>
            <p14:sldId id="1007"/>
            <p14:sldId id="1011"/>
            <p14:sldId id="1008"/>
            <p14:sldId id="1009"/>
            <p14:sldId id="1012"/>
            <p14:sldId id="1017"/>
            <p14:sldId id="1013"/>
            <p14:sldId id="1014"/>
            <p14:sldId id="1015"/>
            <p14:sldId id="1182"/>
            <p14:sldId id="1016"/>
            <p14:sldId id="1019"/>
            <p14:sldId id="1020"/>
            <p14:sldId id="1021"/>
            <p14:sldId id="1235"/>
            <p14:sldId id="1236"/>
            <p14:sldId id="1237"/>
            <p14:sldId id="1238"/>
          </p14:sldIdLst>
        </p14:section>
      </p14:sectionLst>
    </p:ext>
    <p:ext uri="{EFAFB233-063F-42B5-8137-9DF3F51BA10A}">
      <p15:sldGuideLst xmlns:p15="http://schemas.microsoft.com/office/powerpoint/2012/main">
        <p15:guide id="1" orient="horz" pos="1136">
          <p15:clr>
            <a:srgbClr val="A4A3A4"/>
          </p15:clr>
        </p15:guide>
        <p15:guide id="2" orient="horz" pos="4110">
          <p15:clr>
            <a:srgbClr val="A4A3A4"/>
          </p15:clr>
        </p15:guide>
        <p15:guide id="3" orient="horz" pos="151">
          <p15:clr>
            <a:srgbClr val="A4A3A4"/>
          </p15:clr>
        </p15:guide>
        <p15:guide id="4" orient="horz" pos="2449">
          <p15:clr>
            <a:srgbClr val="A4A3A4"/>
          </p15:clr>
        </p15:guide>
        <p15:guide id="5" orient="horz" pos="3566">
          <p15:clr>
            <a:srgbClr val="A4A3A4"/>
          </p15:clr>
        </p15:guide>
        <p15:guide id="6" orient="horz" pos="2545">
          <p15:clr>
            <a:srgbClr val="A4A3A4"/>
          </p15:clr>
        </p15:guide>
        <p15:guide id="7" orient="horz" pos="3845">
          <p15:clr>
            <a:srgbClr val="A4A3A4"/>
          </p15:clr>
        </p15:guide>
        <p15:guide id="8" pos="6625">
          <p15:clr>
            <a:srgbClr val="A4A3A4"/>
          </p15:clr>
        </p15:guide>
        <p15:guide id="9" pos="2588">
          <p15:clr>
            <a:srgbClr val="A4A3A4"/>
          </p15:clr>
        </p15:guide>
        <p15:guide id="10" pos="5091">
          <p15:clr>
            <a:srgbClr val="A4A3A4"/>
          </p15:clr>
        </p15:guide>
        <p15:guide id="11" pos="4969">
          <p15:clr>
            <a:srgbClr val="A4A3A4"/>
          </p15:clr>
        </p15:guide>
        <p15:guide id="12" pos="3779">
          <p15:clr>
            <a:srgbClr val="A4A3A4"/>
          </p15:clr>
        </p15:guide>
        <p15:guide id="13" pos="3901">
          <p15:clr>
            <a:srgbClr val="A4A3A4"/>
          </p15:clr>
        </p15:guide>
        <p15:guide id="14" pos="331">
          <p15:clr>
            <a:srgbClr val="A4A3A4"/>
          </p15:clr>
        </p15:guide>
        <p15:guide id="15" pos="2712">
          <p15:clr>
            <a:srgbClr val="A4A3A4"/>
          </p15:clr>
        </p15:guide>
        <p15:guide id="16" pos="3839">
          <p15:clr>
            <a:srgbClr val="A4A3A4"/>
          </p15:clr>
        </p15:guide>
        <p15:guide id="17" pos="3568">
          <p15:clr>
            <a:srgbClr val="A4A3A4"/>
          </p15:clr>
        </p15:guide>
        <p15:guide id="18" pos="4112">
          <p15:clr>
            <a:srgbClr val="A4A3A4"/>
          </p15:clr>
        </p15:guide>
        <p15:guide id="19" pos="7348">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1E1"/>
    <a:srgbClr val="11C1FF"/>
    <a:srgbClr val="FFFF99"/>
    <a:srgbClr val="FFFFCC"/>
    <a:srgbClr val="EBF4FF"/>
    <a:srgbClr val="FFFFFF"/>
    <a:srgbClr val="9FB7D3"/>
    <a:srgbClr val="8BC5FF"/>
    <a:srgbClr val="99CCFF"/>
    <a:srgbClr val="6A8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89" autoAdjust="0"/>
    <p:restoredTop sz="94259" autoAdjust="0"/>
  </p:normalViewPr>
  <p:slideViewPr>
    <p:cSldViewPr snapToGrid="0" snapToObjects="1">
      <p:cViewPr>
        <p:scale>
          <a:sx n="140" d="100"/>
          <a:sy n="140" d="100"/>
        </p:scale>
        <p:origin x="-330" y="-582"/>
      </p:cViewPr>
      <p:guideLst>
        <p:guide orient="horz" pos="1136"/>
        <p:guide orient="horz" pos="4110"/>
        <p:guide orient="horz" pos="151"/>
        <p:guide orient="horz" pos="2449"/>
        <p:guide orient="horz" pos="3566"/>
        <p:guide orient="horz" pos="2545"/>
        <p:guide orient="horz" pos="3845"/>
        <p:guide pos="6625"/>
        <p:guide pos="2588"/>
        <p:guide pos="5091"/>
        <p:guide pos="4969"/>
        <p:guide pos="3779"/>
        <p:guide pos="3901"/>
        <p:guide pos="331"/>
        <p:guide pos="2712"/>
        <p:guide pos="3839"/>
        <p:guide pos="3568"/>
        <p:guide pos="4112"/>
        <p:guide pos="7348"/>
      </p:guideLst>
    </p:cSldViewPr>
  </p:slideViewPr>
  <p:notesTextViewPr>
    <p:cViewPr>
      <p:scale>
        <a:sx n="100" d="100"/>
        <a:sy n="100" d="100"/>
      </p:scale>
      <p:origin x="0" y="0"/>
    </p:cViewPr>
  </p:notesTextViewPr>
  <p:sorterViewPr>
    <p:cViewPr varScale="1">
      <p:scale>
        <a:sx n="1" d="1"/>
        <a:sy n="1" d="1"/>
      </p:scale>
      <p:origin x="0" y="-109044"/>
    </p:cViewPr>
  </p:sorterViewPr>
  <p:notesViewPr>
    <p:cSldViewPr snapToGrid="0" snapToObjects="1">
      <p:cViewPr varScale="1">
        <p:scale>
          <a:sx n="78" d="100"/>
          <a:sy n="78" d="100"/>
        </p:scale>
        <p:origin x="1098" y="90"/>
      </p:cViewPr>
      <p:guideLst>
        <p:guide orient="horz" pos="3223"/>
        <p:guide pos="2235"/>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59" Type="http://schemas.openxmlformats.org/officeDocument/2006/relationships/slide" Target="slides/slide152.xml"/><Relationship Id="rId170" Type="http://schemas.openxmlformats.org/officeDocument/2006/relationships/slide" Target="slides/slide163.xml"/><Relationship Id="rId191" Type="http://schemas.openxmlformats.org/officeDocument/2006/relationships/slide" Target="slides/slide184.xml"/><Relationship Id="rId205" Type="http://schemas.openxmlformats.org/officeDocument/2006/relationships/slide" Target="slides/slide198.xml"/><Relationship Id="rId226" Type="http://schemas.openxmlformats.org/officeDocument/2006/relationships/font" Target="fonts/font12.fntdata"/><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149" Type="http://schemas.openxmlformats.org/officeDocument/2006/relationships/slide" Target="slides/slide142.xml"/><Relationship Id="rId5" Type="http://schemas.openxmlformats.org/officeDocument/2006/relationships/customXml" Target="../customXml/item5.xml"/><Relationship Id="rId95" Type="http://schemas.openxmlformats.org/officeDocument/2006/relationships/slide" Target="slides/slide88.xml"/><Relationship Id="rId160" Type="http://schemas.openxmlformats.org/officeDocument/2006/relationships/slide" Target="slides/slide153.xml"/><Relationship Id="rId181" Type="http://schemas.openxmlformats.org/officeDocument/2006/relationships/slide" Target="slides/slide174.xml"/><Relationship Id="rId216" Type="http://schemas.openxmlformats.org/officeDocument/2006/relationships/font" Target="fonts/font2.fntdata"/><Relationship Id="rId237" Type="http://schemas.microsoft.com/office/2015/10/relationships/revisionInfo" Target="revisionInfo.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85" Type="http://schemas.openxmlformats.org/officeDocument/2006/relationships/slide" Target="slides/slide78.xml"/><Relationship Id="rId150" Type="http://schemas.openxmlformats.org/officeDocument/2006/relationships/slide" Target="slides/slide143.xml"/><Relationship Id="rId171" Type="http://schemas.openxmlformats.org/officeDocument/2006/relationships/slide" Target="slides/slide164.xml"/><Relationship Id="rId192" Type="http://schemas.openxmlformats.org/officeDocument/2006/relationships/slide" Target="slides/slide185.xml"/><Relationship Id="rId206" Type="http://schemas.openxmlformats.org/officeDocument/2006/relationships/slide" Target="slides/slide199.xml"/><Relationship Id="rId227" Type="http://schemas.openxmlformats.org/officeDocument/2006/relationships/font" Target="fonts/font13.fntdata"/><Relationship Id="rId12" Type="http://schemas.openxmlformats.org/officeDocument/2006/relationships/slide" Target="slides/slide5.xml"/><Relationship Id="rId33" Type="http://schemas.openxmlformats.org/officeDocument/2006/relationships/slide" Target="slides/slide26.xml"/><Relationship Id="rId108" Type="http://schemas.openxmlformats.org/officeDocument/2006/relationships/slide" Target="slides/slide101.xml"/><Relationship Id="rId129" Type="http://schemas.openxmlformats.org/officeDocument/2006/relationships/slide" Target="slides/slide122.xml"/><Relationship Id="rId54" Type="http://schemas.openxmlformats.org/officeDocument/2006/relationships/slide" Target="slides/slide47.xml"/><Relationship Id="rId75" Type="http://schemas.openxmlformats.org/officeDocument/2006/relationships/slide" Target="slides/slide68.xml"/><Relationship Id="rId96" Type="http://schemas.openxmlformats.org/officeDocument/2006/relationships/slide" Target="slides/slide89.xml"/><Relationship Id="rId140" Type="http://schemas.openxmlformats.org/officeDocument/2006/relationships/slide" Target="slides/slide133.xml"/><Relationship Id="rId161" Type="http://schemas.openxmlformats.org/officeDocument/2006/relationships/slide" Target="slides/slide154.xml"/><Relationship Id="rId182" Type="http://schemas.openxmlformats.org/officeDocument/2006/relationships/slide" Target="slides/slide175.xml"/><Relationship Id="rId217" Type="http://schemas.openxmlformats.org/officeDocument/2006/relationships/font" Target="fonts/font3.fntdata"/><Relationship Id="rId6" Type="http://schemas.openxmlformats.org/officeDocument/2006/relationships/slideMaster" Target="slideMasters/slideMaster1.xml"/><Relationship Id="rId23" Type="http://schemas.openxmlformats.org/officeDocument/2006/relationships/slide" Target="slides/slide16.xml"/><Relationship Id="rId119" Type="http://schemas.openxmlformats.org/officeDocument/2006/relationships/slide" Target="slides/slide112.xml"/><Relationship Id="rId44" Type="http://schemas.openxmlformats.org/officeDocument/2006/relationships/slide" Target="slides/slide37.xml"/><Relationship Id="rId65" Type="http://schemas.openxmlformats.org/officeDocument/2006/relationships/slide" Target="slides/slide58.xml"/><Relationship Id="rId86" Type="http://schemas.openxmlformats.org/officeDocument/2006/relationships/slide" Target="slides/slide79.xml"/><Relationship Id="rId130" Type="http://schemas.openxmlformats.org/officeDocument/2006/relationships/slide" Target="slides/slide123.xml"/><Relationship Id="rId151" Type="http://schemas.openxmlformats.org/officeDocument/2006/relationships/slide" Target="slides/slide144.xml"/><Relationship Id="rId172" Type="http://schemas.openxmlformats.org/officeDocument/2006/relationships/slide" Target="slides/slide165.xml"/><Relationship Id="rId193" Type="http://schemas.openxmlformats.org/officeDocument/2006/relationships/slide" Target="slides/slide186.xml"/><Relationship Id="rId207" Type="http://schemas.openxmlformats.org/officeDocument/2006/relationships/slide" Target="slides/slide200.xml"/><Relationship Id="rId228" Type="http://schemas.openxmlformats.org/officeDocument/2006/relationships/font" Target="fonts/font14.fntdata"/><Relationship Id="rId13" Type="http://schemas.openxmlformats.org/officeDocument/2006/relationships/slide" Target="slides/slide6.xml"/><Relationship Id="rId109" Type="http://schemas.openxmlformats.org/officeDocument/2006/relationships/slide" Target="slides/slide102.xml"/><Relationship Id="rId34" Type="http://schemas.openxmlformats.org/officeDocument/2006/relationships/slide" Target="slides/slide27.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20" Type="http://schemas.openxmlformats.org/officeDocument/2006/relationships/slide" Target="slides/slide113.xml"/><Relationship Id="rId141" Type="http://schemas.openxmlformats.org/officeDocument/2006/relationships/slide" Target="slides/slide134.xml"/><Relationship Id="rId7" Type="http://schemas.openxmlformats.org/officeDocument/2006/relationships/slideMaster" Target="slideMasters/slideMaster2.xml"/><Relationship Id="rId162" Type="http://schemas.openxmlformats.org/officeDocument/2006/relationships/slide" Target="slides/slide155.xml"/><Relationship Id="rId183" Type="http://schemas.openxmlformats.org/officeDocument/2006/relationships/slide" Target="slides/slide176.xml"/><Relationship Id="rId218" Type="http://schemas.openxmlformats.org/officeDocument/2006/relationships/font" Target="fonts/font4.fntdata"/><Relationship Id="rId24" Type="http://schemas.openxmlformats.org/officeDocument/2006/relationships/slide" Target="slides/slide17.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31" Type="http://schemas.openxmlformats.org/officeDocument/2006/relationships/slide" Target="slides/slide124.xml"/><Relationship Id="rId152" Type="http://schemas.openxmlformats.org/officeDocument/2006/relationships/slide" Target="slides/slide145.xml"/><Relationship Id="rId173" Type="http://schemas.openxmlformats.org/officeDocument/2006/relationships/slide" Target="slides/slide166.xml"/><Relationship Id="rId194" Type="http://schemas.openxmlformats.org/officeDocument/2006/relationships/slide" Target="slides/slide187.xml"/><Relationship Id="rId208" Type="http://schemas.openxmlformats.org/officeDocument/2006/relationships/slide" Target="slides/slide201.xml"/><Relationship Id="rId229" Type="http://schemas.openxmlformats.org/officeDocument/2006/relationships/font" Target="fonts/font15.fntdata"/><Relationship Id="rId14" Type="http://schemas.openxmlformats.org/officeDocument/2006/relationships/slide" Target="slides/slide7.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8" Type="http://schemas.openxmlformats.org/officeDocument/2006/relationships/slide" Target="slides/slide1.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163" Type="http://schemas.openxmlformats.org/officeDocument/2006/relationships/slide" Target="slides/slide156.xml"/><Relationship Id="rId184" Type="http://schemas.openxmlformats.org/officeDocument/2006/relationships/slide" Target="slides/slide177.xml"/><Relationship Id="rId219" Type="http://schemas.openxmlformats.org/officeDocument/2006/relationships/font" Target="fonts/font5.fntdata"/><Relationship Id="rId230" Type="http://schemas.openxmlformats.org/officeDocument/2006/relationships/font" Target="fonts/font16.fntdata"/><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74" Type="http://schemas.openxmlformats.org/officeDocument/2006/relationships/slide" Target="slides/slide167.xml"/><Relationship Id="rId195" Type="http://schemas.openxmlformats.org/officeDocument/2006/relationships/slide" Target="slides/slide188.xml"/><Relationship Id="rId209" Type="http://schemas.openxmlformats.org/officeDocument/2006/relationships/slide" Target="slides/slide202.xml"/><Relationship Id="rId190" Type="http://schemas.openxmlformats.org/officeDocument/2006/relationships/slide" Target="slides/slide183.xml"/><Relationship Id="rId204" Type="http://schemas.openxmlformats.org/officeDocument/2006/relationships/slide" Target="slides/slide197.xml"/><Relationship Id="rId220" Type="http://schemas.openxmlformats.org/officeDocument/2006/relationships/font" Target="fonts/font6.fntdata"/><Relationship Id="rId225" Type="http://schemas.openxmlformats.org/officeDocument/2006/relationships/font" Target="fonts/font11.fntdata"/><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48" Type="http://schemas.openxmlformats.org/officeDocument/2006/relationships/slide" Target="slides/slide141.xml"/><Relationship Id="rId164" Type="http://schemas.openxmlformats.org/officeDocument/2006/relationships/slide" Target="slides/slide157.xml"/><Relationship Id="rId169" Type="http://schemas.openxmlformats.org/officeDocument/2006/relationships/slide" Target="slides/slide162.xml"/><Relationship Id="rId185" Type="http://schemas.openxmlformats.org/officeDocument/2006/relationships/slide" Target="slides/slide178.xml"/><Relationship Id="rId4" Type="http://schemas.openxmlformats.org/officeDocument/2006/relationships/customXml" Target="../customXml/item4.xml"/><Relationship Id="rId9" Type="http://schemas.openxmlformats.org/officeDocument/2006/relationships/slide" Target="slides/slide2.xml"/><Relationship Id="rId180" Type="http://schemas.openxmlformats.org/officeDocument/2006/relationships/slide" Target="slides/slide173.xml"/><Relationship Id="rId210" Type="http://schemas.openxmlformats.org/officeDocument/2006/relationships/slide" Target="slides/slide203.xml"/><Relationship Id="rId215" Type="http://schemas.openxmlformats.org/officeDocument/2006/relationships/font" Target="fonts/font1.fntdata"/><Relationship Id="rId236" Type="http://schemas.openxmlformats.org/officeDocument/2006/relationships/tableStyles" Target="tableStyles.xml"/><Relationship Id="rId26" Type="http://schemas.openxmlformats.org/officeDocument/2006/relationships/slide" Target="slides/slide19.xml"/><Relationship Id="rId231" Type="http://schemas.openxmlformats.org/officeDocument/2006/relationships/font" Target="fonts/font17.fntdata"/><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75" Type="http://schemas.openxmlformats.org/officeDocument/2006/relationships/slide" Target="slides/slide168.xml"/><Relationship Id="rId196" Type="http://schemas.openxmlformats.org/officeDocument/2006/relationships/slide" Target="slides/slide189.xml"/><Relationship Id="rId200" Type="http://schemas.openxmlformats.org/officeDocument/2006/relationships/slide" Target="slides/slide193.xml"/><Relationship Id="rId16" Type="http://schemas.openxmlformats.org/officeDocument/2006/relationships/slide" Target="slides/slide9.xml"/><Relationship Id="rId221" Type="http://schemas.openxmlformats.org/officeDocument/2006/relationships/font" Target="fonts/font7.fntdata"/><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90" Type="http://schemas.openxmlformats.org/officeDocument/2006/relationships/slide" Target="slides/slide83.xml"/><Relationship Id="rId165" Type="http://schemas.openxmlformats.org/officeDocument/2006/relationships/slide" Target="slides/slide158.xml"/><Relationship Id="rId186" Type="http://schemas.openxmlformats.org/officeDocument/2006/relationships/slide" Target="slides/slide179.xml"/><Relationship Id="rId211" Type="http://schemas.openxmlformats.org/officeDocument/2006/relationships/slide" Target="slides/slide204.xml"/><Relationship Id="rId232" Type="http://schemas.openxmlformats.org/officeDocument/2006/relationships/tags" Target="tags/tag1.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80" Type="http://schemas.openxmlformats.org/officeDocument/2006/relationships/slide" Target="slides/slide73.xml"/><Relationship Id="rId155" Type="http://schemas.openxmlformats.org/officeDocument/2006/relationships/slide" Target="slides/slide148.xml"/><Relationship Id="rId176" Type="http://schemas.openxmlformats.org/officeDocument/2006/relationships/slide" Target="slides/slide169.xml"/><Relationship Id="rId197" Type="http://schemas.openxmlformats.org/officeDocument/2006/relationships/slide" Target="slides/slide190.xml"/><Relationship Id="rId201" Type="http://schemas.openxmlformats.org/officeDocument/2006/relationships/slide" Target="slides/slide194.xml"/><Relationship Id="rId222" Type="http://schemas.openxmlformats.org/officeDocument/2006/relationships/font" Target="fonts/font8.fntdata"/><Relationship Id="rId17" Type="http://schemas.openxmlformats.org/officeDocument/2006/relationships/slide" Target="slides/slide10.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24" Type="http://schemas.openxmlformats.org/officeDocument/2006/relationships/slide" Target="slides/slide117.xml"/><Relationship Id="rId70" Type="http://schemas.openxmlformats.org/officeDocument/2006/relationships/slide" Target="slides/slide63.xml"/><Relationship Id="rId91" Type="http://schemas.openxmlformats.org/officeDocument/2006/relationships/slide" Target="slides/slide84.xml"/><Relationship Id="rId145" Type="http://schemas.openxmlformats.org/officeDocument/2006/relationships/slide" Target="slides/slide138.xml"/><Relationship Id="rId166" Type="http://schemas.openxmlformats.org/officeDocument/2006/relationships/slide" Target="slides/slide159.xml"/><Relationship Id="rId187" Type="http://schemas.openxmlformats.org/officeDocument/2006/relationships/slide" Target="slides/slide180.xml"/><Relationship Id="rId1" Type="http://schemas.openxmlformats.org/officeDocument/2006/relationships/customXml" Target="../customXml/item1.xml"/><Relationship Id="rId212" Type="http://schemas.openxmlformats.org/officeDocument/2006/relationships/slide" Target="slides/slide205.xml"/><Relationship Id="rId233" Type="http://schemas.openxmlformats.org/officeDocument/2006/relationships/presProps" Target="presProps.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60" Type="http://schemas.openxmlformats.org/officeDocument/2006/relationships/slide" Target="slides/slide53.xml"/><Relationship Id="rId81" Type="http://schemas.openxmlformats.org/officeDocument/2006/relationships/slide" Target="slides/slide74.xml"/><Relationship Id="rId135" Type="http://schemas.openxmlformats.org/officeDocument/2006/relationships/slide" Target="slides/slide128.xml"/><Relationship Id="rId156" Type="http://schemas.openxmlformats.org/officeDocument/2006/relationships/slide" Target="slides/slide149.xml"/><Relationship Id="rId177" Type="http://schemas.openxmlformats.org/officeDocument/2006/relationships/slide" Target="slides/slide170.xml"/><Relationship Id="rId198" Type="http://schemas.openxmlformats.org/officeDocument/2006/relationships/slide" Target="slides/slide191.xml"/><Relationship Id="rId202" Type="http://schemas.openxmlformats.org/officeDocument/2006/relationships/slide" Target="slides/slide195.xml"/><Relationship Id="rId223" Type="http://schemas.openxmlformats.org/officeDocument/2006/relationships/font" Target="fonts/font9.fntdata"/><Relationship Id="rId18" Type="http://schemas.openxmlformats.org/officeDocument/2006/relationships/slide" Target="slides/slide11.xml"/><Relationship Id="rId39" Type="http://schemas.openxmlformats.org/officeDocument/2006/relationships/slide" Target="slides/slide32.xml"/><Relationship Id="rId50" Type="http://schemas.openxmlformats.org/officeDocument/2006/relationships/slide" Target="slides/slide43.xml"/><Relationship Id="rId104" Type="http://schemas.openxmlformats.org/officeDocument/2006/relationships/slide" Target="slides/slide97.xml"/><Relationship Id="rId125" Type="http://schemas.openxmlformats.org/officeDocument/2006/relationships/slide" Target="slides/slide118.xml"/><Relationship Id="rId146" Type="http://schemas.openxmlformats.org/officeDocument/2006/relationships/slide" Target="slides/slide139.xml"/><Relationship Id="rId167" Type="http://schemas.openxmlformats.org/officeDocument/2006/relationships/slide" Target="slides/slide160.xml"/><Relationship Id="rId188" Type="http://schemas.openxmlformats.org/officeDocument/2006/relationships/slide" Target="slides/slide181.xml"/><Relationship Id="rId71" Type="http://schemas.openxmlformats.org/officeDocument/2006/relationships/slide" Target="slides/slide64.xml"/><Relationship Id="rId92" Type="http://schemas.openxmlformats.org/officeDocument/2006/relationships/slide" Target="slides/slide85.xml"/><Relationship Id="rId213" Type="http://schemas.openxmlformats.org/officeDocument/2006/relationships/notesMaster" Target="notesMasters/notesMaster1.xml"/><Relationship Id="rId234" Type="http://schemas.openxmlformats.org/officeDocument/2006/relationships/viewProps" Target="viewProps.xml"/><Relationship Id="rId29" Type="http://schemas.openxmlformats.org/officeDocument/2006/relationships/slide" Target="slides/slide22.xml"/><Relationship Id="rId40" Type="http://schemas.openxmlformats.org/officeDocument/2006/relationships/slide" Target="slides/slide33.xml"/><Relationship Id="rId115" Type="http://schemas.openxmlformats.org/officeDocument/2006/relationships/slide" Target="slides/slide108.xml"/><Relationship Id="rId136" Type="http://schemas.openxmlformats.org/officeDocument/2006/relationships/slide" Target="slides/slide129.xml"/><Relationship Id="rId157" Type="http://schemas.openxmlformats.org/officeDocument/2006/relationships/slide" Target="slides/slide150.xml"/><Relationship Id="rId178" Type="http://schemas.openxmlformats.org/officeDocument/2006/relationships/slide" Target="slides/slide171.xml"/><Relationship Id="rId61" Type="http://schemas.openxmlformats.org/officeDocument/2006/relationships/slide" Target="slides/slide54.xml"/><Relationship Id="rId82" Type="http://schemas.openxmlformats.org/officeDocument/2006/relationships/slide" Target="slides/slide75.xml"/><Relationship Id="rId199" Type="http://schemas.openxmlformats.org/officeDocument/2006/relationships/slide" Target="slides/slide192.xml"/><Relationship Id="rId203" Type="http://schemas.openxmlformats.org/officeDocument/2006/relationships/slide" Target="slides/slide196.xml"/><Relationship Id="rId19" Type="http://schemas.openxmlformats.org/officeDocument/2006/relationships/slide" Target="slides/slide12.xml"/><Relationship Id="rId224" Type="http://schemas.openxmlformats.org/officeDocument/2006/relationships/font" Target="fonts/font10.fntdata"/><Relationship Id="rId30" Type="http://schemas.openxmlformats.org/officeDocument/2006/relationships/slide" Target="slides/slide2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168" Type="http://schemas.openxmlformats.org/officeDocument/2006/relationships/slide" Target="slides/slide16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189" Type="http://schemas.openxmlformats.org/officeDocument/2006/relationships/slide" Target="slides/slide182.xml"/><Relationship Id="rId235" Type="http://schemas.openxmlformats.org/officeDocument/2006/relationships/theme" Target="theme/theme1.xml"/><Relationship Id="rId214" Type="http://schemas.openxmlformats.org/officeDocument/2006/relationships/handoutMaster" Target="handoutMasters/handoutMaster1.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slide" Target="slides/slide15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179" Type="http://schemas.openxmlformats.org/officeDocument/2006/relationships/slide" Target="slides/slide17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55852842809399E-2"/>
          <c:y val="9.6692111959287494E-2"/>
          <c:w val="0.95652173913043503"/>
          <c:h val="0.87786259541984701"/>
        </c:manualLayout>
      </c:layout>
      <c:barChart>
        <c:barDir val="col"/>
        <c:grouping val="stacked"/>
        <c:varyColors val="0"/>
        <c:ser>
          <c:idx val="0"/>
          <c:order val="0"/>
          <c:tx>
            <c:strRef>
              <c:f>Sheet1!$A$2</c:f>
              <c:strCache>
                <c:ptCount val="1"/>
              </c:strCache>
            </c:strRef>
          </c:tx>
          <c:spPr>
            <a:noFill/>
            <a:ln w="25398">
              <a:noFill/>
            </a:ln>
          </c:spPr>
          <c:invertIfNegative val="0"/>
          <c:cat>
            <c:numRef>
              <c:f>Sheet1!$B$1:$J$1</c:f>
              <c:numCache>
                <c:formatCode>General</c:formatCode>
                <c:ptCount val="9"/>
              </c:numCache>
            </c:numRef>
          </c:cat>
          <c:val>
            <c:numRef>
              <c:f>Sheet1!$B$2:$J$2</c:f>
              <c:numCache>
                <c:formatCode>General</c:formatCode>
                <c:ptCount val="9"/>
                <c:pt idx="1">
                  <c:v>490.61878354984901</c:v>
                </c:pt>
                <c:pt idx="2">
                  <c:v>392.7322470707644</c:v>
                </c:pt>
                <c:pt idx="3">
                  <c:v>306.8298306728513</c:v>
                </c:pt>
                <c:pt idx="4">
                  <c:v>231.1438783984112</c:v>
                </c:pt>
                <c:pt idx="5">
                  <c:v>161.6370032256871</c:v>
                </c:pt>
                <c:pt idx="6">
                  <c:v>103.9908007647463</c:v>
                </c:pt>
                <c:pt idx="7">
                  <c:v>39.097140351897387</c:v>
                </c:pt>
              </c:numCache>
            </c:numRef>
          </c:val>
          <c:extLst>
            <c:ext xmlns:c16="http://schemas.microsoft.com/office/drawing/2014/chart" uri="{C3380CC4-5D6E-409C-BE32-E72D297353CC}">
              <c16:uniqueId val="{00000000-1095-46A7-A76A-F641B623B794}"/>
            </c:ext>
          </c:extLst>
        </c:ser>
        <c:ser>
          <c:idx val="1"/>
          <c:order val="1"/>
          <c:tx>
            <c:strRef>
              <c:f>Sheet1!$A$3</c:f>
              <c:strCache>
                <c:ptCount val="1"/>
              </c:strCache>
            </c:strRef>
          </c:tx>
          <c:spPr>
            <a:solidFill>
              <a:schemeClr val="accent1"/>
            </a:solidFill>
            <a:ln w="25398">
              <a:noFill/>
            </a:ln>
          </c:spPr>
          <c:invertIfNegative val="0"/>
          <c:dLbls>
            <c:dLbl>
              <c:idx val="0"/>
              <c:layout>
                <c:manualLayout>
                  <c:x val="-3.0945098024740998E-3"/>
                  <c:y val="-0.48788977353002499"/>
                </c:manualLayout>
              </c:layout>
              <c:tx>
                <c:rich>
                  <a:bodyPr/>
                  <a:lstStyle/>
                  <a:p>
                    <a:pPr>
                      <a:defRPr sz="1200" b="0" i="0" u="none" strike="noStrike" baseline="0">
                        <a:solidFill>
                          <a:schemeClr val="tx1"/>
                        </a:solidFill>
                        <a:latin typeface="Arial"/>
                        <a:ea typeface="Arial"/>
                        <a:cs typeface="Arial"/>
                      </a:defRPr>
                    </a:pPr>
                    <a:r>
                      <a:rPr lang="en-US" dirty="0"/>
                      <a:t>582</a:t>
                    </a:r>
                  </a:p>
                </c:rich>
              </c:tx>
              <c:spPr>
                <a:noFill/>
                <a:ln w="25398">
                  <a:noFill/>
                </a:ln>
              </c:sp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095-46A7-A76A-F641B623B794}"/>
                </c:ext>
              </c:extLst>
            </c:dLbl>
            <c:dLbl>
              <c:idx val="1"/>
              <c:tx>
                <c:rich>
                  <a:bodyPr wrap="square" lIns="38100" tIns="19050" rIns="38100" bIns="19050" anchor="ctr">
                    <a:spAutoFit/>
                  </a:bodyPr>
                  <a:lstStyle/>
                  <a:p>
                    <a:pPr>
                      <a:defRPr lang="sv-SE" sz="1200" b="0" i="0" u="none" strike="noStrike" baseline="0">
                        <a:solidFill>
                          <a:srgbClr val="FFFFFF"/>
                        </a:solidFill>
                        <a:latin typeface="Arial"/>
                        <a:ea typeface="Arial"/>
                        <a:cs typeface="Arial"/>
                      </a:defRPr>
                    </a:pPr>
                    <a:r>
                      <a:rPr lang="en-US"/>
                      <a:t>113</a:t>
                    </a:r>
                    <a:endParaRPr lang="en-US" dirty="0"/>
                  </a:p>
                </c:rich>
              </c:tx>
              <c:spPr>
                <a:noFill/>
                <a:ln w="25398">
                  <a:noFill/>
                </a:ln>
              </c:sp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95-46A7-A76A-F641B623B794}"/>
                </c:ext>
              </c:extLst>
            </c:dLbl>
            <c:dLbl>
              <c:idx val="8"/>
              <c:layout>
                <c:manualLayout>
                  <c:x val="-8.20820219104511E-4"/>
                  <c:y val="2.6466066712048301E-3"/>
                </c:manualLayout>
              </c:layout>
              <c:spPr>
                <a:noFill/>
                <a:ln w="25398">
                  <a:noFill/>
                </a:ln>
              </c:spPr>
              <c:txPr>
                <a:bodyPr/>
                <a:lstStyle/>
                <a:p>
                  <a:pPr>
                    <a:defRPr sz="12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095-46A7-A76A-F641B623B794}"/>
                </c:ext>
              </c:extLst>
            </c:dLbl>
            <c:spPr>
              <a:noFill/>
              <a:ln w="25398">
                <a:noFill/>
              </a:ln>
            </c:spPr>
            <c:txPr>
              <a:bodyPr wrap="square" lIns="38100" tIns="19050" rIns="38100" bIns="19050" anchor="ctr">
                <a:spAutoFit/>
              </a:bodyPr>
              <a:lstStyle/>
              <a:p>
                <a:pPr>
                  <a:defRPr sz="12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J$1</c:f>
              <c:numCache>
                <c:formatCode>General</c:formatCode>
                <c:ptCount val="9"/>
              </c:numCache>
            </c:numRef>
          </c:cat>
          <c:val>
            <c:numRef>
              <c:f>Sheet1!$B$3:$J$3</c:f>
              <c:numCache>
                <c:formatCode>#,##0;#,##0</c:formatCode>
                <c:ptCount val="9"/>
                <c:pt idx="0" formatCode="#,##0_);\(#,##0\)">
                  <c:v>616.66988406110795</c:v>
                </c:pt>
                <c:pt idx="1">
                  <c:v>113.5</c:v>
                </c:pt>
                <c:pt idx="2">
                  <c:v>101.1</c:v>
                </c:pt>
                <c:pt idx="3">
                  <c:v>77.5</c:v>
                </c:pt>
                <c:pt idx="4">
                  <c:v>75.7</c:v>
                </c:pt>
                <c:pt idx="5">
                  <c:v>74</c:v>
                </c:pt>
                <c:pt idx="6">
                  <c:v>62.2</c:v>
                </c:pt>
                <c:pt idx="7">
                  <c:v>47.7</c:v>
                </c:pt>
                <c:pt idx="8">
                  <c:v>30.3</c:v>
                </c:pt>
              </c:numCache>
            </c:numRef>
          </c:val>
          <c:extLst>
            <c:ext xmlns:c16="http://schemas.microsoft.com/office/drawing/2014/chart" uri="{C3380CC4-5D6E-409C-BE32-E72D297353CC}">
              <c16:uniqueId val="{00000004-1095-46A7-A76A-F641B623B794}"/>
            </c:ext>
          </c:extLst>
        </c:ser>
        <c:dLbls>
          <c:showLegendKey val="0"/>
          <c:showVal val="0"/>
          <c:showCatName val="0"/>
          <c:showSerName val="0"/>
          <c:showPercent val="0"/>
          <c:showBubbleSize val="0"/>
        </c:dLbls>
        <c:gapWidth val="80"/>
        <c:overlap val="100"/>
        <c:axId val="332881824"/>
        <c:axId val="332870960"/>
      </c:barChart>
      <c:catAx>
        <c:axId val="332881824"/>
        <c:scaling>
          <c:orientation val="minMax"/>
        </c:scaling>
        <c:delete val="0"/>
        <c:axPos val="b"/>
        <c:numFmt formatCode="General" sourceLinked="1"/>
        <c:majorTickMark val="none"/>
        <c:minorTickMark val="none"/>
        <c:tickLblPos val="none"/>
        <c:spPr>
          <a:ln w="25400" cap="rnd">
            <a:solidFill>
              <a:srgbClr val="B1B3B4"/>
            </a:solidFill>
            <a:prstDash val="solid"/>
          </a:ln>
        </c:spPr>
        <c:crossAx val="332870960"/>
        <c:crossesAt val="0"/>
        <c:auto val="1"/>
        <c:lblAlgn val="ctr"/>
        <c:lblOffset val="100"/>
        <c:tickLblSkip val="1"/>
        <c:tickMarkSkip val="1"/>
        <c:noMultiLvlLbl val="0"/>
      </c:catAx>
      <c:valAx>
        <c:axId val="332870960"/>
        <c:scaling>
          <c:orientation val="minMax"/>
          <c:max val="616.66988406103758"/>
          <c:min val="0"/>
        </c:scaling>
        <c:delete val="0"/>
        <c:axPos val="l"/>
        <c:numFmt formatCode="General" sourceLinked="1"/>
        <c:majorTickMark val="none"/>
        <c:minorTickMark val="none"/>
        <c:tickLblPos val="none"/>
        <c:spPr>
          <a:ln w="6349">
            <a:noFill/>
          </a:ln>
        </c:spPr>
        <c:crossAx val="332881824"/>
        <c:crosses val="autoZero"/>
        <c:crossBetween val="between"/>
      </c:valAx>
      <c:spPr>
        <a:noFill/>
        <a:ln w="25398">
          <a:noFill/>
        </a:ln>
        <a:effectLst>
          <a:softEdge rad="0"/>
        </a:effectLst>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56910569105701"/>
          <c:y val="8.0428954423592505E-2"/>
          <c:w val="0.82926829268292701"/>
          <c:h val="0.84450402144772097"/>
        </c:manualLayout>
      </c:layout>
      <c:areaChart>
        <c:grouping val="stacked"/>
        <c:varyColors val="0"/>
        <c:ser>
          <c:idx val="0"/>
          <c:order val="0"/>
          <c:tx>
            <c:strRef>
              <c:f>Sheet1!$A$2</c:f>
              <c:strCache>
                <c:ptCount val="1"/>
              </c:strCache>
            </c:strRef>
          </c:tx>
          <c:spPr>
            <a:solidFill>
              <a:srgbClr val="D5E4AF"/>
            </a:solidFill>
            <a:ln w="38104">
              <a:noFill/>
              <a:prstDash val="solid"/>
            </a:ln>
          </c:spPr>
          <c:cat>
            <c:numRef>
              <c:f>Sheet1!$B$1:$L$1</c:f>
              <c:numCache>
                <c:formatCode>General</c:formatCode>
                <c:ptCount val="11"/>
              </c:numCache>
            </c:numRef>
          </c:cat>
          <c:val>
            <c:numRef>
              <c:f>Sheet1!$B$2:$L$2</c:f>
              <c:numCache>
                <c:formatCode>General</c:formatCode>
                <c:ptCount val="11"/>
                <c:pt idx="0">
                  <c:v>1496.7683204244099</c:v>
                </c:pt>
                <c:pt idx="1">
                  <c:v>1520.293294365483</c:v>
                </c:pt>
                <c:pt idx="2">
                  <c:v>1544.131784774926</c:v>
                </c:pt>
                <c:pt idx="3">
                  <c:v>1569.6610155523181</c:v>
                </c:pt>
                <c:pt idx="4">
                  <c:v>1591.975726259041</c:v>
                </c:pt>
                <c:pt idx="5">
                  <c:v>1609.088081460133</c:v>
                </c:pt>
                <c:pt idx="6">
                  <c:v>1634.275823898656</c:v>
                </c:pt>
                <c:pt idx="7">
                  <c:v>1658.87587989587</c:v>
                </c:pt>
                <c:pt idx="8">
                  <c:v>1683.994233412021</c:v>
                </c:pt>
                <c:pt idx="9">
                  <c:v>1709.6462558205051</c:v>
                </c:pt>
                <c:pt idx="10">
                  <c:v>1735.8479198602679</c:v>
                </c:pt>
              </c:numCache>
            </c:numRef>
          </c:val>
          <c:extLst>
            <c:ext xmlns:c16="http://schemas.microsoft.com/office/drawing/2014/chart" uri="{C3380CC4-5D6E-409C-BE32-E72D297353CC}">
              <c16:uniqueId val="{00000000-61B3-4755-A896-ADB8D628FC43}"/>
            </c:ext>
          </c:extLst>
        </c:ser>
        <c:ser>
          <c:idx val="1"/>
          <c:order val="1"/>
          <c:tx>
            <c:strRef>
              <c:f>Sheet1!$A$3</c:f>
              <c:strCache>
                <c:ptCount val="1"/>
              </c:strCache>
            </c:strRef>
          </c:tx>
          <c:spPr>
            <a:solidFill>
              <a:schemeClr val="accent1"/>
            </a:solidFill>
            <a:ln w="25403">
              <a:noFill/>
            </a:ln>
          </c:spPr>
          <c:cat>
            <c:numRef>
              <c:f>Sheet1!$B$1:$L$1</c:f>
              <c:numCache>
                <c:formatCode>General</c:formatCode>
                <c:ptCount val="11"/>
              </c:numCache>
            </c:numRef>
          </c:cat>
          <c:val>
            <c:numRef>
              <c:f>Sheet1!$B$3:$L$3</c:f>
              <c:numCache>
                <c:formatCode>General</c:formatCode>
                <c:ptCount val="11"/>
                <c:pt idx="0">
                  <c:v>0</c:v>
                </c:pt>
                <c:pt idx="1">
                  <c:v>0</c:v>
                </c:pt>
                <c:pt idx="2">
                  <c:v>0</c:v>
                </c:pt>
                <c:pt idx="3">
                  <c:v>2.6108332164186101</c:v>
                </c:pt>
                <c:pt idx="4">
                  <c:v>14.49658422457407</c:v>
                </c:pt>
                <c:pt idx="5">
                  <c:v>48.855380566296837</c:v>
                </c:pt>
                <c:pt idx="6">
                  <c:v>129.52380345538</c:v>
                </c:pt>
                <c:pt idx="7">
                  <c:v>293.01274675951629</c:v>
                </c:pt>
                <c:pt idx="8">
                  <c:v>426.77842228384259</c:v>
                </c:pt>
                <c:pt idx="9">
                  <c:v>540.64960529055259</c:v>
                </c:pt>
                <c:pt idx="10">
                  <c:v>616.66988406110795</c:v>
                </c:pt>
              </c:numCache>
            </c:numRef>
          </c:val>
          <c:extLst>
            <c:ext xmlns:c16="http://schemas.microsoft.com/office/drawing/2014/chart" uri="{C3380CC4-5D6E-409C-BE32-E72D297353CC}">
              <c16:uniqueId val="{00000001-61B3-4755-A896-ADB8D628FC43}"/>
            </c:ext>
          </c:extLst>
        </c:ser>
        <c:dLbls>
          <c:showLegendKey val="0"/>
          <c:showVal val="0"/>
          <c:showCatName val="0"/>
          <c:showSerName val="0"/>
          <c:showPercent val="0"/>
          <c:showBubbleSize val="0"/>
        </c:dLbls>
        <c:axId val="333420080"/>
        <c:axId val="333424368"/>
      </c:areaChart>
      <c:catAx>
        <c:axId val="333420080"/>
        <c:scaling>
          <c:orientation val="minMax"/>
        </c:scaling>
        <c:delete val="0"/>
        <c:axPos val="b"/>
        <c:numFmt formatCode="General" sourceLinked="1"/>
        <c:majorTickMark val="none"/>
        <c:minorTickMark val="none"/>
        <c:tickLblPos val="none"/>
        <c:spPr>
          <a:ln w="25400" cap="rnd">
            <a:solidFill>
              <a:srgbClr val="B1B3B4"/>
            </a:solidFill>
            <a:prstDash val="solid"/>
          </a:ln>
        </c:spPr>
        <c:crossAx val="333424368"/>
        <c:crossesAt val="0"/>
        <c:auto val="1"/>
        <c:lblAlgn val="ctr"/>
        <c:lblOffset val="100"/>
        <c:tickLblSkip val="1"/>
        <c:tickMarkSkip val="1"/>
        <c:noMultiLvlLbl val="0"/>
      </c:catAx>
      <c:valAx>
        <c:axId val="333424368"/>
        <c:scaling>
          <c:orientation val="minMax"/>
          <c:max val="2500"/>
          <c:min val="0"/>
        </c:scaling>
        <c:delete val="0"/>
        <c:axPos val="l"/>
        <c:numFmt formatCode="#,##0_);\(#,##0\)" sourceLinked="0"/>
        <c:majorTickMark val="out"/>
        <c:minorTickMark val="none"/>
        <c:tickLblPos val="nextTo"/>
        <c:spPr>
          <a:ln w="25400">
            <a:solidFill>
              <a:srgbClr val="B1B3B4"/>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333420080"/>
        <c:crosses val="autoZero"/>
        <c:crossBetween val="midCat"/>
        <c:majorUnit val="500"/>
      </c:valAx>
      <c:spPr>
        <a:noFill/>
        <a:ln w="25403">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00000000000002E-3"/>
          <c:y val="2.932551319648094E-2"/>
          <c:w val="0.98533333333333328"/>
          <c:h val="0.95601173020527863"/>
        </c:manualLayout>
      </c:layout>
      <c:barChart>
        <c:barDir val="col"/>
        <c:grouping val="stacked"/>
        <c:varyColors val="0"/>
        <c:ser>
          <c:idx val="0"/>
          <c:order val="0"/>
          <c:tx>
            <c:strRef>
              <c:f>Sheet1!$A$2</c:f>
              <c:strCache>
                <c:ptCount val="1"/>
              </c:strCache>
            </c:strRef>
          </c:tx>
          <c:spPr>
            <a:solidFill>
              <a:srgbClr val="89BA17"/>
            </a:solidFill>
            <a:ln w="12699">
              <a:noFill/>
              <a:prstDash val="solid"/>
            </a:ln>
          </c:spPr>
          <c:invertIfNegative val="0"/>
          <c:dLbls>
            <c:dLbl>
              <c:idx val="0"/>
              <c:layout>
                <c:manualLayout>
                  <c:x val="7.2399652019863175E-4"/>
                  <c:y val="-8.1072764066110192E-3"/>
                </c:manualLayout>
              </c:layout>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AB-433B-83B3-C7470B0AAB83}"/>
                </c:ext>
              </c:extLst>
            </c:dLbl>
            <c:dLbl>
              <c:idx val="1"/>
              <c:layout>
                <c:manualLayout>
                  <c:x val="3.1482545859441158E-3"/>
                  <c:y val="-7.4036761954615615E-3"/>
                </c:manualLayout>
              </c:layout>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AB-433B-83B3-C7470B0AAB83}"/>
                </c:ext>
              </c:extLst>
            </c:dLbl>
            <c:dLbl>
              <c:idx val="2"/>
              <c:layout>
                <c:manualLayout>
                  <c:x val="2.9058459850229701E-3"/>
                  <c:y val="-9.4422092514646616E-3"/>
                </c:manualLayout>
              </c:layout>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AB-433B-83B3-C7470B0AAB83}"/>
                </c:ext>
              </c:extLst>
            </c:dLbl>
            <c:spPr>
              <a:noFill/>
              <a:ln w="25399">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2:$L$2</c:f>
              <c:numCache>
                <c:formatCode>#,##0_);\(#,##0\)</c:formatCode>
                <c:ptCount val="11"/>
                <c:pt idx="0">
                  <c:v>190.30046172030831</c:v>
                </c:pt>
                <c:pt idx="1">
                  <c:v>215.25464268480721</c:v>
                </c:pt>
                <c:pt idx="2">
                  <c:v>241.51723505771528</c:v>
                </c:pt>
                <c:pt idx="3">
                  <c:v>269.73193548722384</c:v>
                </c:pt>
                <c:pt idx="4">
                  <c:v>306.12388557445809</c:v>
                </c:pt>
                <c:pt idx="5">
                  <c:v>349.36114716725803</c:v>
                </c:pt>
                <c:pt idx="6">
                  <c:v>401.89812490410776</c:v>
                </c:pt>
                <c:pt idx="7">
                  <c:v>462.95686560787681</c:v>
                </c:pt>
                <c:pt idx="8">
                  <c:v>534.00367698310708</c:v>
                </c:pt>
                <c:pt idx="9">
                  <c:v>616.79452632523851</c:v>
                </c:pt>
                <c:pt idx="10">
                  <c:v>713.43723555801523</c:v>
                </c:pt>
              </c:numCache>
            </c:numRef>
          </c:val>
          <c:extLst>
            <c:ext xmlns:c16="http://schemas.microsoft.com/office/drawing/2014/chart" uri="{C3380CC4-5D6E-409C-BE32-E72D297353CC}">
              <c16:uniqueId val="{00000003-9AAB-433B-83B3-C7470B0AAB83}"/>
            </c:ext>
          </c:extLst>
        </c:ser>
        <c:ser>
          <c:idx val="1"/>
          <c:order val="1"/>
          <c:tx>
            <c:strRef>
              <c:f>Sheet1!$A$3</c:f>
              <c:strCache>
                <c:ptCount val="1"/>
              </c:strCache>
            </c:strRef>
          </c:tx>
          <c:spPr>
            <a:solidFill>
              <a:srgbClr val="F08A00"/>
            </a:solidFill>
            <a:ln w="12699">
              <a:noFill/>
              <a:prstDash val="solid"/>
            </a:ln>
          </c:spPr>
          <c:invertIfNegative val="0"/>
          <c:dLbls>
            <c:dLbl>
              <c:idx val="0"/>
              <c:spPr>
                <a:noFill/>
                <a:ln w="25399">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AB-433B-83B3-C7470B0AAB83}"/>
                </c:ext>
              </c:extLst>
            </c:dLbl>
            <c:spPr>
              <a:noFill/>
              <a:ln w="25399">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_);\(#,##0\)</c:formatCode>
                <c:ptCount val="11"/>
                <c:pt idx="0">
                  <c:v>138.32702748466636</c:v>
                </c:pt>
                <c:pt idx="1">
                  <c:v>159.91411133252015</c:v>
                </c:pt>
                <c:pt idx="2">
                  <c:v>181.80748691907201</c:v>
                </c:pt>
                <c:pt idx="3">
                  <c:v>205.69153508774346</c:v>
                </c:pt>
                <c:pt idx="4">
                  <c:v>235.54158102481989</c:v>
                </c:pt>
                <c:pt idx="5">
                  <c:v>275.24881522104795</c:v>
                </c:pt>
                <c:pt idx="6">
                  <c:v>321.74520436800276</c:v>
                </c:pt>
                <c:pt idx="7">
                  <c:v>376.20764900500524</c:v>
                </c:pt>
                <c:pt idx="8">
                  <c:v>440.01974146439568</c:v>
                </c:pt>
                <c:pt idx="9">
                  <c:v>514.80850488284534</c:v>
                </c:pt>
                <c:pt idx="10">
                  <c:v>602.48773357872369</c:v>
                </c:pt>
              </c:numCache>
            </c:numRef>
          </c:val>
          <c:extLst>
            <c:ext xmlns:c16="http://schemas.microsoft.com/office/drawing/2014/chart" uri="{C3380CC4-5D6E-409C-BE32-E72D297353CC}">
              <c16:uniqueId val="{00000005-9AAB-433B-83B3-C7470B0AAB83}"/>
            </c:ext>
          </c:extLst>
        </c:ser>
        <c:ser>
          <c:idx val="2"/>
          <c:order val="2"/>
          <c:tx>
            <c:strRef>
              <c:f>Sheet1!$A$4</c:f>
              <c:strCache>
                <c:ptCount val="1"/>
              </c:strCache>
            </c:strRef>
          </c:tx>
          <c:spPr>
            <a:solidFill>
              <a:srgbClr val="00A9D4"/>
            </a:solidFill>
            <a:ln w="12699">
              <a:noFill/>
              <a:prstDash val="solid"/>
            </a:ln>
          </c:spPr>
          <c:invertIfNegative val="0"/>
          <c:dLbls>
            <c:spPr>
              <a:noFill/>
              <a:ln w="25399">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4:$L$4</c:f>
              <c:numCache>
                <c:formatCode>#,##0_);\(#,##0\)</c:formatCode>
                <c:ptCount val="11"/>
                <c:pt idx="0">
                  <c:v>184.96879139054056</c:v>
                </c:pt>
                <c:pt idx="1">
                  <c:v>203.65109341063501</c:v>
                </c:pt>
                <c:pt idx="2">
                  <c:v>223.05765720938587</c:v>
                </c:pt>
                <c:pt idx="3">
                  <c:v>243.41669471341351</c:v>
                </c:pt>
                <c:pt idx="4">
                  <c:v>267.0656410282611</c:v>
                </c:pt>
                <c:pt idx="5">
                  <c:v>292.35149943617233</c:v>
                </c:pt>
                <c:pt idx="6">
                  <c:v>323.57278879678023</c:v>
                </c:pt>
                <c:pt idx="7">
                  <c:v>358.52210176041177</c:v>
                </c:pt>
                <c:pt idx="8">
                  <c:v>398.4207568913676</c:v>
                </c:pt>
                <c:pt idx="9">
                  <c:v>451.37740933027675</c:v>
                </c:pt>
                <c:pt idx="10">
                  <c:v>511.47957845331138</c:v>
                </c:pt>
              </c:numCache>
            </c:numRef>
          </c:val>
          <c:extLst>
            <c:ext xmlns:c16="http://schemas.microsoft.com/office/drawing/2014/chart" uri="{C3380CC4-5D6E-409C-BE32-E72D297353CC}">
              <c16:uniqueId val="{00000006-9AAB-433B-83B3-C7470B0AAB83}"/>
            </c:ext>
          </c:extLst>
        </c:ser>
        <c:ser>
          <c:idx val="3"/>
          <c:order val="3"/>
          <c:tx>
            <c:strRef>
              <c:f>Sheet1!$A$5</c:f>
              <c:strCache>
                <c:ptCount val="1"/>
              </c:strCache>
            </c:strRef>
          </c:tx>
          <c:spPr>
            <a:solidFill>
              <a:srgbClr val="00625F"/>
            </a:solidFill>
            <a:ln w="12699">
              <a:noFill/>
              <a:prstDash val="solid"/>
            </a:ln>
          </c:spPr>
          <c:invertIfNegative val="0"/>
          <c:dLbls>
            <c:spPr>
              <a:noFill/>
              <a:ln w="25399">
                <a:noFill/>
              </a:ln>
            </c:spPr>
            <c:txPr>
              <a:bodyPr wrap="square" lIns="38100" tIns="19050" rIns="38100" bIns="19050" anchor="ctr">
                <a:spAutoFit/>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5:$L$5</c:f>
              <c:numCache>
                <c:formatCode>#,##0_);\(#,##0\)</c:formatCode>
                <c:ptCount val="11"/>
                <c:pt idx="0">
                  <c:v>168.60478252216006</c:v>
                </c:pt>
                <c:pt idx="1">
                  <c:v>183.50936764576016</c:v>
                </c:pt>
                <c:pt idx="2">
                  <c:v>199.54074327151835</c:v>
                </c:pt>
                <c:pt idx="3">
                  <c:v>216.8758227484127</c:v>
                </c:pt>
                <c:pt idx="4">
                  <c:v>238.78751229612587</c:v>
                </c:pt>
                <c:pt idx="5">
                  <c:v>265.92555343156914</c:v>
                </c:pt>
                <c:pt idx="6">
                  <c:v>295.5100781838259</c:v>
                </c:pt>
                <c:pt idx="7">
                  <c:v>327.49290051471752</c:v>
                </c:pt>
                <c:pt idx="8">
                  <c:v>361.79915643145205</c:v>
                </c:pt>
                <c:pt idx="9">
                  <c:v>398.33929548953444</c:v>
                </c:pt>
                <c:pt idx="10">
                  <c:v>437.02192997869076</c:v>
                </c:pt>
              </c:numCache>
            </c:numRef>
          </c:val>
          <c:extLst>
            <c:ext xmlns:c16="http://schemas.microsoft.com/office/drawing/2014/chart" uri="{C3380CC4-5D6E-409C-BE32-E72D297353CC}">
              <c16:uniqueId val="{00000007-9AAB-433B-83B3-C7470B0AAB83}"/>
            </c:ext>
          </c:extLst>
        </c:ser>
        <c:ser>
          <c:idx val="4"/>
          <c:order val="4"/>
          <c:tx>
            <c:strRef>
              <c:f>Sheet1!$A$6</c:f>
              <c:strCache>
                <c:ptCount val="1"/>
              </c:strCache>
            </c:strRef>
          </c:tx>
          <c:spPr>
            <a:solidFill>
              <a:srgbClr val="B1B3B4"/>
            </a:solidFill>
            <a:ln w="12699">
              <a:noFill/>
              <a:prstDash val="solid"/>
            </a:ln>
          </c:spPr>
          <c:invertIfNegative val="0"/>
          <c:dLbls>
            <c:dLbl>
              <c:idx val="0"/>
              <c:layout>
                <c:manualLayout>
                  <c:x val="4.4724050322893227E-2"/>
                  <c:y val="2.420685634609052E-2"/>
                </c:manualLayout>
              </c:layout>
              <c:spPr>
                <a:noFill/>
                <a:ln w="25399">
                  <a:noFill/>
                </a:ln>
              </c:spPr>
              <c:txPr>
                <a:bodyPr/>
                <a:lstStyle/>
                <a:p>
                  <a:pPr>
                    <a:defRPr sz="1000" b="0" i="0" u="none" strike="noStrike" baseline="0">
                      <a:solidFill>
                        <a:srgbClr val="B1B3B4"/>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AB-433B-83B3-C7470B0AAB83}"/>
                </c:ext>
              </c:extLst>
            </c:dLbl>
            <c:dLbl>
              <c:idx val="1"/>
              <c:delete val="1"/>
              <c:extLst>
                <c:ext xmlns:c15="http://schemas.microsoft.com/office/drawing/2012/chart" uri="{CE6537A1-D6FC-4f65-9D91-7224C49458BB}"/>
                <c:ext xmlns:c16="http://schemas.microsoft.com/office/drawing/2014/chart" uri="{C3380CC4-5D6E-409C-BE32-E72D297353CC}">
                  <c16:uniqueId val="{00000009-9AAB-433B-83B3-C7470B0AAB83}"/>
                </c:ext>
              </c:extLst>
            </c:dLbl>
            <c:dLbl>
              <c:idx val="2"/>
              <c:delete val="1"/>
              <c:extLst>
                <c:ext xmlns:c15="http://schemas.microsoft.com/office/drawing/2012/chart" uri="{CE6537A1-D6FC-4f65-9D91-7224C49458BB}"/>
                <c:ext xmlns:c16="http://schemas.microsoft.com/office/drawing/2014/chart" uri="{C3380CC4-5D6E-409C-BE32-E72D297353CC}">
                  <c16:uniqueId val="{0000000A-9AAB-433B-83B3-C7470B0AAB83}"/>
                </c:ext>
              </c:extLst>
            </c:dLbl>
            <c:dLbl>
              <c:idx val="3"/>
              <c:spPr>
                <a:noFill/>
                <a:ln w="25399">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AAB-433B-83B3-C7470B0AAB83}"/>
                </c:ext>
              </c:extLst>
            </c:dLbl>
            <c:spPr>
              <a:noFill/>
              <a:ln w="25399">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6:$L$6</c:f>
              <c:numCache>
                <c:formatCode>#,##0_);\(#,##0\)</c:formatCode>
                <c:ptCount val="11"/>
                <c:pt idx="0">
                  <c:v>107.7597563761561</c:v>
                </c:pt>
                <c:pt idx="1">
                  <c:v>118.32762075801251</c:v>
                </c:pt>
                <c:pt idx="2">
                  <c:v>129.1140108128435</c:v>
                </c:pt>
                <c:pt idx="3">
                  <c:v>140.42154140393478</c:v>
                </c:pt>
                <c:pt idx="4">
                  <c:v>153.73315761521073</c:v>
                </c:pt>
                <c:pt idx="5">
                  <c:v>171.05380542040905</c:v>
                </c:pt>
                <c:pt idx="6">
                  <c:v>190.8157780776788</c:v>
                </c:pt>
                <c:pt idx="7">
                  <c:v>212.83635128014643</c:v>
                </c:pt>
                <c:pt idx="8">
                  <c:v>237.34766493919338</c:v>
                </c:pt>
                <c:pt idx="9">
                  <c:v>264.6109477849339</c:v>
                </c:pt>
                <c:pt idx="10">
                  <c:v>294.92243886547419</c:v>
                </c:pt>
              </c:numCache>
            </c:numRef>
          </c:val>
          <c:extLst>
            <c:ext xmlns:c16="http://schemas.microsoft.com/office/drawing/2014/chart" uri="{C3380CC4-5D6E-409C-BE32-E72D297353CC}">
              <c16:uniqueId val="{0000000C-9AAB-433B-83B3-C7470B0AAB83}"/>
            </c:ext>
          </c:extLst>
        </c:ser>
        <c:ser>
          <c:idx val="5"/>
          <c:order val="5"/>
          <c:tx>
            <c:strRef>
              <c:f>Sheet1!$A$7</c:f>
              <c:strCache>
                <c:ptCount val="1"/>
              </c:strCache>
            </c:strRef>
          </c:tx>
          <c:spPr>
            <a:solidFill>
              <a:srgbClr val="00285E"/>
            </a:solidFill>
            <a:ln w="12699">
              <a:noFill/>
              <a:prstDash val="solid"/>
            </a:ln>
          </c:spPr>
          <c:invertIfNegative val="0"/>
          <c:dLbls>
            <c:dLbl>
              <c:idx val="0"/>
              <c:layout>
                <c:manualLayout>
                  <c:x val="4.4223292951889044E-2"/>
                  <c:y val="9.4641166901577329E-3"/>
                </c:manualLayout>
              </c:layout>
              <c:spPr>
                <a:noFill/>
                <a:ln w="25399">
                  <a:noFill/>
                </a:ln>
              </c:spPr>
              <c:txPr>
                <a:bodyPr/>
                <a:lstStyle/>
                <a:p>
                  <a:pPr>
                    <a:defRPr sz="1000" b="0" i="0" u="none" strike="noStrike" baseline="0">
                      <a:solidFill>
                        <a:srgbClr val="00285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AAB-433B-83B3-C7470B0AAB83}"/>
                </c:ext>
              </c:extLst>
            </c:dLbl>
            <c:dLbl>
              <c:idx val="1"/>
              <c:layout>
                <c:manualLayout>
                  <c:x val="4.2201488569239234E-2"/>
                  <c:y val="1.45936765775611E-2"/>
                </c:manualLayout>
              </c:layout>
              <c:spPr>
                <a:noFill/>
                <a:ln w="25399">
                  <a:noFill/>
                </a:ln>
              </c:spPr>
              <c:txPr>
                <a:bodyPr/>
                <a:lstStyle/>
                <a:p>
                  <a:pPr>
                    <a:defRPr sz="1000" b="0" i="0" u="none" strike="noStrike" baseline="0">
                      <a:solidFill>
                        <a:srgbClr val="00285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AAB-433B-83B3-C7470B0AAB83}"/>
                </c:ext>
              </c:extLst>
            </c:dLbl>
            <c:dLbl>
              <c:idx val="2"/>
              <c:layout>
                <c:manualLayout>
                  <c:x val="4.4625747195429416E-2"/>
                  <c:y val="1.8964582568955834E-2"/>
                </c:manualLayout>
              </c:layout>
              <c:spPr>
                <a:noFill/>
                <a:ln w="25399">
                  <a:noFill/>
                </a:ln>
              </c:spPr>
              <c:txPr>
                <a:bodyPr/>
                <a:lstStyle/>
                <a:p>
                  <a:pPr>
                    <a:defRPr sz="1000" b="0" i="0" u="none" strike="noStrike" baseline="0">
                      <a:solidFill>
                        <a:srgbClr val="00285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AAB-433B-83B3-C7470B0AAB83}"/>
                </c:ext>
              </c:extLst>
            </c:dLbl>
            <c:dLbl>
              <c:idx val="3"/>
              <c:layout>
                <c:manualLayout>
                  <c:x val="4.3050005261174917E-2"/>
                  <c:y val="1.4671070311032097E-2"/>
                </c:manualLayout>
              </c:layout>
              <c:spPr>
                <a:noFill/>
                <a:ln w="25399">
                  <a:noFill/>
                </a:ln>
              </c:spPr>
              <c:txPr>
                <a:bodyPr/>
                <a:lstStyle/>
                <a:p>
                  <a:pPr>
                    <a:defRPr sz="1000" b="0" i="0" u="none" strike="noStrike" baseline="0">
                      <a:solidFill>
                        <a:srgbClr val="00285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AAB-433B-83B3-C7470B0AAB83}"/>
                </c:ext>
              </c:extLst>
            </c:dLbl>
            <c:dLbl>
              <c:idx val="4"/>
              <c:layout>
                <c:manualLayout>
                  <c:x val="4.7754222005330083E-2"/>
                  <c:y val="1.4989203318959143E-2"/>
                </c:manualLayout>
              </c:layout>
              <c:spPr>
                <a:noFill/>
                <a:ln w="25399">
                  <a:noFill/>
                </a:ln>
              </c:spPr>
              <c:txPr>
                <a:bodyPr/>
                <a:lstStyle/>
                <a:p>
                  <a:pPr>
                    <a:defRPr sz="1000" b="0" i="0" u="none" strike="noStrike" baseline="0">
                      <a:solidFill>
                        <a:srgbClr val="00285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AAB-433B-83B3-C7470B0AAB83}"/>
                </c:ext>
              </c:extLst>
            </c:dLbl>
            <c:dLbl>
              <c:idx val="5"/>
              <c:layout>
                <c:manualLayout>
                  <c:x val="4.8845146737742207E-2"/>
                  <c:y val="9.2325264819559383E-3"/>
                </c:manualLayout>
              </c:layout>
              <c:tx>
                <c:rich>
                  <a:bodyPr/>
                  <a:lstStyle/>
                  <a:p>
                    <a:pPr>
                      <a:defRPr sz="1000" b="0" i="0" u="none" strike="noStrike" baseline="0">
                        <a:solidFill>
                          <a:schemeClr val="tx1"/>
                        </a:solidFill>
                        <a:latin typeface="Arial"/>
                        <a:ea typeface="Arial"/>
                        <a:cs typeface="Arial"/>
                      </a:defRPr>
                    </a:pPr>
                    <a:fld id="{19A17F46-53D2-4414-81B9-C44F66166BC8}" type="VALUE">
                      <a:rPr lang="en-US">
                        <a:solidFill>
                          <a:srgbClr val="00285E"/>
                        </a:solidFill>
                      </a:rPr>
                      <a:pPr>
                        <a:defRPr sz="1000" b="0" i="0" u="none" strike="noStrike" baseline="0">
                          <a:solidFill>
                            <a:schemeClr val="tx1"/>
                          </a:solidFill>
                          <a:latin typeface="Arial"/>
                          <a:ea typeface="Arial"/>
                          <a:cs typeface="Arial"/>
                        </a:defRPr>
                      </a:pPr>
                      <a:t>[VALUE]</a:t>
                    </a:fld>
                    <a:endParaRPr lang="en-US"/>
                  </a:p>
                </c:rich>
              </c:tx>
              <c:spPr>
                <a:noFill/>
                <a:ln w="25399">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9AAB-433B-83B3-C7470B0AAB83}"/>
                </c:ext>
              </c:extLst>
            </c:dLbl>
            <c:dLbl>
              <c:idx val="6"/>
              <c:spPr>
                <a:noFill/>
                <a:ln w="25399">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AAB-433B-83B3-C7470B0AAB83}"/>
                </c:ext>
              </c:extLst>
            </c:dLbl>
            <c:dLbl>
              <c:idx val="7"/>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4-9AAB-433B-83B3-C7470B0AAB83}"/>
                </c:ext>
              </c:extLst>
            </c:dLbl>
            <c:dLbl>
              <c:idx val="8"/>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5-9AAB-433B-83B3-C7470B0AAB83}"/>
                </c:ext>
              </c:extLst>
            </c:dLbl>
            <c:dLbl>
              <c:idx val="9"/>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6-9AAB-433B-83B3-C7470B0AAB83}"/>
                </c:ext>
              </c:extLst>
            </c:dLbl>
            <c:dLbl>
              <c:idx val="10"/>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7-9AAB-433B-83B3-C7470B0AAB83}"/>
                </c:ext>
              </c:extLst>
            </c:dLbl>
            <c:spPr>
              <a:noFill/>
              <a:ln w="25399">
                <a:noFill/>
              </a:ln>
            </c:spPr>
            <c:txPr>
              <a:bodyPr wrap="square" lIns="38100" tIns="19050" rIns="38100" bIns="19050" anchor="ctr">
                <a:spAutoFit/>
              </a:bodyPr>
              <a:lstStyle/>
              <a:p>
                <a:pPr>
                  <a:defRPr sz="1000" b="0" i="0" u="none" strike="noStrike" baseline="0">
                    <a:solidFill>
                      <a:schemeClr val="tx1"/>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7:$L$7</c:f>
              <c:numCache>
                <c:formatCode>#,##0_);\(#,##0\)</c:formatCode>
                <c:ptCount val="11"/>
                <c:pt idx="0">
                  <c:v>59.278147369496793</c:v>
                </c:pt>
                <c:pt idx="1">
                  <c:v>67.51514925852922</c:v>
                </c:pt>
                <c:pt idx="2">
                  <c:v>76.34084099949159</c:v>
                </c:pt>
                <c:pt idx="3">
                  <c:v>86.183616969424989</c:v>
                </c:pt>
                <c:pt idx="4">
                  <c:v>99.775509097804132</c:v>
                </c:pt>
                <c:pt idx="5">
                  <c:v>117.15643372230183</c:v>
                </c:pt>
                <c:pt idx="6">
                  <c:v>138.70468481292332</c:v>
                </c:pt>
                <c:pt idx="7">
                  <c:v>164.45994402432785</c:v>
                </c:pt>
                <c:pt idx="8">
                  <c:v>195.25729402099924</c:v>
                </c:pt>
                <c:pt idx="9">
                  <c:v>232.09860326555054</c:v>
                </c:pt>
                <c:pt idx="10">
                  <c:v>276.18595770981847</c:v>
                </c:pt>
              </c:numCache>
            </c:numRef>
          </c:val>
          <c:extLst>
            <c:ext xmlns:c16="http://schemas.microsoft.com/office/drawing/2014/chart" uri="{C3380CC4-5D6E-409C-BE32-E72D297353CC}">
              <c16:uniqueId val="{00000018-9AAB-433B-83B3-C7470B0AAB83}"/>
            </c:ext>
          </c:extLst>
        </c:ser>
        <c:ser>
          <c:idx val="6"/>
          <c:order val="6"/>
          <c:tx>
            <c:strRef>
              <c:f>Sheet1!$A$8</c:f>
              <c:strCache>
                <c:ptCount val="1"/>
              </c:strCache>
            </c:strRef>
          </c:tx>
          <c:spPr>
            <a:solidFill>
              <a:srgbClr val="0066CB"/>
            </a:solidFill>
            <a:ln w="12699">
              <a:noFill/>
              <a:prstDash val="solid"/>
            </a:ln>
          </c:spPr>
          <c:invertIfNegative val="0"/>
          <c:dLbls>
            <c:dLbl>
              <c:idx val="0"/>
              <c:layout>
                <c:manualLayout>
                  <c:x val="4.4223292951889044E-2"/>
                  <c:y val="-1.2906146737941245E-2"/>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9AAB-433B-83B3-C7470B0AAB83}"/>
                </c:ext>
              </c:extLst>
            </c:dLbl>
            <c:dLbl>
              <c:idx val="1"/>
              <c:layout>
                <c:manualLayout>
                  <c:x val="4.2201489129683967E-2"/>
                  <c:y val="-2.8880241744667634E-3"/>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9AAB-433B-83B3-C7470B0AAB83}"/>
                </c:ext>
              </c:extLst>
            </c:dLbl>
            <c:dLbl>
              <c:idx val="2"/>
              <c:layout>
                <c:manualLayout>
                  <c:x val="4.4625747195429416E-2"/>
                  <c:y val="-7.0090182940679702E-3"/>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9AAB-433B-83B3-C7470B0AAB83}"/>
                </c:ext>
              </c:extLst>
            </c:dLbl>
            <c:dLbl>
              <c:idx val="3"/>
              <c:layout>
                <c:manualLayout>
                  <c:x val="4.3050001898506537E-2"/>
                  <c:y val="-4.685456844387096E-3"/>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9AAB-433B-83B3-C7470B0AAB83}"/>
                </c:ext>
              </c:extLst>
            </c:dLbl>
            <c:dLbl>
              <c:idx val="4"/>
              <c:layout>
                <c:manualLayout>
                  <c:x val="4.2807456549069922E-2"/>
                  <c:y val="-4.4641994969454313E-3"/>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9AAB-433B-83B3-C7470B0AAB83}"/>
                </c:ext>
              </c:extLst>
            </c:dLbl>
            <c:dLbl>
              <c:idx val="5"/>
              <c:layout>
                <c:manualLayout>
                  <c:x val="4.8845146737742207E-2"/>
                  <c:y val="-2.6281749451233516E-3"/>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9AAB-433B-83B3-C7470B0AAB83}"/>
                </c:ext>
              </c:extLst>
            </c:dLbl>
            <c:dLbl>
              <c:idx val="6"/>
              <c:layout>
                <c:manualLayout>
                  <c:x val="4.7269404803487736E-2"/>
                  <c:y val="1.242938979142405E-4"/>
                </c:manualLayout>
              </c:layout>
              <c:spPr>
                <a:noFill/>
                <a:ln w="25399">
                  <a:noFill/>
                </a:ln>
              </c:spPr>
              <c:txPr>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9AAB-433B-83B3-C7470B0AAB83}"/>
                </c:ext>
              </c:extLst>
            </c:dLbl>
            <c:dLbl>
              <c:idx val="7"/>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0-9AAB-433B-83B3-C7470B0AAB83}"/>
                </c:ext>
              </c:extLst>
            </c:dLbl>
            <c:dLbl>
              <c:idx val="8"/>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1-9AAB-433B-83B3-C7470B0AAB83}"/>
                </c:ext>
              </c:extLst>
            </c:dLbl>
            <c:dLbl>
              <c:idx val="9"/>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2-9AAB-433B-83B3-C7470B0AAB83}"/>
                </c:ext>
              </c:extLst>
            </c:dLbl>
            <c:dLbl>
              <c:idx val="10"/>
              <c:spPr>
                <a:noFill/>
                <a:ln w="25399">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3-9AAB-433B-83B3-C7470B0AAB83}"/>
                </c:ext>
              </c:extLst>
            </c:dLbl>
            <c:spPr>
              <a:noFill/>
              <a:ln w="25399">
                <a:noFill/>
              </a:ln>
            </c:spPr>
            <c:txPr>
              <a:bodyPr wrap="square" lIns="38100" tIns="19050" rIns="38100" bIns="19050" anchor="ctr">
                <a:spAutoFit/>
              </a:bodyPr>
              <a:lstStyle/>
              <a:p>
                <a:pPr>
                  <a:defRPr sz="1000" b="0" i="0" u="none" strike="noStrike" baseline="0">
                    <a:solidFill>
                      <a:schemeClr val="tx1"/>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8:$L$8</c:f>
              <c:numCache>
                <c:formatCode>#,##0_);\(#,##0\)</c:formatCode>
                <c:ptCount val="11"/>
                <c:pt idx="0">
                  <c:v>55.411716823645115</c:v>
                </c:pt>
                <c:pt idx="1">
                  <c:v>60.600160738897628</c:v>
                </c:pt>
                <c:pt idx="2">
                  <c:v>67.418069949924231</c:v>
                </c:pt>
                <c:pt idx="3">
                  <c:v>76.089133354745186</c:v>
                </c:pt>
                <c:pt idx="4">
                  <c:v>88.732093157455068</c:v>
                </c:pt>
                <c:pt idx="5">
                  <c:v>103.33272301968866</c:v>
                </c:pt>
                <c:pt idx="6">
                  <c:v>122.44040813929888</c:v>
                </c:pt>
                <c:pt idx="7">
                  <c:v>142.66319700148378</c:v>
                </c:pt>
                <c:pt idx="8">
                  <c:v>166.29484499480739</c:v>
                </c:pt>
                <c:pt idx="9">
                  <c:v>196.85555899470191</c:v>
                </c:pt>
                <c:pt idx="10">
                  <c:v>232.25293359687933</c:v>
                </c:pt>
              </c:numCache>
            </c:numRef>
          </c:val>
          <c:extLst>
            <c:ext xmlns:c16="http://schemas.microsoft.com/office/drawing/2014/chart" uri="{C3380CC4-5D6E-409C-BE32-E72D297353CC}">
              <c16:uniqueId val="{00000024-9AAB-433B-83B3-C7470B0AAB83}"/>
            </c:ext>
          </c:extLst>
        </c:ser>
        <c:ser>
          <c:idx val="7"/>
          <c:order val="7"/>
          <c:tx>
            <c:strRef>
              <c:f>Sheet1!$A$9</c:f>
              <c:strCache>
                <c:ptCount val="1"/>
              </c:strCache>
            </c:strRef>
          </c:tx>
          <c:spPr>
            <a:solidFill>
              <a:srgbClr val="CCCCFE"/>
            </a:solidFill>
            <a:ln w="12699">
              <a:noFill/>
              <a:prstDash val="solid"/>
            </a:ln>
          </c:spPr>
          <c:invertIfNegative val="0"/>
          <c:dLbls>
            <c:dLbl>
              <c:idx val="0"/>
              <c:layout>
                <c:manualLayout>
                  <c:x val="4.2443897730605147E-2"/>
                  <c:y val="-5.4591310834834261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9AAB-433B-83B3-C7470B0AAB83}"/>
                </c:ext>
              </c:extLst>
            </c:dLbl>
            <c:dLbl>
              <c:idx val="1"/>
              <c:layout>
                <c:manualLayout>
                  <c:x val="4.2201489129683967E-2"/>
                  <c:y val="-3.5111472656755627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9AAB-433B-83B3-C7470B0AAB83}"/>
                </c:ext>
              </c:extLst>
            </c:dLbl>
            <c:dLbl>
              <c:idx val="2"/>
              <c:layout>
                <c:manualLayout>
                  <c:x val="4.4625747195429416E-2"/>
                  <c:y val="-3.7217800574264936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9AAB-433B-83B3-C7470B0AAB83}"/>
                </c:ext>
              </c:extLst>
            </c:dLbl>
            <c:dLbl>
              <c:idx val="3"/>
              <c:layout>
                <c:manualLayout>
                  <c:x val="4.3050005261174917E-2"/>
                  <c:y val="-3.6264169025821413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9AAB-433B-83B3-C7470B0AAB83}"/>
                </c:ext>
              </c:extLst>
            </c:dLbl>
            <c:dLbl>
              <c:idx val="4"/>
              <c:layout>
                <c:manualLayout>
                  <c:x val="4.2807469439298793E-2"/>
                  <c:y val="-3.2658393408634363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9AAB-433B-83B3-C7470B0AAB83}"/>
                </c:ext>
              </c:extLst>
            </c:dLbl>
            <c:dLbl>
              <c:idx val="5"/>
              <c:layout>
                <c:manualLayout>
                  <c:x val="4.3898381281482046E-2"/>
                  <c:y val="-2.2834300013923503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9AAB-433B-83B3-C7470B0AAB83}"/>
                </c:ext>
              </c:extLst>
            </c:dLbl>
            <c:dLbl>
              <c:idx val="6"/>
              <c:layout>
                <c:manualLayout>
                  <c:x val="4.7269404803487736E-2"/>
                  <c:y val="-1.7083955753493807E-2"/>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9AAB-433B-83B3-C7470B0AAB83}"/>
                </c:ext>
              </c:extLst>
            </c:dLbl>
            <c:dLbl>
              <c:idx val="7"/>
              <c:layout>
                <c:manualLayout>
                  <c:x val="4.7026996202566562E-2"/>
                  <c:y val="-8.5549073020617095E-3"/>
                </c:manualLayout>
              </c:layout>
              <c:spPr>
                <a:noFill/>
                <a:ln w="25399">
                  <a:noFill/>
                </a:ln>
              </c:spPr>
              <c:txPr>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9AAB-433B-83B3-C7470B0AAB83}"/>
                </c:ext>
              </c:extLst>
            </c:dLbl>
            <c:dLbl>
              <c:idx val="8"/>
              <c:spPr>
                <a:noFill/>
                <a:ln w="25399">
                  <a:noFill/>
                </a:ln>
              </c:spPr>
              <c:txPr>
                <a:bodyPr wrap="square" lIns="38100" tIns="19050" rIns="38100" bIns="19050" anchor="ctr">
                  <a:spAutoFit/>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D-9AAB-433B-83B3-C7470B0AAB83}"/>
                </c:ext>
              </c:extLst>
            </c:dLbl>
            <c:dLbl>
              <c:idx val="9"/>
              <c:spPr>
                <a:noFill/>
                <a:ln w="25399">
                  <a:noFill/>
                </a:ln>
              </c:spPr>
              <c:txPr>
                <a:bodyPr wrap="square" lIns="38100" tIns="19050" rIns="38100" bIns="19050" anchor="ctr">
                  <a:spAutoFit/>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E-9AAB-433B-83B3-C7470B0AAB83}"/>
                </c:ext>
              </c:extLst>
            </c:dLbl>
            <c:dLbl>
              <c:idx val="10"/>
              <c:spPr>
                <a:noFill/>
                <a:ln w="25399">
                  <a:noFill/>
                </a:ln>
              </c:spPr>
              <c:txPr>
                <a:bodyPr wrap="square" lIns="38100" tIns="19050" rIns="38100" bIns="19050" anchor="ctr">
                  <a:spAutoFit/>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F-9AAB-433B-83B3-C7470B0AAB83}"/>
                </c:ext>
              </c:extLst>
            </c:dLbl>
            <c:spPr>
              <a:noFill/>
              <a:ln w="25399">
                <a:noFill/>
              </a:ln>
            </c:spPr>
            <c:txPr>
              <a:bodyPr wrap="square" lIns="38100" tIns="19050" rIns="38100" bIns="19050" anchor="ctr">
                <a:spAutoFit/>
              </a:bodyPr>
              <a:lstStyle/>
              <a:p>
                <a:pPr>
                  <a:defRPr sz="10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9:$L$9</c:f>
              <c:numCache>
                <c:formatCode>#,##0_);\(#,##0\)</c:formatCode>
                <c:ptCount val="11"/>
                <c:pt idx="0">
                  <c:v>34.318819980187449</c:v>
                </c:pt>
                <c:pt idx="1">
                  <c:v>40.268649635377329</c:v>
                </c:pt>
                <c:pt idx="2">
                  <c:v>47.275198992391694</c:v>
                </c:pt>
                <c:pt idx="3">
                  <c:v>56.102547494498609</c:v>
                </c:pt>
                <c:pt idx="4">
                  <c:v>66.684915169130662</c:v>
                </c:pt>
                <c:pt idx="5">
                  <c:v>80.007091212000887</c:v>
                </c:pt>
                <c:pt idx="6">
                  <c:v>101.60174773153786</c:v>
                </c:pt>
                <c:pt idx="7">
                  <c:v>122.12668463438764</c:v>
                </c:pt>
                <c:pt idx="8">
                  <c:v>146.87239271634948</c:v>
                </c:pt>
                <c:pt idx="9">
                  <c:v>176.71861405836225</c:v>
                </c:pt>
                <c:pt idx="10">
                  <c:v>212.73028707409966</c:v>
                </c:pt>
              </c:numCache>
            </c:numRef>
          </c:val>
          <c:extLst>
            <c:ext xmlns:c16="http://schemas.microsoft.com/office/drawing/2014/chart" uri="{C3380CC4-5D6E-409C-BE32-E72D297353CC}">
              <c16:uniqueId val="{00000030-9AAB-433B-83B3-C7470B0AAB83}"/>
            </c:ext>
          </c:extLst>
        </c:ser>
        <c:dLbls>
          <c:showLegendKey val="0"/>
          <c:showVal val="0"/>
          <c:showCatName val="0"/>
          <c:showSerName val="0"/>
          <c:showPercent val="0"/>
          <c:showBubbleSize val="0"/>
        </c:dLbls>
        <c:gapWidth val="80"/>
        <c:overlap val="100"/>
        <c:axId val="229296464"/>
        <c:axId val="229296856"/>
      </c:barChart>
      <c:catAx>
        <c:axId val="229296464"/>
        <c:scaling>
          <c:orientation val="minMax"/>
        </c:scaling>
        <c:delete val="0"/>
        <c:axPos val="b"/>
        <c:numFmt formatCode="General" sourceLinked="1"/>
        <c:majorTickMark val="none"/>
        <c:minorTickMark val="none"/>
        <c:tickLblPos val="none"/>
        <c:spPr>
          <a:ln w="25400" cap="rnd">
            <a:solidFill>
              <a:srgbClr val="B1B3B4"/>
            </a:solidFill>
            <a:prstDash val="solid"/>
          </a:ln>
        </c:spPr>
        <c:crossAx val="229296856"/>
        <c:crossesAt val="0"/>
        <c:auto val="1"/>
        <c:lblAlgn val="ctr"/>
        <c:lblOffset val="100"/>
        <c:tickLblSkip val="1"/>
        <c:tickMarkSkip val="1"/>
        <c:noMultiLvlLbl val="0"/>
      </c:catAx>
      <c:valAx>
        <c:axId val="229296856"/>
        <c:scaling>
          <c:orientation val="minMax"/>
          <c:max val="3280.5180948146394"/>
          <c:min val="0"/>
        </c:scaling>
        <c:delete val="0"/>
        <c:axPos val="l"/>
        <c:numFmt formatCode="#,##0_);\(#,##0\)" sourceLinked="1"/>
        <c:majorTickMark val="none"/>
        <c:minorTickMark val="none"/>
        <c:tickLblPos val="none"/>
        <c:spPr>
          <a:ln w="6350">
            <a:noFill/>
          </a:ln>
        </c:spPr>
        <c:crossAx val="229296464"/>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637223974763408E-3"/>
          <c:y val="2.7692307692307693E-2"/>
          <c:w val="0.98264984227129337"/>
          <c:h val="0.95692307692307688"/>
        </c:manualLayout>
      </c:layout>
      <c:barChart>
        <c:barDir val="col"/>
        <c:grouping val="stacked"/>
        <c:varyColors val="0"/>
        <c:ser>
          <c:idx val="0"/>
          <c:order val="0"/>
          <c:tx>
            <c:strRef>
              <c:f>Sheet1!$A$2</c:f>
              <c:strCache>
                <c:ptCount val="1"/>
              </c:strCache>
            </c:strRef>
          </c:tx>
          <c:spPr>
            <a:solidFill>
              <a:srgbClr val="89BA17"/>
            </a:solidFill>
            <a:ln w="12699">
              <a:noFill/>
              <a:prstDash val="solid"/>
            </a:ln>
          </c:spPr>
          <c:invertIfNegative val="0"/>
          <c:dPt>
            <c:idx val="0"/>
            <c:invertIfNegative val="0"/>
            <c:bubble3D val="0"/>
            <c:extLst>
              <c:ext xmlns:c16="http://schemas.microsoft.com/office/drawing/2014/chart" uri="{C3380CC4-5D6E-409C-BE32-E72D297353CC}">
                <c16:uniqueId val="{00000000-7E63-4E40-9121-DD8ACF9A1BA8}"/>
              </c:ext>
            </c:extLst>
          </c:dPt>
          <c:dLbls>
            <c:dLbl>
              <c:idx val="0"/>
              <c:delete val="1"/>
              <c:extLst>
                <c:ext xmlns:c15="http://schemas.microsoft.com/office/drawing/2012/chart" uri="{CE6537A1-D6FC-4f65-9D91-7224C49458BB}"/>
                <c:ext xmlns:c16="http://schemas.microsoft.com/office/drawing/2014/chart" uri="{C3380CC4-5D6E-409C-BE32-E72D297353CC}">
                  <c16:uniqueId val="{00000000-7E63-4E40-9121-DD8ACF9A1BA8}"/>
                </c:ext>
              </c:extLst>
            </c:dLbl>
            <c:dLbl>
              <c:idx val="1"/>
              <c:delete val="1"/>
              <c:extLst>
                <c:ext xmlns:c15="http://schemas.microsoft.com/office/drawing/2012/chart" uri="{CE6537A1-D6FC-4f65-9D91-7224C49458BB}"/>
                <c:ext xmlns:c16="http://schemas.microsoft.com/office/drawing/2014/chart" uri="{C3380CC4-5D6E-409C-BE32-E72D297353CC}">
                  <c16:uniqueId val="{00000001-7E63-4E40-9121-DD8ACF9A1BA8}"/>
                </c:ext>
              </c:extLst>
            </c:dLbl>
            <c:dLbl>
              <c:idx val="2"/>
              <c:delete val="1"/>
              <c:extLst>
                <c:ext xmlns:c15="http://schemas.microsoft.com/office/drawing/2012/chart" uri="{CE6537A1-D6FC-4f65-9D91-7224C49458BB}"/>
                <c:ext xmlns:c16="http://schemas.microsoft.com/office/drawing/2014/chart" uri="{C3380CC4-5D6E-409C-BE32-E72D297353CC}">
                  <c16:uniqueId val="{00000002-7E63-4E40-9121-DD8ACF9A1BA8}"/>
                </c:ext>
              </c:extLst>
            </c:dLbl>
            <c:dLbl>
              <c:idx val="3"/>
              <c:layout>
                <c:manualLayout>
                  <c:x val="6.0175244236065331E-4"/>
                  <c:y val="-2.9898098730273973E-3"/>
                </c:manualLayout>
              </c:layout>
              <c:spPr>
                <a:noFill/>
                <a:ln w="25398">
                  <a:noFill/>
                </a:ln>
              </c:spPr>
              <c:txPr>
                <a:bodyPr/>
                <a:lstStyle/>
                <a:p>
                  <a:pPr>
                    <a:defRPr sz="8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1369039853417748E-2"/>
                      <c:h val="5.0154647571607272E-2"/>
                    </c:manualLayout>
                  </c15:layout>
                </c:ext>
                <c:ext xmlns:c16="http://schemas.microsoft.com/office/drawing/2014/chart" uri="{C3380CC4-5D6E-409C-BE32-E72D297353CC}">
                  <c16:uniqueId val="{00000003-7E63-4E40-9121-DD8ACF9A1BA8}"/>
                </c:ext>
              </c:extLst>
            </c:dLbl>
            <c:dLbl>
              <c:idx val="4"/>
              <c:spPr>
                <a:noFill/>
                <a:ln w="25398">
                  <a:noFill/>
                </a:ln>
              </c:spPr>
              <c:txPr>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7E63-4E40-9121-DD8ACF9A1BA8}"/>
                </c:ext>
              </c:extLst>
            </c:dLbl>
            <c:spPr>
              <a:noFill/>
              <a:ln w="25398">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2:$I$2</c:f>
              <c:numCache>
                <c:formatCode>General</c:formatCode>
                <c:ptCount val="8"/>
                <c:pt idx="0">
                  <c:v>0.9</c:v>
                </c:pt>
                <c:pt idx="1">
                  <c:v>5.4</c:v>
                </c:pt>
                <c:pt idx="2">
                  <c:v>18.3</c:v>
                </c:pt>
                <c:pt idx="3" formatCode="#,##0_);\(#,##0\)">
                  <c:v>49.2</c:v>
                </c:pt>
                <c:pt idx="4" formatCode="#,##0_);\(#,##0\)">
                  <c:v>113.4</c:v>
                </c:pt>
                <c:pt idx="5" formatCode="#,##0_);\(#,##0\)">
                  <c:v>168.2</c:v>
                </c:pt>
                <c:pt idx="6" formatCode="#,##0_);\(#,##0\)">
                  <c:v>215.9</c:v>
                </c:pt>
                <c:pt idx="7" formatCode="#,##0_);\(#,##0\)">
                  <c:v>249.7</c:v>
                </c:pt>
              </c:numCache>
            </c:numRef>
          </c:val>
          <c:extLst>
            <c:ext xmlns:c16="http://schemas.microsoft.com/office/drawing/2014/chart" uri="{C3380CC4-5D6E-409C-BE32-E72D297353CC}">
              <c16:uniqueId val="{00000005-7E63-4E40-9121-DD8ACF9A1BA8}"/>
            </c:ext>
          </c:extLst>
        </c:ser>
        <c:ser>
          <c:idx val="1"/>
          <c:order val="1"/>
          <c:tx>
            <c:strRef>
              <c:f>Sheet1!$A$3</c:f>
              <c:strCache>
                <c:ptCount val="1"/>
              </c:strCache>
            </c:strRef>
          </c:tx>
          <c:spPr>
            <a:solidFill>
              <a:srgbClr val="00A9D4"/>
            </a:solidFill>
            <a:ln w="12699">
              <a:noFill/>
              <a:prstDash val="solid"/>
            </a:ln>
          </c:spPr>
          <c:invertIfNegative val="0"/>
          <c:dPt>
            <c:idx val="0"/>
            <c:invertIfNegative val="0"/>
            <c:bubble3D val="0"/>
            <c:extLst>
              <c:ext xmlns:c16="http://schemas.microsoft.com/office/drawing/2014/chart" uri="{C3380CC4-5D6E-409C-BE32-E72D297353CC}">
                <c16:uniqueId val="{00000006-7E63-4E40-9121-DD8ACF9A1BA8}"/>
              </c:ext>
            </c:extLst>
          </c:dPt>
          <c:dLbls>
            <c:dLbl>
              <c:idx val="0"/>
              <c:delete val="1"/>
              <c:extLst>
                <c:ext xmlns:c15="http://schemas.microsoft.com/office/drawing/2012/chart" uri="{CE6537A1-D6FC-4f65-9D91-7224C49458BB}"/>
                <c:ext xmlns:c16="http://schemas.microsoft.com/office/drawing/2014/chart" uri="{C3380CC4-5D6E-409C-BE32-E72D297353CC}">
                  <c16:uniqueId val="{00000006-7E63-4E40-9121-DD8ACF9A1BA8}"/>
                </c:ext>
              </c:extLst>
            </c:dLbl>
            <c:dLbl>
              <c:idx val="1"/>
              <c:delete val="1"/>
              <c:extLst>
                <c:ext xmlns:c15="http://schemas.microsoft.com/office/drawing/2012/chart" uri="{CE6537A1-D6FC-4f65-9D91-7224C49458BB}"/>
                <c:ext xmlns:c16="http://schemas.microsoft.com/office/drawing/2014/chart" uri="{C3380CC4-5D6E-409C-BE32-E72D297353CC}">
                  <c16:uniqueId val="{00000007-7E63-4E40-9121-DD8ACF9A1BA8}"/>
                </c:ext>
              </c:extLst>
            </c:dLbl>
            <c:dLbl>
              <c:idx val="2"/>
              <c:delete val="1"/>
              <c:extLst>
                <c:ext xmlns:c15="http://schemas.microsoft.com/office/drawing/2012/chart" uri="{CE6537A1-D6FC-4f65-9D91-7224C49458BB}"/>
                <c:ext xmlns:c16="http://schemas.microsoft.com/office/drawing/2014/chart" uri="{C3380CC4-5D6E-409C-BE32-E72D297353CC}">
                  <c16:uniqueId val="{00000008-7E63-4E40-9121-DD8ACF9A1BA8}"/>
                </c:ext>
              </c:extLst>
            </c:dLbl>
            <c:dLbl>
              <c:idx val="3"/>
              <c:layout>
                <c:manualLayout>
                  <c:x val="6.2214240115138621E-4"/>
                  <c:y val="4.6308455114300417E-4"/>
                </c:manualLayout>
              </c:layout>
              <c:spPr>
                <a:noFill/>
                <a:ln w="25398">
                  <a:noFill/>
                </a:ln>
              </c:spPr>
              <c:txPr>
                <a:bodyPr anchorCtr="0"/>
                <a:lstStyle/>
                <a:p>
                  <a:pPr algn="l">
                    <a:defRPr sz="8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E63-4E40-9121-DD8ACF9A1BA8}"/>
                </c:ext>
              </c:extLst>
            </c:dLbl>
            <c:spPr>
              <a:noFill/>
              <a:ln w="25398">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3:$I$3</c:f>
              <c:numCache>
                <c:formatCode>General</c:formatCode>
                <c:ptCount val="8"/>
                <c:pt idx="0">
                  <c:v>1.1000000000000001</c:v>
                </c:pt>
                <c:pt idx="1">
                  <c:v>6.1</c:v>
                </c:pt>
                <c:pt idx="2">
                  <c:v>20</c:v>
                </c:pt>
                <c:pt idx="3" formatCode="#,##0_);\(#,##0\)">
                  <c:v>51.7</c:v>
                </c:pt>
                <c:pt idx="4" formatCode="#,##0_);\(#,##0\)">
                  <c:v>114.5</c:v>
                </c:pt>
                <c:pt idx="5" formatCode="#,##0_);\(#,##0\)">
                  <c:v>163.69999999999999</c:v>
                </c:pt>
                <c:pt idx="6" formatCode="#,##0_);\(#,##0\)">
                  <c:v>206</c:v>
                </c:pt>
                <c:pt idx="7" formatCode="#,##0_);\(#,##0\)">
                  <c:v>233.4</c:v>
                </c:pt>
              </c:numCache>
            </c:numRef>
          </c:val>
          <c:extLst>
            <c:ext xmlns:c16="http://schemas.microsoft.com/office/drawing/2014/chart" uri="{C3380CC4-5D6E-409C-BE32-E72D297353CC}">
              <c16:uniqueId val="{0000000A-7E63-4E40-9121-DD8ACF9A1BA8}"/>
            </c:ext>
          </c:extLst>
        </c:ser>
        <c:ser>
          <c:idx val="2"/>
          <c:order val="2"/>
          <c:tx>
            <c:strRef>
              <c:f>Sheet1!$A$4</c:f>
              <c:strCache>
                <c:ptCount val="1"/>
              </c:strCache>
            </c:strRef>
          </c:tx>
          <c:spPr>
            <a:solidFill>
              <a:srgbClr val="F08A00"/>
            </a:solidFill>
            <a:ln w="12699">
              <a:noFill/>
              <a:prstDash val="solid"/>
            </a:ln>
          </c:spPr>
          <c:invertIfNegative val="0"/>
          <c:dPt>
            <c:idx val="0"/>
            <c:invertIfNegative val="0"/>
            <c:bubble3D val="0"/>
            <c:extLst>
              <c:ext xmlns:c16="http://schemas.microsoft.com/office/drawing/2014/chart" uri="{C3380CC4-5D6E-409C-BE32-E72D297353CC}">
                <c16:uniqueId val="{0000000B-7E63-4E40-9121-DD8ACF9A1BA8}"/>
              </c:ext>
            </c:extLst>
          </c:dPt>
          <c:dLbls>
            <c:dLbl>
              <c:idx val="0"/>
              <c:delete val="1"/>
              <c:extLst>
                <c:ext xmlns:c15="http://schemas.microsoft.com/office/drawing/2012/chart" uri="{CE6537A1-D6FC-4f65-9D91-7224C49458BB}"/>
                <c:ext xmlns:c16="http://schemas.microsoft.com/office/drawing/2014/chart" uri="{C3380CC4-5D6E-409C-BE32-E72D297353CC}">
                  <c16:uniqueId val="{0000000B-7E63-4E40-9121-DD8ACF9A1BA8}"/>
                </c:ext>
              </c:extLst>
            </c:dLbl>
            <c:dLbl>
              <c:idx val="1"/>
              <c:delete val="1"/>
              <c:extLst>
                <c:ext xmlns:c15="http://schemas.microsoft.com/office/drawing/2012/chart" uri="{CE6537A1-D6FC-4f65-9D91-7224C49458BB}"/>
                <c:ext xmlns:c16="http://schemas.microsoft.com/office/drawing/2014/chart" uri="{C3380CC4-5D6E-409C-BE32-E72D297353CC}">
                  <c16:uniqueId val="{0000000C-7E63-4E40-9121-DD8ACF9A1BA8}"/>
                </c:ext>
              </c:extLst>
            </c:dLbl>
            <c:dLbl>
              <c:idx val="2"/>
              <c:delete val="1"/>
              <c:extLst>
                <c:ext xmlns:c15="http://schemas.microsoft.com/office/drawing/2012/chart" uri="{CE6537A1-D6FC-4f65-9D91-7224C49458BB}"/>
                <c:ext xmlns:c16="http://schemas.microsoft.com/office/drawing/2014/chart" uri="{C3380CC4-5D6E-409C-BE32-E72D297353CC}">
                  <c16:uniqueId val="{0000000D-7E63-4E40-9121-DD8ACF9A1BA8}"/>
                </c:ext>
              </c:extLst>
            </c:dLbl>
            <c:dLbl>
              <c:idx val="3"/>
              <c:delete val="1"/>
              <c:extLst>
                <c:ext xmlns:c15="http://schemas.microsoft.com/office/drawing/2012/chart" uri="{CE6537A1-D6FC-4f65-9D91-7224C49458BB}"/>
                <c:ext xmlns:c16="http://schemas.microsoft.com/office/drawing/2014/chart" uri="{C3380CC4-5D6E-409C-BE32-E72D297353CC}">
                  <c16:uniqueId val="{0000000E-7E63-4E40-9121-DD8ACF9A1BA8}"/>
                </c:ext>
              </c:extLst>
            </c:dLbl>
            <c:spPr>
              <a:noFill/>
              <a:ln w="25398">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4:$I$4</c:f>
              <c:numCache>
                <c:formatCode>General</c:formatCode>
                <c:ptCount val="8"/>
                <c:pt idx="0">
                  <c:v>0.6</c:v>
                </c:pt>
                <c:pt idx="1">
                  <c:v>3.2</c:v>
                </c:pt>
                <c:pt idx="2">
                  <c:v>11.3</c:v>
                </c:pt>
                <c:pt idx="3" formatCode="#,##0_);\(#,##0\)">
                  <c:v>30.7</c:v>
                </c:pt>
                <c:pt idx="4" formatCode="#,##0_);\(#,##0\)">
                  <c:v>71.8</c:v>
                </c:pt>
                <c:pt idx="5" formatCode="#,##0_);\(#,##0\)">
                  <c:v>107.9</c:v>
                </c:pt>
                <c:pt idx="6" formatCode="#,##0_);\(#,##0\)">
                  <c:v>140.30000000000001</c:v>
                </c:pt>
                <c:pt idx="7" formatCode="#,##0_);\(#,##0\)">
                  <c:v>164.2</c:v>
                </c:pt>
              </c:numCache>
            </c:numRef>
          </c:val>
          <c:extLst>
            <c:ext xmlns:c16="http://schemas.microsoft.com/office/drawing/2014/chart" uri="{C3380CC4-5D6E-409C-BE32-E72D297353CC}">
              <c16:uniqueId val="{0000000F-7E63-4E40-9121-DD8ACF9A1BA8}"/>
            </c:ext>
          </c:extLst>
        </c:ser>
        <c:ser>
          <c:idx val="3"/>
          <c:order val="3"/>
          <c:tx>
            <c:strRef>
              <c:f>Sheet1!$A$5</c:f>
              <c:strCache>
                <c:ptCount val="1"/>
              </c:strCache>
            </c:strRef>
          </c:tx>
          <c:spPr>
            <a:solidFill>
              <a:srgbClr val="B1B3B4"/>
            </a:solidFill>
            <a:ln w="12699">
              <a:noFill/>
              <a:prstDash val="solid"/>
            </a:ln>
          </c:spPr>
          <c:invertIfNegative val="0"/>
          <c:dPt>
            <c:idx val="0"/>
            <c:invertIfNegative val="0"/>
            <c:bubble3D val="0"/>
            <c:extLst>
              <c:ext xmlns:c16="http://schemas.microsoft.com/office/drawing/2014/chart" uri="{C3380CC4-5D6E-409C-BE32-E72D297353CC}">
                <c16:uniqueId val="{00000010-7E63-4E40-9121-DD8ACF9A1BA8}"/>
              </c:ext>
            </c:extLst>
          </c:dPt>
          <c:dLbls>
            <c:dLbl>
              <c:idx val="0"/>
              <c:delete val="1"/>
              <c:extLst>
                <c:ext xmlns:c15="http://schemas.microsoft.com/office/drawing/2012/chart" uri="{CE6537A1-D6FC-4f65-9D91-7224C49458BB}"/>
                <c:ext xmlns:c16="http://schemas.microsoft.com/office/drawing/2014/chart" uri="{C3380CC4-5D6E-409C-BE32-E72D297353CC}">
                  <c16:uniqueId val="{00000010-7E63-4E40-9121-DD8ACF9A1BA8}"/>
                </c:ext>
              </c:extLst>
            </c:dLbl>
            <c:dLbl>
              <c:idx val="1"/>
              <c:delete val="1"/>
              <c:extLst>
                <c:ext xmlns:c15="http://schemas.microsoft.com/office/drawing/2012/chart" uri="{CE6537A1-D6FC-4f65-9D91-7224C49458BB}"/>
                <c:ext xmlns:c16="http://schemas.microsoft.com/office/drawing/2014/chart" uri="{C3380CC4-5D6E-409C-BE32-E72D297353CC}">
                  <c16:uniqueId val="{00000011-7E63-4E40-9121-DD8ACF9A1BA8}"/>
                </c:ext>
              </c:extLst>
            </c:dLbl>
            <c:dLbl>
              <c:idx val="2"/>
              <c:delete val="1"/>
              <c:extLst>
                <c:ext xmlns:c15="http://schemas.microsoft.com/office/drawing/2012/chart" uri="{CE6537A1-D6FC-4f65-9D91-7224C49458BB}"/>
                <c:ext xmlns:c16="http://schemas.microsoft.com/office/drawing/2014/chart" uri="{C3380CC4-5D6E-409C-BE32-E72D297353CC}">
                  <c16:uniqueId val="{00000012-7E63-4E40-9121-DD8ACF9A1BA8}"/>
                </c:ext>
              </c:extLst>
            </c:dLbl>
            <c:dLbl>
              <c:idx val="3"/>
              <c:delete val="1"/>
              <c:extLst>
                <c:ext xmlns:c15="http://schemas.microsoft.com/office/drawing/2012/chart" uri="{CE6537A1-D6FC-4f65-9D91-7224C49458BB}"/>
                <c:ext xmlns:c16="http://schemas.microsoft.com/office/drawing/2014/chart" uri="{C3380CC4-5D6E-409C-BE32-E72D297353CC}">
                  <c16:uniqueId val="{00000013-7E63-4E40-9121-DD8ACF9A1BA8}"/>
                </c:ext>
              </c:extLst>
            </c:dLbl>
            <c:spPr>
              <a:noFill/>
              <a:ln w="25398">
                <a:noFill/>
              </a:ln>
            </c:spPr>
            <c:txPr>
              <a:bodyPr wrap="square" lIns="38100" tIns="19050" rIns="38100" bIns="19050" anchor="ctr">
                <a:spAutoFit/>
              </a:bodyPr>
              <a:lstStyle/>
              <a:p>
                <a:pPr>
                  <a:defRPr sz="1000"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5:$I$5</c:f>
              <c:numCache>
                <c:formatCode>General</c:formatCode>
                <c:ptCount val="8"/>
                <c:pt idx="0">
                  <c:v>0.8</c:v>
                </c:pt>
                <c:pt idx="1">
                  <c:v>4.2</c:v>
                </c:pt>
                <c:pt idx="2">
                  <c:v>13.9</c:v>
                </c:pt>
                <c:pt idx="3" formatCode="#,##0_);\(#,##0\)">
                  <c:v>36.299999999999997</c:v>
                </c:pt>
                <c:pt idx="4" formatCode="#,##0_);\(#,##0\)">
                  <c:v>81</c:v>
                </c:pt>
                <c:pt idx="5" formatCode="#,##0_);\(#,##0\)">
                  <c:v>116.1</c:v>
                </c:pt>
                <c:pt idx="6" formatCode="#,##0_);\(#,##0\)">
                  <c:v>143.80000000000001</c:v>
                </c:pt>
                <c:pt idx="7" formatCode="#,##0_);\(#,##0\)">
                  <c:v>160.30000000000001</c:v>
                </c:pt>
              </c:numCache>
            </c:numRef>
          </c:val>
          <c:extLst>
            <c:ext xmlns:c16="http://schemas.microsoft.com/office/drawing/2014/chart" uri="{C3380CC4-5D6E-409C-BE32-E72D297353CC}">
              <c16:uniqueId val="{00000014-7E63-4E40-9121-DD8ACF9A1BA8}"/>
            </c:ext>
          </c:extLst>
        </c:ser>
        <c:ser>
          <c:idx val="4"/>
          <c:order val="4"/>
          <c:tx>
            <c:strRef>
              <c:f>Sheet1!$A$6</c:f>
              <c:strCache>
                <c:ptCount val="1"/>
              </c:strCache>
            </c:strRef>
          </c:tx>
          <c:spPr>
            <a:solidFill>
              <a:srgbClr val="00285F"/>
            </a:solidFill>
            <a:ln w="12699">
              <a:noFill/>
              <a:prstDash val="solid"/>
            </a:ln>
          </c:spPr>
          <c:invertIfNegative val="0"/>
          <c:dPt>
            <c:idx val="3"/>
            <c:invertIfNegative val="0"/>
            <c:bubble3D val="0"/>
            <c:extLst>
              <c:ext xmlns:c16="http://schemas.microsoft.com/office/drawing/2014/chart" uri="{C3380CC4-5D6E-409C-BE32-E72D297353CC}">
                <c16:uniqueId val="{00000015-7E63-4E40-9121-DD8ACF9A1BA8}"/>
              </c:ext>
            </c:extLst>
          </c:dPt>
          <c:dPt>
            <c:idx val="4"/>
            <c:invertIfNegative val="0"/>
            <c:bubble3D val="0"/>
            <c:extLst>
              <c:ext xmlns:c16="http://schemas.microsoft.com/office/drawing/2014/chart" uri="{C3380CC4-5D6E-409C-BE32-E72D297353CC}">
                <c16:uniqueId val="{00000016-7E63-4E40-9121-DD8ACF9A1BA8}"/>
              </c:ext>
            </c:extLst>
          </c:dPt>
          <c:dPt>
            <c:idx val="5"/>
            <c:invertIfNegative val="0"/>
            <c:bubble3D val="0"/>
            <c:extLst>
              <c:ext xmlns:c16="http://schemas.microsoft.com/office/drawing/2014/chart" uri="{C3380CC4-5D6E-409C-BE32-E72D297353CC}">
                <c16:uniqueId val="{00000017-7E63-4E40-9121-DD8ACF9A1BA8}"/>
              </c:ext>
            </c:extLst>
          </c:dPt>
          <c:dPt>
            <c:idx val="6"/>
            <c:invertIfNegative val="0"/>
            <c:bubble3D val="0"/>
            <c:extLst>
              <c:ext xmlns:c16="http://schemas.microsoft.com/office/drawing/2014/chart" uri="{C3380CC4-5D6E-409C-BE32-E72D297353CC}">
                <c16:uniqueId val="{00000018-7E63-4E40-9121-DD8ACF9A1BA8}"/>
              </c:ext>
            </c:extLst>
          </c:dPt>
          <c:dPt>
            <c:idx val="7"/>
            <c:invertIfNegative val="0"/>
            <c:bubble3D val="0"/>
            <c:extLst>
              <c:ext xmlns:c16="http://schemas.microsoft.com/office/drawing/2014/chart" uri="{C3380CC4-5D6E-409C-BE32-E72D297353CC}">
                <c16:uniqueId val="{00000019-7E63-4E40-9121-DD8ACF9A1BA8}"/>
              </c:ext>
            </c:extLst>
          </c:dPt>
          <c:dLbls>
            <c:dLbl>
              <c:idx val="5"/>
              <c:spPr>
                <a:noFill/>
                <a:ln w="25398">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E63-4E40-9121-DD8ACF9A1BA8}"/>
                </c:ext>
              </c:extLst>
            </c:dLbl>
            <c:dLbl>
              <c:idx val="6"/>
              <c:spPr>
                <a:noFill/>
                <a:ln w="25398">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E63-4E40-9121-DD8ACF9A1BA8}"/>
                </c:ext>
              </c:extLst>
            </c:dLbl>
            <c:dLbl>
              <c:idx val="7"/>
              <c:spPr>
                <a:noFill/>
                <a:ln w="25398">
                  <a:noFill/>
                </a:ln>
              </c:spPr>
              <c:txPr>
                <a:bodyPr/>
                <a:lstStyle/>
                <a:p>
                  <a:pPr>
                    <a:defRPr sz="1000"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E63-4E40-9121-DD8ACF9A1B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6:$I$6</c:f>
              <c:numCache>
                <c:formatCode>General</c:formatCode>
                <c:ptCount val="8"/>
                <c:pt idx="0">
                  <c:v>0.4</c:v>
                </c:pt>
                <c:pt idx="1">
                  <c:v>2.2999999999999998</c:v>
                </c:pt>
                <c:pt idx="2">
                  <c:v>8.1999999999999993</c:v>
                </c:pt>
                <c:pt idx="3" formatCode="#,##0_);\(#,##0\)">
                  <c:v>22.7</c:v>
                </c:pt>
                <c:pt idx="4" formatCode="#,##0_);\(#,##0\)">
                  <c:v>53.8</c:v>
                </c:pt>
                <c:pt idx="5" formatCode="#,##0_);\(#,##0\)">
                  <c:v>82.2</c:v>
                </c:pt>
                <c:pt idx="6" formatCode="#,##0_);\(#,##0\)">
                  <c:v>108.5</c:v>
                </c:pt>
                <c:pt idx="7" formatCode="#,##0_);\(#,##0\)">
                  <c:v>129.1</c:v>
                </c:pt>
              </c:numCache>
            </c:numRef>
          </c:val>
          <c:extLst>
            <c:ext xmlns:c16="http://schemas.microsoft.com/office/drawing/2014/chart" uri="{C3380CC4-5D6E-409C-BE32-E72D297353CC}">
              <c16:uniqueId val="{0000001A-7E63-4E40-9121-DD8ACF9A1BA8}"/>
            </c:ext>
          </c:extLst>
        </c:ser>
        <c:ser>
          <c:idx val="5"/>
          <c:order val="5"/>
          <c:tx>
            <c:strRef>
              <c:f>Sheet1!$A$7</c:f>
              <c:strCache>
                <c:ptCount val="1"/>
              </c:strCache>
            </c:strRef>
          </c:tx>
          <c:spPr>
            <a:solidFill>
              <a:srgbClr val="0066CB"/>
            </a:solidFill>
            <a:ln w="12699">
              <a:noFill/>
              <a:prstDash val="solid"/>
            </a:ln>
          </c:spPr>
          <c:invertIfNegative val="0"/>
          <c:dPt>
            <c:idx val="0"/>
            <c:invertIfNegative val="0"/>
            <c:bubble3D val="0"/>
            <c:extLst>
              <c:ext xmlns:c16="http://schemas.microsoft.com/office/drawing/2014/chart" uri="{C3380CC4-5D6E-409C-BE32-E72D297353CC}">
                <c16:uniqueId val="{0000001B-7E63-4E40-9121-DD8ACF9A1BA8}"/>
              </c:ext>
            </c:extLst>
          </c:dPt>
          <c:dPt>
            <c:idx val="4"/>
            <c:invertIfNegative val="0"/>
            <c:bubble3D val="0"/>
            <c:extLst>
              <c:ext xmlns:c16="http://schemas.microsoft.com/office/drawing/2014/chart" uri="{C3380CC4-5D6E-409C-BE32-E72D297353CC}">
                <c16:uniqueId val="{0000001C-7E63-4E40-9121-DD8ACF9A1BA8}"/>
              </c:ext>
            </c:extLst>
          </c:dPt>
          <c:dLbls>
            <c:dLbl>
              <c:idx val="0"/>
              <c:delete val="1"/>
              <c:extLst>
                <c:ext xmlns:c15="http://schemas.microsoft.com/office/drawing/2012/chart" uri="{CE6537A1-D6FC-4f65-9D91-7224C49458BB}"/>
                <c:ext xmlns:c16="http://schemas.microsoft.com/office/drawing/2014/chart" uri="{C3380CC4-5D6E-409C-BE32-E72D297353CC}">
                  <c16:uniqueId val="{0000001B-7E63-4E40-9121-DD8ACF9A1BA8}"/>
                </c:ext>
              </c:extLst>
            </c:dLbl>
            <c:dLbl>
              <c:idx val="1"/>
              <c:delete val="1"/>
              <c:extLst>
                <c:ext xmlns:c15="http://schemas.microsoft.com/office/drawing/2012/chart" uri="{CE6537A1-D6FC-4f65-9D91-7224C49458BB}"/>
                <c:ext xmlns:c16="http://schemas.microsoft.com/office/drawing/2014/chart" uri="{C3380CC4-5D6E-409C-BE32-E72D297353CC}">
                  <c16:uniqueId val="{0000001D-7E63-4E40-9121-DD8ACF9A1BA8}"/>
                </c:ext>
              </c:extLst>
            </c:dLbl>
            <c:dLbl>
              <c:idx val="2"/>
              <c:delete val="1"/>
              <c:extLst>
                <c:ext xmlns:c15="http://schemas.microsoft.com/office/drawing/2012/chart" uri="{CE6537A1-D6FC-4f65-9D91-7224C49458BB}"/>
                <c:ext xmlns:c16="http://schemas.microsoft.com/office/drawing/2014/chart" uri="{C3380CC4-5D6E-409C-BE32-E72D297353CC}">
                  <c16:uniqueId val="{0000001E-7E63-4E40-9121-DD8ACF9A1BA8}"/>
                </c:ext>
              </c:extLst>
            </c:dLbl>
            <c:dLbl>
              <c:idx val="3"/>
              <c:layout>
                <c:manualLayout>
                  <c:x val="5.634160043936217E-2"/>
                  <c:y val="1.499357672582383E-2"/>
                </c:manualLayout>
              </c:layout>
              <c:tx>
                <c:rich>
                  <a:bodyPr/>
                  <a:lstStyle/>
                  <a:p>
                    <a:pPr>
                      <a:defRPr sz="700" b="0" i="0" u="none" strike="noStrike" baseline="0">
                        <a:solidFill>
                          <a:srgbClr val="0066CB"/>
                        </a:solidFill>
                        <a:latin typeface="Arial"/>
                        <a:ea typeface="Arial"/>
                        <a:cs typeface="Arial"/>
                      </a:defRPr>
                    </a:pPr>
                    <a:fld id="{29CFDC37-BBA3-4ACD-9D3E-470A1338C267}" type="VALUE">
                      <a:rPr lang="en-US" sz="700">
                        <a:solidFill>
                          <a:srgbClr val="0066CB"/>
                        </a:solidFill>
                      </a:rPr>
                      <a:pPr>
                        <a:defRPr sz="700" b="0" i="0" u="none" strike="noStrike" baseline="0">
                          <a:solidFill>
                            <a:srgbClr val="0066CB"/>
                          </a:solidFill>
                          <a:latin typeface="Arial"/>
                          <a:ea typeface="Arial"/>
                          <a:cs typeface="Arial"/>
                        </a:defRPr>
                      </a:pPr>
                      <a:t>[VALUE]</a:t>
                    </a:fld>
                    <a:endParaRPr lang="en-US"/>
                  </a:p>
                </c:rich>
              </c:tx>
              <c:spPr>
                <a:noFill/>
                <a:ln w="25398">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7E63-4E40-9121-DD8ACF9A1BA8}"/>
                </c:ext>
              </c:extLst>
            </c:dLbl>
            <c:dLbl>
              <c:idx val="4"/>
              <c:delete val="1"/>
              <c:extLst>
                <c:ext xmlns:c15="http://schemas.microsoft.com/office/drawing/2012/chart" uri="{CE6537A1-D6FC-4f65-9D91-7224C49458BB}"/>
                <c:ext xmlns:c16="http://schemas.microsoft.com/office/drawing/2014/chart" uri="{C3380CC4-5D6E-409C-BE32-E72D297353CC}">
                  <c16:uniqueId val="{0000001C-7E63-4E40-9121-DD8ACF9A1BA8}"/>
                </c:ext>
              </c:extLst>
            </c:dLbl>
            <c:dLbl>
              <c:idx val="5"/>
              <c:spPr>
                <a:noFill/>
                <a:ln w="25398">
                  <a:noFill/>
                </a:ln>
              </c:spPr>
              <c:txPr>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0-7E63-4E40-9121-DD8ACF9A1BA8}"/>
                </c:ext>
              </c:extLst>
            </c:dLbl>
            <c:dLbl>
              <c:idx val="6"/>
              <c:spPr>
                <a:noFill/>
                <a:ln w="25398">
                  <a:noFill/>
                </a:ln>
              </c:spPr>
              <c:txPr>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1-7E63-4E40-9121-DD8ACF9A1BA8}"/>
                </c:ext>
              </c:extLst>
            </c:dLbl>
            <c:dLbl>
              <c:idx val="7"/>
              <c:spPr>
                <a:noFill/>
                <a:ln w="25398">
                  <a:noFill/>
                </a:ln>
              </c:spPr>
              <c:txPr>
                <a:bodyPr/>
                <a:lstStyle/>
                <a:p>
                  <a:pPr>
                    <a:defRPr sz="10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22-7E63-4E40-9121-DD8ACF9A1BA8}"/>
                </c:ext>
              </c:extLst>
            </c:dLbl>
            <c:spPr>
              <a:noFill/>
              <a:ln w="25398">
                <a:noFill/>
              </a:ln>
            </c:spPr>
            <c:txPr>
              <a:bodyPr wrap="square" lIns="38100" tIns="19050" rIns="38100" bIns="19050" anchor="ctr">
                <a:spAutoFit/>
              </a:bodyPr>
              <a:lstStyle/>
              <a:p>
                <a:pPr>
                  <a:defRPr sz="1000" b="0" i="0" u="none" strike="noStrike" baseline="0">
                    <a:solidFill>
                      <a:srgbClr val="0066CB"/>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7:$I$7</c:f>
              <c:numCache>
                <c:formatCode>General</c:formatCode>
                <c:ptCount val="8"/>
                <c:pt idx="0">
                  <c:v>0.4</c:v>
                </c:pt>
                <c:pt idx="1">
                  <c:v>2.2999999999999998</c:v>
                </c:pt>
                <c:pt idx="2">
                  <c:v>7.9</c:v>
                </c:pt>
                <c:pt idx="3" formatCode="#,##0_);\(#,##0\)">
                  <c:v>22</c:v>
                </c:pt>
                <c:pt idx="4" formatCode="#,##0_);\(#,##0\)">
                  <c:v>51.2</c:v>
                </c:pt>
                <c:pt idx="5" formatCode="#,##0_);\(#,##0\)">
                  <c:v>76.7</c:v>
                </c:pt>
                <c:pt idx="6" formatCode="#,##0_);\(#,##0\)">
                  <c:v>100.9</c:v>
                </c:pt>
                <c:pt idx="7" formatCode="#,##0_);\(#,##0\)">
                  <c:v>119</c:v>
                </c:pt>
              </c:numCache>
            </c:numRef>
          </c:val>
          <c:extLst>
            <c:ext xmlns:c16="http://schemas.microsoft.com/office/drawing/2014/chart" uri="{C3380CC4-5D6E-409C-BE32-E72D297353CC}">
              <c16:uniqueId val="{00000023-7E63-4E40-9121-DD8ACF9A1BA8}"/>
            </c:ext>
          </c:extLst>
        </c:ser>
        <c:ser>
          <c:idx val="6"/>
          <c:order val="6"/>
          <c:tx>
            <c:strRef>
              <c:f>Sheet1!$A$8</c:f>
              <c:strCache>
                <c:ptCount val="1"/>
              </c:strCache>
            </c:strRef>
          </c:tx>
          <c:spPr>
            <a:solidFill>
              <a:srgbClr val="CCCCFE"/>
            </a:solidFill>
            <a:ln w="12699">
              <a:noFill/>
              <a:prstDash val="solid"/>
            </a:ln>
          </c:spPr>
          <c:invertIfNegative val="0"/>
          <c:dPt>
            <c:idx val="3"/>
            <c:invertIfNegative val="0"/>
            <c:bubble3D val="0"/>
            <c:extLst>
              <c:ext xmlns:c16="http://schemas.microsoft.com/office/drawing/2014/chart" uri="{C3380CC4-5D6E-409C-BE32-E72D297353CC}">
                <c16:uniqueId val="{00000024-7E63-4E40-9121-DD8ACF9A1BA8}"/>
              </c:ext>
            </c:extLst>
          </c:dPt>
          <c:dPt>
            <c:idx val="5"/>
            <c:invertIfNegative val="0"/>
            <c:bubble3D val="0"/>
            <c:extLst>
              <c:ext xmlns:c16="http://schemas.microsoft.com/office/drawing/2014/chart" uri="{C3380CC4-5D6E-409C-BE32-E72D297353CC}">
                <c16:uniqueId val="{00000025-7E63-4E40-9121-DD8ACF9A1BA8}"/>
              </c:ext>
            </c:extLst>
          </c:dPt>
          <c:dPt>
            <c:idx val="6"/>
            <c:invertIfNegative val="0"/>
            <c:bubble3D val="0"/>
            <c:extLst>
              <c:ext xmlns:c16="http://schemas.microsoft.com/office/drawing/2014/chart" uri="{C3380CC4-5D6E-409C-BE32-E72D297353CC}">
                <c16:uniqueId val="{00000026-7E63-4E40-9121-DD8ACF9A1BA8}"/>
              </c:ext>
            </c:extLst>
          </c:dPt>
          <c:dPt>
            <c:idx val="7"/>
            <c:invertIfNegative val="0"/>
            <c:bubble3D val="0"/>
            <c:extLst>
              <c:ext xmlns:c16="http://schemas.microsoft.com/office/drawing/2014/chart" uri="{C3380CC4-5D6E-409C-BE32-E72D297353CC}">
                <c16:uniqueId val="{00000027-7E63-4E40-9121-DD8ACF9A1BA8}"/>
              </c:ext>
            </c:extLst>
          </c:dPt>
          <c:dLbls>
            <c:dLbl>
              <c:idx val="3"/>
              <c:layout>
                <c:manualLayout>
                  <c:x val="5.634160043936217E-2"/>
                  <c:y val="-1.6900966939972907E-3"/>
                </c:manualLayout>
              </c:layout>
              <c:spPr>
                <a:noFill/>
                <a:ln w="25398">
                  <a:noFill/>
                </a:ln>
              </c:spPr>
              <c:txPr>
                <a:bodyPr/>
                <a:lstStyle/>
                <a:p>
                  <a:pPr>
                    <a:defRPr sz="800" b="0" i="0" u="none" strike="noStrike" baseline="0">
                      <a:solidFill>
                        <a:srgbClr val="CCCCFE"/>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7E63-4E40-9121-DD8ACF9A1BA8}"/>
                </c:ext>
              </c:extLst>
            </c:dLbl>
            <c:dLbl>
              <c:idx val="5"/>
              <c:spPr>
                <a:noFill/>
                <a:ln w="25398">
                  <a:noFill/>
                </a:ln>
              </c:spPr>
              <c:txPr>
                <a:bodyPr/>
                <a:lstStyle/>
                <a:p>
                  <a:pPr>
                    <a:defRPr sz="800" b="0"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7E63-4E40-9121-DD8ACF9A1BA8}"/>
                </c:ext>
              </c:extLst>
            </c:dLbl>
            <c:dLbl>
              <c:idx val="6"/>
              <c:spPr>
                <a:noFill/>
                <a:ln w="25398">
                  <a:noFill/>
                </a:ln>
              </c:spPr>
              <c:txPr>
                <a:bodyPr/>
                <a:lstStyle/>
                <a:p>
                  <a:pPr>
                    <a:defRPr sz="800"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7E63-4E40-9121-DD8ACF9A1BA8}"/>
                </c:ext>
              </c:extLst>
            </c:dLbl>
            <c:dLbl>
              <c:idx val="7"/>
              <c:spPr>
                <a:noFill/>
                <a:ln w="25398">
                  <a:noFill/>
                </a:ln>
              </c:spPr>
              <c:txPr>
                <a:bodyPr/>
                <a:lstStyle/>
                <a:p>
                  <a:pPr>
                    <a:defRPr sz="800"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7E63-4E40-9121-DD8ACF9A1BA8}"/>
                </c:ext>
              </c:extLst>
            </c:dLbl>
            <c:spPr>
              <a:noFill/>
              <a:ln>
                <a:noFill/>
              </a:ln>
              <a:effectLst/>
            </c:spPr>
            <c:txPr>
              <a:bodyPr wrap="square" lIns="38100" tIns="19050" rIns="38100" bIns="19050" anchor="ctr">
                <a:spAutoFit/>
              </a:bodyPr>
              <a:lstStyle/>
              <a:p>
                <a:pPr>
                  <a:defRPr sz="800">
                    <a:solidFill>
                      <a:srgbClr val="CCCCFE"/>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8:$I$8</c:f>
              <c:numCache>
                <c:formatCode>General</c:formatCode>
                <c:ptCount val="8"/>
                <c:pt idx="0">
                  <c:v>0.3</c:v>
                </c:pt>
                <c:pt idx="1">
                  <c:v>1.6</c:v>
                </c:pt>
                <c:pt idx="2">
                  <c:v>5.9</c:v>
                </c:pt>
                <c:pt idx="3" formatCode="#,##0_);\(#,##0\)">
                  <c:v>17.399999999999999</c:v>
                </c:pt>
                <c:pt idx="4" formatCode="#,##0_);\(#,##0\)">
                  <c:v>41.8</c:v>
                </c:pt>
                <c:pt idx="5" formatCode="#,##0_);\(#,##0\)">
                  <c:v>64.599999999999994</c:v>
                </c:pt>
                <c:pt idx="6" formatCode="#,##0_);\(#,##0\)">
                  <c:v>86.4</c:v>
                </c:pt>
                <c:pt idx="7" formatCode="#,##0_);\(#,##0\)">
                  <c:v>103.9</c:v>
                </c:pt>
              </c:numCache>
            </c:numRef>
          </c:val>
          <c:extLst>
            <c:ext xmlns:c16="http://schemas.microsoft.com/office/drawing/2014/chart" uri="{C3380CC4-5D6E-409C-BE32-E72D297353CC}">
              <c16:uniqueId val="{00000028-7E63-4E40-9121-DD8ACF9A1BA8}"/>
            </c:ext>
          </c:extLst>
        </c:ser>
        <c:ser>
          <c:idx val="7"/>
          <c:order val="7"/>
          <c:tx>
            <c:strRef>
              <c:f>Sheet1!$A$9</c:f>
              <c:strCache>
                <c:ptCount val="1"/>
              </c:strCache>
            </c:strRef>
          </c:tx>
          <c:spPr>
            <a:solidFill>
              <a:srgbClr val="00625F"/>
            </a:solidFill>
            <a:ln w="12699">
              <a:noFill/>
              <a:prstDash val="solid"/>
            </a:ln>
          </c:spPr>
          <c:invertIfNegative val="0"/>
          <c:dLbls>
            <c:dLbl>
              <c:idx val="3"/>
              <c:layout>
                <c:manualLayout>
                  <c:x val="5.604520006279444E-2"/>
                  <c:y val="-2.5800286205682879E-2"/>
                </c:manualLayout>
              </c:layout>
              <c:spPr>
                <a:noFill/>
                <a:ln w="25398">
                  <a:noFill/>
                </a:ln>
              </c:spPr>
              <c:txPr>
                <a:bodyPr/>
                <a:lstStyle/>
                <a:p>
                  <a:pPr>
                    <a:defRPr sz="800" b="0" i="0" u="none" strike="noStrike" baseline="0">
                      <a:solidFill>
                        <a:srgbClr val="00625F"/>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7E63-4E40-9121-DD8ACF9A1BA8}"/>
                </c:ext>
              </c:extLst>
            </c:dLbl>
            <c:dLbl>
              <c:idx val="6"/>
              <c:spPr>
                <a:noFill/>
                <a:ln w="25398">
                  <a:noFill/>
                </a:ln>
              </c:spPr>
              <c:txPr>
                <a:bodyPr/>
                <a:lstStyle/>
                <a:p>
                  <a:pPr>
                    <a:defRPr sz="800"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7E63-4E40-9121-DD8ACF9A1BA8}"/>
                </c:ext>
              </c:extLst>
            </c:dLbl>
            <c:dLbl>
              <c:idx val="7"/>
              <c:spPr>
                <a:noFill/>
                <a:ln w="25398">
                  <a:noFill/>
                </a:ln>
              </c:spPr>
              <c:txPr>
                <a:bodyPr/>
                <a:lstStyle/>
                <a:p>
                  <a:pPr>
                    <a:defRPr sz="800"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7E63-4E40-9121-DD8ACF9A1BA8}"/>
                </c:ext>
              </c:extLst>
            </c:dLbl>
            <c:spPr>
              <a:noFill/>
              <a:ln>
                <a:noFill/>
              </a:ln>
              <a:effectLst/>
            </c:spPr>
            <c:txPr>
              <a:bodyPr wrap="square" lIns="38100" tIns="19050" rIns="38100" bIns="19050" anchor="ctr">
                <a:spAutoFit/>
              </a:bodyPr>
              <a:lstStyle/>
              <a:p>
                <a:pPr>
                  <a:defRPr sz="800">
                    <a:solidFill>
                      <a:srgbClr val="00625F"/>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I$1</c:f>
              <c:numCache>
                <c:formatCode>General</c:formatCode>
                <c:ptCount val="8"/>
              </c:numCache>
            </c:numRef>
          </c:cat>
          <c:val>
            <c:numRef>
              <c:f>Sheet1!$B$9:$I$9</c:f>
              <c:numCache>
                <c:formatCode>General</c:formatCode>
                <c:ptCount val="8"/>
                <c:pt idx="0">
                  <c:v>0.4</c:v>
                </c:pt>
                <c:pt idx="1">
                  <c:v>2</c:v>
                </c:pt>
                <c:pt idx="2">
                  <c:v>6.7</c:v>
                </c:pt>
                <c:pt idx="3" formatCode="#,##0_);\(#,##0\)">
                  <c:v>17.2</c:v>
                </c:pt>
                <c:pt idx="4" formatCode="#,##0_);\(#,##0\)">
                  <c:v>38.200000000000003</c:v>
                </c:pt>
                <c:pt idx="5" formatCode="#,##0_);\(#,##0\)">
                  <c:v>54.3</c:v>
                </c:pt>
                <c:pt idx="6" formatCode="#,##0_);\(#,##0\)">
                  <c:v>66.400000000000006</c:v>
                </c:pt>
                <c:pt idx="7" formatCode="#,##0_);\(#,##0\)">
                  <c:v>72.900000000000006</c:v>
                </c:pt>
              </c:numCache>
            </c:numRef>
          </c:val>
          <c:extLst>
            <c:ext xmlns:c16="http://schemas.microsoft.com/office/drawing/2014/chart" uri="{C3380CC4-5D6E-409C-BE32-E72D297353CC}">
              <c16:uniqueId val="{0000002C-7E63-4E40-9121-DD8ACF9A1BA8}"/>
            </c:ext>
          </c:extLst>
        </c:ser>
        <c:dLbls>
          <c:showLegendKey val="0"/>
          <c:showVal val="0"/>
          <c:showCatName val="0"/>
          <c:showSerName val="0"/>
          <c:showPercent val="0"/>
          <c:showBubbleSize val="0"/>
        </c:dLbls>
        <c:gapWidth val="80"/>
        <c:overlap val="100"/>
        <c:axId val="279440224"/>
        <c:axId val="279440616"/>
      </c:barChart>
      <c:catAx>
        <c:axId val="279440224"/>
        <c:scaling>
          <c:orientation val="minMax"/>
        </c:scaling>
        <c:delete val="0"/>
        <c:axPos val="b"/>
        <c:numFmt formatCode="General" sourceLinked="1"/>
        <c:majorTickMark val="none"/>
        <c:minorTickMark val="none"/>
        <c:tickLblPos val="none"/>
        <c:spPr>
          <a:ln w="25400" cap="rnd">
            <a:solidFill>
              <a:srgbClr val="B1B3B4"/>
            </a:solidFill>
            <a:prstDash val="solid"/>
          </a:ln>
        </c:spPr>
        <c:crossAx val="279440616"/>
        <c:crossesAt val="0"/>
        <c:auto val="1"/>
        <c:lblAlgn val="ctr"/>
        <c:lblOffset val="100"/>
        <c:tickLblSkip val="1"/>
        <c:tickMarkSkip val="1"/>
        <c:noMultiLvlLbl val="0"/>
      </c:catAx>
      <c:valAx>
        <c:axId val="279440616"/>
        <c:scaling>
          <c:orientation val="minMax"/>
          <c:max val="1240.3197349154266"/>
          <c:min val="0"/>
        </c:scaling>
        <c:delete val="0"/>
        <c:axPos val="l"/>
        <c:numFmt formatCode="General" sourceLinked="1"/>
        <c:majorTickMark val="none"/>
        <c:minorTickMark val="none"/>
        <c:tickLblPos val="none"/>
        <c:spPr>
          <a:ln w="6349">
            <a:noFill/>
          </a:ln>
        </c:spPr>
        <c:crossAx val="279440224"/>
        <c:crosses val="autoZero"/>
        <c:crossBetween val="between"/>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0" y="0"/>
            <a:ext cx="3076364" cy="511731"/>
          </a:xfrm>
          <a:prstGeom prst="rect">
            <a:avLst/>
          </a:prstGeom>
          <a:noFill/>
          <a:ln w="9525">
            <a:noFill/>
            <a:miter lim="800000"/>
            <a:headEnd/>
            <a:tailEnd/>
          </a:ln>
          <a:effectLst/>
        </p:spPr>
        <p:txBody>
          <a:bodyPr vert="horz" wrap="square" lIns="99041" tIns="49521" rIns="99041" bIns="49521" numCol="1" anchor="t" anchorCtr="0" compatLnSpc="1">
            <a:prstTxWarp prst="textNoShape">
              <a:avLst/>
            </a:prstTxWarp>
          </a:bodyPr>
          <a:lstStyle>
            <a:lvl1pPr>
              <a:spcBef>
                <a:spcPct val="0"/>
              </a:spcBef>
              <a:defRPr sz="1300"/>
            </a:lvl1pPr>
          </a:lstStyle>
          <a:p>
            <a:r>
              <a:rPr lang="en-US" sz="1200"/>
              <a:t>The 5G Ready Core Network Architecture </a:t>
            </a:r>
            <a:endParaRPr lang="en-US" sz="1200" dirty="0"/>
          </a:p>
        </p:txBody>
      </p:sp>
      <p:sp>
        <p:nvSpPr>
          <p:cNvPr id="79875" name="Rectangle 3"/>
          <p:cNvSpPr>
            <a:spLocks noGrp="1" noChangeArrowheads="1"/>
          </p:cNvSpPr>
          <p:nvPr>
            <p:ph type="dt" sz="quarter" idx="1"/>
          </p:nvPr>
        </p:nvSpPr>
        <p:spPr bwMode="auto">
          <a:xfrm>
            <a:off x="4021294" y="0"/>
            <a:ext cx="3076364" cy="511731"/>
          </a:xfrm>
          <a:prstGeom prst="rect">
            <a:avLst/>
          </a:prstGeom>
          <a:noFill/>
          <a:ln w="9525">
            <a:noFill/>
            <a:miter lim="800000"/>
            <a:headEnd/>
            <a:tailEnd/>
          </a:ln>
          <a:effectLst/>
        </p:spPr>
        <p:txBody>
          <a:bodyPr vert="horz" wrap="square" lIns="99041" tIns="49521" rIns="99041" bIns="49521" numCol="1" anchor="t" anchorCtr="0" compatLnSpc="1">
            <a:prstTxWarp prst="textNoShape">
              <a:avLst/>
            </a:prstTxWarp>
          </a:bodyPr>
          <a:lstStyle>
            <a:lvl1pPr algn="r">
              <a:spcBef>
                <a:spcPct val="0"/>
              </a:spcBef>
              <a:defRPr sz="1300"/>
            </a:lvl1pPr>
          </a:lstStyle>
          <a:p>
            <a:r>
              <a:rPr lang="en-US" sz="1200"/>
              <a:t>2016-12-12 </a:t>
            </a:r>
            <a:endParaRPr lang="en-US" sz="1200" dirty="0"/>
          </a:p>
        </p:txBody>
      </p:sp>
      <p:sp>
        <p:nvSpPr>
          <p:cNvPr id="79876" name="Rectangle 4"/>
          <p:cNvSpPr>
            <a:spLocks noGrp="1" noChangeArrowheads="1"/>
          </p:cNvSpPr>
          <p:nvPr>
            <p:ph type="ftr" sz="quarter" idx="2"/>
          </p:nvPr>
        </p:nvSpPr>
        <p:spPr bwMode="auto">
          <a:xfrm>
            <a:off x="0" y="9721106"/>
            <a:ext cx="3076364" cy="511731"/>
          </a:xfrm>
          <a:prstGeom prst="rect">
            <a:avLst/>
          </a:prstGeom>
          <a:noFill/>
          <a:ln w="9525">
            <a:noFill/>
            <a:miter lim="800000"/>
            <a:headEnd/>
            <a:tailEnd/>
          </a:ln>
          <a:effectLst/>
        </p:spPr>
        <p:txBody>
          <a:bodyPr vert="horz" wrap="square" lIns="99041" tIns="49521" rIns="99041" bIns="49521" numCol="1" anchor="b" anchorCtr="0" compatLnSpc="1">
            <a:prstTxWarp prst="textNoShape">
              <a:avLst/>
            </a:prstTxWarp>
          </a:bodyPr>
          <a:lstStyle>
            <a:lvl1pPr>
              <a:spcBef>
                <a:spcPct val="0"/>
              </a:spcBef>
              <a:defRPr sz="1300"/>
            </a:lvl1pPr>
          </a:lstStyle>
          <a:p>
            <a:r>
              <a:rPr lang="en-US" sz="1200"/>
              <a:t>BUCI-16:002710 Uen, Rev C </a:t>
            </a:r>
            <a:endParaRPr lang="en-US" sz="1200" dirty="0"/>
          </a:p>
        </p:txBody>
      </p:sp>
      <p:sp>
        <p:nvSpPr>
          <p:cNvPr id="79877" name="Rectangle 5"/>
          <p:cNvSpPr>
            <a:spLocks noGrp="1" noChangeArrowheads="1"/>
          </p:cNvSpPr>
          <p:nvPr>
            <p:ph type="sldNum" sz="quarter" idx="3"/>
          </p:nvPr>
        </p:nvSpPr>
        <p:spPr bwMode="auto">
          <a:xfrm>
            <a:off x="4021294" y="9721106"/>
            <a:ext cx="3076364" cy="511731"/>
          </a:xfrm>
          <a:prstGeom prst="rect">
            <a:avLst/>
          </a:prstGeom>
          <a:noFill/>
          <a:ln w="9525">
            <a:noFill/>
            <a:miter lim="800000"/>
            <a:headEnd/>
            <a:tailEnd/>
          </a:ln>
          <a:effectLst/>
        </p:spPr>
        <p:txBody>
          <a:bodyPr vert="horz" wrap="square" lIns="99041" tIns="49521" rIns="99041" bIns="49521" numCol="1" anchor="b" anchorCtr="0" compatLnSpc="1">
            <a:prstTxWarp prst="textNoShape">
              <a:avLst/>
            </a:prstTxWarp>
          </a:bodyPr>
          <a:lstStyle>
            <a:lvl1pPr algn="r">
              <a:spcBef>
                <a:spcPct val="0"/>
              </a:spcBef>
              <a:defRPr sz="1300"/>
            </a:lvl1pPr>
          </a:lstStyle>
          <a:p>
            <a:fld id="{4ECEF30E-552D-42ED-82CA-C73F83CA10A8}" type="slidenum">
              <a:rPr lang="en-US" sz="1200"/>
              <a:pPr/>
              <a:t>‹#›</a:t>
            </a:fld>
            <a:endParaRPr lang="en-US" sz="1200" dirty="0"/>
          </a:p>
        </p:txBody>
      </p:sp>
    </p:spTree>
    <p:extLst>
      <p:ext uri="{BB962C8B-B14F-4D97-AF65-F5344CB8AC3E}">
        <p14:creationId xmlns:p14="http://schemas.microsoft.com/office/powerpoint/2010/main" val="298558323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4021900" y="0"/>
            <a:ext cx="3075762" cy="512460"/>
          </a:xfrm>
          <a:prstGeom prst="rect">
            <a:avLst/>
          </a:prstGeom>
        </p:spPr>
        <p:txBody>
          <a:bodyPr vert="horz" lIns="93763" tIns="46881" rIns="93763" bIns="46881" rtlCol="0"/>
          <a:lstStyle>
            <a:lvl1pPr algn="r">
              <a:defRPr sz="1200"/>
            </a:lvl1pPr>
          </a:lstStyle>
          <a:p>
            <a:r>
              <a:rPr lang="en-US"/>
              <a:t> </a:t>
            </a:r>
            <a:endParaRPr lang="en-US" dirty="0"/>
          </a:p>
        </p:txBody>
      </p:sp>
      <p:sp>
        <p:nvSpPr>
          <p:cNvPr id="3" name="Slide Number Placeholder 2"/>
          <p:cNvSpPr>
            <a:spLocks noGrp="1"/>
          </p:cNvSpPr>
          <p:nvPr>
            <p:ph type="sldNum" sz="quarter" idx="5"/>
          </p:nvPr>
        </p:nvSpPr>
        <p:spPr>
          <a:xfrm>
            <a:off x="5892893" y="9975139"/>
            <a:ext cx="458336" cy="259474"/>
          </a:xfrm>
          <a:prstGeom prst="rect">
            <a:avLst/>
          </a:prstGeom>
        </p:spPr>
        <p:txBody>
          <a:bodyPr vert="horz" lIns="93763" tIns="46881" rIns="93763" bIns="46881" rtlCol="0" anchor="b"/>
          <a:lstStyle>
            <a:lvl1pPr algn="r">
              <a:defRPr sz="900">
                <a:latin typeface="Arial" panose="020B0604020202020204" pitchFamily="34" charset="0"/>
              </a:defRPr>
            </a:lvl1pPr>
          </a:lstStyle>
          <a:p>
            <a:fld id="{5852353D-F306-481A-B3D0-C36CE0BF9563}" type="slidenum">
              <a:rPr lang="en-US" smtClean="0"/>
              <a:pPr/>
              <a:t>‹#›</a:t>
            </a:fld>
            <a:endParaRPr lang="en-US" dirty="0"/>
          </a:p>
        </p:txBody>
      </p:sp>
      <p:sp>
        <p:nvSpPr>
          <p:cNvPr id="4" name="Header Placeholder 3"/>
          <p:cNvSpPr>
            <a:spLocks noGrp="1"/>
          </p:cNvSpPr>
          <p:nvPr>
            <p:ph type="hdr" sz="quarter"/>
          </p:nvPr>
        </p:nvSpPr>
        <p:spPr>
          <a:xfrm>
            <a:off x="2435729" y="324342"/>
            <a:ext cx="3928596" cy="259474"/>
          </a:xfrm>
          <a:prstGeom prst="rect">
            <a:avLst/>
          </a:prstGeom>
        </p:spPr>
        <p:txBody>
          <a:bodyPr vert="horz" lIns="93763" tIns="46881" rIns="93763" bIns="46881" rtlCol="0" anchor="b"/>
          <a:lstStyle>
            <a:lvl1pPr algn="r">
              <a:defRPr sz="1100">
                <a:latin typeface="Arial" panose="020B0604020202020204" pitchFamily="34" charset="0"/>
              </a:defRPr>
            </a:lvl1pPr>
          </a:lstStyle>
          <a:p>
            <a:r>
              <a:rPr lang="en-US"/>
              <a:t>5G Core Concepts</a:t>
            </a:r>
            <a:endParaRPr lang="en-US" dirty="0"/>
          </a:p>
        </p:txBody>
      </p:sp>
      <p:sp>
        <p:nvSpPr>
          <p:cNvPr id="5" name="Slide Image Placeholder 4"/>
          <p:cNvSpPr>
            <a:spLocks noGrp="1" noRot="1" noChangeAspect="1"/>
          </p:cNvSpPr>
          <p:nvPr>
            <p:ph type="sldImg" idx="2"/>
          </p:nvPr>
        </p:nvSpPr>
        <p:spPr>
          <a:xfrm>
            <a:off x="1336675" y="842963"/>
            <a:ext cx="6229350" cy="3503612"/>
          </a:xfrm>
          <a:prstGeom prst="rect">
            <a:avLst/>
          </a:prstGeom>
          <a:noFill/>
          <a:ln w="12700">
            <a:solidFill>
              <a:prstClr val="black"/>
            </a:solidFill>
          </a:ln>
        </p:spPr>
        <p:txBody>
          <a:bodyPr vert="horz" lIns="93763" tIns="46881" rIns="93763" bIns="46881" rtlCol="0" anchor="ctr"/>
          <a:lstStyle/>
          <a:p>
            <a:endParaRPr lang="en-US"/>
          </a:p>
        </p:txBody>
      </p:sp>
      <p:sp>
        <p:nvSpPr>
          <p:cNvPr id="6" name="Footer Placeholder 5"/>
          <p:cNvSpPr>
            <a:spLocks noGrp="1"/>
          </p:cNvSpPr>
          <p:nvPr>
            <p:ph type="ftr" sz="quarter" idx="4"/>
          </p:nvPr>
        </p:nvSpPr>
        <p:spPr>
          <a:xfrm>
            <a:off x="707147" y="9975139"/>
            <a:ext cx="5185746" cy="259474"/>
          </a:xfrm>
          <a:prstGeom prst="rect">
            <a:avLst/>
          </a:prstGeom>
        </p:spPr>
        <p:txBody>
          <a:bodyPr vert="horz" wrap="none" lIns="93763" tIns="46881" rIns="93763" bIns="46881" rtlCol="0" anchor="b"/>
          <a:lstStyle>
            <a:lvl1pPr algn="l">
              <a:defRPr sz="900">
                <a:latin typeface="Arial" panose="020B0604020202020204" pitchFamily="34" charset="0"/>
              </a:defRPr>
            </a:lvl1pPr>
          </a:lstStyle>
          <a:p>
            <a:r>
              <a:rPr lang="de-DE"/>
              <a:t>© Ericsson AB 2017  |  LZU1421223 PA2</a:t>
            </a:r>
            <a:endParaRPr lang="en-US" dirty="0"/>
          </a:p>
        </p:txBody>
      </p:sp>
      <p:sp>
        <p:nvSpPr>
          <p:cNvPr id="7" name="Notes Placeholder 6"/>
          <p:cNvSpPr>
            <a:spLocks noGrp="1"/>
          </p:cNvSpPr>
          <p:nvPr>
            <p:ph type="body" sz="quarter" idx="3"/>
          </p:nvPr>
        </p:nvSpPr>
        <p:spPr>
          <a:xfrm>
            <a:off x="1309532" y="4540789"/>
            <a:ext cx="4714315" cy="4915404"/>
          </a:xfrm>
          <a:prstGeom prst="rect">
            <a:avLst/>
          </a:prstGeom>
        </p:spPr>
        <p:txBody>
          <a:bodyPr vert="horz" lIns="93763" tIns="46881" rIns="93763" bIns="468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_NM"/>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148" y="324342"/>
            <a:ext cx="182271" cy="242847"/>
          </a:xfrm>
          <a:prstGeom prst="rect">
            <a:avLst/>
          </a:prstGeom>
        </p:spPr>
      </p:pic>
      <p:pic>
        <p:nvPicPr>
          <p:cNvPr id="9" name="NoteLine1"/>
          <p:cNvPicPr>
            <a:picLocks/>
          </p:cNvPicPr>
          <p:nvPr/>
        </p:nvPicPr>
        <p:blipFill>
          <a:blip r:embed="rId3">
            <a:extLst>
              <a:ext uri="{28A0092B-C50C-407E-A947-70E740481C1C}">
                <a14:useLocalDpi xmlns:a14="http://schemas.microsoft.com/office/drawing/2010/main" val="0"/>
              </a:ext>
            </a:extLst>
          </a:blip>
          <a:stretch>
            <a:fillRect/>
          </a:stretch>
        </p:blipFill>
        <p:spPr>
          <a:xfrm>
            <a:off x="707147" y="583816"/>
            <a:ext cx="5657178" cy="38921"/>
          </a:xfrm>
          <a:prstGeom prst="rect">
            <a:avLst/>
          </a:prstGeom>
        </p:spPr>
      </p:pic>
      <p:pic>
        <p:nvPicPr>
          <p:cNvPr id="10" name="NoteLine2"/>
          <p:cNvPicPr>
            <a:picLocks/>
          </p:cNvPicPr>
          <p:nvPr/>
        </p:nvPicPr>
        <p:blipFill>
          <a:blip r:embed="rId3">
            <a:extLst>
              <a:ext uri="{28A0092B-C50C-407E-A947-70E740481C1C}">
                <a14:useLocalDpi xmlns:a14="http://schemas.microsoft.com/office/drawing/2010/main" val="0"/>
              </a:ext>
            </a:extLst>
          </a:blip>
          <a:stretch>
            <a:fillRect/>
          </a:stretch>
        </p:blipFill>
        <p:spPr>
          <a:xfrm>
            <a:off x="707147" y="9936218"/>
            <a:ext cx="5657178" cy="38921"/>
          </a:xfrm>
          <a:prstGeom prst="rect">
            <a:avLst/>
          </a:prstGeom>
        </p:spPr>
      </p:pic>
    </p:spTree>
    <p:extLst>
      <p:ext uri="{BB962C8B-B14F-4D97-AF65-F5344CB8AC3E}">
        <p14:creationId xmlns:p14="http://schemas.microsoft.com/office/powerpoint/2010/main" val="3508257339"/>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1200" kern="1200">
        <a:solidFill>
          <a:schemeClr val="tx1"/>
        </a:solidFill>
        <a:latin typeface="Times New Roman" panose="02020603050405020304" pitchFamily="18" charset="0"/>
        <a:ea typeface="+mn-ea"/>
        <a:cs typeface="+mn-cs"/>
      </a:defRPr>
    </a:lvl1pPr>
    <a:lvl2pPr marL="4572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2pPr>
    <a:lvl3pPr marL="9144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3pPr>
    <a:lvl4pPr marL="13716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4pPr>
    <a:lvl5pPr marL="18288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79413" y="736600"/>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r>
              <a:rPr lang="en-US" sz="1000"/>
              <a:t>DISCLAIMER</a:t>
            </a:r>
          </a:p>
          <a:p>
            <a:pPr eaLnBrk="1" hangingPunct="1"/>
            <a:r>
              <a:rPr lang="en-US" sz="1000"/>
              <a:t> </a:t>
            </a:r>
          </a:p>
          <a:p>
            <a:pPr eaLnBrk="1" hangingPunct="1"/>
            <a:r>
              <a:rPr lang="en-US" sz="1000"/>
              <a:t>This book is a training document and contains simplifications. Therefore, it must not be considered as a specification of the system.</a:t>
            </a:r>
          </a:p>
          <a:p>
            <a:pPr eaLnBrk="1" hangingPunct="1"/>
            <a:r>
              <a:rPr lang="en-US" sz="1000"/>
              <a:t> </a:t>
            </a:r>
          </a:p>
          <a:p>
            <a:pPr eaLnBrk="1" hangingPunct="1"/>
            <a:r>
              <a:rPr lang="en-US" sz="1000"/>
              <a:t>The contents of this document are subject to revision without notice due to ongoing progress in methodology, design and manufacturing.</a:t>
            </a:r>
          </a:p>
          <a:p>
            <a:pPr eaLnBrk="1" hangingPunct="1"/>
            <a:r>
              <a:rPr lang="en-US" sz="1000"/>
              <a:t> </a:t>
            </a:r>
          </a:p>
          <a:p>
            <a:pPr eaLnBrk="1" hangingPunct="1"/>
            <a:r>
              <a:rPr lang="en-US" sz="1000"/>
              <a:t>Ericsson shall have no liability for any error or damage of any kind resulting from the use of this document.</a:t>
            </a:r>
          </a:p>
          <a:p>
            <a:pPr eaLnBrk="1" hangingPunct="1"/>
            <a:r>
              <a:rPr lang="en-US" sz="1000"/>
              <a:t> </a:t>
            </a:r>
          </a:p>
          <a:p>
            <a:pPr eaLnBrk="1" hangingPunct="1"/>
            <a:r>
              <a:rPr lang="en-US" sz="1000"/>
              <a:t>This document is not intended to replace the technical documentation that was shipped with your system. Always refer to that technical documentation during operation and maintenance.</a:t>
            </a:r>
          </a:p>
          <a:p>
            <a:pPr eaLnBrk="1" hangingPunct="1"/>
            <a:r>
              <a:rPr lang="en-US" sz="1000"/>
              <a:t> </a:t>
            </a:r>
          </a:p>
          <a:p>
            <a:pPr eaLnBrk="1" hangingPunct="1"/>
            <a:r>
              <a:rPr lang="en-US" sz="1000"/>
              <a:t> © Ericsson AB 2017</a:t>
            </a:r>
          </a:p>
          <a:p>
            <a:pPr eaLnBrk="1" hangingPunct="1"/>
            <a:r>
              <a:rPr lang="en-US" sz="1000"/>
              <a:t> </a:t>
            </a:r>
          </a:p>
          <a:p>
            <a:pPr eaLnBrk="1" hangingPunct="1"/>
            <a:r>
              <a:rPr lang="en-US" sz="1000"/>
              <a:t>This document was produced by Ericsson AB.</a:t>
            </a:r>
          </a:p>
          <a:p>
            <a:pPr eaLnBrk="1" hangingPunct="1"/>
            <a:r>
              <a:rPr lang="en-US" sz="1000"/>
              <a:t> </a:t>
            </a:r>
          </a:p>
          <a:p>
            <a:pPr eaLnBrk="1" hangingPunct="1"/>
            <a:r>
              <a:rPr lang="en-US" sz="1000"/>
              <a:t>•         The book is to be used for training purposes only and it is strictly prohibited to copy, reproduce, disclose or distribute it in any manner without the express written consent from Ericsson.</a:t>
            </a:r>
          </a:p>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25CE0650-D038-4DF6-B4E7-C4D6869DE449}" type="slidenum">
              <a:rPr lang="en-US" smtClean="0"/>
              <a:t>1</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15875237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5300" y="842963"/>
            <a:ext cx="6227763" cy="3503612"/>
          </a:xfrm>
        </p:spPr>
      </p:sp>
      <p:sp>
        <p:nvSpPr>
          <p:cNvPr id="3" name="Notes Placeholder 2"/>
          <p:cNvSpPr>
            <a:spLocks noGrp="1"/>
          </p:cNvSpPr>
          <p:nvPr>
            <p:ph type="body" idx="1"/>
          </p:nvPr>
        </p:nvSpPr>
        <p:spPr/>
        <p:txBody>
          <a:bodyPr/>
          <a:lstStyle/>
          <a:p>
            <a:pPr>
              <a:spcBef>
                <a:spcPts val="1230"/>
              </a:spcBef>
              <a:buClr>
                <a:srgbClr val="00A9D4"/>
              </a:buClr>
            </a:pPr>
            <a:r>
              <a:rPr lang="en-US" sz="1000" kern="0" dirty="0"/>
              <a:t>The figure shows the expected 5G enabled digitalization revenues for ICT players between 2018 and 2026.  </a:t>
            </a:r>
          </a:p>
          <a:p>
            <a:pPr marL="180689" indent="-180689">
              <a:spcBef>
                <a:spcPts val="1230"/>
              </a:spcBef>
              <a:buClr>
                <a:srgbClr val="00A9D4"/>
              </a:buClr>
              <a:buFont typeface="Arial" charset="0"/>
              <a:buChar char="›"/>
            </a:pPr>
            <a:r>
              <a:rPr lang="en-US" sz="1000" kern="0" dirty="0"/>
              <a:t>The industry expects there will be a </a:t>
            </a:r>
            <a:r>
              <a:rPr lang="en-US" sz="1000" b="1" kern="0" dirty="0"/>
              <a:t>ramp up</a:t>
            </a:r>
            <a:r>
              <a:rPr lang="en-US" sz="1000" kern="0" dirty="0"/>
              <a:t> in 5G enabled digitalization market revenues starting in the </a:t>
            </a:r>
            <a:r>
              <a:rPr lang="en-US" sz="1000" b="1" kern="0" dirty="0"/>
              <a:t>first years </a:t>
            </a:r>
            <a:r>
              <a:rPr lang="en-US" sz="1000" kern="0" dirty="0"/>
              <a:t>after the expected launch of the technology (~2018)</a:t>
            </a:r>
          </a:p>
          <a:p>
            <a:pPr marL="180689" indent="-180689">
              <a:spcBef>
                <a:spcPts val="1230"/>
              </a:spcBef>
              <a:buClr>
                <a:srgbClr val="00A9D4"/>
              </a:buClr>
              <a:buFont typeface="Arial" charset="0"/>
              <a:buChar char="›"/>
            </a:pPr>
            <a:r>
              <a:rPr lang="en-US" sz="1000" kern="0" dirty="0"/>
              <a:t>Full </a:t>
            </a:r>
            <a:r>
              <a:rPr lang="en-US" sz="1000" b="1" kern="0" dirty="0"/>
              <a:t>commercial deployment </a:t>
            </a:r>
            <a:r>
              <a:rPr lang="en-US" sz="1000" kern="0" dirty="0"/>
              <a:t>is not expected before 2023, after which it will still take a few years before the industry can capture the full value of 5G</a:t>
            </a:r>
          </a:p>
          <a:p>
            <a:pPr marL="180689" indent="-180689">
              <a:spcBef>
                <a:spcPts val="1230"/>
              </a:spcBef>
              <a:buClr>
                <a:srgbClr val="00A9D4"/>
              </a:buClr>
              <a:buFont typeface="Arial" charset="0"/>
              <a:buChar char="›"/>
            </a:pPr>
            <a:r>
              <a:rPr lang="en-US" sz="1000" kern="0" dirty="0"/>
              <a:t>The ramp-up to is expected to continue until 2024, after which the growth will decrease and follow the </a:t>
            </a:r>
            <a:r>
              <a:rPr lang="en-US" sz="1000" b="1" kern="0" dirty="0"/>
              <a:t>normal market</a:t>
            </a:r>
          </a:p>
          <a:p>
            <a:pPr marL="180689" indent="-180689">
              <a:spcBef>
                <a:spcPts val="1846"/>
              </a:spcBef>
              <a:buClr>
                <a:srgbClr val="00A9D4"/>
              </a:buClr>
              <a:buFont typeface="Arial" charset="0"/>
              <a:buChar char="›"/>
            </a:pPr>
            <a:r>
              <a:rPr lang="en-US" sz="1000" kern="0" dirty="0"/>
              <a:t>&gt; 2024 growth will decrease and follow the </a:t>
            </a:r>
            <a:r>
              <a:rPr lang="en-US" sz="1000" b="1" kern="0" dirty="0"/>
              <a:t>normal market</a:t>
            </a:r>
          </a:p>
          <a:p>
            <a:pPr marL="180689" indent="-180689">
              <a:spcBef>
                <a:spcPts val="1846"/>
              </a:spcBef>
              <a:buClr>
                <a:srgbClr val="00A9D4"/>
              </a:buClr>
              <a:buFont typeface="Arial" charset="0"/>
              <a:buChar char="›"/>
            </a:pPr>
            <a:endParaRPr lang="en-US" sz="1000" kern="0" dirty="0"/>
          </a:p>
          <a:p>
            <a:endParaRPr lang="en-US" sz="1000" dirty="0"/>
          </a:p>
        </p:txBody>
      </p:sp>
      <p:sp>
        <p:nvSpPr>
          <p:cNvPr id="4" name="Slide Number Placeholder 3"/>
          <p:cNvSpPr>
            <a:spLocks noGrp="1"/>
          </p:cNvSpPr>
          <p:nvPr>
            <p:ph type="sldNum" sz="quarter" idx="10"/>
          </p:nvPr>
        </p:nvSpPr>
        <p:spPr/>
        <p:txBody>
          <a:bodyPr/>
          <a:lstStyle/>
          <a:p>
            <a:fld id="{BB6FCB8F-0625-4B5B-8DD3-24A4591F55F1}" type="slidenum">
              <a:rPr lang="en-US" smtClean="0"/>
              <a:t>1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4016697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7050" y="842963"/>
            <a:ext cx="6227763" cy="3503612"/>
          </a:xfrm>
        </p:spPr>
      </p:sp>
      <p:sp>
        <p:nvSpPr>
          <p:cNvPr id="3" name="Notes Placeholder 2"/>
          <p:cNvSpPr>
            <a:spLocks noGrp="1"/>
          </p:cNvSpPr>
          <p:nvPr>
            <p:ph type="body" idx="1"/>
          </p:nvPr>
        </p:nvSpPr>
        <p:spPr/>
        <p:txBody>
          <a:bodyPr/>
          <a:lstStyle/>
          <a:p>
            <a:r>
              <a:rPr lang="en-US" sz="1000" dirty="0"/>
              <a:t>The NF Repository Function (NRF) supports the following functionality:</a:t>
            </a:r>
          </a:p>
          <a:p>
            <a:pPr marL="175805" indent="-175805">
              <a:buFont typeface="Arial" panose="020B0604020202020204" pitchFamily="34" charset="0"/>
              <a:buChar char="•"/>
            </a:pPr>
            <a:r>
              <a:rPr lang="en-US" sz="1000" dirty="0"/>
              <a:t>Supports service discovery function. Receive NF Discovery Request from NF instance, and provides the information of the discovered NF instances to the requesting NF instance.</a:t>
            </a:r>
          </a:p>
          <a:p>
            <a:pPr marL="175805" indent="-175805">
              <a:buFont typeface="Arial" panose="020B0604020202020204" pitchFamily="34" charset="0"/>
              <a:buChar char="•"/>
            </a:pPr>
            <a:r>
              <a:rPr lang="en-US" sz="1000" dirty="0"/>
              <a:t>Maintains the information of available NF instances and their supported services.</a:t>
            </a:r>
          </a:p>
          <a:p>
            <a:r>
              <a:rPr lang="en-US" sz="1000" i="1" dirty="0"/>
              <a:t>Note: Whether NRF is an enhancement of the DNS server is sill under discussion.</a:t>
            </a:r>
          </a:p>
          <a:p>
            <a:endParaRPr lang="en-US" sz="1000" dirty="0"/>
          </a:p>
        </p:txBody>
      </p:sp>
      <p:sp>
        <p:nvSpPr>
          <p:cNvPr id="4" name="Slide Number Placeholder 3"/>
          <p:cNvSpPr>
            <a:spLocks noGrp="1"/>
          </p:cNvSpPr>
          <p:nvPr>
            <p:ph type="sldNum" sz="quarter" idx="10"/>
          </p:nvPr>
        </p:nvSpPr>
        <p:spPr/>
        <p:txBody>
          <a:bodyPr/>
          <a:lstStyle/>
          <a:p>
            <a:fld id="{066AF0DE-0B0C-469B-938E-A11A9922FA61}" type="slidenum">
              <a:rPr lang="en-US" smtClean="0"/>
              <a:t>10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05997787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3713" y="842963"/>
            <a:ext cx="6229350" cy="3503612"/>
          </a:xfrm>
        </p:spPr>
      </p:sp>
      <p:sp>
        <p:nvSpPr>
          <p:cNvPr id="3" name="Notes Placeholder 2"/>
          <p:cNvSpPr>
            <a:spLocks noGrp="1"/>
          </p:cNvSpPr>
          <p:nvPr>
            <p:ph type="body" idx="1"/>
          </p:nvPr>
        </p:nvSpPr>
        <p:spPr/>
        <p:txBody>
          <a:bodyPr/>
          <a:lstStyle/>
          <a:p>
            <a:r>
              <a:rPr lang="en-GB" sz="1000" dirty="0"/>
              <a:t>The functionality of N3IWF in case of untrusted non-3GPP access includes the following:</a:t>
            </a:r>
            <a:endParaRPr lang="en-US" sz="1000" dirty="0"/>
          </a:p>
          <a:p>
            <a:pPr marL="175805" indent="-175805">
              <a:buFont typeface="Arial" panose="020B0604020202020204" pitchFamily="34" charset="0"/>
              <a:buChar char="•"/>
            </a:pPr>
            <a:r>
              <a:rPr lang="x-none" sz="1000" dirty="0"/>
              <a:t>Support of IPsec tunnel establishment with the UE: The N3IWF terminates the IKEv2/IPsec protocols with the UE over NWu and relays over N2 the information needed to authenticate the UE and authorize its access to the </a:t>
            </a:r>
            <a:r>
              <a:rPr lang="en-US" sz="1000" dirty="0"/>
              <a:t>5G Core Network</a:t>
            </a:r>
            <a:r>
              <a:rPr lang="x-none" sz="1000" dirty="0"/>
              <a:t>.</a:t>
            </a:r>
            <a:endParaRPr lang="en-US" sz="1000" dirty="0"/>
          </a:p>
          <a:p>
            <a:pPr marL="175805" indent="-175805">
              <a:buFont typeface="Arial" panose="020B0604020202020204" pitchFamily="34" charset="0"/>
              <a:buChar char="•"/>
            </a:pPr>
            <a:r>
              <a:rPr lang="x-none" sz="1000" dirty="0"/>
              <a:t>Termination of N2 and N3 interfaces to </a:t>
            </a:r>
            <a:r>
              <a:rPr lang="en-US" sz="1000" dirty="0"/>
              <a:t>5G Core Network</a:t>
            </a:r>
            <a:r>
              <a:rPr lang="x-none" sz="1000" dirty="0"/>
              <a:t> for </a:t>
            </a:r>
            <a:r>
              <a:rPr lang="en-US" sz="1000" dirty="0"/>
              <a:t>C</a:t>
            </a:r>
            <a:r>
              <a:rPr lang="x-none" sz="1000" dirty="0"/>
              <a:t>ontrol-</a:t>
            </a:r>
            <a:r>
              <a:rPr lang="en-US" sz="1000" dirty="0"/>
              <a:t>P</a:t>
            </a:r>
            <a:r>
              <a:rPr lang="x-none" sz="1000" dirty="0"/>
              <a:t>lane and user-plane respectively.</a:t>
            </a:r>
            <a:endParaRPr lang="en-US" sz="1000" dirty="0"/>
          </a:p>
          <a:p>
            <a:pPr marL="175805" indent="-175805">
              <a:buFont typeface="Arial" panose="020B0604020202020204" pitchFamily="34" charset="0"/>
              <a:buChar char="•"/>
            </a:pPr>
            <a:r>
              <a:rPr lang="x-none" sz="1000" dirty="0"/>
              <a:t>Relaying uplink and downlink control-plane NAS (N1) signalling between the UE and AMF.</a:t>
            </a:r>
            <a:endParaRPr lang="en-US" sz="1000" dirty="0"/>
          </a:p>
          <a:p>
            <a:pPr marL="175805" indent="-175805">
              <a:buFont typeface="Arial" panose="020B0604020202020204" pitchFamily="34" charset="0"/>
              <a:buChar char="•"/>
            </a:pPr>
            <a:r>
              <a:rPr lang="x-none" sz="1000" dirty="0"/>
              <a:t>Handling of N2 signalling from SMF (relayed by AMF) related to PDU sessions and QoS.</a:t>
            </a:r>
            <a:endParaRPr lang="en-US" sz="1000" dirty="0"/>
          </a:p>
          <a:p>
            <a:pPr marL="175805" indent="-175805">
              <a:buFont typeface="Arial" panose="020B0604020202020204" pitchFamily="34" charset="0"/>
              <a:buChar char="•"/>
            </a:pPr>
            <a:r>
              <a:rPr lang="x-none" sz="1000" dirty="0"/>
              <a:t>Establishment of IPsec Security Association (IPsec SA) to support PDU Session traffic.</a:t>
            </a:r>
            <a:endParaRPr lang="en-US" sz="1000" dirty="0"/>
          </a:p>
          <a:p>
            <a:pPr marL="175805" indent="-175805">
              <a:buFont typeface="Arial" panose="020B0604020202020204" pitchFamily="34" charset="0"/>
              <a:buChar char="•"/>
            </a:pPr>
            <a:r>
              <a:rPr lang="x-none" sz="1000" dirty="0"/>
              <a:t>Relaying uplink and downlink user-plane packets between the UE and UPF. This involves:</a:t>
            </a:r>
            <a:endParaRPr lang="en-US" sz="1000" dirty="0"/>
          </a:p>
          <a:p>
            <a:pPr marL="175805" indent="-175805">
              <a:buFont typeface="Arial" panose="020B0604020202020204" pitchFamily="34" charset="0"/>
              <a:buChar char="•"/>
            </a:pPr>
            <a:r>
              <a:rPr lang="x-none" sz="1000" dirty="0"/>
              <a:t>De-capsulation/Encapsulation of packets for IPSec and N3 tunnelling</a:t>
            </a:r>
            <a:endParaRPr lang="en-US" sz="1000" dirty="0"/>
          </a:p>
          <a:p>
            <a:pPr marL="175805" indent="-175805">
              <a:buFont typeface="Arial" panose="020B0604020202020204" pitchFamily="34" charset="0"/>
              <a:buChar char="•"/>
            </a:pPr>
            <a:r>
              <a:rPr lang="x-none" sz="1000" dirty="0"/>
              <a:t>Enforcing QoS corresponding to N3 packet marking, taking into account QoS requirements associated to such marking received over N2</a:t>
            </a:r>
            <a:endParaRPr lang="en-US" sz="1000" dirty="0"/>
          </a:p>
          <a:p>
            <a:pPr marL="175805" indent="-175805">
              <a:buFont typeface="Arial" panose="020B0604020202020204" pitchFamily="34" charset="0"/>
              <a:buChar char="•"/>
            </a:pPr>
            <a:r>
              <a:rPr lang="x-none" sz="1000" dirty="0"/>
              <a:t>N3 user-plane packet marking in the uplink.</a:t>
            </a:r>
            <a:endParaRPr lang="en-US" sz="1000" dirty="0"/>
          </a:p>
          <a:p>
            <a:pPr marL="175805" indent="-175805">
              <a:buFont typeface="Arial" panose="020B0604020202020204" pitchFamily="34" charset="0"/>
              <a:buChar char="•"/>
            </a:pPr>
            <a:r>
              <a:rPr lang="x-none" sz="1000" dirty="0"/>
              <a:t>Local mobility anchor within untrusted non-3GPP access networks</a:t>
            </a:r>
            <a:endParaRPr lang="en-US" sz="1000" dirty="0"/>
          </a:p>
          <a:p>
            <a:pPr marL="175805" indent="-175805">
              <a:buFont typeface="Arial" panose="020B0604020202020204" pitchFamily="34" charset="0"/>
              <a:buChar char="•"/>
            </a:pPr>
            <a:r>
              <a:rPr lang="x-none" sz="1000" dirty="0"/>
              <a:t>Supporting AMF selection.</a:t>
            </a:r>
            <a:endParaRPr lang="en-US" sz="1000" dirty="0"/>
          </a:p>
        </p:txBody>
      </p:sp>
      <p:sp>
        <p:nvSpPr>
          <p:cNvPr id="4" name="Slide Number Placeholder 3"/>
          <p:cNvSpPr>
            <a:spLocks noGrp="1"/>
          </p:cNvSpPr>
          <p:nvPr>
            <p:ph type="sldNum" sz="quarter" idx="10"/>
          </p:nvPr>
        </p:nvSpPr>
        <p:spPr/>
        <p:txBody>
          <a:bodyPr/>
          <a:lstStyle/>
          <a:p>
            <a:fld id="{8B0A94AD-62B5-4FBD-936C-57DCB7B36753}" type="slidenum">
              <a:rPr lang="en-US" smtClean="0"/>
              <a:t>10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17352531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842963"/>
            <a:ext cx="6229350" cy="3503612"/>
          </a:xfrm>
        </p:spPr>
      </p:sp>
      <p:sp>
        <p:nvSpPr>
          <p:cNvPr id="3" name="Notes Placeholder 2"/>
          <p:cNvSpPr>
            <a:spLocks noGrp="1"/>
          </p:cNvSpPr>
          <p:nvPr>
            <p:ph type="body" idx="1"/>
          </p:nvPr>
        </p:nvSpPr>
        <p:spPr>
          <a:xfrm>
            <a:off x="1309532" y="4540789"/>
            <a:ext cx="4714315" cy="4915404"/>
          </a:xfrm>
        </p:spPr>
        <p:txBody>
          <a:bodyPr/>
          <a:lstStyle/>
          <a:p>
            <a:r>
              <a:rPr lang="en-US" sz="1000" dirty="0"/>
              <a:t>Important terms and definitions according to 3GPP TS 23.501 continued:</a:t>
            </a:r>
          </a:p>
          <a:p>
            <a:r>
              <a:rPr lang="en-GB" sz="1000" b="1" dirty="0"/>
              <a:t>Network Function:</a:t>
            </a:r>
            <a:r>
              <a:rPr lang="en-GB" sz="1000" dirty="0"/>
              <a:t> A 3GPP adopted or 3GPP defined processing function in a network, which has defined functional behaviour and 3GPP defined interfaces.</a:t>
            </a:r>
          </a:p>
          <a:p>
            <a:r>
              <a:rPr lang="x-none" sz="1000" dirty="0"/>
              <a:t>A network function can be implemented either as a network element on a dedicated hardware, as a software instance running on a dedicated hardware, or as a virtualised function instantiated on an appropriate platform, e.g. on a cloud infrastructure.</a:t>
            </a:r>
            <a:endParaRPr lang="sv-SE" sz="1000" dirty="0"/>
          </a:p>
          <a:p>
            <a:r>
              <a:rPr lang="en-GB" sz="1000" b="1" dirty="0"/>
              <a:t>NF service:</a:t>
            </a:r>
            <a:r>
              <a:rPr lang="en-GB" sz="1000" dirty="0"/>
              <a:t> A functionality exposed by a NF through a service based interface and consumed by other authorized NFs.</a:t>
            </a:r>
          </a:p>
          <a:p>
            <a:r>
              <a:rPr lang="en-GB" sz="1000" b="1" dirty="0"/>
              <a:t>NF service operation:</a:t>
            </a:r>
            <a:r>
              <a:rPr lang="en-GB" sz="1000" dirty="0"/>
              <a:t> An elementary unit a NF service is composed of.</a:t>
            </a:r>
          </a:p>
          <a:p>
            <a:r>
              <a:rPr lang="en-GB" sz="1000" b="1" dirty="0"/>
              <a:t>Service based interface: </a:t>
            </a:r>
            <a:r>
              <a:rPr lang="en-GB" sz="1000" dirty="0"/>
              <a:t>It represents how the set of services provided/exposed by a given NF.</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A2A5E115-34EB-474A-A4EE-C634C57D727B}" type="slidenum">
              <a:rPr lang="en-US" smtClean="0"/>
              <a:t>10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504721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842963"/>
            <a:ext cx="6229350" cy="3503612"/>
          </a:xfrm>
        </p:spPr>
      </p:sp>
      <p:sp>
        <p:nvSpPr>
          <p:cNvPr id="3" name="Notes Placeholder 2"/>
          <p:cNvSpPr>
            <a:spLocks noGrp="1"/>
          </p:cNvSpPr>
          <p:nvPr>
            <p:ph type="body" idx="1"/>
          </p:nvPr>
        </p:nvSpPr>
        <p:spPr/>
        <p:txBody>
          <a:bodyPr/>
          <a:lstStyle/>
          <a:p>
            <a:r>
              <a:rPr lang="en-GB" sz="1000" dirty="0"/>
              <a:t>An NF service is one type of capability exposed by an NF (NF Service Producer) to other NF (NF Service Consumer) through a service-based interface. Network Function may expose one or more NF services.</a:t>
            </a:r>
          </a:p>
          <a:p>
            <a:r>
              <a:rPr lang="en-GB" sz="1000" dirty="0"/>
              <a:t>There are two </a:t>
            </a:r>
            <a:r>
              <a:rPr lang="en-US" sz="1000" dirty="0"/>
              <a:t>elementary operations </a:t>
            </a:r>
            <a:r>
              <a:rPr lang="en-GB" sz="1000" dirty="0"/>
              <a:t>that NFs provide their services through a service-based interface:</a:t>
            </a:r>
          </a:p>
          <a:p>
            <a:pPr marL="175805" indent="-175805">
              <a:buFont typeface="Arial" panose="020B0604020202020204" pitchFamily="34" charset="0"/>
              <a:buChar char="•"/>
            </a:pPr>
            <a:r>
              <a:rPr lang="en-GB" sz="1000" dirty="0"/>
              <a:t>"Request-response": A Control Plane NF A (NF Service Producer) is requested by another Control Plane NF B (NF Service Consumer) to provide a certain NF service, which can include performing an action and/or providing information. NF A response provides NF service results based on the information provided by NF B in its request. In order to fulfil the request, NF A may in turn consume NF services from other NFs. In Request-response mechanism, communication is one to one between two NFs (consumer and producer) and a one-time response from producer to a request from consumer is expected within a certain timeframe.</a:t>
            </a:r>
          </a:p>
          <a:p>
            <a:pPr marL="175805" indent="-175805">
              <a:buFont typeface="Arial" panose="020B0604020202020204" pitchFamily="34" charset="0"/>
              <a:buChar char="•"/>
            </a:pPr>
            <a:r>
              <a:rPr lang="en-GB" sz="1000" dirty="0"/>
              <a:t>"Subscribe-Notify": A Control Plane NF A (NF Service Consumer) subscribes to NF Service offered by another Control Plane NF B (NF Service Producer). Multiple Control Plane NFs may subscribe to the same Control Plane NF Service. NF B notifies the results of this NF service to the interested NF(s) that subscribed to this NF service. The subscription request from consumer may include notification request for periodic updates or notification triggered through certain events (e.g., the information requested gets changed, reaches certain threshold etc.). This mechanism also covers the case where NFs (NF B) are subscribed to certain notifications implicitly without explicit subscription request (e.g. due to successful registration procedure).</a:t>
            </a:r>
          </a:p>
          <a:p>
            <a:r>
              <a:rPr lang="en-GB" sz="1000" dirty="0"/>
              <a:t>NF Service discovery, authorization and registration are framework mechanisms that enable the use of NF services.</a:t>
            </a:r>
            <a:endParaRPr lang="en-US" sz="1000" dirty="0"/>
          </a:p>
        </p:txBody>
      </p:sp>
      <p:sp>
        <p:nvSpPr>
          <p:cNvPr id="4" name="Slide Number Placeholder 3"/>
          <p:cNvSpPr>
            <a:spLocks noGrp="1"/>
          </p:cNvSpPr>
          <p:nvPr>
            <p:ph type="sldNum" sz="quarter" idx="10"/>
          </p:nvPr>
        </p:nvSpPr>
        <p:spPr/>
        <p:txBody>
          <a:bodyPr/>
          <a:lstStyle/>
          <a:p>
            <a:fld id="{CAC5E6CF-6584-4D39-B009-6B0E30D730BD}" type="slidenum">
              <a:rPr lang="en-US" smtClean="0"/>
              <a:t>10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2095866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842963"/>
            <a:ext cx="6229350" cy="3503612"/>
          </a:xfrm>
        </p:spPr>
      </p:sp>
      <p:sp>
        <p:nvSpPr>
          <p:cNvPr id="3" name="Notes Placeholder 2"/>
          <p:cNvSpPr>
            <a:spLocks noGrp="1"/>
          </p:cNvSpPr>
          <p:nvPr>
            <p:ph type="body" idx="1"/>
          </p:nvPr>
        </p:nvSpPr>
        <p:spPr/>
        <p:txBody>
          <a:bodyPr/>
          <a:lstStyle/>
          <a:p>
            <a:r>
              <a:rPr lang="en-US" sz="1000" dirty="0"/>
              <a:t>Important terms and definitions according to 3GPP TS 23.501 continued:</a:t>
            </a:r>
          </a:p>
          <a:p>
            <a:r>
              <a:rPr lang="en-US" sz="1000" b="1" dirty="0"/>
              <a:t>Network Slice:</a:t>
            </a:r>
            <a:r>
              <a:rPr lang="en-US" sz="1000" dirty="0"/>
              <a:t> A logical network that provides specific network capabilities and network characteristics.</a:t>
            </a:r>
          </a:p>
          <a:p>
            <a:r>
              <a:rPr lang="en-US" sz="1000" b="1" dirty="0"/>
              <a:t>Network Slice instance:</a:t>
            </a:r>
            <a:r>
              <a:rPr lang="en-US" sz="1000" dirty="0"/>
              <a:t> A set of Network Function instances and the required resources (e.g. compute, storage and networking resources) which form a deployed Network Slice.</a:t>
            </a:r>
          </a:p>
          <a:p>
            <a:r>
              <a:rPr lang="en-US" sz="1000" b="1" dirty="0"/>
              <a:t>Single NSSAI: </a:t>
            </a:r>
            <a:r>
              <a:rPr lang="en-GB" sz="1000" dirty="0"/>
              <a:t>Identifies a Network Slice. The NSSAI is a collection of S-NSSAIs.  Each S-NSSAI assists the network in selecting a particular Network Slice Instance. The CN part of a Network Slice instance(s) serving a UE is selected by CN.</a:t>
            </a:r>
            <a:endParaRPr lang="en-US" sz="1000" b="1" dirty="0"/>
          </a:p>
          <a:p>
            <a:r>
              <a:rPr lang="en-GB" sz="1000" b="1" dirty="0"/>
              <a:t>Allowed NSSAI</a:t>
            </a:r>
            <a:r>
              <a:rPr lang="en-GB" sz="1000" dirty="0"/>
              <a:t>: an NSSAI provided by the serving PLMN during e.g. a registration procedure, indicating the NSSAI allowed by the network for the UE in the serving PLMN for the current registration area.</a:t>
            </a:r>
            <a:endParaRPr lang="en-US" sz="1000" dirty="0"/>
          </a:p>
          <a:p>
            <a:r>
              <a:rPr lang="en-GB" sz="1000" b="1" dirty="0"/>
              <a:t>Configured NSSAI: </a:t>
            </a:r>
            <a:r>
              <a:rPr lang="en-GB" sz="1000" dirty="0"/>
              <a:t>an NSSAI that has been provisioned in the UE.</a:t>
            </a:r>
            <a:endParaRPr lang="en-US" sz="1000" dirty="0"/>
          </a:p>
          <a:p>
            <a:r>
              <a:rPr lang="en-GB" sz="1000" b="1" dirty="0"/>
              <a:t>Requested NSSAI: </a:t>
            </a:r>
            <a:r>
              <a:rPr lang="en-GB" sz="1000" dirty="0"/>
              <a:t>the NSSAI that the UE may provide to the network.</a:t>
            </a:r>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2971B119-802A-4026-8AF3-3EBACE49AD31}" type="slidenum">
              <a:rPr lang="en-US" smtClean="0"/>
              <a:t>10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9912878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4350" y="842963"/>
            <a:ext cx="6227763" cy="3503612"/>
          </a:xfrm>
        </p:spPr>
      </p:sp>
      <p:sp>
        <p:nvSpPr>
          <p:cNvPr id="3" name="Notes Placeholder 2"/>
          <p:cNvSpPr>
            <a:spLocks noGrp="1"/>
          </p:cNvSpPr>
          <p:nvPr>
            <p:ph type="body" idx="1"/>
          </p:nvPr>
        </p:nvSpPr>
        <p:spPr/>
        <p:txBody>
          <a:bodyPr/>
          <a:lstStyle/>
          <a:p>
            <a:r>
              <a:rPr lang="en-GB" sz="1000" dirty="0"/>
              <a:t>A Network Slice may include:</a:t>
            </a:r>
            <a:endParaRPr lang="en-US" sz="1000" dirty="0"/>
          </a:p>
          <a:p>
            <a:pPr marL="175805" indent="-175805">
              <a:buFont typeface="Arial" panose="020B0604020202020204" pitchFamily="34" charset="0"/>
              <a:buChar char="•"/>
            </a:pPr>
            <a:r>
              <a:rPr lang="sv-SE" sz="1000" dirty="0"/>
              <a:t>T</a:t>
            </a:r>
            <a:r>
              <a:rPr lang="x-none" sz="1000" dirty="0"/>
              <a:t>he Core Network </a:t>
            </a:r>
            <a:r>
              <a:rPr lang="en-US" sz="1000" dirty="0"/>
              <a:t>C</a:t>
            </a:r>
            <a:r>
              <a:rPr lang="x-none" sz="1000" dirty="0"/>
              <a:t>ontrol </a:t>
            </a:r>
            <a:r>
              <a:rPr lang="en-US" sz="1000" dirty="0"/>
              <a:t>P</a:t>
            </a:r>
            <a:r>
              <a:rPr lang="x-none" sz="1000" dirty="0"/>
              <a:t>lane and user plane Network Functions</a:t>
            </a:r>
            <a:endParaRPr lang="sv-SE" sz="1000" dirty="0"/>
          </a:p>
          <a:p>
            <a:pPr marL="175805" indent="-175805">
              <a:buFont typeface="Arial" panose="020B0604020202020204" pitchFamily="34" charset="0"/>
              <a:buChar char="•"/>
            </a:pPr>
            <a:r>
              <a:rPr lang="sv-SE" sz="1000" dirty="0"/>
              <a:t>T</a:t>
            </a:r>
            <a:r>
              <a:rPr lang="x-none" sz="1000" dirty="0"/>
              <a:t>he 5G Radio Access Network</a:t>
            </a:r>
            <a:endParaRPr lang="en-US" sz="1000" dirty="0"/>
          </a:p>
          <a:p>
            <a:pPr marL="175805" indent="-175805">
              <a:buFont typeface="Arial" panose="020B0604020202020204" pitchFamily="34" charset="0"/>
              <a:buChar char="•"/>
            </a:pPr>
            <a:r>
              <a:rPr lang="sv-SE" sz="1000" dirty="0"/>
              <a:t>T</a:t>
            </a:r>
            <a:r>
              <a:rPr lang="x-none" sz="1000" dirty="0"/>
              <a:t>he N3IWF functions to the non-3GPP Access Network</a:t>
            </a:r>
            <a:endParaRPr lang="en-US" sz="1000" dirty="0"/>
          </a:p>
          <a:p>
            <a:r>
              <a:rPr lang="en-GB" sz="1000" dirty="0"/>
              <a:t>Network slices may differ for supported features and network functions optimisations. The operator may deploy multiple Network Slice instances delivering exactly the same features but for different groups of UEs, e.g. as they deliver a different committed service and/or because they may be dedicated to a customer.</a:t>
            </a:r>
            <a:endParaRPr lang="en-US" sz="1000" dirty="0"/>
          </a:p>
          <a:p>
            <a:r>
              <a:rPr lang="en-GB" sz="1000" dirty="0"/>
              <a:t>A single UE can simultaneously be served by one or more Network Slice instances via a 5G-AN. The AMF instance serving the UE logically belongs to each of the Network Slice instances serving the UE, i.e. this AMF instance is common to the Network Slice instances serving a UE.</a:t>
            </a:r>
          </a:p>
          <a:p>
            <a:r>
              <a:rPr lang="en-GB" sz="1000" dirty="0"/>
              <a:t>A PDU session belongs to one and only one specific Network Slice instance per PLMN. Different Network Slice instances do not share a PDU session, though different slices may have slice-specific PDU sessions using the same DNN.</a:t>
            </a:r>
            <a:endParaRPr lang="en-US" sz="1000" dirty="0"/>
          </a:p>
          <a:p>
            <a:endParaRPr lang="en-US" sz="1000" dirty="0"/>
          </a:p>
        </p:txBody>
      </p:sp>
      <p:sp>
        <p:nvSpPr>
          <p:cNvPr id="4" name="Slide Number Placeholder 3"/>
          <p:cNvSpPr>
            <a:spLocks noGrp="1"/>
          </p:cNvSpPr>
          <p:nvPr>
            <p:ph type="sldNum" sz="quarter" idx="10"/>
          </p:nvPr>
        </p:nvSpPr>
        <p:spPr/>
        <p:txBody>
          <a:bodyPr/>
          <a:lstStyle/>
          <a:p>
            <a:fld id="{60D341EC-8719-4249-A9C5-FF3E1C7FCCD6}" type="slidenum">
              <a:rPr lang="en-US" smtClean="0"/>
              <a:t>10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78876016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2763" y="842963"/>
            <a:ext cx="6227762"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Network slicing and network slice selection for 5G is under specification 3GPP Rel-15. This slide shows current working assumptions on some important areas. </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Information about supported network slices in Core Network Instance (CNI ) is sent to RAN when CN-RAN control plane interface is setup (like in </a:t>
            </a:r>
            <a:r>
              <a:rPr lang="en-US" sz="1000" dirty="0" err="1">
                <a:cs typeface="Times New Roman" panose="02020603050405020304" pitchFamily="18" charset="0"/>
              </a:rPr>
              <a:t>eDECOR</a:t>
            </a:r>
            <a:r>
              <a:rPr lang="en-US" sz="1000" dirty="0">
                <a:cs typeface="Times New Roman" panose="02020603050405020304" pitchFamily="18" charset="0"/>
              </a:rPr>
              <a:t>). Another possibility is to configure this information in the RAN using O&amp;M.</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CNI selection (i.e. AMF selection) in RAN is based on Network Slice Selection Assistance Information (NSSAI) from UE and other information available in RAN. </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The NSSF can select a Specific CN instance (i.e. a AMF/SMF) based on e.g. slice selection information from UE, DNN and subscription data and/or slice selection policies. The NSSF returns to the current AMF the Allowed NSSAI and the target AMF Set, or, based on configuration, the list of candidate AMF(s). </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The SMF may select a UPF function based on e.g.  DNN, UE location, slice selection policies and UP function load. </a:t>
            </a:r>
            <a:endParaRPr lang="sv-SE" sz="1000" dirty="0">
              <a:cs typeface="Times New Roman" panose="02020603050405020304" pitchFamily="18" charset="0"/>
            </a:endParaRPr>
          </a:p>
          <a:p>
            <a:endParaRPr lang="en-US" sz="1000" dirty="0">
              <a:cs typeface="Times New Roman" panose="02020603050405020304" pitchFamily="18" charset="0"/>
            </a:endParaRPr>
          </a:p>
          <a:p>
            <a:r>
              <a:rPr lang="en-US" sz="1000" i="1" dirty="0" err="1">
                <a:cs typeface="Times New Roman" panose="02020603050405020304" pitchFamily="18" charset="0"/>
              </a:rPr>
              <a:t>CIoT</a:t>
            </a:r>
            <a:r>
              <a:rPr lang="en-US" sz="1000" i="1" dirty="0">
                <a:cs typeface="Times New Roman" panose="02020603050405020304" pitchFamily="18" charset="0"/>
              </a:rPr>
              <a:t>=Cellular </a:t>
            </a:r>
            <a:r>
              <a:rPr lang="en-US" sz="1000" i="1" dirty="0" err="1">
                <a:cs typeface="Times New Roman" panose="02020603050405020304" pitchFamily="18" charset="0"/>
              </a:rPr>
              <a:t>IoT</a:t>
            </a:r>
            <a:endParaRPr lang="en-US" sz="1000" i="1"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3EB990B-0048-4F9F-B405-46101F1EEC32}" type="slidenum">
              <a:rPr lang="en-US" smtClean="0"/>
              <a:t>10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51013168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9900" y="842963"/>
            <a:ext cx="6227763" cy="3503612"/>
          </a:xfrm>
        </p:spPr>
      </p:sp>
      <p:sp>
        <p:nvSpPr>
          <p:cNvPr id="3" name="Notes Placeholder 2"/>
          <p:cNvSpPr>
            <a:spLocks noGrp="1"/>
          </p:cNvSpPr>
          <p:nvPr>
            <p:ph type="body" idx="1"/>
          </p:nvPr>
        </p:nvSpPr>
        <p:spPr/>
        <p:txBody>
          <a:bodyPr/>
          <a:lstStyle/>
          <a:p>
            <a:r>
              <a:rPr lang="en-GB" sz="1000" dirty="0"/>
              <a:t>Subscription data include the S-NSSAI(s) of the Network Slices that the UE subscribes to. One or more S-NSSAIs can be marked as default S-NSSAI. If an S-NSSAI is marked as default, then the network is expected to serve the UE with the related Network Slice even when the UE does not send any S-NSSAI to the network in a Registration request.</a:t>
            </a:r>
            <a:endParaRPr lang="en-US" sz="1000" dirty="0"/>
          </a:p>
          <a:p>
            <a:r>
              <a:rPr lang="en-GB" sz="1000" dirty="0"/>
              <a:t>The NSSAI the UE provides in the Registration Request is verified against the user's subscription data.</a:t>
            </a:r>
            <a:endParaRPr lang="en-US" sz="1000" dirty="0"/>
          </a:p>
        </p:txBody>
      </p:sp>
      <p:sp>
        <p:nvSpPr>
          <p:cNvPr id="4" name="Slide Number Placeholder 3"/>
          <p:cNvSpPr>
            <a:spLocks noGrp="1"/>
          </p:cNvSpPr>
          <p:nvPr>
            <p:ph type="sldNum" sz="quarter" idx="10"/>
          </p:nvPr>
        </p:nvSpPr>
        <p:spPr/>
        <p:txBody>
          <a:bodyPr/>
          <a:lstStyle/>
          <a:p>
            <a:fld id="{D8098F1E-F185-49AD-8D11-7C1CF1175288}" type="slidenum">
              <a:rPr lang="en-US" smtClean="0"/>
              <a:t>10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8551895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842963"/>
            <a:ext cx="6229350" cy="3503612"/>
          </a:xfrm>
        </p:spPr>
      </p:sp>
      <p:sp>
        <p:nvSpPr>
          <p:cNvPr id="3" name="Notes Placeholder 2"/>
          <p:cNvSpPr>
            <a:spLocks noGrp="1"/>
          </p:cNvSpPr>
          <p:nvPr>
            <p:ph type="body" idx="1"/>
          </p:nvPr>
        </p:nvSpPr>
        <p:spPr/>
        <p:txBody>
          <a:bodyPr/>
          <a:lstStyle/>
          <a:p>
            <a:r>
              <a:rPr lang="en-US" sz="1000" dirty="0"/>
              <a:t>Important terms and definitions according to 3GPP TS 23.501 continued:</a:t>
            </a:r>
          </a:p>
          <a:p>
            <a:r>
              <a:rPr lang="en-GB" sz="1000" b="1" dirty="0"/>
              <a:t>PDU Connectivity Service:</a:t>
            </a:r>
            <a:r>
              <a:rPr lang="en-GB" sz="1000" dirty="0"/>
              <a:t> A service that provides exchange of PDUs between a UE and a Data Network.</a:t>
            </a:r>
            <a:endParaRPr lang="en-US" sz="1000" dirty="0"/>
          </a:p>
          <a:p>
            <a:r>
              <a:rPr lang="en-GB" sz="1000" b="1" dirty="0"/>
              <a:t>PDU Session:</a:t>
            </a:r>
            <a:r>
              <a:rPr lang="en-GB" sz="1000" dirty="0"/>
              <a:t> Association between the UE and a Data Network that provides a PDU connectivity service. The type of association can be</a:t>
            </a:r>
            <a:r>
              <a:rPr lang="en-GB" sz="1000" i="1" dirty="0"/>
              <a:t> IP, Ethernet</a:t>
            </a:r>
            <a:r>
              <a:rPr lang="en-GB" sz="1000" dirty="0"/>
              <a:t> or </a:t>
            </a:r>
            <a:r>
              <a:rPr lang="en-GB" sz="1000" i="1" dirty="0"/>
              <a:t>unstructured</a:t>
            </a:r>
            <a:r>
              <a:rPr lang="en-GB" sz="1000" dirty="0"/>
              <a:t>.</a:t>
            </a:r>
          </a:p>
          <a:p>
            <a:r>
              <a:rPr lang="en-GB" sz="1000" b="1" dirty="0"/>
              <a:t>Data Network Name (DNN):</a:t>
            </a:r>
            <a:r>
              <a:rPr lang="en-GB" sz="1000" dirty="0"/>
              <a:t> Identifier of  a Data Network (DN)</a:t>
            </a:r>
          </a:p>
          <a:p>
            <a:r>
              <a:rPr lang="en-GB" sz="1000" b="1" dirty="0"/>
              <a:t>DN Access Identifier (DNAI):</a:t>
            </a:r>
            <a:r>
              <a:rPr lang="en-GB" sz="1000" dirty="0"/>
              <a:t> For a DNN, Identifier of a user plane access to the DN.</a:t>
            </a:r>
          </a:p>
          <a:p>
            <a:r>
              <a:rPr lang="en-GB" sz="1000" b="1" dirty="0"/>
              <a:t>5G </a:t>
            </a:r>
            <a:r>
              <a:rPr lang="en-GB" sz="1000" b="1" dirty="0" err="1"/>
              <a:t>QoS</a:t>
            </a:r>
            <a:r>
              <a:rPr lang="en-GB" sz="1000" b="1" dirty="0"/>
              <a:t> Flow: </a:t>
            </a:r>
            <a:r>
              <a:rPr lang="en-GB" sz="1000" dirty="0"/>
              <a:t>The finest granularity for </a:t>
            </a:r>
            <a:r>
              <a:rPr lang="en-GB" sz="1000" dirty="0" err="1"/>
              <a:t>QoS</a:t>
            </a:r>
            <a:r>
              <a:rPr lang="en-GB" sz="1000" dirty="0"/>
              <a:t> forwarding treatment in the 5G System. All traffic mapped to the same 5G </a:t>
            </a:r>
            <a:r>
              <a:rPr lang="en-GB" sz="1000" dirty="0" err="1"/>
              <a:t>QoS</a:t>
            </a:r>
            <a:r>
              <a:rPr lang="en-GB" sz="1000" dirty="0"/>
              <a:t> Flow receive the same forwarding treatment (e.g. scheduling policy, queue management policy, rate shaping policy, RLC configuration, etc.). Providing different </a:t>
            </a:r>
            <a:r>
              <a:rPr lang="en-GB" sz="1000" dirty="0" err="1"/>
              <a:t>QoS</a:t>
            </a:r>
            <a:r>
              <a:rPr lang="en-GB" sz="1000" dirty="0"/>
              <a:t> forwarding treatment requires separate 5G </a:t>
            </a:r>
            <a:r>
              <a:rPr lang="en-GB" sz="1000" dirty="0" err="1"/>
              <a:t>QoS</a:t>
            </a:r>
            <a:r>
              <a:rPr lang="en-GB" sz="1000" dirty="0"/>
              <a:t> Flow.</a:t>
            </a:r>
            <a:endParaRPr lang="en-US" sz="1000" dirty="0"/>
          </a:p>
          <a:p>
            <a:r>
              <a:rPr lang="en-GB" sz="1000" b="1" dirty="0"/>
              <a:t>5G </a:t>
            </a:r>
            <a:r>
              <a:rPr lang="en-GB" sz="1000" b="1" dirty="0" err="1"/>
              <a:t>QoS</a:t>
            </a:r>
            <a:r>
              <a:rPr lang="en-GB" sz="1000" b="1" dirty="0"/>
              <a:t> Indicator:</a:t>
            </a:r>
            <a:r>
              <a:rPr lang="en-GB" sz="1000" dirty="0"/>
              <a:t> A scalar that is used as a reference to a specific </a:t>
            </a:r>
            <a:r>
              <a:rPr lang="en-GB" sz="1000" dirty="0" err="1"/>
              <a:t>QoS</a:t>
            </a:r>
            <a:r>
              <a:rPr lang="en-GB" sz="1000" dirty="0"/>
              <a:t> forwarding behaviour (e.g. packet loss rate, packet delay budget) to be provided to a 5G </a:t>
            </a:r>
            <a:r>
              <a:rPr lang="en-GB" sz="1000" dirty="0" err="1"/>
              <a:t>QoS</a:t>
            </a:r>
            <a:r>
              <a:rPr lang="en-GB" sz="1000" dirty="0"/>
              <a:t> Flow. This may be implemented in the access network by the 5QI referencing node specific parameters that control the </a:t>
            </a:r>
            <a:r>
              <a:rPr lang="en-GB" sz="1000" dirty="0" err="1"/>
              <a:t>QoS</a:t>
            </a:r>
            <a:r>
              <a:rPr lang="en-GB" sz="1000" dirty="0"/>
              <a:t> forwarding treatment (e.g. scheduling weights, admission thresholds, queue management thresholds, link layer protocol configuration, etc.).</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D0AF92B9-5A72-4B0D-B96E-6AC1621F0886}" type="slidenum">
              <a:rPr lang="en-US" smtClean="0"/>
              <a:t>10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3856800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842963"/>
            <a:ext cx="6229350" cy="3503612"/>
          </a:xfrm>
        </p:spPr>
      </p:sp>
      <p:sp>
        <p:nvSpPr>
          <p:cNvPr id="3" name="Notes Placeholder 2"/>
          <p:cNvSpPr>
            <a:spLocks noGrp="1"/>
          </p:cNvSpPr>
          <p:nvPr>
            <p:ph type="body" idx="1"/>
          </p:nvPr>
        </p:nvSpPr>
        <p:spPr/>
        <p:txBody>
          <a:bodyPr/>
          <a:lstStyle/>
          <a:p>
            <a:r>
              <a:rPr lang="en-US" sz="1000" dirty="0"/>
              <a:t>The figure illustrates the concepts of PDU Session, DNN, </a:t>
            </a:r>
            <a:r>
              <a:rPr lang="en-US" sz="1000" dirty="0" err="1"/>
              <a:t>QoS</a:t>
            </a:r>
            <a:r>
              <a:rPr lang="en-US" sz="1000" dirty="0"/>
              <a:t> Flow and 5G </a:t>
            </a:r>
            <a:r>
              <a:rPr lang="en-US" sz="1000" dirty="0" err="1"/>
              <a:t>QoS</a:t>
            </a:r>
            <a:r>
              <a:rPr lang="en-US" sz="1000" dirty="0"/>
              <a:t> Indicator (5QI) in the 5G Core Network.</a:t>
            </a:r>
          </a:p>
          <a:p>
            <a:r>
              <a:rPr lang="en-US" sz="1000" dirty="0"/>
              <a:t>Each </a:t>
            </a:r>
            <a:r>
              <a:rPr lang="en-US" sz="1000" dirty="0" err="1"/>
              <a:t>QoS</a:t>
            </a:r>
            <a:r>
              <a:rPr lang="en-US" sz="1000" dirty="0"/>
              <a:t> flow (GBR and Non-GBR) is associated with the following </a:t>
            </a:r>
            <a:r>
              <a:rPr lang="en-US" sz="1000" dirty="0" err="1"/>
              <a:t>QoS</a:t>
            </a:r>
            <a:r>
              <a:rPr lang="en-US" sz="1000" dirty="0"/>
              <a:t> parameters:</a:t>
            </a:r>
          </a:p>
          <a:p>
            <a:pPr marL="175805" indent="-175805">
              <a:buFont typeface="Arial" panose="020B0604020202020204" pitchFamily="34" charset="0"/>
              <a:buChar char="•"/>
            </a:pPr>
            <a:r>
              <a:rPr lang="en-US" sz="1000" dirty="0"/>
              <a:t>5G </a:t>
            </a:r>
            <a:r>
              <a:rPr lang="en-US" sz="1000" dirty="0" err="1"/>
              <a:t>QoS</a:t>
            </a:r>
            <a:r>
              <a:rPr lang="en-US" sz="1000" dirty="0"/>
              <a:t> Indicator (5QI),</a:t>
            </a:r>
          </a:p>
          <a:p>
            <a:pPr marL="175805" indent="-175805">
              <a:buFont typeface="Arial" panose="020B0604020202020204" pitchFamily="34" charset="0"/>
              <a:buChar char="•"/>
            </a:pPr>
            <a:r>
              <a:rPr lang="en-US" sz="1000" dirty="0"/>
              <a:t>Allocation and Retention Priority (ARP).</a:t>
            </a:r>
          </a:p>
          <a:p>
            <a:pPr marL="175805" indent="-175805">
              <a:buFont typeface="Arial" panose="020B0604020202020204" pitchFamily="34" charset="0"/>
              <a:buChar char="•"/>
            </a:pPr>
            <a:r>
              <a:rPr lang="en-US" sz="1000" dirty="0"/>
              <a:t>Maximum Flow Bit Rate</a:t>
            </a:r>
          </a:p>
          <a:p>
            <a:pPr marL="175805" indent="-175805">
              <a:buFont typeface="Arial" panose="020B0604020202020204" pitchFamily="34" charset="0"/>
              <a:buChar char="•"/>
            </a:pPr>
            <a:r>
              <a:rPr lang="en-US" sz="1000" dirty="0"/>
              <a:t>Guaranteed Flow Bit Rate</a:t>
            </a:r>
          </a:p>
          <a:p>
            <a:pPr marL="175805" indent="-175805">
              <a:buFont typeface="Arial" panose="020B0604020202020204" pitchFamily="34" charset="0"/>
              <a:buChar char="•"/>
            </a:pPr>
            <a:r>
              <a:rPr lang="en-US" sz="1000" dirty="0"/>
              <a:t>Notification control. Controls whether notification should be made if the </a:t>
            </a:r>
            <a:r>
              <a:rPr lang="en-US" sz="1000" dirty="0" err="1"/>
              <a:t>QoS</a:t>
            </a:r>
            <a:r>
              <a:rPr lang="en-US" sz="1000" dirty="0"/>
              <a:t> targets are no longer fulfilled for a </a:t>
            </a:r>
            <a:r>
              <a:rPr lang="en-US" sz="1000" dirty="0" err="1"/>
              <a:t>QoS</a:t>
            </a:r>
            <a:r>
              <a:rPr lang="en-US" sz="1000" dirty="0"/>
              <a:t> flow</a:t>
            </a:r>
          </a:p>
          <a:p>
            <a:r>
              <a:rPr lang="en-US" sz="1000" dirty="0"/>
              <a:t>The Access Node (AN) binds </a:t>
            </a:r>
            <a:r>
              <a:rPr lang="en-US" sz="1000" dirty="0" err="1"/>
              <a:t>QoS</a:t>
            </a:r>
            <a:r>
              <a:rPr lang="en-US" sz="1000" dirty="0"/>
              <a:t> flows to AN resources (i.e. Data Radio Bearers (DRBs) in case of in case of 3GPP RAN). There is no strict 1:1 relation between </a:t>
            </a:r>
            <a:r>
              <a:rPr lang="en-US" sz="1000" dirty="0" err="1"/>
              <a:t>QoS</a:t>
            </a:r>
            <a:r>
              <a:rPr lang="en-US" sz="1000" dirty="0"/>
              <a:t> flows and AN resources. It is up to the AN to establish the necessary AN resources to map the </a:t>
            </a:r>
            <a:r>
              <a:rPr lang="en-US" sz="1000" dirty="0" err="1"/>
              <a:t>QoS</a:t>
            </a:r>
            <a:r>
              <a:rPr lang="en-US" sz="1000" dirty="0"/>
              <a:t> flows to DRBs.</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A93C7452-77FE-4797-8570-87822D1D3E52}" type="slidenum">
              <a:rPr lang="en-US" smtClean="0"/>
              <a:t>10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21052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s reflects the </a:t>
            </a:r>
            <a:r>
              <a:rPr lang="en-US" sz="1000" b="1" dirty="0">
                <a:cs typeface="Times New Roman" panose="02020603050405020304" pitchFamily="18" charset="0"/>
              </a:rPr>
              <a:t>sum of the eight industries.</a:t>
            </a:r>
          </a:p>
          <a:p>
            <a:r>
              <a:rPr lang="en-US" sz="1000" dirty="0">
                <a:cs typeface="Times New Roman" panose="02020603050405020304" pitchFamily="18" charset="0"/>
              </a:rPr>
              <a:t>The 5G enabled revenues are broken down by value chain step and then further by the assumed operator addressability .</a:t>
            </a:r>
          </a:p>
          <a:p>
            <a:pPr lvl="0">
              <a:defRPr/>
            </a:pPr>
            <a:r>
              <a:rPr lang="en-US" sz="1000" dirty="0">
                <a:cs typeface="Times New Roman" panose="02020603050405020304" pitchFamily="18" charset="0"/>
              </a:rPr>
              <a:t>These </a:t>
            </a:r>
            <a:r>
              <a:rPr lang="en-US" sz="1000" b="1" dirty="0">
                <a:cs typeface="Times New Roman" panose="02020603050405020304" pitchFamily="18" charset="0"/>
              </a:rPr>
              <a:t>figures</a:t>
            </a:r>
            <a:r>
              <a:rPr lang="en-US" sz="1000" dirty="0">
                <a:cs typeface="Times New Roman" panose="02020603050405020304" pitchFamily="18" charset="0"/>
              </a:rPr>
              <a:t> reflects the </a:t>
            </a:r>
            <a:r>
              <a:rPr lang="en-US" sz="1000" b="1" dirty="0">
                <a:cs typeface="Times New Roman" panose="02020603050405020304" pitchFamily="18" charset="0"/>
              </a:rPr>
              <a:t>weighted average </a:t>
            </a:r>
            <a:r>
              <a:rPr lang="en-US" sz="1000" dirty="0">
                <a:cs typeface="Times New Roman" panose="02020603050405020304" pitchFamily="18" charset="0"/>
              </a:rPr>
              <a:t>of the 8 industries and are based on a large number </a:t>
            </a:r>
            <a:r>
              <a:rPr lang="en-US" sz="1000" b="1" dirty="0">
                <a:cs typeface="Times New Roman" panose="02020603050405020304" pitchFamily="18" charset="0"/>
              </a:rPr>
              <a:t>industry expert interviews </a:t>
            </a:r>
            <a:r>
              <a:rPr lang="en-US" sz="1000" dirty="0">
                <a:cs typeface="Times New Roman" panose="02020603050405020304" pitchFamily="18" charset="0"/>
              </a:rPr>
              <a:t>and over </a:t>
            </a:r>
            <a:r>
              <a:rPr lang="en-US" sz="1000" b="1" dirty="0">
                <a:cs typeface="Times New Roman" panose="02020603050405020304" pitchFamily="18" charset="0"/>
              </a:rPr>
              <a:t>150 CXO interviews </a:t>
            </a:r>
            <a:r>
              <a:rPr lang="en-US" sz="1000" dirty="0">
                <a:cs typeface="Times New Roman" panose="02020603050405020304" pitchFamily="18" charset="0"/>
              </a:rPr>
              <a:t>from a global telecom study (Major strategic choices ahead of </a:t>
            </a:r>
            <a:r>
              <a:rPr lang="en-US" sz="1000" dirty="0" err="1">
                <a:cs typeface="Times New Roman" panose="02020603050405020304" pitchFamily="18" charset="0"/>
              </a:rPr>
              <a:t>TelCos</a:t>
            </a:r>
            <a:r>
              <a:rPr lang="en-US" sz="1000" dirty="0">
                <a:cs typeface="Times New Roman" panose="02020603050405020304" pitchFamily="18" charset="0"/>
              </a:rPr>
              <a:t>: Reconfiguring for value, Arthur D. Little)</a:t>
            </a:r>
          </a:p>
          <a:p>
            <a:pPr lvl="0">
              <a:defRPr/>
            </a:pPr>
            <a:r>
              <a:rPr lang="en-US" sz="1000" dirty="0">
                <a:cs typeface="Times New Roman" panose="02020603050405020304" pitchFamily="18" charset="0"/>
              </a:rPr>
              <a:t>The addressability of each industry will differ depending on its unique characteristics:</a:t>
            </a:r>
          </a:p>
          <a:p>
            <a:pPr marL="175805" indent="-175805">
              <a:buFont typeface="Arial" panose="020B0604020202020204" pitchFamily="34" charset="0"/>
              <a:buChar char="•"/>
              <a:defRPr/>
            </a:pPr>
            <a:r>
              <a:rPr lang="en-US" sz="1000" dirty="0">
                <a:cs typeface="Times New Roman" panose="02020603050405020304" pitchFamily="18" charset="0"/>
              </a:rPr>
              <a:t>Rate of disruption</a:t>
            </a:r>
          </a:p>
          <a:p>
            <a:pPr marL="175805" indent="-175805">
              <a:buFont typeface="Arial" panose="020B0604020202020204" pitchFamily="34" charset="0"/>
              <a:buChar char="•"/>
              <a:defRPr/>
            </a:pPr>
            <a:r>
              <a:rPr lang="en-US" sz="1000" dirty="0">
                <a:cs typeface="Times New Roman" panose="02020603050405020304" pitchFamily="18" charset="0"/>
              </a:rPr>
              <a:t>Geographic relevance</a:t>
            </a:r>
          </a:p>
          <a:p>
            <a:pPr marL="175805" indent="-175805">
              <a:buFont typeface="Arial" panose="020B0604020202020204" pitchFamily="34" charset="0"/>
              <a:buChar char="•"/>
              <a:defRPr/>
            </a:pPr>
            <a:r>
              <a:rPr lang="en-US" sz="1000" dirty="0">
                <a:cs typeface="Times New Roman" panose="02020603050405020304" pitchFamily="18" charset="0"/>
              </a:rPr>
              <a:t>Industry complexity of applications </a:t>
            </a:r>
          </a:p>
          <a:p>
            <a:pPr marL="175805" indent="-175805">
              <a:buFont typeface="Arial" panose="020B0604020202020204" pitchFamily="34" charset="0"/>
              <a:buChar char="•"/>
              <a:defRPr/>
            </a:pPr>
            <a:r>
              <a:rPr lang="en-US" sz="1000" dirty="0">
                <a:cs typeface="Times New Roman" panose="02020603050405020304" pitchFamily="18" charset="0"/>
              </a:rPr>
              <a:t>Privacy and security concerns</a:t>
            </a:r>
          </a:p>
          <a:p>
            <a:r>
              <a:rPr lang="en-US" sz="1000" dirty="0">
                <a:cs typeface="Times New Roman" panose="02020603050405020304" pitchFamily="18" charset="0"/>
              </a:rPr>
              <a:t>In general, it is expected that the operator will be able to address a majority of the ”Connectivity and infrastructure provisioning” and the service enablement to a lesser degree. While the addressability of the application and service provisioning to the end customer would be much more limited</a:t>
            </a:r>
          </a:p>
          <a:p>
            <a:endParaRPr lang="en-US" sz="1000" dirty="0"/>
          </a:p>
        </p:txBody>
      </p:sp>
      <p:sp>
        <p:nvSpPr>
          <p:cNvPr id="4" name="Slide Number Placeholder 3"/>
          <p:cNvSpPr>
            <a:spLocks noGrp="1"/>
          </p:cNvSpPr>
          <p:nvPr>
            <p:ph type="sldNum" sz="quarter" idx="10"/>
          </p:nvPr>
        </p:nvSpPr>
        <p:spPr/>
        <p:txBody>
          <a:bodyPr/>
          <a:lstStyle/>
          <a:p>
            <a:fld id="{ED236379-6594-4DC7-9DBA-6E91BC6D76F4}" type="slidenum">
              <a:rPr lang="en-US" smtClean="0"/>
              <a:t>1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74954489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0538" y="788988"/>
            <a:ext cx="6229350" cy="3503612"/>
          </a:xfrm>
        </p:spPr>
      </p:sp>
      <p:sp>
        <p:nvSpPr>
          <p:cNvPr id="3" name="Notes Placeholder 2"/>
          <p:cNvSpPr>
            <a:spLocks noGrp="1"/>
          </p:cNvSpPr>
          <p:nvPr>
            <p:ph type="body" idx="1"/>
          </p:nvPr>
        </p:nvSpPr>
        <p:spPr>
          <a:xfrm>
            <a:off x="1309532" y="4540789"/>
            <a:ext cx="4714315" cy="4915404"/>
          </a:xfrm>
        </p:spPr>
        <p:txBody>
          <a:bodyPr/>
          <a:lstStyle/>
          <a:p>
            <a:r>
              <a:rPr lang="en-US" sz="1000" dirty="0"/>
              <a:t>The 5GC supports a PDU Connectivity Service i.e. a service that provides exchange of PDUs between a UE and a data network identified by a DNN. The PDU Connectivity Service is supported via PDU sessions that are established upon request from the UE.</a:t>
            </a:r>
          </a:p>
          <a:p>
            <a:r>
              <a:rPr lang="en-US" sz="1000" dirty="0"/>
              <a:t>Each PDU session supports a single PDU session type i.e. supports the exchange of a single type of PDU requested by the UE at the establishment of the PDU session. The following PDU session types are defined:</a:t>
            </a:r>
          </a:p>
          <a:p>
            <a:pPr marL="175805" indent="-175805">
              <a:buFont typeface="Arial" panose="020B0604020202020204" pitchFamily="34" charset="0"/>
              <a:buChar char="•"/>
            </a:pPr>
            <a:r>
              <a:rPr lang="en-US" sz="1000" dirty="0"/>
              <a:t>IPv4</a:t>
            </a:r>
          </a:p>
          <a:p>
            <a:pPr marL="175805" indent="-175805">
              <a:buFont typeface="Arial" panose="020B0604020202020204" pitchFamily="34" charset="0"/>
              <a:buChar char="•"/>
            </a:pPr>
            <a:r>
              <a:rPr lang="en-US" sz="1000" dirty="0"/>
              <a:t>IPv6</a:t>
            </a:r>
          </a:p>
          <a:p>
            <a:pPr marL="175805" indent="-175805">
              <a:buFont typeface="Arial" panose="020B0604020202020204" pitchFamily="34" charset="0"/>
              <a:buChar char="•"/>
            </a:pPr>
            <a:r>
              <a:rPr lang="en-US" sz="1000" dirty="0"/>
              <a:t>Ethernet</a:t>
            </a:r>
          </a:p>
          <a:p>
            <a:pPr marL="175805" indent="-175805">
              <a:buFont typeface="Arial" panose="020B0604020202020204" pitchFamily="34" charset="0"/>
              <a:buChar char="•"/>
            </a:pPr>
            <a:r>
              <a:rPr lang="en-US" sz="1000" dirty="0"/>
              <a:t>Unstructured</a:t>
            </a:r>
          </a:p>
          <a:p>
            <a:r>
              <a:rPr lang="en-US" sz="1000" dirty="0"/>
              <a:t>The unstructured session type implies that the </a:t>
            </a:r>
            <a:r>
              <a:rPr lang="en-GB" sz="1000" dirty="0"/>
              <a:t>PDU exchanged between the UE and DN is totally transparent to the 5G system.</a:t>
            </a:r>
          </a:p>
          <a:p>
            <a:r>
              <a:rPr lang="en-US" sz="1000" i="1" dirty="0"/>
              <a:t>Note: In this release the 5GC does not support dual stack PDU Session (PDU Session type IPv4v6): The 5GC supports dual Stack UEs by using separate PDU sessions for IPv4 and IPv6.</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5D0E7941-0FCA-48CE-A4D6-BF7F37849144}" type="slidenum">
              <a:rPr lang="en-US" smtClean="0"/>
              <a:t>11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405792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5938" y="842963"/>
            <a:ext cx="6227762" cy="3503612"/>
          </a:xfrm>
        </p:spPr>
      </p:sp>
      <p:sp>
        <p:nvSpPr>
          <p:cNvPr id="3" name="Notes Placeholder 2"/>
          <p:cNvSpPr>
            <a:spLocks noGrp="1"/>
          </p:cNvSpPr>
          <p:nvPr>
            <p:ph type="body" idx="1"/>
          </p:nvPr>
        </p:nvSpPr>
        <p:spPr/>
        <p:txBody>
          <a:bodyPr/>
          <a:lstStyle/>
          <a:p>
            <a:r>
              <a:rPr lang="en-GB" sz="1000" dirty="0"/>
              <a:t>PDU sessions are established (upon UE request), modified (upon UE and 5GC request) and released (upon UE and 5GC request) using NAS SM signalling exchanged over N1 between the UE and the SMF. Upon request from an Application Server, the 5GC is able to trigger the UE to establish a PDU session to a specific DNN.</a:t>
            </a:r>
            <a:endParaRPr lang="en-US" sz="1000" dirty="0"/>
          </a:p>
          <a:p>
            <a:endParaRPr lang="en-US" sz="1000" dirty="0"/>
          </a:p>
        </p:txBody>
      </p:sp>
      <p:sp>
        <p:nvSpPr>
          <p:cNvPr id="4" name="Slide Number Placeholder 3"/>
          <p:cNvSpPr>
            <a:spLocks noGrp="1"/>
          </p:cNvSpPr>
          <p:nvPr>
            <p:ph type="sldNum" sz="quarter" idx="10"/>
          </p:nvPr>
        </p:nvSpPr>
        <p:spPr/>
        <p:txBody>
          <a:bodyPr/>
          <a:lstStyle/>
          <a:p>
            <a:fld id="{249220AB-372C-4F1A-A38D-7092192F6488}" type="slidenum">
              <a:rPr lang="en-US" smtClean="0"/>
              <a:t>11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44857891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842963"/>
            <a:ext cx="6227763" cy="3503612"/>
          </a:xfrm>
        </p:spPr>
      </p:sp>
      <p:sp>
        <p:nvSpPr>
          <p:cNvPr id="3" name="Notes Placeholder 2"/>
          <p:cNvSpPr>
            <a:spLocks noGrp="1"/>
          </p:cNvSpPr>
          <p:nvPr>
            <p:ph type="body" idx="1"/>
          </p:nvPr>
        </p:nvSpPr>
        <p:spPr/>
        <p:txBody>
          <a:bodyPr/>
          <a:lstStyle/>
          <a:p>
            <a:r>
              <a:rPr lang="en-GB" sz="1000" dirty="0"/>
              <a:t>Multiple PDU session handling:</a:t>
            </a:r>
          </a:p>
          <a:p>
            <a:pPr marL="175805" indent="-175805">
              <a:buFont typeface="Arial" panose="020B0604020202020204" pitchFamily="34" charset="0"/>
              <a:buChar char="•"/>
            </a:pPr>
            <a:r>
              <a:rPr lang="en-GB" sz="1000" dirty="0"/>
              <a:t>An UE may establish multiple PDU sessions, to the same data network or to different data networks, via 3GPP and via and Non-3GPP access networks at the same time.</a:t>
            </a:r>
            <a:endParaRPr lang="en-US" sz="1000" dirty="0"/>
          </a:p>
          <a:p>
            <a:pPr marL="175805" indent="-175805">
              <a:buFont typeface="Arial" panose="020B0604020202020204" pitchFamily="34" charset="0"/>
              <a:buChar char="•"/>
            </a:pPr>
            <a:r>
              <a:rPr lang="en-GB" sz="1000" dirty="0"/>
              <a:t>An UE may establish multiple PDU sessions to the same Data Network and served by different UPF terminating N6.</a:t>
            </a:r>
            <a:endParaRPr lang="en-US" sz="1000" dirty="0"/>
          </a:p>
          <a:p>
            <a:pPr marL="175805" indent="-175805">
              <a:buFont typeface="Arial" panose="020B0604020202020204" pitchFamily="34" charset="0"/>
              <a:buChar char="•"/>
            </a:pPr>
            <a:r>
              <a:rPr lang="en-GB" sz="1000" dirty="0"/>
              <a:t>A UE with multiple established PDU sessions may be served by different SMF.</a:t>
            </a:r>
            <a:endParaRPr lang="en-US" sz="1000" dirty="0"/>
          </a:p>
          <a:p>
            <a:pPr marL="175805" indent="-175805">
              <a:buFont typeface="Arial" panose="020B0604020202020204" pitchFamily="34" charset="0"/>
              <a:buChar char="•"/>
            </a:pPr>
            <a:r>
              <a:rPr lang="en-GB" sz="1000" dirty="0"/>
              <a:t>The user plane paths of different PDU Sessions (to the same or to different DNN) belonging to the same UE may be completely disjoint between the AN and the UPF interfacing with the DN.</a:t>
            </a:r>
            <a:endParaRPr lang="en-US" sz="1000" dirty="0"/>
          </a:p>
          <a:p>
            <a:endParaRPr lang="en-US" sz="1000" dirty="0"/>
          </a:p>
        </p:txBody>
      </p:sp>
      <p:sp>
        <p:nvSpPr>
          <p:cNvPr id="4" name="Slide Number Placeholder 3"/>
          <p:cNvSpPr>
            <a:spLocks noGrp="1"/>
          </p:cNvSpPr>
          <p:nvPr>
            <p:ph type="sldNum" sz="quarter" idx="10"/>
          </p:nvPr>
        </p:nvSpPr>
        <p:spPr/>
        <p:txBody>
          <a:bodyPr/>
          <a:lstStyle/>
          <a:p>
            <a:fld id="{7AA1F9F3-6FF4-44E7-858E-505812ACF361}" type="slidenum">
              <a:rPr lang="en-US" smtClean="0"/>
              <a:t>11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1665527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013" y="842963"/>
            <a:ext cx="6227762" cy="3503612"/>
          </a:xfrm>
        </p:spPr>
      </p:sp>
      <p:sp>
        <p:nvSpPr>
          <p:cNvPr id="3" name="Notes Placeholder 2"/>
          <p:cNvSpPr>
            <a:spLocks noGrp="1"/>
          </p:cNvSpPr>
          <p:nvPr>
            <p:ph type="body" idx="1"/>
          </p:nvPr>
        </p:nvSpPr>
        <p:spPr/>
        <p:txBody>
          <a:bodyPr/>
          <a:lstStyle/>
          <a:p>
            <a:r>
              <a:rPr lang="en-US" sz="1000" dirty="0"/>
              <a:t>The table summarizes the attributes relevant for PDU session establishment.</a:t>
            </a:r>
          </a:p>
        </p:txBody>
      </p:sp>
      <p:sp>
        <p:nvSpPr>
          <p:cNvPr id="4" name="Slide Number Placeholder 3"/>
          <p:cNvSpPr>
            <a:spLocks noGrp="1"/>
          </p:cNvSpPr>
          <p:nvPr>
            <p:ph type="sldNum" sz="quarter" idx="10"/>
          </p:nvPr>
        </p:nvSpPr>
        <p:spPr/>
        <p:txBody>
          <a:bodyPr/>
          <a:lstStyle/>
          <a:p>
            <a:fld id="{85019E11-33FB-4E0C-A851-26AD340962DE}" type="slidenum">
              <a:rPr lang="en-US" smtClean="0"/>
              <a:t>11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91945906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7050" y="842963"/>
            <a:ext cx="6227763" cy="3503612"/>
          </a:xfrm>
        </p:spPr>
      </p:sp>
      <p:sp>
        <p:nvSpPr>
          <p:cNvPr id="3" name="Notes Placeholder 2"/>
          <p:cNvSpPr>
            <a:spLocks noGrp="1"/>
          </p:cNvSpPr>
          <p:nvPr>
            <p:ph type="body" idx="1"/>
          </p:nvPr>
        </p:nvSpPr>
        <p:spPr/>
        <p:txBody>
          <a:bodyPr/>
          <a:lstStyle/>
          <a:p>
            <a:r>
              <a:rPr lang="en-GB" sz="1000" dirty="0"/>
              <a:t>N2 related interaction is as follows:</a:t>
            </a:r>
            <a:endParaRPr lang="en-US" sz="1000" dirty="0"/>
          </a:p>
          <a:p>
            <a:pPr marL="175805" indent="-175805">
              <a:buFont typeface="Arial" panose="020B0604020202020204" pitchFamily="34" charset="0"/>
              <a:buChar char="•"/>
            </a:pPr>
            <a:r>
              <a:rPr lang="x-none" sz="1000" dirty="0"/>
              <a:t>N2 signalling related with UE is terminated in the AMF i.e. there is a unique N2 termination for a given UE regardless of the number of PDU sessions (possibly zero) of a UE.</a:t>
            </a:r>
            <a:endParaRPr lang="en-US" sz="1000" dirty="0"/>
          </a:p>
          <a:p>
            <a:pPr marL="175805" indent="-175805">
              <a:buFont typeface="Arial" panose="020B0604020202020204" pitchFamily="34" charset="0"/>
              <a:buChar char="•"/>
            </a:pPr>
            <a:r>
              <a:rPr lang="x-none" sz="1000" dirty="0"/>
              <a:t>Some N2 signalling (such as Handover related signalling) may require the action of both AMF and SMF. In such case, the AMF is responsible to ensure the coordination between AMF and SMF.</a:t>
            </a:r>
            <a:endParaRPr lang="sv-SE" sz="1000" dirty="0"/>
          </a:p>
          <a:p>
            <a:r>
              <a:rPr lang="en-GB" sz="1000" dirty="0"/>
              <a:t>N4 related interaction is as follows:</a:t>
            </a:r>
            <a:endParaRPr lang="en-US" sz="1000" dirty="0"/>
          </a:p>
          <a:p>
            <a:pPr marL="175805" indent="-175805">
              <a:buFont typeface="Arial" panose="020B0604020202020204" pitchFamily="34" charset="0"/>
              <a:buChar char="•"/>
            </a:pPr>
            <a:r>
              <a:rPr lang="x-none" sz="1000" dirty="0"/>
              <a:t>The SMF(s) supports the end-to-end control functions on PDU sessions (including any N4 interface to control the UPF(s)).</a:t>
            </a:r>
            <a:endParaRPr lang="en-US" sz="1000" dirty="0"/>
          </a:p>
          <a:p>
            <a:pPr marL="175805" indent="-175805">
              <a:buFont typeface="Arial" panose="020B0604020202020204" pitchFamily="34" charset="0"/>
              <a:buChar char="•"/>
            </a:pPr>
            <a:r>
              <a:rPr lang="x-none" sz="1000" dirty="0"/>
              <a:t>When it is made aware by the UPF that some DL data has arrived for a UE without downlink N3 tunnel information, the SMF interacts with the AMF. If the UE is in CM_IDLE state the AMF may trigger UE paging from the AN (depending on the type of AN).</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5F5175CD-9BF0-4049-AF70-2DBE60A0F4E8}" type="slidenum">
              <a:rPr lang="en-US" smtClean="0"/>
              <a:t>11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76392105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287338" y="842963"/>
            <a:ext cx="6580187" cy="37004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xfrm>
            <a:off x="1309532" y="4736302"/>
            <a:ext cx="4714315" cy="491540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policy framework in 5G provides all the existing EPC functionality as well as additional 5GC functionality.</a:t>
            </a:r>
          </a:p>
          <a:p>
            <a:r>
              <a:rPr lang="en-US" altLang="en-US" sz="1000" dirty="0"/>
              <a:t>The new 5GC functionalities are:</a:t>
            </a:r>
          </a:p>
          <a:p>
            <a:pPr marL="175805" indent="-175805">
              <a:buFont typeface="Arial" panose="020B0604020202020204" pitchFamily="34" charset="0"/>
              <a:buChar char="•"/>
            </a:pPr>
            <a:r>
              <a:rPr lang="en-US" altLang="en-US" sz="1000" dirty="0"/>
              <a:t>Enhanced PCC rules for 5G including e.g. the 5GC </a:t>
            </a:r>
            <a:r>
              <a:rPr lang="en-US" altLang="en-US" sz="1000" dirty="0" err="1"/>
              <a:t>QoS</a:t>
            </a:r>
            <a:r>
              <a:rPr lang="en-US" altLang="en-US" sz="1000" dirty="0"/>
              <a:t> framework and Local Breakout (LBO) control.</a:t>
            </a:r>
          </a:p>
          <a:p>
            <a:pPr marL="175805" indent="-175805">
              <a:buFont typeface="Arial" panose="020B0604020202020204" pitchFamily="34" charset="0"/>
              <a:buChar char="•"/>
            </a:pPr>
            <a:r>
              <a:rPr lang="en-US" altLang="en-US" sz="1000" dirty="0"/>
              <a:t>New N15 interface to the AMF for:</a:t>
            </a:r>
          </a:p>
          <a:p>
            <a:pPr marL="644618" lvl="1" indent="-175805">
              <a:buFont typeface="Arial" panose="020B0604020202020204" pitchFamily="34" charset="0"/>
              <a:buChar char="•"/>
            </a:pPr>
            <a:r>
              <a:rPr lang="en-US" altLang="en-US" sz="1000" dirty="0"/>
              <a:t>Access and </a:t>
            </a:r>
            <a:r>
              <a:rPr lang="en-US" altLang="en-US" sz="1000" dirty="0" err="1"/>
              <a:t>Mobilty</a:t>
            </a:r>
            <a:r>
              <a:rPr lang="en-US" altLang="en-US" sz="1000" dirty="0"/>
              <a:t> Management (MM) policies, e.g. service area restrictions.</a:t>
            </a:r>
          </a:p>
          <a:p>
            <a:pPr marL="644618" lvl="1" indent="-175805">
              <a:buFont typeface="Arial" panose="020B0604020202020204" pitchFamily="34" charset="0"/>
              <a:buChar char="•"/>
            </a:pPr>
            <a:r>
              <a:rPr lang="en-US" altLang="en-US" sz="1000" dirty="0"/>
              <a:t>UE route selection policies (Network Slice Selection, SSC mode, etc.).</a:t>
            </a:r>
          </a:p>
          <a:p>
            <a:pPr marL="175805" indent="-175805">
              <a:buFont typeface="Arial" panose="020B0604020202020204" pitchFamily="34" charset="0"/>
              <a:buChar char="•"/>
            </a:pPr>
            <a:r>
              <a:rPr lang="en-US" altLang="en-US" sz="1000" dirty="0"/>
              <a:t>New interface N23 for Network Data Analytics (NWDA) to receive network status analytics.</a:t>
            </a:r>
          </a:p>
          <a:p>
            <a:pPr marL="175805" indent="-175805">
              <a:buFont typeface="Arial" panose="020B0604020202020204" pitchFamily="34" charset="0"/>
              <a:buChar char="•"/>
            </a:pPr>
            <a:r>
              <a:rPr lang="en-US" altLang="en-US" sz="1000" dirty="0"/>
              <a:t>Interface with NEF (</a:t>
            </a:r>
            <a:r>
              <a:rPr lang="en-US" altLang="en-US" sz="1000" dirty="0" err="1"/>
              <a:t>PNt</a:t>
            </a:r>
            <a:r>
              <a:rPr lang="en-US" altLang="en-US" sz="1000" dirty="0"/>
              <a:t>) for exposure and use cases, e.g. application functions influencing traffic routing.</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928E933-B33C-4570-A6C5-52E0C83145AE}" type="slidenum">
              <a:rPr lang="en-US" altLang="en-US" smtClean="0">
                <a:latin typeface="Arial" charset="0"/>
                <a:ea typeface="MS PGothic" pitchFamily="34" charset="-128"/>
                <a:cs typeface="Arial" charset="0"/>
              </a:rPr>
              <a:t>115</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41378949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842963"/>
            <a:ext cx="6229350" cy="3503612"/>
          </a:xfrm>
        </p:spPr>
      </p:sp>
      <p:sp>
        <p:nvSpPr>
          <p:cNvPr id="3" name="Notes Placeholder 2"/>
          <p:cNvSpPr>
            <a:spLocks noGrp="1"/>
          </p:cNvSpPr>
          <p:nvPr>
            <p:ph type="body" idx="1"/>
          </p:nvPr>
        </p:nvSpPr>
        <p:spPr/>
        <p:txBody>
          <a:bodyPr/>
          <a:lstStyle/>
          <a:p>
            <a:pPr hangingPunct="0"/>
            <a:r>
              <a:rPr lang="en-US" sz="1000" dirty="0">
                <a:cs typeface="Times New Roman" panose="02020603050405020304" pitchFamily="18" charset="0"/>
              </a:rPr>
              <a:t>The PCC framework defined in 3GPP TS 23.203 is retained  and applicable to 5G. This means the policy function interfaces with the existing functions, e.g. Application Function, SMF and the OCS.</a:t>
            </a:r>
          </a:p>
          <a:p>
            <a:pPr hangingPunct="0"/>
            <a:r>
              <a:rPr lang="en-US" sz="1000" dirty="0">
                <a:cs typeface="Times New Roman" panose="02020603050405020304" pitchFamily="18" charset="0"/>
              </a:rPr>
              <a:t>Additionally, in 5G there is a new interface between the Policy Control Function (PCF)  and the AMF (N15). This interface allows to provide mobility management policies from PCF to the AMF without involving the SMF. This is similar to the </a:t>
            </a:r>
            <a:r>
              <a:rPr lang="en-US" sz="1000" dirty="0" err="1">
                <a:cs typeface="Times New Roman" panose="02020603050405020304" pitchFamily="18" charset="0"/>
              </a:rPr>
              <a:t>Sx</a:t>
            </a:r>
            <a:r>
              <a:rPr lang="en-US" sz="1000" dirty="0">
                <a:cs typeface="Times New Roman" panose="02020603050405020304" pitchFamily="18" charset="0"/>
              </a:rPr>
              <a:t> proprietary interface that exists in the SAPC product with the Ericsson MME/SGSN. Policies conveyed in this interface are related to MM policies, RFSP index. Policies to the UE are provided by PCF via N15 as well and later via N1 to the UE.</a:t>
            </a:r>
          </a:p>
          <a:p>
            <a:pPr hangingPunct="0"/>
            <a:r>
              <a:rPr lang="en-US" sz="1000" dirty="0">
                <a:cs typeface="Times New Roman" panose="02020603050405020304" pitchFamily="18" charset="0"/>
              </a:rPr>
              <a:t>When it comes to the policy subscription profile, the PCF accesses the subscriber profile from a UDR following a User Data Convergence (UDC) approach.</a:t>
            </a:r>
          </a:p>
          <a:p>
            <a:pPr lvl="0" hangingPunct="0">
              <a:defRPr/>
            </a:pPr>
            <a:r>
              <a:rPr lang="en-US" sz="1000" dirty="0">
                <a:cs typeface="Times New Roman" panose="02020603050405020304" pitchFamily="18" charset="0"/>
              </a:rPr>
              <a:t>There is a new interface between a Network Data Analytics function and the PCF to consider in policy evaluation e.g. congestion information for a specific slice.  </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C7AC821-4A78-4945-886B-49E94004A335}" type="slidenum">
              <a:rPr lang="en-US" smtClean="0"/>
              <a:t>11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73633700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1025" y="842963"/>
            <a:ext cx="6229350" cy="3503612"/>
          </a:xfrm>
        </p:spPr>
      </p:sp>
      <p:sp>
        <p:nvSpPr>
          <p:cNvPr id="3" name="Notes Placeholder 2"/>
          <p:cNvSpPr>
            <a:spLocks noGrp="1"/>
          </p:cNvSpPr>
          <p:nvPr>
            <p:ph type="body" idx="1"/>
          </p:nvPr>
        </p:nvSpPr>
        <p:spPr/>
        <p:txBody>
          <a:bodyPr/>
          <a:lstStyle/>
          <a:p>
            <a:r>
              <a:rPr lang="en-US" sz="1000" dirty="0"/>
              <a:t>A flow in this context is a </a:t>
            </a:r>
            <a:r>
              <a:rPr lang="en-US" sz="1000" dirty="0" err="1"/>
              <a:t>QoS</a:t>
            </a:r>
            <a:r>
              <a:rPr lang="en-US" sz="1000" dirty="0"/>
              <a:t> Flow, i.e. all Packet Data Units (PDUs) that shall receive the same </a:t>
            </a:r>
            <a:r>
              <a:rPr lang="en-US" sz="1000" dirty="0" err="1"/>
              <a:t>QoS</a:t>
            </a:r>
            <a:r>
              <a:rPr lang="en-US" sz="1000" dirty="0"/>
              <a:t> treatment in the network. Filters are used to classify PDUs into </a:t>
            </a:r>
            <a:r>
              <a:rPr lang="en-US" sz="1000" dirty="0" err="1"/>
              <a:t>QoS</a:t>
            </a:r>
            <a:r>
              <a:rPr lang="en-US" sz="1000" dirty="0"/>
              <a:t> flows. Filters can be provided from the 5G Policy Control or pre-configured in 5G Core.</a:t>
            </a:r>
          </a:p>
          <a:p>
            <a:r>
              <a:rPr lang="en-US" sz="1000" dirty="0"/>
              <a:t>For DL traffic AN can detect which flow a received packet belongs to by looking in the encapsulation tunnel header, where UPF have marked the packet with a </a:t>
            </a:r>
            <a:r>
              <a:rPr lang="en-US" sz="1000" dirty="0" err="1"/>
              <a:t>QoS</a:t>
            </a:r>
            <a:r>
              <a:rPr lang="en-US" sz="1000" dirty="0"/>
              <a:t> Flow Indicator (QFI). Information about which treatment each flow shall have is sent from 5GCN to AN over N2.</a:t>
            </a:r>
          </a:p>
          <a:p>
            <a:r>
              <a:rPr lang="en-US" sz="1000" dirty="0"/>
              <a:t>For UL traffic UE marks the traffic with the correct QFI based on information received from SMF over N1. The solution shall also be available for Reflective </a:t>
            </a:r>
            <a:r>
              <a:rPr lang="en-US" sz="1000" dirty="0" err="1"/>
              <a:t>QoS</a:t>
            </a:r>
            <a:r>
              <a:rPr lang="en-US" sz="1000" dirty="0"/>
              <a:t> where the UE marks the UL traffic based on which QFI the DL traffic belonging to the same flow have. The AN informs the UE about how to send the PDUs over the air (which Radio Bearer to use). </a:t>
            </a:r>
          </a:p>
          <a:p>
            <a:r>
              <a:rPr lang="en-US" sz="1000" dirty="0"/>
              <a:t>At session establishment each PDU session is associated with a </a:t>
            </a:r>
            <a:r>
              <a:rPr lang="en-US" sz="1000" i="1" dirty="0"/>
              <a:t>default </a:t>
            </a:r>
            <a:r>
              <a:rPr lang="en-US" sz="1000" i="1" dirty="0" err="1"/>
              <a:t>QoS</a:t>
            </a:r>
            <a:r>
              <a:rPr lang="en-US" sz="1000" i="1" dirty="0"/>
              <a:t> profile</a:t>
            </a:r>
            <a:r>
              <a:rPr lang="en-US" sz="1000" dirty="0"/>
              <a:t> (a set of </a:t>
            </a:r>
            <a:r>
              <a:rPr lang="en-US" sz="1000" dirty="0" err="1"/>
              <a:t>QoS</a:t>
            </a:r>
            <a:r>
              <a:rPr lang="en-US" sz="1000" dirty="0"/>
              <a:t> parameters). </a:t>
            </a:r>
          </a:p>
          <a:p>
            <a:pPr marL="175805" indent="-175805">
              <a:buFont typeface="Arial" panose="020B0604020202020204" pitchFamily="34" charset="0"/>
              <a:buChar char="•"/>
            </a:pPr>
            <a:r>
              <a:rPr lang="en-US" sz="1000" dirty="0"/>
              <a:t>The default </a:t>
            </a:r>
            <a:r>
              <a:rPr lang="en-US" sz="1000" dirty="0" err="1"/>
              <a:t>QoS</a:t>
            </a:r>
            <a:r>
              <a:rPr lang="en-US" sz="1000" dirty="0"/>
              <a:t> profile is typically configured in UDM and can be authorized by the PCF</a:t>
            </a:r>
          </a:p>
          <a:p>
            <a:pPr marL="175805" indent="-175805">
              <a:buFont typeface="Arial" panose="020B0604020202020204" pitchFamily="34" charset="0"/>
              <a:buChar char="•"/>
            </a:pPr>
            <a:r>
              <a:rPr lang="en-US" sz="1000" dirty="0"/>
              <a:t>The </a:t>
            </a:r>
            <a:r>
              <a:rPr lang="en-US" sz="1000" dirty="0" err="1"/>
              <a:t>QoS</a:t>
            </a:r>
            <a:r>
              <a:rPr lang="en-US" sz="1000" dirty="0"/>
              <a:t> profile indicates the treatment of all PDUs that are transferred within the PDU session and for which the network have not indicated any PDU specific treatment</a:t>
            </a:r>
          </a:p>
          <a:p>
            <a:pPr marL="175805" indent="-175805">
              <a:buFont typeface="Arial" panose="020B0604020202020204" pitchFamily="34" charset="0"/>
              <a:buChar char="•"/>
            </a:pPr>
            <a:r>
              <a:rPr lang="en-US" sz="1000" dirty="0"/>
              <a:t>The PCF can modify the default </a:t>
            </a:r>
            <a:r>
              <a:rPr lang="en-US" sz="1000" dirty="0" err="1"/>
              <a:t>QoS</a:t>
            </a:r>
            <a:r>
              <a:rPr lang="en-US" sz="1000" dirty="0"/>
              <a:t> profile for the PDU session at any time during the session</a:t>
            </a:r>
          </a:p>
          <a:p>
            <a:r>
              <a:rPr lang="en-US" sz="1000" dirty="0" err="1"/>
              <a:t>QoS</a:t>
            </a:r>
            <a:r>
              <a:rPr lang="en-US" sz="1000" dirty="0"/>
              <a:t> for service-specific PDU can be authorized or modified at session establishment or at any time during the lifetime of the session.</a:t>
            </a:r>
          </a:p>
          <a:p>
            <a:r>
              <a:rPr lang="en-US" sz="1000" dirty="0"/>
              <a:t>PDB (Packet Delay Budget), PER (Packet Error Rate) and Priority (i.e. scheduling priority) are “</a:t>
            </a:r>
            <a:r>
              <a:rPr lang="en-US" sz="1000" dirty="0" err="1"/>
              <a:t>QoS</a:t>
            </a:r>
            <a:r>
              <a:rPr lang="en-US" sz="1000" dirty="0"/>
              <a:t> Characteristics”. Standardized 5QIs have standardized </a:t>
            </a:r>
            <a:r>
              <a:rPr lang="en-US" sz="1000" dirty="0" err="1"/>
              <a:t>QoS</a:t>
            </a:r>
            <a:r>
              <a:rPr lang="en-US" sz="1000" dirty="0"/>
              <a:t> Characteristics (similarly to EPS). Non standardized 5QIs have </a:t>
            </a:r>
            <a:r>
              <a:rPr lang="en-US" sz="1000" dirty="0" err="1"/>
              <a:t>QoS</a:t>
            </a:r>
            <a:r>
              <a:rPr lang="en-US" sz="1000" dirty="0"/>
              <a:t> Characteristics configured in the RAN (similarly to EPS) or signaled to RAN as QFI (new in 5GS).</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47BDA17F-7035-4DA5-B51A-67CD39256EBF}" type="slidenum">
              <a:rPr lang="en-US" smtClean="0"/>
              <a:t>11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3149361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 describes the </a:t>
            </a:r>
            <a:r>
              <a:rPr lang="en-US" sz="1000" dirty="0" err="1">
                <a:cs typeface="Times New Roman" panose="02020603050405020304" pitchFamily="18" charset="0"/>
              </a:rPr>
              <a:t>QoS</a:t>
            </a:r>
            <a:r>
              <a:rPr lang="en-US" sz="1000" dirty="0">
                <a:cs typeface="Times New Roman" panose="02020603050405020304" pitchFamily="18" charset="0"/>
              </a:rPr>
              <a:t> Flows according to the 5G </a:t>
            </a:r>
            <a:r>
              <a:rPr lang="en-US" sz="1000" dirty="0" err="1">
                <a:cs typeface="Times New Roman" panose="02020603050405020304" pitchFamily="18" charset="0"/>
              </a:rPr>
              <a:t>QoS</a:t>
            </a:r>
            <a:r>
              <a:rPr lang="en-US" sz="1000" dirty="0">
                <a:cs typeface="Times New Roman" panose="02020603050405020304" pitchFamily="18" charset="0"/>
              </a:rPr>
              <a:t> model defined in 3GPP TS 38.800 v0.4.1.</a:t>
            </a:r>
          </a:p>
        </p:txBody>
      </p:sp>
      <p:sp>
        <p:nvSpPr>
          <p:cNvPr id="4" name="Slide Number Placeholder 3"/>
          <p:cNvSpPr>
            <a:spLocks noGrp="1"/>
          </p:cNvSpPr>
          <p:nvPr>
            <p:ph type="sldNum" sz="quarter" idx="10"/>
          </p:nvPr>
        </p:nvSpPr>
        <p:spPr/>
        <p:txBody>
          <a:bodyPr/>
          <a:lstStyle/>
          <a:p>
            <a:fld id="{BCC12722-C1D6-407A-9BF9-D9216730D7E1}" type="slidenum">
              <a:rPr lang="en-US" smtClean="0"/>
              <a:t>11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9861708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7850" y="842963"/>
            <a:ext cx="6227763" cy="3503612"/>
          </a:xfrm>
        </p:spPr>
      </p:sp>
      <p:sp>
        <p:nvSpPr>
          <p:cNvPr id="3" name="Notes Placeholder 2"/>
          <p:cNvSpPr>
            <a:spLocks noGrp="1"/>
          </p:cNvSpPr>
          <p:nvPr>
            <p:ph type="body" idx="1"/>
          </p:nvPr>
        </p:nvSpPr>
        <p:spPr/>
        <p:txBody>
          <a:bodyPr/>
          <a:lstStyle/>
          <a:p>
            <a:r>
              <a:rPr lang="en-GB" sz="1000" dirty="0"/>
              <a:t>The principle for classification and marking of User Plane traffic and mapping of </a:t>
            </a:r>
            <a:r>
              <a:rPr lang="en-GB" sz="1000" dirty="0" err="1"/>
              <a:t>QoS</a:t>
            </a:r>
            <a:r>
              <a:rPr lang="en-GB" sz="1000" dirty="0"/>
              <a:t> Flows to AN resources is illustrated in the figure.</a:t>
            </a:r>
          </a:p>
          <a:p>
            <a:r>
              <a:rPr lang="en-GB" sz="1000" dirty="0"/>
              <a:t>In DL incoming data packets are classified based on Service Data Flow (SDF) templates according to their SDF precedence's. The CN conveys the classification of the User Plane traffic belonging to a </a:t>
            </a:r>
            <a:r>
              <a:rPr lang="en-GB" sz="1000" dirty="0" err="1"/>
              <a:t>QoS</a:t>
            </a:r>
            <a:r>
              <a:rPr lang="en-GB" sz="1000" dirty="0"/>
              <a:t> flow through User Plane marking using a QFI.</a:t>
            </a:r>
          </a:p>
          <a:p>
            <a:r>
              <a:rPr lang="en-GB" sz="1000" dirty="0"/>
              <a:t>In UL, the UE classifies packets based on the </a:t>
            </a:r>
            <a:r>
              <a:rPr lang="en-GB" sz="1000" dirty="0" err="1"/>
              <a:t>QoS</a:t>
            </a:r>
            <a:r>
              <a:rPr lang="en-GB" sz="1000" dirty="0"/>
              <a:t> flow template in the </a:t>
            </a:r>
            <a:r>
              <a:rPr lang="en-GB" sz="1000" dirty="0" err="1"/>
              <a:t>QoS</a:t>
            </a:r>
            <a:r>
              <a:rPr lang="en-GB" sz="1000" dirty="0"/>
              <a:t> rules and conveys the classification of the User Plane traffic belonging to a </a:t>
            </a:r>
            <a:r>
              <a:rPr lang="en-GB" sz="1000" dirty="0" err="1"/>
              <a:t>QoS</a:t>
            </a:r>
            <a:r>
              <a:rPr lang="en-GB" sz="1000" dirty="0"/>
              <a:t> flow through a User Plane marking using the QFI in the corresponding </a:t>
            </a:r>
            <a:r>
              <a:rPr lang="en-GB" sz="1000" dirty="0" err="1"/>
              <a:t>QoS</a:t>
            </a:r>
            <a:r>
              <a:rPr lang="en-GB" sz="1000" dirty="0"/>
              <a:t> rule. The UE binds </a:t>
            </a:r>
            <a:r>
              <a:rPr lang="en-GB" sz="1000" dirty="0" err="1"/>
              <a:t>QoS</a:t>
            </a:r>
            <a:r>
              <a:rPr lang="en-GB" sz="1000" dirty="0"/>
              <a:t> flows to AN resources.</a:t>
            </a:r>
            <a:endParaRPr lang="en-US" sz="1000" dirty="0"/>
          </a:p>
          <a:p>
            <a:endParaRPr lang="en-US" sz="1000" dirty="0"/>
          </a:p>
        </p:txBody>
      </p:sp>
      <p:sp>
        <p:nvSpPr>
          <p:cNvPr id="4" name="Slide Number Placeholder 3"/>
          <p:cNvSpPr>
            <a:spLocks noGrp="1"/>
          </p:cNvSpPr>
          <p:nvPr>
            <p:ph type="sldNum" sz="quarter" idx="10"/>
          </p:nvPr>
        </p:nvSpPr>
        <p:spPr/>
        <p:txBody>
          <a:bodyPr/>
          <a:lstStyle/>
          <a:p>
            <a:fld id="{1F9842D8-9565-43E7-BD6E-F3B6B175BE5B}" type="slidenum">
              <a:rPr lang="en-US" smtClean="0"/>
              <a:t>11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64806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dirty="0"/>
              <a:t>The mass market has evolved from being a single voice service to a market where consumers expects more services included or very easy to buy as add-on’s. Personalization is the key and this represents a TTM and cost challenge for the service providers processes and IT.</a:t>
            </a:r>
          </a:p>
          <a:p>
            <a:r>
              <a:rPr lang="en-US" sz="1000" dirty="0"/>
              <a:t>In the center we have the service provider (SP). Telecom operator is one example of SP but there are many more, around 10 000 SP’s world wide have been identified.</a:t>
            </a:r>
          </a:p>
          <a:p>
            <a:r>
              <a:rPr lang="en-US" sz="1000" dirty="0"/>
              <a:t>The SP’s have changed from being a single SP to a SP with many customer segments, many services and many partners from which they source many of the services. The SP becomes a Bundler or integrator.</a:t>
            </a:r>
          </a:p>
          <a:p>
            <a:r>
              <a:rPr lang="en-US" sz="1000" dirty="0"/>
              <a:t>The three main customer segments are mass market consumer, Small and Medium Enterprises (SME’s) and Industries and society. </a:t>
            </a:r>
          </a:p>
          <a:p>
            <a:r>
              <a:rPr lang="en-US" sz="1000" dirty="0"/>
              <a:t>The Industries &amp; Society customers expects a full set of generic IT services including self management. They also expect the service provider to support them with inclusion of industry specific services and or applications from other third parties or service providers in a cost efficient and timely manner.</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1AE9307-10B5-4AFE-8F3D-A2FB7CD68B54}" type="slidenum">
              <a:rPr lang="en-US" altLang="en-US" smtClean="0">
                <a:latin typeface="Arial" charset="0"/>
                <a:ea typeface="MS PGothic" pitchFamily="34" charset="-128"/>
                <a:cs typeface="Arial" charset="0"/>
              </a:rPr>
              <a:t>12</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429059993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842963"/>
            <a:ext cx="6229350" cy="3503612"/>
          </a:xfrm>
        </p:spPr>
      </p:sp>
      <p:sp>
        <p:nvSpPr>
          <p:cNvPr id="3" name="Notes Placeholder 2"/>
          <p:cNvSpPr>
            <a:spLocks noGrp="1"/>
          </p:cNvSpPr>
          <p:nvPr>
            <p:ph type="body" idx="1"/>
          </p:nvPr>
        </p:nvSpPr>
        <p:spPr/>
        <p:txBody>
          <a:bodyPr/>
          <a:lstStyle/>
          <a:p>
            <a:r>
              <a:rPr lang="en-GB" sz="1000" dirty="0"/>
              <a:t>The one-to-one mapping of standardized QFI &amp; 5QI values to 5G </a:t>
            </a:r>
            <a:r>
              <a:rPr lang="en-GB" sz="1000" dirty="0" err="1"/>
              <a:t>QoS</a:t>
            </a:r>
            <a:r>
              <a:rPr lang="en-GB" sz="1000" dirty="0"/>
              <a:t> characteristics is specified in table above.</a:t>
            </a:r>
          </a:p>
          <a:p>
            <a:r>
              <a:rPr lang="en-GB" sz="1000" dirty="0"/>
              <a:t>A 5QI is a scalar that is used as a reference to 5G </a:t>
            </a:r>
            <a:r>
              <a:rPr lang="en-GB" sz="1000" dirty="0" err="1"/>
              <a:t>QoS</a:t>
            </a:r>
            <a:r>
              <a:rPr lang="en-GB" sz="1000" dirty="0"/>
              <a:t> characteristics defined in clause the figure, i.e. access node-specific parameters that control </a:t>
            </a:r>
            <a:r>
              <a:rPr lang="en-GB" sz="1000" dirty="0" err="1"/>
              <a:t>QoS</a:t>
            </a:r>
            <a:r>
              <a:rPr lang="en-GB" sz="1000" dirty="0"/>
              <a:t> forwarding treatment for the </a:t>
            </a:r>
            <a:r>
              <a:rPr lang="en-GB" sz="1000" dirty="0" err="1"/>
              <a:t>QoS</a:t>
            </a:r>
            <a:r>
              <a:rPr lang="en-GB" sz="1000" dirty="0"/>
              <a:t> flow (e.g. scheduling weights, admission thresholds, queue management thresholds, link layer protocol configuration, etc.).</a:t>
            </a:r>
          </a:p>
          <a:p>
            <a:r>
              <a:rPr lang="en-GB" sz="1000" dirty="0"/>
              <a:t>The </a:t>
            </a:r>
            <a:r>
              <a:rPr lang="en-GB" sz="1000" dirty="0" err="1"/>
              <a:t>QoS</a:t>
            </a:r>
            <a:r>
              <a:rPr lang="en-GB" sz="1000" dirty="0"/>
              <a:t> flow is the finest granularity of </a:t>
            </a:r>
            <a:r>
              <a:rPr lang="en-GB" sz="1000" dirty="0" err="1"/>
              <a:t>QoS</a:t>
            </a:r>
            <a:r>
              <a:rPr lang="en-GB" sz="1000" dirty="0"/>
              <a:t> differentiation in the PDU session. A </a:t>
            </a:r>
            <a:r>
              <a:rPr lang="en-GB" sz="1000" dirty="0" err="1"/>
              <a:t>QoS</a:t>
            </a:r>
            <a:r>
              <a:rPr lang="en-GB" sz="1000" dirty="0"/>
              <a:t> Flow ID (QFI) is used to identify a </a:t>
            </a:r>
            <a:r>
              <a:rPr lang="en-GB" sz="1000" dirty="0" err="1"/>
              <a:t>QoS</a:t>
            </a:r>
            <a:r>
              <a:rPr lang="en-GB" sz="1000" dirty="0"/>
              <a:t> flow in the 5G system. User Plane traffic with the same QFI within a PDU session receives the same traffic forwarding treatment </a:t>
            </a:r>
            <a:r>
              <a:rPr lang="en-US" sz="1000" dirty="0"/>
              <a:t>(e.g. </a:t>
            </a:r>
            <a:r>
              <a:rPr lang="en-GB" sz="1000" dirty="0"/>
              <a:t>scheduling</a:t>
            </a:r>
            <a:r>
              <a:rPr lang="en-US" sz="1000" dirty="0"/>
              <a:t>, </a:t>
            </a:r>
            <a:r>
              <a:rPr lang="en-GB" sz="1000" dirty="0"/>
              <a:t>admission threshold</a:t>
            </a:r>
            <a:r>
              <a:rPr lang="en-US" sz="1000" dirty="0"/>
              <a:t>)</a:t>
            </a:r>
            <a:r>
              <a:rPr lang="en-GB" sz="1000" dirty="0"/>
              <a:t>.</a:t>
            </a:r>
            <a:endParaRPr lang="en-US" sz="1000" dirty="0"/>
          </a:p>
          <a:p>
            <a:endParaRPr lang="en-US" sz="1000" dirty="0"/>
          </a:p>
        </p:txBody>
      </p:sp>
      <p:sp>
        <p:nvSpPr>
          <p:cNvPr id="4" name="Slide Number Placeholder 3"/>
          <p:cNvSpPr>
            <a:spLocks noGrp="1"/>
          </p:cNvSpPr>
          <p:nvPr>
            <p:ph type="sldNum" sz="quarter" idx="10"/>
          </p:nvPr>
        </p:nvSpPr>
        <p:spPr/>
        <p:txBody>
          <a:bodyPr/>
          <a:lstStyle/>
          <a:p>
            <a:fld id="{86587108-7DCE-450F-B55E-126A48BB4DF6}" type="slidenum">
              <a:rPr lang="en-US" smtClean="0"/>
              <a:t>12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3893379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842963"/>
            <a:ext cx="6229350" cy="3503612"/>
          </a:xfrm>
        </p:spPr>
      </p:sp>
      <p:sp>
        <p:nvSpPr>
          <p:cNvPr id="3" name="Notes Placeholder 2"/>
          <p:cNvSpPr>
            <a:spLocks noGrp="1"/>
          </p:cNvSpPr>
          <p:nvPr>
            <p:ph type="body" idx="1"/>
          </p:nvPr>
        </p:nvSpPr>
        <p:spPr>
          <a:xfrm>
            <a:off x="1309532" y="4605657"/>
            <a:ext cx="4714315" cy="4915404"/>
          </a:xfrm>
        </p:spPr>
        <p:txBody>
          <a:bodyPr/>
          <a:lstStyle/>
          <a:p>
            <a:r>
              <a:rPr lang="en-US" sz="1000" dirty="0"/>
              <a:t>Important terms and definitions according to 3GPP TS 23.501 continued:</a:t>
            </a:r>
          </a:p>
          <a:p>
            <a:r>
              <a:rPr lang="en-GB" sz="1000" b="1" dirty="0"/>
              <a:t>Local Area Data Network: </a:t>
            </a:r>
            <a:r>
              <a:rPr lang="en-GB" sz="1000" dirty="0"/>
              <a:t>a DN that is accessible by the UE only in specific locations, that provides connectivity to a specific DNN, and whose availability is provided to the UE.</a:t>
            </a:r>
          </a:p>
          <a:p>
            <a:r>
              <a:rPr lang="en-GB" sz="1000" b="1" dirty="0"/>
              <a:t>Service Continuity: </a:t>
            </a:r>
            <a:r>
              <a:rPr lang="en-GB" sz="1000" dirty="0"/>
              <a:t>The uninterrupted user experience of a service, including the cases where the IP address and/or anchoring point change.</a:t>
            </a:r>
          </a:p>
          <a:p>
            <a:r>
              <a:rPr lang="en-GB" sz="1000" b="1" dirty="0"/>
              <a:t>Session Continuity:</a:t>
            </a:r>
            <a:r>
              <a:rPr lang="en-GB" sz="1000" dirty="0"/>
              <a:t> The continuity of a PDU session. For PDU session of IP type "session continuity" implies that the IP address is preserved for the lifetime of the PDU session.</a:t>
            </a:r>
          </a:p>
          <a:p>
            <a:r>
              <a:rPr lang="en-GB" sz="1000" b="1" dirty="0"/>
              <a:t>PDU Session Anchor:</a:t>
            </a:r>
            <a:r>
              <a:rPr lang="en-GB" sz="1000" dirty="0"/>
              <a:t> An UPF that provides the interface to a Data Network </a:t>
            </a:r>
            <a:endParaRPr lang="en-US" sz="1000" dirty="0"/>
          </a:p>
          <a:p>
            <a:endParaRPr lang="en-US" sz="1000" dirty="0"/>
          </a:p>
        </p:txBody>
      </p:sp>
      <p:sp>
        <p:nvSpPr>
          <p:cNvPr id="4" name="Slide Number Placeholder 3"/>
          <p:cNvSpPr>
            <a:spLocks noGrp="1"/>
          </p:cNvSpPr>
          <p:nvPr>
            <p:ph type="sldNum" sz="quarter" idx="10"/>
          </p:nvPr>
        </p:nvSpPr>
        <p:spPr/>
        <p:txBody>
          <a:bodyPr/>
          <a:lstStyle/>
          <a:p>
            <a:fld id="{5A928BCE-29B8-4665-BE97-DFB2E77FCDDF}" type="slidenum">
              <a:rPr lang="en-US" smtClean="0"/>
              <a:t>12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72806029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3075" cy="3838575"/>
          </a:xfrm>
        </p:spPr>
      </p:sp>
      <p:sp>
        <p:nvSpPr>
          <p:cNvPr id="3" name="Notes Placeholder 2"/>
          <p:cNvSpPr>
            <a:spLocks noGrp="1"/>
          </p:cNvSpPr>
          <p:nvPr>
            <p:ph type="body" idx="1"/>
          </p:nvPr>
        </p:nvSpPr>
        <p:spPr>
          <a:xfrm>
            <a:off x="1309532" y="4839702"/>
            <a:ext cx="4714315" cy="4915404"/>
          </a:xfrm>
        </p:spPr>
        <p:txBody>
          <a:bodyPr/>
          <a:lstStyle/>
          <a:p>
            <a:pPr defTabSz="937626">
              <a:defRPr/>
            </a:pPr>
            <a:r>
              <a:rPr lang="en-US" sz="1000" dirty="0">
                <a:cs typeface="Times New Roman" panose="02020603050405020304" pitchFamily="18" charset="0"/>
              </a:rPr>
              <a:t>This shows deployment of the UPF at a remote location in series with UPF at a central location in order to manage offload to local services (data) network for certain part of the traffic. </a:t>
            </a:r>
          </a:p>
          <a:p>
            <a:pPr>
              <a:defRPr/>
            </a:pPr>
            <a:r>
              <a:rPr lang="en-US" sz="1000" dirty="0">
                <a:cs typeface="Times New Roman" panose="02020603050405020304" pitchFamily="18" charset="0"/>
              </a:rPr>
              <a:t>In this case the SMF can control the data path of a PDU session so that the </a:t>
            </a:r>
            <a:r>
              <a:rPr lang="en-GB" sz="1000" dirty="0"/>
              <a:t>PDU session may simultaneously correspond to multiple N6 interfaces. The UPF that terminates each of these interfaces is said to support an </a:t>
            </a:r>
            <a:r>
              <a:rPr lang="en-GB" sz="1000" i="1" dirty="0"/>
              <a:t>PDU session anchor functionality</a:t>
            </a:r>
            <a:r>
              <a:rPr lang="en-GB" sz="1000" dirty="0"/>
              <a:t>.</a:t>
            </a:r>
            <a:endParaRPr lang="en-US" sz="1000" dirty="0">
              <a:cs typeface="Times New Roman" panose="02020603050405020304" pitchFamily="18" charset="0"/>
            </a:endParaRPr>
          </a:p>
          <a:p>
            <a:pPr defTabSz="937626">
              <a:defRPr/>
            </a:pPr>
            <a:endParaRPr lang="en-US" sz="1000" dirty="0">
              <a:cs typeface="Times New Roman" panose="02020603050405020304" pitchFamily="18" charset="0"/>
            </a:endParaRP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1F884304-937C-4C70-A7D9-C672F40CA9C2}" type="slidenum">
              <a:rPr lang="en-US" smtClean="0"/>
              <a:t>122</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204166721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8800" y="842963"/>
            <a:ext cx="6227763" cy="3503612"/>
          </a:xfrm>
        </p:spPr>
      </p:sp>
      <p:sp>
        <p:nvSpPr>
          <p:cNvPr id="3" name="Notes Placeholder 2"/>
          <p:cNvSpPr>
            <a:spLocks noGrp="1"/>
          </p:cNvSpPr>
          <p:nvPr>
            <p:ph type="body" idx="1"/>
          </p:nvPr>
        </p:nvSpPr>
        <p:spPr/>
        <p:txBody>
          <a:bodyPr/>
          <a:lstStyle/>
          <a:p>
            <a:r>
              <a:rPr lang="en-GB" sz="1000" dirty="0"/>
              <a:t>The support for session and service continuity in 5G system architecture enables to address the various continuity requirements of different applications/services for the UE. </a:t>
            </a:r>
            <a:r>
              <a:rPr lang="en-US" sz="1000" dirty="0"/>
              <a:t>The 5G system supports different </a:t>
            </a:r>
            <a:r>
              <a:rPr lang="en-GB" sz="1000" dirty="0"/>
              <a:t>session and service continuity (SSC) modes as </a:t>
            </a:r>
            <a:r>
              <a:rPr lang="en-US" sz="1000" dirty="0"/>
              <a:t>defined in 3GPP TS 23.501. The SSC mode associated with a PDU session anchor (UPF) does not change during the lifetime of a PDU session.</a:t>
            </a:r>
          </a:p>
          <a:p>
            <a:endParaRPr lang="en-US" sz="1000" dirty="0"/>
          </a:p>
        </p:txBody>
      </p:sp>
      <p:sp>
        <p:nvSpPr>
          <p:cNvPr id="4" name="Slide Number Placeholder 3"/>
          <p:cNvSpPr>
            <a:spLocks noGrp="1"/>
          </p:cNvSpPr>
          <p:nvPr>
            <p:ph type="sldNum" sz="quarter" idx="10"/>
          </p:nvPr>
        </p:nvSpPr>
        <p:spPr/>
        <p:txBody>
          <a:bodyPr/>
          <a:lstStyle/>
          <a:p>
            <a:fld id="{798BA567-B5A9-4515-B743-498E587849B5}" type="slidenum">
              <a:rPr lang="en-US" smtClean="0"/>
              <a:t>12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92677028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811213"/>
            <a:ext cx="6224588" cy="3502025"/>
          </a:xfrm>
        </p:spPr>
      </p:sp>
      <p:sp>
        <p:nvSpPr>
          <p:cNvPr id="3" name="Notes Placeholder 2"/>
          <p:cNvSpPr>
            <a:spLocks noGrp="1"/>
          </p:cNvSpPr>
          <p:nvPr>
            <p:ph type="body" idx="1"/>
          </p:nvPr>
        </p:nvSpPr>
        <p:spPr/>
        <p:txBody>
          <a:bodyPr/>
          <a:lstStyle/>
          <a:p>
            <a:r>
              <a:rPr lang="en-US" sz="1000" b="1" dirty="0"/>
              <a:t>SSC Mode 1</a:t>
            </a:r>
          </a:p>
          <a:p>
            <a:r>
              <a:rPr lang="en-GB" sz="1000" dirty="0"/>
              <a:t>For a PDU session anchor of SSC mode 1, the UPF acting as PDU session anchor at the establishment of the PDU session is maintained regardless of the access technology (e.g. Access Type and cells) a UE is successively using to access the network.</a:t>
            </a:r>
            <a:endParaRPr lang="en-US" sz="1000" dirty="0"/>
          </a:p>
          <a:p>
            <a:r>
              <a:rPr lang="en-GB" sz="1000" dirty="0"/>
              <a:t>In case of a PDU session of IP type, IP continuity is supported regardless of UE mobility events.</a:t>
            </a:r>
          </a:p>
          <a:p>
            <a:endParaRPr lang="en-US" sz="1000" dirty="0"/>
          </a:p>
        </p:txBody>
      </p:sp>
      <p:sp>
        <p:nvSpPr>
          <p:cNvPr id="4" name="Slide Number Placeholder 3"/>
          <p:cNvSpPr>
            <a:spLocks noGrp="1"/>
          </p:cNvSpPr>
          <p:nvPr>
            <p:ph type="sldNum" sz="quarter" idx="10"/>
          </p:nvPr>
        </p:nvSpPr>
        <p:spPr/>
        <p:txBody>
          <a:bodyPr/>
          <a:lstStyle/>
          <a:p>
            <a:fld id="{82A22B5E-6442-47AD-AC04-E1F010732E89}" type="slidenum">
              <a:rPr lang="en-US" smtClean="0"/>
              <a:t>12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1904843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811213"/>
            <a:ext cx="6224588" cy="3502025"/>
          </a:xfrm>
        </p:spPr>
      </p:sp>
      <p:sp>
        <p:nvSpPr>
          <p:cNvPr id="3" name="Notes Placeholder 2"/>
          <p:cNvSpPr>
            <a:spLocks noGrp="1"/>
          </p:cNvSpPr>
          <p:nvPr>
            <p:ph type="body" idx="1"/>
          </p:nvPr>
        </p:nvSpPr>
        <p:spPr/>
        <p:txBody>
          <a:bodyPr/>
          <a:lstStyle/>
          <a:p>
            <a:r>
              <a:rPr lang="en-US" sz="1000" b="1" dirty="0"/>
              <a:t>SSC Mode 2</a:t>
            </a:r>
          </a:p>
          <a:p>
            <a:r>
              <a:rPr lang="en-GB" sz="1000" dirty="0"/>
              <a:t>If a PDU session has a single PDU session anchor of SSC mode 2, the network may trigger the release of the PDU session and instruct the UE to establish a new PDU session to the same data network immediately. At establishment of the new PDU session, a new UPF acting as PDU session anchor can be selected.</a:t>
            </a:r>
          </a:p>
          <a:p>
            <a:endParaRPr lang="en-US" sz="1000" dirty="0"/>
          </a:p>
        </p:txBody>
      </p:sp>
      <p:sp>
        <p:nvSpPr>
          <p:cNvPr id="4" name="Slide Number Placeholder 3"/>
          <p:cNvSpPr>
            <a:spLocks noGrp="1"/>
          </p:cNvSpPr>
          <p:nvPr>
            <p:ph type="sldNum" sz="quarter" idx="10"/>
          </p:nvPr>
        </p:nvSpPr>
        <p:spPr/>
        <p:txBody>
          <a:bodyPr/>
          <a:lstStyle/>
          <a:p>
            <a:fld id="{ED78370D-1AAE-4CF7-A1B4-DBFDC294247B}" type="slidenum">
              <a:rPr lang="en-US" smtClean="0"/>
              <a:t>12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22654182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811213"/>
            <a:ext cx="6224588" cy="3502025"/>
          </a:xfrm>
        </p:spPr>
      </p:sp>
      <p:sp>
        <p:nvSpPr>
          <p:cNvPr id="3" name="Notes Placeholder 2"/>
          <p:cNvSpPr>
            <a:spLocks noGrp="1"/>
          </p:cNvSpPr>
          <p:nvPr>
            <p:ph type="body" idx="1"/>
          </p:nvPr>
        </p:nvSpPr>
        <p:spPr/>
        <p:txBody>
          <a:bodyPr/>
          <a:lstStyle/>
          <a:p>
            <a:r>
              <a:rPr lang="en-GB" sz="1000" dirty="0"/>
              <a:t>The support for session and service continuity in 5G system architecture enables to address the various continuity requirements of different applications/services for the UE. </a:t>
            </a:r>
            <a:r>
              <a:rPr lang="en-US" sz="1000" dirty="0"/>
              <a:t>The 5G system supports different </a:t>
            </a:r>
            <a:r>
              <a:rPr lang="en-GB" sz="1000" dirty="0"/>
              <a:t>session and service continuity (SSC) modes as </a:t>
            </a:r>
            <a:r>
              <a:rPr lang="en-US" sz="1000" dirty="0"/>
              <a:t>defined in 3GPP TS 23.501. The SSC mode associated with a PDU session anchor (UPF) does not change during the lifetime of a PDU session.</a:t>
            </a:r>
          </a:p>
          <a:p>
            <a:r>
              <a:rPr lang="en-US" sz="1000" b="1" dirty="0"/>
              <a:t>SSC Mode 1</a:t>
            </a:r>
          </a:p>
          <a:p>
            <a:r>
              <a:rPr lang="en-GB" sz="1000" dirty="0"/>
              <a:t>For a PDU session anchor of SSC mode 1, the UPF acting as PDU session anchor at the establishment of the PDU session is maintained regardless of the access technology (e.g. Access Type and cells) a UE is successively using to access the network.</a:t>
            </a:r>
            <a:endParaRPr lang="en-US" sz="1000" dirty="0"/>
          </a:p>
          <a:p>
            <a:r>
              <a:rPr lang="en-GB" sz="1000" dirty="0"/>
              <a:t>In case of a PDU session of IP type, IP continuity is supported regardless of UE mobility events.</a:t>
            </a:r>
          </a:p>
          <a:p>
            <a:r>
              <a:rPr lang="en-US" sz="1000" b="1" dirty="0"/>
              <a:t>SSC Mode 2</a:t>
            </a:r>
          </a:p>
          <a:p>
            <a:r>
              <a:rPr lang="en-GB" sz="1000" dirty="0"/>
              <a:t>If a PDU session has a single PDU session anchor of SSC mode 2, the network may trigger the release of the PDU session and instruct the UE to establish a new PDU session to the same data network immediately. At establishment of the new PDU session, a new UPF acting as PDU session anchor can be selected.</a:t>
            </a:r>
          </a:p>
          <a:p>
            <a:r>
              <a:rPr lang="en-GB" sz="1000" b="1" dirty="0"/>
              <a:t>SSC Mode 3</a:t>
            </a:r>
          </a:p>
          <a:p>
            <a:r>
              <a:rPr lang="en-GB" sz="1000" dirty="0"/>
              <a:t>For PDU session of SSC mode 3, the network allows the establishment of UE connectivity via a new PDU session anchor to the same data network before connectivity between the UE and the previous PDU session anchor is released. </a:t>
            </a:r>
          </a:p>
          <a:p>
            <a:r>
              <a:rPr lang="en-GB" sz="1000" dirty="0"/>
              <a:t>When trigger conditions apply, the network decides whether to select a PDU session anchor UPF suitable for the UE's new conditions (e.g. point of attachment to the network).</a:t>
            </a:r>
            <a:endParaRPr lang="en-US" sz="1000" b="1" dirty="0"/>
          </a:p>
          <a:p>
            <a:endParaRPr lang="en-US" sz="1000" dirty="0"/>
          </a:p>
        </p:txBody>
      </p:sp>
      <p:sp>
        <p:nvSpPr>
          <p:cNvPr id="4" name="Slide Number Placeholder 3"/>
          <p:cNvSpPr>
            <a:spLocks noGrp="1"/>
          </p:cNvSpPr>
          <p:nvPr>
            <p:ph type="sldNum" sz="quarter" idx="10"/>
          </p:nvPr>
        </p:nvSpPr>
        <p:spPr/>
        <p:txBody>
          <a:bodyPr/>
          <a:lstStyle/>
          <a:p>
            <a:fld id="{13AAC1E0-1958-4A02-87D5-BD033F2FC5AB}" type="slidenum">
              <a:rPr lang="en-US" smtClean="0"/>
              <a:t>12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4334976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842963"/>
            <a:ext cx="6229350" cy="3503612"/>
          </a:xfrm>
        </p:spPr>
      </p:sp>
      <p:sp>
        <p:nvSpPr>
          <p:cNvPr id="3" name="Notes Placeholder 2"/>
          <p:cNvSpPr>
            <a:spLocks noGrp="1"/>
          </p:cNvSpPr>
          <p:nvPr>
            <p:ph type="body" idx="1"/>
          </p:nvPr>
        </p:nvSpPr>
        <p:spPr/>
        <p:txBody>
          <a:bodyPr/>
          <a:lstStyle/>
          <a:p>
            <a:r>
              <a:rPr lang="en-GB" sz="1000" dirty="0"/>
              <a:t>The SSC mode selection policy shall be used to determine the type of session and service continuity mode associated with an application or group of applications for the UE.</a:t>
            </a:r>
          </a:p>
          <a:p>
            <a:r>
              <a:rPr lang="en-GB" sz="1000" dirty="0"/>
              <a:t>It shall be possible for the operator to provision the UE with SSC mode selection policy. This policy includes one or more SSC mode selection policy rules which can be used by the UE to determine the type of SSC mode associated with an application or group of applications. The policy may include a default SSC mode selection policy rule that matches all applications of the UE.</a:t>
            </a:r>
          </a:p>
          <a:p>
            <a:r>
              <a:rPr lang="en-GB" sz="1000" dirty="0"/>
              <a:t>The SMF receives from the UDM the list of supported SSC modes and the default SSC mode per DNN as part of the subscription information.</a:t>
            </a:r>
          </a:p>
          <a:p>
            <a:r>
              <a:rPr lang="en-GB" sz="1000" dirty="0"/>
              <a:t>If a UE provide an SSC mode when requesting a new PDU session, the SMF selects the SSC mode by either accepting the requested SSC mode or modifying the requested SSC mode based on subscription and/or local configuration.</a:t>
            </a:r>
            <a:endParaRPr lang="en-US" sz="1000" dirty="0"/>
          </a:p>
          <a:p>
            <a:r>
              <a:rPr lang="en-GB" sz="1000" dirty="0"/>
              <a:t>If a UE does not provide an SSC mode when requesting a new PDU session, then the SMF selects the default SSC mode for the data network listed in the subscription or applies local configuration to select the SSC mode.</a:t>
            </a:r>
            <a:endParaRPr lang="en-US" sz="1000" dirty="0"/>
          </a:p>
          <a:p>
            <a:r>
              <a:rPr lang="en-GB" sz="1000" dirty="0"/>
              <a:t>The SMF shall inform the UE of the selected SSC mode for a PDU session.</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40D92A85-111D-407A-AED2-6F6C9EF307F3}" type="slidenum">
              <a:rPr lang="en-US" smtClean="0"/>
              <a:t>12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96927642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1975" y="842963"/>
            <a:ext cx="6227763" cy="3503612"/>
          </a:xfrm>
        </p:spPr>
      </p:sp>
      <p:sp>
        <p:nvSpPr>
          <p:cNvPr id="3" name="Notes Placeholder 2"/>
          <p:cNvSpPr>
            <a:spLocks noGrp="1"/>
          </p:cNvSpPr>
          <p:nvPr>
            <p:ph type="body" idx="1"/>
          </p:nvPr>
        </p:nvSpPr>
        <p:spPr>
          <a:xfrm>
            <a:off x="1309532" y="4540788"/>
            <a:ext cx="4714315" cy="5189472"/>
          </a:xfrm>
        </p:spPr>
        <p:txBody>
          <a:bodyPr/>
          <a:lstStyle/>
          <a:p>
            <a:r>
              <a:rPr lang="en-US" sz="1000" dirty="0">
                <a:cs typeface="Times New Roman" panose="02020603050405020304" pitchFamily="18" charset="0"/>
              </a:rPr>
              <a:t>Ericsson 5G aims for a robust, high performing and unified packet core platform to support charging, designed to meet new business demands without compromising legacy support. The features presented in this slide are example of important areas to be significant in the Ericsson 5G CN charging proposition: </a:t>
            </a:r>
          </a:p>
          <a:p>
            <a:r>
              <a:rPr lang="en-US" sz="1000" b="1" dirty="0">
                <a:cs typeface="Times New Roman" panose="02020603050405020304" pitchFamily="18" charset="0"/>
              </a:rPr>
              <a:t>Purpose focused reference points:</a:t>
            </a:r>
          </a:p>
          <a:p>
            <a:r>
              <a:rPr lang="en-US" sz="1000" dirty="0">
                <a:cs typeface="Times New Roman" panose="02020603050405020304" pitchFamily="18" charset="0"/>
              </a:rPr>
              <a:t>The network generates data for purposes like a) online charging, b) offline charging, c) network statistics d) analytics. The data is used and processed by different systems and the targeting, as well as flexible tailoring, of the data for each purpose is enabled by specialized interfaces. This modularity supports the continuously increased demands for fast as well as for secure mobile connectivity services;</a:t>
            </a:r>
          </a:p>
          <a:p>
            <a:pPr marL="234406" indent="-234406">
              <a:buFont typeface="+mj-lt"/>
              <a:buAutoNum type="arabicPeriod"/>
            </a:pPr>
            <a:r>
              <a:rPr lang="en-US" sz="1000" dirty="0">
                <a:cs typeface="Times New Roman" panose="02020603050405020304" pitchFamily="18" charset="0"/>
              </a:rPr>
              <a:t>The flexibility in the differentiation opens for and create a foundation for data processing to be handled where most suitable. It will release effort from real-time to non-real-time processing just by having a clear separated handling of data needed at real-time processing (online charging), from data where post processing is preferred choice and not time critical as for offline charging. </a:t>
            </a:r>
          </a:p>
          <a:p>
            <a:pPr marL="234406" indent="-234406">
              <a:buFont typeface="+mj-lt"/>
              <a:buAutoNum type="arabicPeriod"/>
            </a:pPr>
            <a:r>
              <a:rPr lang="en-US" sz="1000" dirty="0">
                <a:cs typeface="Times New Roman" panose="02020603050405020304" pitchFamily="18" charset="0"/>
              </a:rPr>
              <a:t>The separation of generated data into different interfaces will help and benefit data security and integrity, by addressing natural groups of recipient with purpose driven relevant information.</a:t>
            </a:r>
          </a:p>
          <a:p>
            <a:r>
              <a:rPr lang="en-US" sz="1000" b="1" dirty="0">
                <a:cs typeface="Times New Roman" panose="02020603050405020304" pitchFamily="18" charset="0"/>
              </a:rPr>
              <a:t>Chargeable account identification:</a:t>
            </a:r>
          </a:p>
          <a:p>
            <a:r>
              <a:rPr lang="en-US" sz="1000" dirty="0">
                <a:cs typeface="Times New Roman" panose="02020603050405020304" pitchFamily="18" charset="0"/>
              </a:rPr>
              <a:t>Other identification types for accounts than MSISDN will be supported, to manage charging of services like </a:t>
            </a:r>
            <a:r>
              <a:rPr lang="en-US" sz="1000" dirty="0" err="1">
                <a:cs typeface="Times New Roman" panose="02020603050405020304" pitchFamily="18" charset="0"/>
              </a:rPr>
              <a:t>VoLTE</a:t>
            </a:r>
            <a:r>
              <a:rPr lang="en-US" sz="1000" dirty="0">
                <a:cs typeface="Times New Roman" panose="02020603050405020304" pitchFamily="18" charset="0"/>
              </a:rPr>
              <a:t>, IP messaging, </a:t>
            </a:r>
            <a:r>
              <a:rPr lang="en-US" sz="1000" dirty="0" err="1">
                <a:cs typeface="Times New Roman" panose="02020603050405020304" pitchFamily="18" charset="0"/>
              </a:rPr>
              <a:t>MIoT</a:t>
            </a:r>
            <a:r>
              <a:rPr lang="en-US" sz="1000" dirty="0">
                <a:cs typeface="Times New Roman" panose="02020603050405020304" pitchFamily="18" charset="0"/>
              </a:rPr>
              <a:t> and V2X. Ericsson 5G packet core domain will handle both legacy and new business use cases and support both MSISDN and MSISDN-less devices as well as new types of identification, including identification of 3rd party accounts (sponsoring). </a:t>
            </a:r>
          </a:p>
          <a:p>
            <a:r>
              <a:rPr lang="en-US" sz="1000" b="1" dirty="0">
                <a:cs typeface="Times New Roman" panose="02020603050405020304" pitchFamily="18" charset="0"/>
              </a:rPr>
              <a:t>Slice-specific charging:</a:t>
            </a:r>
          </a:p>
          <a:p>
            <a:r>
              <a:rPr lang="en-US" sz="1000" dirty="0">
                <a:cs typeface="Times New Roman" panose="02020603050405020304" pitchFamily="18" charset="0"/>
              </a:rPr>
              <a:t>Cross-industry collaborative environments drives the need for cross-domain multi slice network deployments. The Ericsson 5G packet core domain will support the BSS differentiating the network slices in 5G deployments by informing about the slice identity (centralized BSS) as well as slice-specific routing for the charging interfaces (slice-specific BSS). </a:t>
            </a:r>
          </a:p>
          <a:p>
            <a:endParaRPr lang="en-US" sz="1000" dirty="0">
              <a:cs typeface="Times New Roman" panose="02020603050405020304" pitchFamily="18" charset="0"/>
            </a:endParaRPr>
          </a:p>
          <a:p>
            <a:endParaRPr lang="en-US" sz="1000" dirty="0">
              <a:cs typeface="Times New Roman" panose="02020603050405020304" pitchFamily="18" charset="0"/>
            </a:endParaRPr>
          </a:p>
          <a:p>
            <a:r>
              <a:rPr lang="en-US" sz="1000" dirty="0">
                <a:cs typeface="Times New Roman" panose="02020603050405020304" pitchFamily="18" charset="0"/>
              </a:rPr>
              <a:t> </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1D82983-335E-4F40-9D95-372170A3A8AF}" type="slidenum">
              <a:rPr lang="en-US" smtClean="0"/>
              <a:t>12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84686350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US" sz="1000" b="1" dirty="0">
                <a:cs typeface="Times New Roman" panose="02020603050405020304" pitchFamily="18" charset="0"/>
              </a:rPr>
              <a:t>Slice-specific charging:</a:t>
            </a:r>
          </a:p>
          <a:p>
            <a:r>
              <a:rPr lang="en-US" sz="1000" dirty="0">
                <a:cs typeface="Times New Roman" panose="02020603050405020304" pitchFamily="18" charset="0"/>
              </a:rPr>
              <a:t>Cross-industry collaborative environments drives the need for cross-domain multi slice network deployments. The Ericsson 5G packet core domain will support the BSS differentiating the network slices in 5G deployments by informing about the slice identity (centralized BSS) as well as slice-specific routing for the charging interfaces (slice-specific BSS). </a:t>
            </a:r>
            <a:br>
              <a:rPr lang="en-US" sz="1000" dirty="0">
                <a:cs typeface="Times New Roman" panose="02020603050405020304" pitchFamily="18" charset="0"/>
              </a:rPr>
            </a:br>
            <a:br>
              <a:rPr lang="en-US" sz="1000" dirty="0">
                <a:cs typeface="Times New Roman" panose="02020603050405020304" pitchFamily="18" charset="0"/>
              </a:rPr>
            </a:br>
            <a:r>
              <a:rPr lang="en-US" sz="1000" b="1" dirty="0">
                <a:cs typeface="Times New Roman" panose="02020603050405020304" pitchFamily="18" charset="0"/>
              </a:rPr>
              <a:t>Multi path measurements:</a:t>
            </a:r>
          </a:p>
          <a:p>
            <a:r>
              <a:rPr lang="en-US" sz="1000" dirty="0">
                <a:cs typeface="Times New Roman" panose="02020603050405020304" pitchFamily="18" charset="0"/>
              </a:rPr>
              <a:t>In multi UPF deployments with data usage measurement and reporting from UPFs in parallel, the packet core domain will report distributed usage across different UPFs in a single usage report when common rating applies. Charging system should not have to act on or consider the distribution of usage, in this scenario of user traffic across multiple user plane.</a:t>
            </a:r>
          </a:p>
          <a:p>
            <a:endParaRPr lang="en-US" sz="1000" dirty="0">
              <a:cs typeface="Times New Roman" panose="02020603050405020304" pitchFamily="18" charset="0"/>
            </a:endParaRPr>
          </a:p>
          <a:p>
            <a:r>
              <a:rPr lang="en-US" sz="1000" b="1" dirty="0">
                <a:cs typeface="Times New Roman" panose="02020603050405020304" pitchFamily="18" charset="0"/>
              </a:rPr>
              <a:t>Slim-lined business support:</a:t>
            </a:r>
          </a:p>
          <a:p>
            <a:r>
              <a:rPr lang="en-US" sz="1000" dirty="0">
                <a:cs typeface="Times New Roman" panose="02020603050405020304" pitchFamily="18" charset="0"/>
              </a:rPr>
              <a:t>To further reduce time-to-market with fast deployments of new services, offers and campaigns as well as their continuous maintenance and refining, a common cross-domain information model is utilized. The target is a high degree of automation in preparations of network resources and to smoothly support wanted packaging, pricing, charging and billing. </a:t>
            </a:r>
          </a:p>
          <a:p>
            <a:r>
              <a:rPr lang="en-US" sz="1000" dirty="0">
                <a:cs typeface="Times New Roman" panose="02020603050405020304" pitchFamily="18" charset="0"/>
              </a:rPr>
              <a:t> </a:t>
            </a:r>
          </a:p>
          <a:p>
            <a:r>
              <a:rPr lang="en-US" sz="1000" b="1" dirty="0">
                <a:cs typeface="Times New Roman" panose="02020603050405020304" pitchFamily="18" charset="0"/>
              </a:rPr>
              <a:t>Connection and service centric charging:</a:t>
            </a:r>
          </a:p>
          <a:p>
            <a:r>
              <a:rPr lang="en-US" sz="1000" dirty="0">
                <a:cs typeface="Times New Roman" panose="02020603050405020304" pitchFamily="18" charset="0"/>
              </a:rPr>
              <a:t>With 5G the trend towards more service and application centric traffic handling continues. Ericsson charging solutions will henceforth support charging on a per session and a per service basis. Charging principles include.</a:t>
            </a:r>
          </a:p>
          <a:p>
            <a:pPr marL="175805" indent="-175805">
              <a:buFont typeface="Arial" panose="020B0604020202020204" pitchFamily="34" charset="0"/>
              <a:buChar char="•"/>
            </a:pPr>
            <a:r>
              <a:rPr lang="en-US" sz="1000" dirty="0">
                <a:cs typeface="Times New Roman" panose="02020603050405020304" pitchFamily="18" charset="0"/>
              </a:rPr>
              <a:t>End-user charges of actual usage, excluding discarded traffic based on policy decisions.</a:t>
            </a:r>
          </a:p>
          <a:p>
            <a:pPr marL="175805" indent="-175805">
              <a:buFont typeface="Arial" panose="020B0604020202020204" pitchFamily="34" charset="0"/>
              <a:buChar char="•"/>
            </a:pPr>
            <a:r>
              <a:rPr lang="en-US" sz="1000" dirty="0">
                <a:cs typeface="Times New Roman" panose="02020603050405020304" pitchFamily="18" charset="0"/>
              </a:rPr>
              <a:t>Inter-operator settlement account for charges of actual amount of traffic traversing the operator boarder.</a:t>
            </a:r>
          </a:p>
          <a:p>
            <a:pPr marL="175805" indent="-175805">
              <a:buFont typeface="Arial" panose="020B0604020202020204" pitchFamily="34" charset="0"/>
              <a:buChar char="•"/>
            </a:pPr>
            <a:r>
              <a:rPr lang="en-US" sz="1000" dirty="0">
                <a:cs typeface="Times New Roman" panose="02020603050405020304" pitchFamily="18" charset="0"/>
              </a:rPr>
              <a:t>B2B business models and charging of specific user groups as for sponsored traffic and </a:t>
            </a:r>
            <a:r>
              <a:rPr lang="en-US" sz="1000" dirty="0" err="1">
                <a:cs typeface="Times New Roman" panose="02020603050405020304" pitchFamily="18" charset="0"/>
              </a:rPr>
              <a:t>IoT</a:t>
            </a:r>
            <a:r>
              <a:rPr lang="en-US" sz="1000" dirty="0">
                <a:cs typeface="Times New Roman" panose="02020603050405020304" pitchFamily="18" charset="0"/>
              </a:rPr>
              <a:t>.</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B82BB7CB-1E52-4B08-98DD-03AFBC12F3F7}" type="slidenum">
              <a:rPr lang="en-US" smtClean="0"/>
              <a:t>12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4275430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dirty="0"/>
              <a:t>The requirements on 5G, expecting to support a range of use cases, is stretching the requirement space in both the mobility and data capacity dimensions. In addition to these technical requirements, there are also a range of operational and business related requirements (drivers). To fulfil the combination of the technical and business requirements, network slicing is envisioned as an important enabler, making it possible to separate operations and services for a specific business segment into its own network slice. This makes it possible to support different network characteristics in different network slices in a more efficient way.</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D96F98D-065A-4814-AC24-0BB6AC9CAB12}" type="slidenum">
              <a:rPr lang="en-US" altLang="en-US" smtClean="0">
                <a:latin typeface="Arial" charset="0"/>
                <a:ea typeface="MS PGothic" pitchFamily="34" charset="-128"/>
                <a:cs typeface="Arial" charset="0"/>
              </a:rPr>
              <a:t>13</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16444040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47663" y="747713"/>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D5B0E829-237C-4848-A670-C9F1516003B7}" type="slidenum">
              <a:rPr lang="en-US" smtClean="0"/>
              <a:t>130</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285892515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85D42B30-49C3-4099-AC58-246453BDA72B}" type="slidenum">
              <a:rPr lang="en-US" smtClean="0"/>
              <a:t>13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4996696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altLang="en-US" sz="1000" dirty="0">
                <a:cs typeface="Times New Roman" panose="02020603050405020304" pitchFamily="18" charset="0"/>
              </a:rPr>
              <a:t>The challenges foreseen for 5G and the Next Gen Network are mainly centered around the flexibility of supporting a multitude of new use cases and at the same time simplify the operations. Growing business into new areas and new industries is a huge opportunity for the operators moving towards 5G, but it also brings new and more diverse requirements, a need for a more flexible deployment and flexibility in trust models and authentication schemes.</a:t>
            </a:r>
          </a:p>
          <a:p>
            <a:r>
              <a:rPr lang="en-US" altLang="sv-SE" sz="1000" dirty="0"/>
              <a:t>Many different 5G use case proposals have been put together. The figure shows the 5G use cases outlined in the NGMN 5G white paper in 2015.</a:t>
            </a:r>
          </a:p>
          <a:p>
            <a:endParaRPr lang="en-US" alt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50DAB110-0768-4CCE-8ADE-BCC9727C4A32}" type="slidenum">
              <a:rPr lang="en-US" smtClean="0"/>
              <a:t>13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1690705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842963"/>
            <a:ext cx="6227763" cy="3503612"/>
          </a:xfrm>
        </p:spPr>
      </p:sp>
      <p:sp>
        <p:nvSpPr>
          <p:cNvPr id="3" name="Notes Placeholder 2"/>
          <p:cNvSpPr>
            <a:spLocks noGrp="1"/>
          </p:cNvSpPr>
          <p:nvPr>
            <p:ph type="body" idx="1"/>
          </p:nvPr>
        </p:nvSpPr>
        <p:spPr/>
        <p:txBody>
          <a:bodyPr/>
          <a:lstStyle/>
          <a:p>
            <a:r>
              <a:rPr lang="en-US" altLang="sv-SE" sz="1000" dirty="0">
                <a:cs typeface="Times New Roman" panose="02020603050405020304" pitchFamily="18" charset="0"/>
              </a:rPr>
              <a:t>Further background on how NGMN defined the use case families and grouped categories of use cases to each family. Then in turn there are several example use cases in each use case category. </a:t>
            </a:r>
          </a:p>
          <a:p>
            <a:r>
              <a:rPr lang="en-US" altLang="sv-SE" sz="1000" dirty="0">
                <a:cs typeface="Times New Roman" panose="02020603050405020304" pitchFamily="18" charset="0"/>
              </a:rPr>
              <a:t>These use cases are described at a high level without any </a:t>
            </a:r>
            <a:r>
              <a:rPr lang="en-GB" sz="1000" dirty="0">
                <a:cs typeface="Times New Roman" panose="02020603050405020304" pitchFamily="18" charset="0"/>
              </a:rPr>
              <a:t>specific information on functional requirements on the network</a:t>
            </a:r>
            <a:r>
              <a:rPr lang="en-US" altLang="sv-SE" sz="1000" dirty="0">
                <a:cs typeface="Times New Roman" panose="02020603050405020304" pitchFamily="18" charset="0"/>
              </a:rPr>
              <a:t>. The use case descriptions indicates that the use cases are mainly driven from the view that all services are operator provided. However, some use cases have indications that the operator only provides the connectivity service while a third party may provide the end-user service. This analysis therefore make some  high level assumptions on service and business requirements.</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FEB7CBC-02CD-4B5B-A718-7C64D87B2F4C}" type="slidenum">
              <a:rPr lang="en-US" smtClean="0"/>
              <a:t>13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3088688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5300" y="842963"/>
            <a:ext cx="6227763" cy="3503612"/>
          </a:xfrm>
        </p:spPr>
      </p:sp>
      <p:sp>
        <p:nvSpPr>
          <p:cNvPr id="3" name="Notes Placeholder 2"/>
          <p:cNvSpPr>
            <a:spLocks noGrp="1"/>
          </p:cNvSpPr>
          <p:nvPr>
            <p:ph type="body" idx="1"/>
          </p:nvPr>
        </p:nvSpPr>
        <p:spPr/>
        <p:txBody>
          <a:bodyPr/>
          <a:lstStyle/>
          <a:p>
            <a:r>
              <a:rPr lang="en-US" sz="1000" dirty="0"/>
              <a:t>This slide summarize the key architecture driving requirements derived from the NGMN 5G use case characteristics. </a:t>
            </a:r>
          </a:p>
          <a:p>
            <a:r>
              <a:rPr lang="en-US" sz="1000" dirty="0"/>
              <a:t>The </a:t>
            </a:r>
            <a:r>
              <a:rPr lang="en-US" sz="1000" i="1" dirty="0"/>
              <a:t>CP/UP split </a:t>
            </a:r>
            <a:r>
              <a:rPr lang="en-US" sz="1000" dirty="0"/>
              <a:t>of the packet core network will support the capacity demands as well as the reduced latency of the network through flexible deployment of the UP functions. </a:t>
            </a:r>
          </a:p>
          <a:p>
            <a:pPr>
              <a:defRPr/>
            </a:pPr>
            <a:r>
              <a:rPr lang="en-US" sz="1000" dirty="0"/>
              <a:t>Of importance is the </a:t>
            </a:r>
            <a:r>
              <a:rPr lang="en-US" sz="1000" i="1" dirty="0"/>
              <a:t>multi-access support </a:t>
            </a:r>
            <a:r>
              <a:rPr lang="en-US" sz="1000" dirty="0"/>
              <a:t>in the network to support some of the use cases envisioned for the 5G era specifically to ensure a seamless experience.</a:t>
            </a:r>
          </a:p>
          <a:p>
            <a:pPr>
              <a:defRPr/>
            </a:pPr>
            <a:r>
              <a:rPr lang="en-US" sz="1000" dirty="0"/>
              <a:t>The industry automation, enterprise and public safety type of deployments requires </a:t>
            </a:r>
            <a:r>
              <a:rPr lang="en-US" sz="1000" i="1" dirty="0"/>
              <a:t>higher level of availability and resiliency </a:t>
            </a:r>
            <a:r>
              <a:rPr lang="en-US" sz="1000" dirty="0"/>
              <a:t>against network failures depending on type of business and SLA agreements between operators and the vertical business segment or public safety authority. </a:t>
            </a:r>
          </a:p>
          <a:p>
            <a:pPr>
              <a:defRPr/>
            </a:pPr>
            <a:r>
              <a:rPr lang="en-US" sz="1000" dirty="0"/>
              <a:t>The increasing growth of M2M/MTC/</a:t>
            </a:r>
            <a:r>
              <a:rPr lang="en-US" sz="1000" dirty="0" err="1"/>
              <a:t>IoT</a:t>
            </a:r>
            <a:r>
              <a:rPr lang="en-US" sz="1000" dirty="0"/>
              <a:t> devices, with a wide range of characteristics and demands. One family of devices is “low-cost/long-range/low-power” devices. Such devices may be deployed with high density, but will give very low revenue per device. </a:t>
            </a:r>
          </a:p>
          <a:p>
            <a:pPr>
              <a:defRPr/>
            </a:pPr>
            <a:r>
              <a:rPr lang="en-US" sz="1000" dirty="0"/>
              <a:t>It is expected that when addressing new vertical business segments the revenue per segment, compared with manual deployments, would be too small if not more of automation is done in service enablement and provisioning.</a:t>
            </a:r>
          </a:p>
          <a:p>
            <a:pPr>
              <a:defRPr/>
            </a:pPr>
            <a:r>
              <a:rPr lang="en-US" sz="1000" dirty="0"/>
              <a:t>Additionally, other requirements that are needed to support the 5G use cases are listed as well.</a:t>
            </a:r>
          </a:p>
          <a:p>
            <a:endParaRPr lang="en-US" sz="1000" dirty="0"/>
          </a:p>
        </p:txBody>
      </p:sp>
      <p:sp>
        <p:nvSpPr>
          <p:cNvPr id="4" name="Slide Number Placeholder 3"/>
          <p:cNvSpPr>
            <a:spLocks noGrp="1"/>
          </p:cNvSpPr>
          <p:nvPr>
            <p:ph type="sldNum" sz="quarter" idx="10"/>
          </p:nvPr>
        </p:nvSpPr>
        <p:spPr/>
        <p:txBody>
          <a:bodyPr/>
          <a:lstStyle/>
          <a:p>
            <a:fld id="{6DE1BB89-4E0F-44C4-BA34-C7FEE33B07C3}" type="slidenum">
              <a:rPr lang="en-US" smtClean="0"/>
              <a:t>13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49069804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4513" y="842963"/>
            <a:ext cx="6229350" cy="3503612"/>
          </a:xfrm>
        </p:spPr>
      </p:sp>
      <p:sp>
        <p:nvSpPr>
          <p:cNvPr id="3" name="Notes Placeholder 2"/>
          <p:cNvSpPr>
            <a:spLocks noGrp="1"/>
          </p:cNvSpPr>
          <p:nvPr>
            <p:ph type="body" idx="1"/>
          </p:nvPr>
        </p:nvSpPr>
        <p:spPr/>
        <p:txBody>
          <a:bodyPr/>
          <a:lstStyle/>
          <a:p>
            <a:r>
              <a:rPr lang="en-GB" sz="1000" dirty="0">
                <a:cs typeface="Times New Roman" panose="02020603050405020304" pitchFamily="18" charset="0"/>
              </a:rPr>
              <a:t>NGMN does not give inputs on how network slicing is used. A main challenge when mapping use cases to network slice type is the need to clarify how slicing can be used seen from different viewpoints, e.g. taking into account </a:t>
            </a:r>
            <a:r>
              <a:rPr lang="en-US" altLang="sv-SE" sz="1000" dirty="0">
                <a:cs typeface="Times New Roman" panose="02020603050405020304" pitchFamily="18" charset="0"/>
              </a:rPr>
              <a:t>similarities in deployments, functional requirements &amp; business relations.</a:t>
            </a:r>
          </a:p>
          <a:p>
            <a:r>
              <a:rPr lang="en-US" sz="1000" dirty="0">
                <a:cs typeface="Times New Roman" panose="02020603050405020304" pitchFamily="18" charset="0"/>
              </a:rPr>
              <a:t>When analyzing the NGMN use cases and the mapping to different architecture driving requirements, it seems feasible to map these use cases to four typical slice types: </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General MBB – covering both basic MBB and enhanced MBB scenarios. </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Enterprise and Industry – covering use cases with a need for e.g. local connectivity, exposure as well as enterprise services potentially with tight delay requirements</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Critical MTC / Public Safety – similar to MBB but with improved capabilities for ultra low latency, network exposure, monitoring and management.</a:t>
            </a:r>
            <a:endParaRPr lang="sv-SE" sz="1000" dirty="0">
              <a:cs typeface="Times New Roman" panose="02020603050405020304" pitchFamily="18" charset="0"/>
            </a:endParaRPr>
          </a:p>
          <a:p>
            <a:pPr marL="234406" indent="-234406">
              <a:buFont typeface="+mj-lt"/>
              <a:buAutoNum type="arabicPeriod"/>
            </a:pPr>
            <a:r>
              <a:rPr lang="en-US" sz="1000" dirty="0">
                <a:cs typeface="Times New Roman" panose="02020603050405020304" pitchFamily="18" charset="0"/>
              </a:rPr>
              <a:t>Massive MTC / Ultra-low cost MBB – cost optimized network</a:t>
            </a:r>
            <a:endParaRPr lang="sv-SE"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2444B8E-8DB8-452C-9BF8-84AB4A1F6D30}" type="slidenum">
              <a:rPr lang="en-US" smtClean="0"/>
              <a:t>13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61372155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 is complemented with the </a:t>
            </a:r>
            <a:r>
              <a:rPr lang="en-US" altLang="sv-SE" sz="1000" dirty="0">
                <a:cs typeface="Times New Roman" panose="02020603050405020304" pitchFamily="18" charset="0"/>
              </a:rPr>
              <a:t>Architecture driving requirements from use case characteristics analysis mapped to the proposed network slice types.</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C3EF0F7-EC52-4595-81D8-1B6747AE6195}" type="slidenum">
              <a:rPr lang="en-US" smtClean="0"/>
              <a:t>13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393206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9900" y="842963"/>
            <a:ext cx="6227763" cy="3503612"/>
          </a:xfrm>
        </p:spPr>
      </p:sp>
      <p:sp>
        <p:nvSpPr>
          <p:cNvPr id="3" name="Notes Placeholder 2"/>
          <p:cNvSpPr>
            <a:spLocks noGrp="1"/>
          </p:cNvSpPr>
          <p:nvPr>
            <p:ph type="body" idx="1"/>
          </p:nvPr>
        </p:nvSpPr>
        <p:spPr/>
        <p:txBody>
          <a:bodyPr/>
          <a:lstStyle/>
          <a:p>
            <a:r>
              <a:rPr lang="en-US" sz="1000" dirty="0"/>
              <a:t>Some possible “basic” slice types are derived from use case characteristics analysis as well as from business purpose point of view. </a:t>
            </a:r>
          </a:p>
          <a:p>
            <a:endParaRPr lang="en-US" sz="1000" dirty="0"/>
          </a:p>
        </p:txBody>
      </p:sp>
      <p:sp>
        <p:nvSpPr>
          <p:cNvPr id="4" name="Slide Number Placeholder 3"/>
          <p:cNvSpPr>
            <a:spLocks noGrp="1"/>
          </p:cNvSpPr>
          <p:nvPr>
            <p:ph type="sldNum" sz="quarter" idx="10"/>
          </p:nvPr>
        </p:nvSpPr>
        <p:spPr/>
        <p:txBody>
          <a:bodyPr/>
          <a:lstStyle/>
          <a:p>
            <a:fld id="{4DE13B36-0FD3-48ED-8A5E-C1B42BF0CD6D}" type="slidenum">
              <a:rPr lang="en-US" smtClean="0"/>
              <a:t>13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3923838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0700" y="842963"/>
            <a:ext cx="6227763" cy="3503612"/>
          </a:xfrm>
        </p:spPr>
      </p:sp>
      <p:sp>
        <p:nvSpPr>
          <p:cNvPr id="3" name="Notes Placeholder 2"/>
          <p:cNvSpPr>
            <a:spLocks noGrp="1"/>
          </p:cNvSpPr>
          <p:nvPr>
            <p:ph type="body" idx="1"/>
          </p:nvPr>
        </p:nvSpPr>
        <p:spPr/>
        <p:txBody>
          <a:bodyPr/>
          <a:lstStyle/>
          <a:p>
            <a:r>
              <a:rPr lang="en-US" sz="1000" dirty="0"/>
              <a:t>This chart summarize the resulting characteristics requirements of the four different network slice types relative each other. As reference point is the existing MBB service used. </a:t>
            </a:r>
          </a:p>
          <a:p>
            <a:endParaRPr lang="en-US" sz="1000" dirty="0"/>
          </a:p>
        </p:txBody>
      </p:sp>
      <p:sp>
        <p:nvSpPr>
          <p:cNvPr id="4" name="Slide Number Placeholder 3"/>
          <p:cNvSpPr>
            <a:spLocks noGrp="1"/>
          </p:cNvSpPr>
          <p:nvPr>
            <p:ph type="sldNum" sz="quarter" idx="10"/>
          </p:nvPr>
        </p:nvSpPr>
        <p:spPr/>
        <p:txBody>
          <a:bodyPr/>
          <a:lstStyle/>
          <a:p>
            <a:fld id="{ADA72E19-102C-4A6E-8DD1-83B8952CF25E}" type="slidenum">
              <a:rPr lang="en-US" smtClean="0"/>
              <a:t>13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3728980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t>The figure shows the network slicing architecture for  3 different slice types. The focus here is the latency demands and the associated geographical distribution of functionalities per slice type.</a:t>
            </a:r>
          </a:p>
          <a:p>
            <a:r>
              <a:rPr lang="en-US" sz="1000" dirty="0"/>
              <a:t>The geographical distribution is achieved by using the distributed cloud architecture.   </a:t>
            </a:r>
          </a:p>
        </p:txBody>
      </p:sp>
      <p:sp>
        <p:nvSpPr>
          <p:cNvPr id="4" name="Slide Number Placeholder 3"/>
          <p:cNvSpPr>
            <a:spLocks noGrp="1"/>
          </p:cNvSpPr>
          <p:nvPr>
            <p:ph type="sldNum" sz="quarter" idx="10"/>
          </p:nvPr>
        </p:nvSpPr>
        <p:spPr/>
        <p:txBody>
          <a:bodyPr/>
          <a:lstStyle/>
          <a:p>
            <a:fld id="{73FDD5BE-5694-4FDE-9375-3226FF077493}" type="slidenum">
              <a:rPr lang="en-US" smtClean="0"/>
              <a:t>13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209347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Until now, the only option (in many cases), if some level of isolation/separation was needed, was to build dedicated physical networks. This had two obvious shortcomings in not being cost efficient and also time consuming (ordering and installing HW takes time). However as NFV and SDN is being introduced, a new paradigm becomes possible, where logical networks are set up on top of a shared physical infrastructure and where networks and architectures can be “manufactured by software” – this is the network slicing paradigm.  </a:t>
            </a:r>
          </a:p>
          <a:p>
            <a:endParaRPr lang="en-US" altLang="en-US" sz="1000" dirty="0"/>
          </a:p>
          <a:p>
            <a:r>
              <a:rPr lang="en-US" altLang="en-US" sz="1000" dirty="0"/>
              <a:t>It shall be noted that NFV and SDN alone does not enable/make this possible, because they focus on an interim step (moving existing functions into the NFV) but they are a needed stepping stone towards the vision of an automated and programmable network life cycle management (LCM).</a:t>
            </a:r>
          </a:p>
          <a:p>
            <a:endParaRPr lang="en-US" altLang="en-US" sz="1000" dirty="0"/>
          </a:p>
          <a:p>
            <a:r>
              <a:rPr lang="en-US" altLang="en-US" sz="1000" i="1" dirty="0"/>
              <a:t>NFV: Network Functions Virtualization</a:t>
            </a:r>
            <a:br>
              <a:rPr lang="en-US" altLang="en-US" sz="1000" i="1" dirty="0"/>
            </a:br>
            <a:r>
              <a:rPr lang="en-US" altLang="en-US" sz="1000" i="1" dirty="0"/>
              <a:t>SDN: Software Defined Networks</a:t>
            </a:r>
            <a:br>
              <a:rPr lang="en-US" altLang="en-US" sz="1000" i="1" dirty="0"/>
            </a:br>
            <a:r>
              <a:rPr lang="en-US" altLang="en-US" sz="1000" i="1" dirty="0"/>
              <a:t>LCM: Life Cycle Management</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0E94874-FF83-4564-92E4-1893B24144E5}" type="slidenum">
              <a:rPr lang="en-US" altLang="en-US" smtClean="0">
                <a:latin typeface="Arial" charset="0"/>
                <a:ea typeface="MS PGothic" pitchFamily="34" charset="-128"/>
                <a:cs typeface="Arial" charset="0"/>
              </a:rPr>
              <a:t>14</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1862357098"/>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t>Central databases should provide flexibility enough to optimize the slice behavior while keeping the benefits of one central database: One single point of provisioning, validation rules across one database, data consistency and data consolidation, one single source for analytics, etc.</a:t>
            </a:r>
          </a:p>
        </p:txBody>
      </p:sp>
      <p:sp>
        <p:nvSpPr>
          <p:cNvPr id="4" name="Slide Number Placeholder 3"/>
          <p:cNvSpPr>
            <a:spLocks noGrp="1"/>
          </p:cNvSpPr>
          <p:nvPr>
            <p:ph type="sldNum" sz="quarter" idx="10"/>
          </p:nvPr>
        </p:nvSpPr>
        <p:spPr/>
        <p:txBody>
          <a:bodyPr/>
          <a:lstStyle/>
          <a:p>
            <a:fld id="{233F74BD-C7DA-4A68-B4E0-410B536746CE}" type="slidenum">
              <a:rPr lang="en-US" smtClean="0"/>
              <a:t>14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33559441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842963"/>
            <a:ext cx="6229350" cy="3503612"/>
          </a:xfrm>
        </p:spPr>
      </p:sp>
      <p:sp>
        <p:nvSpPr>
          <p:cNvPr id="3" name="Notes Placeholder 2"/>
          <p:cNvSpPr>
            <a:spLocks noGrp="1"/>
          </p:cNvSpPr>
          <p:nvPr>
            <p:ph type="body" idx="1"/>
          </p:nvPr>
        </p:nvSpPr>
        <p:spPr/>
        <p:txBody>
          <a:bodyPr/>
          <a:lstStyle/>
          <a:p>
            <a:r>
              <a:rPr lang="en-US" sz="1000" dirty="0"/>
              <a:t>The figure gives the basic explanation of federated network slicing, what it is, why it is relevant and what the key business values are.</a:t>
            </a:r>
          </a:p>
        </p:txBody>
      </p:sp>
      <p:sp>
        <p:nvSpPr>
          <p:cNvPr id="4" name="Slide Number Placeholder 3"/>
          <p:cNvSpPr>
            <a:spLocks noGrp="1"/>
          </p:cNvSpPr>
          <p:nvPr>
            <p:ph type="sldNum" sz="quarter" idx="10"/>
          </p:nvPr>
        </p:nvSpPr>
        <p:spPr/>
        <p:txBody>
          <a:bodyPr/>
          <a:lstStyle/>
          <a:p>
            <a:fld id="{2207BA0B-7754-47E7-AB15-1479A92049F5}" type="slidenum">
              <a:rPr lang="en-US" smtClean="0"/>
              <a:t>14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41019168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842963"/>
            <a:ext cx="6229350" cy="3503612"/>
          </a:xfrm>
        </p:spPr>
      </p:sp>
      <p:sp>
        <p:nvSpPr>
          <p:cNvPr id="3" name="Notes Placeholder 2"/>
          <p:cNvSpPr>
            <a:spLocks noGrp="1"/>
          </p:cNvSpPr>
          <p:nvPr>
            <p:ph type="body" idx="1"/>
          </p:nvPr>
        </p:nvSpPr>
        <p:spPr/>
        <p:txBody>
          <a:bodyPr/>
          <a:lstStyle/>
          <a:p>
            <a:r>
              <a:rPr lang="en-US" sz="1000" dirty="0"/>
              <a:t>Assume a business customer wants to strike a deal with a service providing operator for a service. The service includes connecting and providing application services to all of their devices (cars, mining equipment, sensors, etc.). The devices are used in multiple countries (e.g. local offices, or by local customers of the customers), and could possibly also roam between countries (like trucks). Even though this business customer could strike a similar deal with all the local operators, it would </a:t>
            </a:r>
          </a:p>
          <a:p>
            <a:pPr marL="234406" indent="-234406">
              <a:buFont typeface="+mj-lt"/>
              <a:buAutoNum type="arabicPeriod"/>
            </a:pPr>
            <a:r>
              <a:rPr lang="en-US" sz="1000" dirty="0"/>
              <a:t>Be a hassle from a business perspective</a:t>
            </a:r>
          </a:p>
          <a:p>
            <a:pPr marL="234406" indent="-234406">
              <a:buFont typeface="+mj-lt"/>
              <a:buAutoNum type="arabicPeriod"/>
            </a:pPr>
            <a:r>
              <a:rPr lang="en-US" sz="1000" dirty="0"/>
              <a:t>Be very hard to ensure that they get the very same service and experience everywhere</a:t>
            </a:r>
          </a:p>
          <a:p>
            <a:r>
              <a:rPr lang="en-US" sz="1000" dirty="0"/>
              <a:t>To make a simple and attractive service offering, federated network slicing is instead applied. The service providing operator sets up a network slice (a logical network instance) for this business customer. This network slice contains all the network functions, applications and management functions needed for the service and by the business customer. </a:t>
            </a:r>
          </a:p>
          <a:p>
            <a:r>
              <a:rPr lang="en-US" sz="1000" dirty="0"/>
              <a:t>To extend this service into the areas served by other operators, the service providing operator uses a federation agreement which allows it to</a:t>
            </a:r>
          </a:p>
          <a:p>
            <a:pPr marL="234406" indent="-234406">
              <a:buFont typeface="+mj-lt"/>
              <a:buAutoNum type="arabicPeriod"/>
            </a:pPr>
            <a:r>
              <a:rPr lang="en-US" sz="1000" dirty="0"/>
              <a:t>Deploy virtual network functions (and application functions) onto the partner operators NFV infrastructure</a:t>
            </a:r>
          </a:p>
          <a:p>
            <a:pPr marL="234406" indent="-234406">
              <a:buFont typeface="+mj-lt"/>
              <a:buAutoNum type="arabicPeriod"/>
            </a:pPr>
            <a:r>
              <a:rPr lang="en-US" sz="1000" dirty="0"/>
              <a:t>Get these connected to the partner operator network (e.g. to get traffic transferred to it)</a:t>
            </a:r>
          </a:p>
          <a:p>
            <a:pPr marL="234406" indent="-234406">
              <a:buFont typeface="+mj-lt"/>
              <a:buAutoNum type="arabicPeriod"/>
            </a:pPr>
            <a:r>
              <a:rPr lang="en-US" sz="1000" dirty="0"/>
              <a:t>Get other resources established such as transport VPN connections, radio “slices” </a:t>
            </a:r>
            <a:r>
              <a:rPr lang="en-US" sz="1000" dirty="0" err="1"/>
              <a:t>etc</a:t>
            </a:r>
            <a:r>
              <a:rPr lang="en-US" sz="1000" dirty="0"/>
              <a:t> (if needed)</a:t>
            </a:r>
          </a:p>
          <a:p>
            <a:r>
              <a:rPr lang="en-US" sz="1000" dirty="0"/>
              <a:t>The ownership of the virtual network functions deployed in the partner operator network however remains with the service providing operator, which also has the management responsibility. Logically these therefore belong to the network slice setup within the service providing network (for the business customer). From a partner operator’s perspective, all the resources allotted for the service providing operator are treated as a network slice (e.g. it can be isolated from other “slices”).</a:t>
            </a:r>
          </a:p>
          <a:p>
            <a:endParaRPr lang="en-US" sz="1000" dirty="0"/>
          </a:p>
        </p:txBody>
      </p:sp>
      <p:sp>
        <p:nvSpPr>
          <p:cNvPr id="4" name="Slide Number Placeholder 3"/>
          <p:cNvSpPr>
            <a:spLocks noGrp="1"/>
          </p:cNvSpPr>
          <p:nvPr>
            <p:ph type="sldNum" sz="quarter" idx="10"/>
          </p:nvPr>
        </p:nvSpPr>
        <p:spPr/>
        <p:txBody>
          <a:bodyPr/>
          <a:lstStyle/>
          <a:p>
            <a:fld id="{AFE09706-E211-49F1-9CCA-4E46A15D0D69}" type="slidenum">
              <a:rPr lang="en-US" smtClean="0"/>
              <a:t>14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3396395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altLang="ja-JP" sz="1000" dirty="0"/>
              <a:t>The mapping from Service (e.g. </a:t>
            </a:r>
            <a:r>
              <a:rPr lang="en-US" altLang="ja-JP" sz="1000" dirty="0" err="1"/>
              <a:t>NaaS</a:t>
            </a:r>
            <a:r>
              <a:rPr lang="en-US" altLang="ja-JP" sz="1000" dirty="0"/>
              <a:t>) to network slice could be dynamic and based on business policies. As an example, a service (and the users) could first be mapped to the MBB slice. The service is monitored based e.g. on reporting and analytics against the SLA and an action can be triggered that instantiates a new network slice and moves the associated traffic/users to it. This could also be situation (e.g. Stadium event) or location (e.g. Roaming) dependent such that a new slice is created/used only during certain circumstances.</a:t>
            </a:r>
          </a:p>
          <a:p>
            <a:endParaRPr lang="en-US" sz="1000" dirty="0"/>
          </a:p>
        </p:txBody>
      </p:sp>
      <p:sp>
        <p:nvSpPr>
          <p:cNvPr id="4" name="Slide Number Placeholder 3"/>
          <p:cNvSpPr>
            <a:spLocks noGrp="1"/>
          </p:cNvSpPr>
          <p:nvPr>
            <p:ph type="sldNum" sz="quarter" idx="10"/>
          </p:nvPr>
        </p:nvSpPr>
        <p:spPr/>
        <p:txBody>
          <a:bodyPr/>
          <a:lstStyle/>
          <a:p>
            <a:fld id="{0C8328D4-3925-468C-841C-9725BD3AC845}" type="slidenum">
              <a:rPr lang="en-US" smtClean="0"/>
              <a:t>14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72625737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47663" y="747713"/>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F5E6500B-E9C0-4974-A45F-3088BCD144C7}" type="slidenum">
              <a:rPr lang="en-US" smtClean="0"/>
              <a:t>144</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71526861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73BD826C-D534-46C9-8880-418CD9127A44}" type="slidenum">
              <a:rPr lang="en-US" smtClean="0"/>
              <a:t>14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8879817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00" dirty="0"/>
              <a:t>Although network slices can be used for strictly internal and operational reason, i.e. logically dividing the network, one key reason to introduce them is to facilitate new business models, where network capabilities are delivered as a service to some business customer (e.g. enterprise). In this case, the network slice can be used as a ”container” (allowing for isolation and independent management) of all the functions and resources required for this “Network as a service”. In other words, the </a:t>
            </a:r>
            <a:r>
              <a:rPr lang="en-US" sz="1000" dirty="0" err="1"/>
              <a:t>NaaS</a:t>
            </a:r>
            <a:r>
              <a:rPr lang="en-US" sz="1000" dirty="0"/>
              <a:t> is realized by the network slice and governed by specific governance functions for network slices.</a:t>
            </a:r>
          </a:p>
          <a:p>
            <a:r>
              <a:rPr lang="en-US" sz="1000" dirty="0"/>
              <a:t>End user services (i.e. the service consumed by individual devices) are realized within the network slice. Note that the operator does not have any relation with the actual end users, as this is a </a:t>
            </a:r>
            <a:r>
              <a:rPr lang="en-US" sz="1000" dirty="0" err="1"/>
              <a:t>NaaS</a:t>
            </a:r>
            <a:r>
              <a:rPr lang="en-US" sz="1000" dirty="0"/>
              <a:t> offering, but the </a:t>
            </a:r>
            <a:r>
              <a:rPr lang="en-US" sz="1000" dirty="0" err="1"/>
              <a:t>NaaS</a:t>
            </a:r>
            <a:r>
              <a:rPr lang="en-US" sz="1000" dirty="0"/>
              <a:t> nevertheless includes the ability to produce such services. This means that the network slice may contain any instantiated management functions needed for the end user service. In some business models, the </a:t>
            </a:r>
            <a:r>
              <a:rPr lang="en-US" sz="1000" dirty="0" err="1"/>
              <a:t>NaaS</a:t>
            </a:r>
            <a:r>
              <a:rPr lang="en-US" sz="1000" dirty="0"/>
              <a:t> customer may even take the full operational responsibility for this service, i.e. they are using these management functions (within the slice).</a:t>
            </a:r>
          </a:p>
          <a:p>
            <a:endParaRPr lang="en-US" sz="1000" dirty="0"/>
          </a:p>
          <a:p>
            <a:endParaRPr lang="en-US" sz="1000" dirty="0"/>
          </a:p>
        </p:txBody>
      </p:sp>
      <p:sp>
        <p:nvSpPr>
          <p:cNvPr id="4" name="Date Placeholder 3"/>
          <p:cNvSpPr>
            <a:spLocks noGrp="1"/>
          </p:cNvSpPr>
          <p:nvPr>
            <p:ph type="dt" idx="10"/>
          </p:nvPr>
        </p:nvSpPr>
        <p:spPr/>
        <p:txBody>
          <a:bodyPr/>
          <a:lstStyle/>
          <a:p>
            <a:pPr lvl="0"/>
            <a:r>
              <a:rPr lang="en-US" noProof="0"/>
              <a:t> </a:t>
            </a:r>
            <a:endParaRPr lang="en-US" noProof="0" dirty="0"/>
          </a:p>
        </p:txBody>
      </p:sp>
      <p:sp>
        <p:nvSpPr>
          <p:cNvPr id="5" name="Slide Number Placeholder 4"/>
          <p:cNvSpPr>
            <a:spLocks noGrp="1"/>
          </p:cNvSpPr>
          <p:nvPr>
            <p:ph type="sldNum" sz="quarter" idx="11"/>
          </p:nvPr>
        </p:nvSpPr>
        <p:spPr/>
        <p:txBody>
          <a:bodyPr/>
          <a:lstStyle/>
          <a:p>
            <a:pPr lvl="0"/>
            <a:fld id="{D7F23A46-B5CC-4D43-85CD-2905AA16B2DB}" type="slidenum">
              <a:rPr lang="en-US" noProof="0" smtClean="0"/>
              <a:t>146</a:t>
            </a:fld>
            <a:endParaRPr lang="en-US" noProof="0" dirty="0"/>
          </a:p>
        </p:txBody>
      </p:sp>
      <p:sp>
        <p:nvSpPr>
          <p:cNvPr id="6" name="Header Placeholder 5"/>
          <p:cNvSpPr>
            <a:spLocks noGrp="1"/>
          </p:cNvSpPr>
          <p:nvPr>
            <p:ph type="hdr" sz="quarter" idx="12"/>
          </p:nvPr>
        </p:nvSpPr>
        <p:spPr/>
        <p:txBody>
          <a:bodyPr/>
          <a:lstStyle/>
          <a:p>
            <a:pPr lvl="0"/>
            <a:r>
              <a:rPr lang="en-US" noProof="0"/>
              <a:t>5G Core Concepts</a:t>
            </a:r>
            <a:endParaRPr lang="en-US" noProof="0" dirty="0"/>
          </a:p>
        </p:txBody>
      </p:sp>
      <p:sp>
        <p:nvSpPr>
          <p:cNvPr id="7" name="Footer Placeholder 6"/>
          <p:cNvSpPr>
            <a:spLocks noGrp="1"/>
          </p:cNvSpPr>
          <p:nvPr>
            <p:ph type="ftr" sz="quarter" idx="13"/>
          </p:nvPr>
        </p:nvSpPr>
        <p:spPr/>
        <p:txBody>
          <a:bodyPr/>
          <a:lstStyle/>
          <a:p>
            <a:pPr lvl="0"/>
            <a:r>
              <a:rPr lang="de-DE" noProof="0"/>
              <a:t>© Ericsson AB 2017  |  LZU1421223 PA2</a:t>
            </a:r>
            <a:endParaRPr lang="en-US" noProof="0" dirty="0"/>
          </a:p>
        </p:txBody>
      </p:sp>
      <p:sp>
        <p:nvSpPr>
          <p:cNvPr id="13" name="Slide Image Placeholder 12"/>
          <p:cNvSpPr>
            <a:spLocks noGrp="1" noRot="1" noChangeAspect="1"/>
          </p:cNvSpPr>
          <p:nvPr>
            <p:ph type="sldImg"/>
          </p:nvPr>
        </p:nvSpPr>
        <p:spPr>
          <a:xfrm>
            <a:off x="446088" y="842963"/>
            <a:ext cx="6229350" cy="3503612"/>
          </a:xfrm>
        </p:spPr>
      </p:sp>
    </p:spTree>
    <p:extLst>
      <p:ext uri="{BB962C8B-B14F-4D97-AF65-F5344CB8AC3E}">
        <p14:creationId xmlns:p14="http://schemas.microsoft.com/office/powerpoint/2010/main" val="300974672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842963"/>
            <a:ext cx="6227763" cy="3503612"/>
          </a:xfrm>
        </p:spPr>
      </p:sp>
      <p:sp>
        <p:nvSpPr>
          <p:cNvPr id="3" name="Notes Placeholder 2"/>
          <p:cNvSpPr>
            <a:spLocks noGrp="1"/>
          </p:cNvSpPr>
          <p:nvPr>
            <p:ph type="body" idx="1"/>
          </p:nvPr>
        </p:nvSpPr>
        <p:spPr/>
        <p:txBody>
          <a:bodyPr/>
          <a:lstStyle/>
          <a:p>
            <a:r>
              <a:rPr lang="en-US" sz="1000" dirty="0"/>
              <a:t>This slide applies some of the Next Generation Mobile Network (NGMN) concepts. </a:t>
            </a:r>
          </a:p>
          <a:p>
            <a:r>
              <a:rPr lang="en-US" sz="1000" dirty="0"/>
              <a:t>At the top are different business segments, within which there may be several (business) customers. </a:t>
            </a:r>
          </a:p>
          <a:p>
            <a:r>
              <a:rPr lang="en-US" sz="1000" dirty="0"/>
              <a:t>Some services/segments (such as regular MBB) might not have any business/</a:t>
            </a:r>
            <a:r>
              <a:rPr lang="en-US" sz="1000" dirty="0" err="1"/>
              <a:t>NaaS</a:t>
            </a:r>
            <a:r>
              <a:rPr lang="en-US" sz="1000" dirty="0"/>
              <a:t> customer (only end users/consumers). The whole segment/service is then mapped to a </a:t>
            </a:r>
            <a:r>
              <a:rPr lang="en-US" sz="1000" i="1" dirty="0"/>
              <a:t>single network slice</a:t>
            </a:r>
            <a:r>
              <a:rPr lang="en-US" sz="1000" dirty="0"/>
              <a:t>.</a:t>
            </a:r>
          </a:p>
          <a:p>
            <a:r>
              <a:rPr lang="en-US" sz="1000" dirty="0"/>
              <a:t>In some cases (in the example for “MTC”), </a:t>
            </a:r>
            <a:r>
              <a:rPr lang="en-US" sz="1000" i="1" dirty="0"/>
              <a:t>separate network slice instances are created for individual </a:t>
            </a:r>
            <a:r>
              <a:rPr lang="en-US" sz="1000" i="1" dirty="0" err="1"/>
              <a:t>NaaS</a:t>
            </a:r>
            <a:r>
              <a:rPr lang="en-US" sz="1000" i="1" dirty="0"/>
              <a:t> customers </a:t>
            </a:r>
            <a:r>
              <a:rPr lang="en-US" sz="1000" dirty="0"/>
              <a:t>(C#1/C#2). The reasons for this might be a need to customize the functionality/characteristics, need to isolate for security reasons (traffic, data etc.), need to be able to manage the resources/functions separately (even exposing these capabilities to the business customer), lack of sufficient multi-tenancy, organizational/operational reasons etc.</a:t>
            </a:r>
          </a:p>
          <a:p>
            <a:r>
              <a:rPr lang="en-US" sz="1000" dirty="0"/>
              <a:t>In other cases (Exemplified using “Enterprise”), it might not be necessary (and an overkill) to create individual network slice instances, while instead relying on </a:t>
            </a:r>
            <a:r>
              <a:rPr lang="en-US" sz="1000" i="1" dirty="0"/>
              <a:t>inherent multi-tenancy</a:t>
            </a:r>
            <a:r>
              <a:rPr lang="en-US" sz="1000" dirty="0"/>
              <a:t>, a single management instance etc.</a:t>
            </a:r>
          </a:p>
          <a:p>
            <a:r>
              <a:rPr lang="en-US" sz="1000" dirty="0"/>
              <a:t>The network slice (instances) can contain instances of network functions (or groups thereof, i.e. “sub-network instances”) and management functions (along with the virtual resources they require), all configured in a way corresponding with the purpose and target of the slice. The slices may also be allocated some “share” of infrastructure resources normally shared across all slices. It might be dedicated transport VPNs (with or without reservation/dedicated paths), allocated HW resource pool in the cloud, or some type of radio “share”. Even the network function instances may, if desirable, be shared across network slice instances (not shown in slide). </a:t>
            </a:r>
          </a:p>
          <a:p>
            <a:endParaRPr lang="en-US" sz="1000" dirty="0"/>
          </a:p>
        </p:txBody>
      </p:sp>
      <p:sp>
        <p:nvSpPr>
          <p:cNvPr id="4" name="Slide Number Placeholder 3"/>
          <p:cNvSpPr>
            <a:spLocks noGrp="1"/>
          </p:cNvSpPr>
          <p:nvPr>
            <p:ph type="sldNum" sz="quarter" idx="10"/>
          </p:nvPr>
        </p:nvSpPr>
        <p:spPr/>
        <p:txBody>
          <a:bodyPr/>
          <a:lstStyle/>
          <a:p>
            <a:fld id="{F55094DB-14E3-4EED-ACB4-F821E774D822}" type="slidenum">
              <a:rPr lang="en-US" smtClean="0"/>
              <a:t>14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1141124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77875"/>
            <a:ext cx="6227763" cy="3503613"/>
          </a:xfrm>
        </p:spPr>
      </p:sp>
      <p:sp>
        <p:nvSpPr>
          <p:cNvPr id="3" name="Notes Placeholder 2"/>
          <p:cNvSpPr>
            <a:spLocks noGrp="1"/>
          </p:cNvSpPr>
          <p:nvPr>
            <p:ph type="body" idx="1"/>
          </p:nvPr>
        </p:nvSpPr>
        <p:spPr/>
        <p:txBody>
          <a:bodyPr/>
          <a:lstStyle/>
          <a:p>
            <a:r>
              <a:rPr lang="en-US" sz="1000" dirty="0"/>
              <a:t>The governance of network slices and “network as a service” is realized on top of/leveraging the shared infrastructure and its capabilities for orchestration/life cycle management. These governance functions are roughly split between those dealing with the network slices themselves, and those dealing with mapping/making them into sellable objects (“Network as a service”)</a:t>
            </a:r>
          </a:p>
          <a:p>
            <a:r>
              <a:rPr lang="en-US" sz="1000" dirty="0"/>
              <a:t>Both of these can be divided into one part that is responsible for the active life cycle management of the service (</a:t>
            </a:r>
            <a:r>
              <a:rPr lang="en-US" sz="1000" dirty="0" err="1"/>
              <a:t>NaaS</a:t>
            </a:r>
            <a:r>
              <a:rPr lang="en-US" sz="1000" dirty="0"/>
              <a:t>) or network slice, including fulfilling a service order as well as runtime aspects such as reconfiguration or upgrades. The network slice life cycle management is governed by a network slice blueprint which is to be viewed like a machine readable recipe for how to build and manage the network slice. It includes a “template” (specifying the ingredients) as well as workflows (how to cook instructions). To build the actual blueprints, design and verification tools may be needed. In the very simplest case this is a text editor, while in a sophisticated (future case) this is an advanced IDE  (Integrated Development Environment) combined with e.g. an emulator to verify a blueprint.</a:t>
            </a:r>
          </a:p>
          <a:p>
            <a:r>
              <a:rPr lang="en-US" sz="1000" dirty="0"/>
              <a:t>Similarly the </a:t>
            </a:r>
            <a:r>
              <a:rPr lang="en-US" sz="1000" dirty="0" err="1"/>
              <a:t>NaaS</a:t>
            </a:r>
            <a:r>
              <a:rPr lang="en-US" sz="1000" dirty="0"/>
              <a:t> life cycle management is acting upon offers. These offers make use of the blueprints made available from the network slice governance layer, e.g. describing that in order to realize a particular offering to some business customer one has to instantiate a particular blueprint, and this is how to derive the input parameters. Design and verification capabilities may be needed also here.</a:t>
            </a:r>
          </a:p>
          <a:p>
            <a:r>
              <a:rPr lang="en-US" sz="1000" dirty="0"/>
              <a:t>The network slice governance layer may directly or indirectly (through a layer of sub-network governance) request resources from the Infrastructure Responsibility Domains and it may take actions against the instantiated network functions and management functions within the slices (e.g. configure them).</a:t>
            </a:r>
          </a:p>
          <a:p>
            <a:endParaRPr lang="en-US" sz="1000" dirty="0"/>
          </a:p>
        </p:txBody>
      </p:sp>
      <p:sp>
        <p:nvSpPr>
          <p:cNvPr id="4" name="Slide Number Placeholder 3"/>
          <p:cNvSpPr>
            <a:spLocks noGrp="1"/>
          </p:cNvSpPr>
          <p:nvPr>
            <p:ph type="sldNum" sz="quarter" idx="10"/>
          </p:nvPr>
        </p:nvSpPr>
        <p:spPr/>
        <p:txBody>
          <a:bodyPr/>
          <a:lstStyle/>
          <a:p>
            <a:fld id="{A407F9DF-2AB0-41D1-88F3-F296AD8AE193}" type="slidenum">
              <a:rPr lang="en-US" smtClean="0"/>
              <a:t>14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7607751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t>A network slice blueprint is to be viewed like a machine readable recipe for how to build and manage the network slice. It includes a “template” as well as workflows.</a:t>
            </a:r>
          </a:p>
          <a:p>
            <a:r>
              <a:rPr lang="en-US" sz="1000" dirty="0"/>
              <a:t>In order to address flexibility (and TTM/TTC) the blueprints should follow a generic format and be declarative i.e. Data driven (to avoid human error and unnecessary verification steps) and so on. OASIS TOSCA is a way of approaching this problem. Therefore it has been the modelling language of choice e.g. for Ericsson </a:t>
            </a:r>
            <a:r>
              <a:rPr lang="en-US" sz="1000" dirty="0" err="1"/>
              <a:t>PoCs</a:t>
            </a:r>
            <a:r>
              <a:rPr lang="en-US" sz="1000" dirty="0"/>
              <a:t> for life cycle management of network slices.</a:t>
            </a:r>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497EA871-9D6D-40B9-A401-08972D853DAE}" type="slidenum">
              <a:rPr lang="en-US" smtClean="0"/>
              <a:t>14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08803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287338" y="842963"/>
            <a:ext cx="6580187" cy="37004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xfrm>
            <a:off x="1309532" y="4736302"/>
            <a:ext cx="4714315" cy="491540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0" hangingPunct="0">
              <a:defRPr/>
            </a:pPr>
            <a:r>
              <a:rPr lang="en-US" sz="1000" dirty="0"/>
              <a:t>The 5G core network architecture has to include new Information and Communications Technology (ICT) enabling mechanisms such as :</a:t>
            </a:r>
          </a:p>
          <a:p>
            <a:pPr marL="234406" indent="-234406" eaLnBrk="0" hangingPunct="0">
              <a:buFont typeface="Arial" panose="020B0604020202020204" pitchFamily="34" charset="0"/>
              <a:buChar char="•"/>
              <a:defRPr/>
            </a:pPr>
            <a:r>
              <a:rPr lang="en-US" sz="1000" b="1" dirty="0"/>
              <a:t>Network Slicing: </a:t>
            </a:r>
            <a:r>
              <a:rPr lang="en-US" altLang="en-US" sz="1000" dirty="0">
                <a:cs typeface="Times New Roman" panose="02020603050405020304" pitchFamily="18" charset="0"/>
              </a:rPr>
              <a:t>Separation of concern within one operators network</a:t>
            </a:r>
            <a:br>
              <a:rPr lang="en-US" altLang="en-US" sz="1000" dirty="0">
                <a:cs typeface="Times New Roman" panose="02020603050405020304" pitchFamily="18" charset="0"/>
              </a:rPr>
            </a:br>
            <a:r>
              <a:rPr lang="en-US" altLang="en-US" sz="1000" dirty="0">
                <a:cs typeface="Times New Roman" panose="02020603050405020304" pitchFamily="18" charset="0"/>
              </a:rPr>
              <a:t>between different Business opportunities</a:t>
            </a:r>
            <a:endParaRPr lang="en-US" sz="1000" b="1" dirty="0"/>
          </a:p>
          <a:p>
            <a:pPr marL="234406" indent="-234406" eaLnBrk="0" hangingPunct="0">
              <a:buFont typeface="Arial" panose="020B0604020202020204" pitchFamily="34" charset="0"/>
              <a:buChar char="•"/>
              <a:defRPr/>
            </a:pPr>
            <a:r>
              <a:rPr lang="en-US" sz="1000" b="1" dirty="0"/>
              <a:t>Devices/</a:t>
            </a:r>
            <a:r>
              <a:rPr lang="en-US" sz="1000" b="1" dirty="0" err="1"/>
              <a:t>IoT</a:t>
            </a:r>
            <a:r>
              <a:rPr lang="en-US" sz="1000" b="1" dirty="0"/>
              <a:t>: </a:t>
            </a:r>
            <a:r>
              <a:rPr lang="en-US" sz="1000" dirty="0"/>
              <a:t>Many more devices, sensors &amp; actuators, enhanced capabilities</a:t>
            </a:r>
          </a:p>
          <a:p>
            <a:pPr marL="234406" indent="-234406" eaLnBrk="0" hangingPunct="0">
              <a:buFont typeface="Arial" panose="020B0604020202020204" pitchFamily="34" charset="0"/>
              <a:buChar char="•"/>
              <a:defRPr/>
            </a:pPr>
            <a:r>
              <a:rPr lang="en-US" sz="1000" b="1" dirty="0"/>
              <a:t>Enterprise IT/Cloud: </a:t>
            </a:r>
            <a:r>
              <a:rPr lang="en-US" sz="1000" dirty="0"/>
              <a:t>Clouds from all Industries / Enterprises</a:t>
            </a:r>
          </a:p>
          <a:p>
            <a:pPr marL="234406" indent="-234406" eaLnBrk="0" hangingPunct="0">
              <a:buFont typeface="Arial" panose="020B0604020202020204" pitchFamily="34" charset="0"/>
              <a:buChar char="•"/>
              <a:defRPr/>
            </a:pPr>
            <a:r>
              <a:rPr lang="en-US" sz="1000" b="1" dirty="0"/>
              <a:t>Multi Access/Mobility:</a:t>
            </a:r>
            <a:r>
              <a:rPr lang="en-US" sz="1000" dirty="0"/>
              <a:t> Multi-band, Multi-standard, Multi-layer; 3GPP &amp; non-3GPP; Fixed</a:t>
            </a:r>
          </a:p>
          <a:p>
            <a:pPr marL="234406" indent="-234406" eaLnBrk="0" hangingPunct="0">
              <a:buFont typeface="Arial" panose="020B0604020202020204" pitchFamily="34" charset="0"/>
              <a:buChar char="•"/>
              <a:defRPr/>
            </a:pPr>
            <a:r>
              <a:rPr lang="en-US" sz="1000" b="1" dirty="0"/>
              <a:t>Evolved Core: </a:t>
            </a:r>
            <a:r>
              <a:rPr lang="en-US" sz="1000" dirty="0"/>
              <a:t>Cloud and DC infrastructure in both Telco &amp; IT domains, Virtualization</a:t>
            </a:r>
          </a:p>
          <a:p>
            <a:pPr marL="234406" indent="-234406" eaLnBrk="0" hangingPunct="0">
              <a:buFont typeface="Arial" panose="020B0604020202020204" pitchFamily="34" charset="0"/>
              <a:buChar char="•"/>
              <a:defRPr/>
            </a:pPr>
            <a:r>
              <a:rPr lang="en-US" sz="1000" b="1" dirty="0"/>
              <a:t>Transport: </a:t>
            </a:r>
            <a:r>
              <a:rPr lang="en-US" sz="1000" dirty="0"/>
              <a:t>End-to-End IP, Software Defined NWs (SDN)</a:t>
            </a:r>
          </a:p>
          <a:p>
            <a:pPr marL="234406" indent="-234406" eaLnBrk="0" hangingPunct="0">
              <a:buFont typeface="Arial" panose="020B0604020202020204" pitchFamily="34" charset="0"/>
              <a:buChar char="•"/>
              <a:defRPr/>
            </a:pPr>
            <a:r>
              <a:rPr lang="en-US" sz="1000" b="1" dirty="0" err="1"/>
              <a:t>Mgmt</a:t>
            </a:r>
            <a:r>
              <a:rPr lang="en-US" sz="1000" b="1" dirty="0"/>
              <a:t> &amp; Control: </a:t>
            </a:r>
            <a:r>
              <a:rPr lang="en-US" sz="1000" dirty="0"/>
              <a:t>(COMPA) More Automation, Analytics, Multi-Domain, Multi-Vendor</a:t>
            </a:r>
          </a:p>
          <a:p>
            <a:pPr marL="234406" indent="-234406" eaLnBrk="0" hangingPunct="0">
              <a:buFont typeface="Arial" panose="020B0604020202020204" pitchFamily="34" charset="0"/>
              <a:buChar char="•"/>
              <a:defRPr/>
            </a:pPr>
            <a:r>
              <a:rPr lang="en-US" sz="1000" b="1" dirty="0"/>
              <a:t>Sustainability: </a:t>
            </a:r>
            <a:r>
              <a:rPr lang="en-US" sz="1000" dirty="0"/>
              <a:t>Energy efficient Devices and Network</a:t>
            </a:r>
          </a:p>
          <a:p>
            <a:pPr marL="234406" indent="-234406" eaLnBrk="0" hangingPunct="0">
              <a:buFont typeface="Arial" panose="020B0604020202020204" pitchFamily="34" charset="0"/>
              <a:buChar char="•"/>
              <a:defRPr/>
            </a:pPr>
            <a:r>
              <a:rPr lang="en-US" sz="1000" b="1" dirty="0"/>
              <a:t>Security: </a:t>
            </a:r>
            <a:r>
              <a:rPr lang="en-US" sz="1000" dirty="0"/>
              <a:t>Embedded security, Identity Management, Advanced Cryptography</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4C5D691-6DFF-47A1-9C37-B700BD4DCE27}" type="slidenum">
              <a:rPr lang="en-US" altLang="en-US" smtClean="0">
                <a:latin typeface="Arial" charset="0"/>
                <a:ea typeface="MS PGothic" pitchFamily="34" charset="-128"/>
                <a:cs typeface="Arial" charset="0"/>
              </a:rPr>
              <a:t>15</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83905956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777875"/>
            <a:ext cx="6227763" cy="3503613"/>
          </a:xfrm>
        </p:spPr>
      </p:sp>
      <p:sp>
        <p:nvSpPr>
          <p:cNvPr id="3" name="Notes Placeholder 2"/>
          <p:cNvSpPr>
            <a:spLocks noGrp="1"/>
          </p:cNvSpPr>
          <p:nvPr>
            <p:ph type="body" idx="1"/>
          </p:nvPr>
        </p:nvSpPr>
        <p:spPr/>
        <p:txBody>
          <a:bodyPr/>
          <a:lstStyle/>
          <a:p>
            <a:r>
              <a:rPr lang="en-US" sz="1000" dirty="0"/>
              <a:t>Combined, both governance layers address the need for flexibility, in terms of business as well as operationally.</a:t>
            </a:r>
          </a:p>
          <a:p>
            <a:pPr marL="175805" indent="-175805">
              <a:buFont typeface="Arial" panose="020B0604020202020204" pitchFamily="34" charset="0"/>
              <a:buChar char="•"/>
            </a:pPr>
            <a:r>
              <a:rPr lang="en-US" sz="1000" dirty="0"/>
              <a:t>The network slice governance layer addresses flexibility that is more technical in character, such as allowing network slices (and thus services) to differ in terms of features/functionality enabled, characteristics (latency, availability), distribution (where functions are located), isolation vs sharing (it comes down to tradeoffs), connectivity (need to connect to external WAN/networks) and scale (e.g. how much traffic a slice can handle). The purpose of the network slice blueprints, is to have a simple and uniform way of modelling all of these aspects and simply and quickly model what is required.</a:t>
            </a:r>
          </a:p>
          <a:p>
            <a:pPr marL="175805" indent="-175805">
              <a:buFont typeface="Arial" panose="020B0604020202020204" pitchFamily="34" charset="0"/>
              <a:buChar char="•"/>
            </a:pPr>
            <a:r>
              <a:rPr lang="en-US" sz="1000" dirty="0"/>
              <a:t>The </a:t>
            </a:r>
            <a:r>
              <a:rPr lang="en-US" sz="1000" dirty="0" err="1"/>
              <a:t>NaaS</a:t>
            </a:r>
            <a:r>
              <a:rPr lang="en-US" sz="1000" dirty="0"/>
              <a:t> governance layer adds additional flexibility (expressed in terms of “offers”), adding support for different types of business models, billing/charging models, and SLA types.</a:t>
            </a:r>
          </a:p>
          <a:p>
            <a:endParaRPr lang="en-US" sz="1000" dirty="0"/>
          </a:p>
        </p:txBody>
      </p:sp>
      <p:sp>
        <p:nvSpPr>
          <p:cNvPr id="4" name="Slide Number Placeholder 3"/>
          <p:cNvSpPr>
            <a:spLocks noGrp="1"/>
          </p:cNvSpPr>
          <p:nvPr>
            <p:ph type="sldNum" sz="quarter" idx="10"/>
          </p:nvPr>
        </p:nvSpPr>
        <p:spPr/>
        <p:txBody>
          <a:bodyPr/>
          <a:lstStyle/>
          <a:p>
            <a:fld id="{13126E38-454D-412D-B222-CC68B7EF4B66}" type="slidenum">
              <a:rPr lang="en-US" smtClean="0"/>
              <a:t>15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7261378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8800" y="842963"/>
            <a:ext cx="6227763" cy="3503612"/>
          </a:xfrm>
        </p:spPr>
      </p:sp>
      <p:sp>
        <p:nvSpPr>
          <p:cNvPr id="3" name="Notes Placeholder 2"/>
          <p:cNvSpPr>
            <a:spLocks noGrp="1"/>
          </p:cNvSpPr>
          <p:nvPr>
            <p:ph type="body" idx="1"/>
          </p:nvPr>
        </p:nvSpPr>
        <p:spPr/>
        <p:txBody>
          <a:bodyPr/>
          <a:lstStyle/>
          <a:p>
            <a:r>
              <a:rPr lang="en-US" sz="1000" dirty="0"/>
              <a:t>A Virtual Network Function (VNF) package consists of a software image and a VNF template. A VNF template describes how to instantiate a VNF, i.e. which Virtual Machines (VMs) it consists of and how they connect.</a:t>
            </a:r>
          </a:p>
          <a:p>
            <a:r>
              <a:rPr lang="en-US" sz="1000" dirty="0"/>
              <a:t>The existing main VNF template formats are:</a:t>
            </a:r>
          </a:p>
          <a:p>
            <a:pPr marL="175805" indent="-175805">
              <a:buFont typeface="Arial" panose="020B0604020202020204" pitchFamily="34" charset="0"/>
              <a:buChar char="•"/>
            </a:pPr>
            <a:r>
              <a:rPr lang="en-US" sz="1000" dirty="0"/>
              <a:t>Open Virtualized Format (OVF) – Open Source format standardized by the Distributed Management Task Force (DTMF)</a:t>
            </a:r>
          </a:p>
          <a:p>
            <a:pPr marL="175805" indent="-175805">
              <a:buFont typeface="Arial" panose="020B0604020202020204" pitchFamily="34" charset="0"/>
              <a:buChar char="•"/>
            </a:pPr>
            <a:r>
              <a:rPr lang="en-US" sz="1000" dirty="0"/>
              <a:t>HOT – OpenStack native format</a:t>
            </a:r>
          </a:p>
          <a:p>
            <a:pPr marL="175805" indent="-175805">
              <a:buFont typeface="Arial" panose="020B0604020202020204" pitchFamily="34" charset="0"/>
              <a:buChar char="•"/>
            </a:pPr>
            <a:r>
              <a:rPr lang="en-US" sz="1000" dirty="0"/>
              <a:t>ETSI Virtualized Network Function Descriptor (VNFD) – Template to be ready the 2:nd half of 2017 which is based on the TOSCA modelling language </a:t>
            </a:r>
          </a:p>
        </p:txBody>
      </p:sp>
      <p:sp>
        <p:nvSpPr>
          <p:cNvPr id="4" name="Slide Number Placeholder 3"/>
          <p:cNvSpPr>
            <a:spLocks noGrp="1"/>
          </p:cNvSpPr>
          <p:nvPr>
            <p:ph type="sldNum" sz="quarter" idx="10"/>
          </p:nvPr>
        </p:nvSpPr>
        <p:spPr/>
        <p:txBody>
          <a:bodyPr/>
          <a:lstStyle/>
          <a:p>
            <a:fld id="{8BCDF139-0131-423A-8198-CAD54B931BCA}" type="slidenum">
              <a:rPr lang="en-US" smtClean="0"/>
              <a:t>15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2773820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0863" y="842963"/>
            <a:ext cx="6229350" cy="3503612"/>
          </a:xfrm>
        </p:spPr>
      </p:sp>
      <p:sp>
        <p:nvSpPr>
          <p:cNvPr id="3" name="Notes Placeholder 2"/>
          <p:cNvSpPr>
            <a:spLocks noGrp="1"/>
          </p:cNvSpPr>
          <p:nvPr>
            <p:ph type="body" idx="1"/>
          </p:nvPr>
        </p:nvSpPr>
        <p:spPr/>
        <p:txBody>
          <a:bodyPr/>
          <a:lstStyle/>
          <a:p>
            <a:r>
              <a:rPr lang="en-IE" sz="1000" dirty="0"/>
              <a:t>The life cycle of a network slice can be divided into four main phases:</a:t>
            </a:r>
          </a:p>
          <a:p>
            <a:pPr marL="234406" indent="-234406">
              <a:buFont typeface="+mj-lt"/>
              <a:buAutoNum type="arabicPeriod"/>
            </a:pPr>
            <a:r>
              <a:rPr lang="en-IE" sz="1000" dirty="0"/>
              <a:t>Network Slice Design: Here, the blueprints are designed and validated. This requires design tools as well as tools for verification and validation, which may include instantiating and testing slices in a sandboxed environment.</a:t>
            </a:r>
          </a:p>
          <a:p>
            <a:pPr marL="234406" indent="-234406">
              <a:buFont typeface="+mj-lt"/>
              <a:buAutoNum type="arabicPeriod"/>
            </a:pPr>
            <a:r>
              <a:rPr lang="en-IE" sz="1000" dirty="0"/>
              <a:t>Network Slice Commissioning: This involves all the steps required to, upon receival of order, bring a network slice to “life”. VNFs need to be instantiated, configurations need to be generated and applied, infrastructure needs to be configured and the network elements need to be integrated (E.g. be able to be reached, communicate with each other, integrate with management systems, processes etc.)</a:t>
            </a:r>
          </a:p>
          <a:p>
            <a:pPr marL="234406" indent="-234406">
              <a:buFont typeface="+mj-lt"/>
              <a:buAutoNum type="arabicPeriod"/>
            </a:pPr>
            <a:r>
              <a:rPr lang="en-IE" sz="1000" dirty="0"/>
              <a:t>Network Slice Operation: Except for pure supervision and performance management (ensuring SLAs), network slices (and their constituting resources and applications) may need to be reconfigured (e.g. to provide new service), scaled (to increase or decrease capacity) and upgraded (to support new capabilities).</a:t>
            </a:r>
          </a:p>
          <a:p>
            <a:pPr marL="234406" indent="-234406">
              <a:buFont typeface="+mj-lt"/>
              <a:buAutoNum type="arabicPeriod"/>
            </a:pPr>
            <a:r>
              <a:rPr lang="en-IE" sz="1000" dirty="0"/>
              <a:t>Network Slice Termination: When a slice is no longer needed, it needs to be de-activated (taken out of service), resources need to be returned and any applied re-configurations need to be reset.</a:t>
            </a:r>
          </a:p>
          <a:p>
            <a:endParaRPr lang="en-US" sz="1000" dirty="0"/>
          </a:p>
        </p:txBody>
      </p:sp>
      <p:sp>
        <p:nvSpPr>
          <p:cNvPr id="4" name="Slide Number Placeholder 3"/>
          <p:cNvSpPr>
            <a:spLocks noGrp="1"/>
          </p:cNvSpPr>
          <p:nvPr>
            <p:ph type="sldNum" sz="quarter" idx="10"/>
          </p:nvPr>
        </p:nvSpPr>
        <p:spPr/>
        <p:txBody>
          <a:bodyPr/>
          <a:lstStyle/>
          <a:p>
            <a:fld id="{3C22EFDD-ECDF-454B-AC3C-6827A023A954}" type="slidenum">
              <a:rPr lang="en-US" smtClean="0"/>
              <a:t>15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07079202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Date Placeholder 1"/>
          <p:cNvSpPr>
            <a:spLocks noGrp="1"/>
          </p:cNvSpPr>
          <p:nvPr>
            <p:ph type="dt" sz="quarter"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52149" eaLnBrk="0" hangingPunct="0">
              <a:spcBef>
                <a:spcPct val="50000"/>
              </a:spcBef>
              <a:defRPr sz="2100">
                <a:solidFill>
                  <a:schemeClr val="tx1"/>
                </a:solidFill>
                <a:latin typeface="Arial" pitchFamily="34" charset="0"/>
              </a:defRPr>
            </a:lvl1pPr>
            <a:lvl2pPr marL="761717" indent="-292968" defTabSz="952149" eaLnBrk="0" hangingPunct="0">
              <a:spcBef>
                <a:spcPct val="50000"/>
              </a:spcBef>
              <a:defRPr sz="2100">
                <a:solidFill>
                  <a:schemeClr val="tx1"/>
                </a:solidFill>
                <a:latin typeface="Arial" pitchFamily="34" charset="0"/>
              </a:defRPr>
            </a:lvl2pPr>
            <a:lvl3pPr marL="1171873" indent="-234375" defTabSz="952149" eaLnBrk="0" hangingPunct="0">
              <a:spcBef>
                <a:spcPct val="50000"/>
              </a:spcBef>
              <a:defRPr sz="2100">
                <a:solidFill>
                  <a:schemeClr val="tx1"/>
                </a:solidFill>
                <a:latin typeface="Arial" pitchFamily="34" charset="0"/>
              </a:defRPr>
            </a:lvl3pPr>
            <a:lvl4pPr marL="1640624" indent="-234375" defTabSz="952149" eaLnBrk="0" hangingPunct="0">
              <a:spcBef>
                <a:spcPct val="50000"/>
              </a:spcBef>
              <a:defRPr sz="2100">
                <a:solidFill>
                  <a:schemeClr val="tx1"/>
                </a:solidFill>
                <a:latin typeface="Arial" pitchFamily="34" charset="0"/>
              </a:defRPr>
            </a:lvl4pPr>
            <a:lvl5pPr marL="2109373" indent="-234375" defTabSz="952149" eaLnBrk="0" hangingPunct="0">
              <a:spcBef>
                <a:spcPct val="50000"/>
              </a:spcBef>
              <a:defRPr sz="2100">
                <a:solidFill>
                  <a:schemeClr val="tx1"/>
                </a:solidFill>
                <a:latin typeface="Arial" pitchFamily="34" charset="0"/>
              </a:defRPr>
            </a:lvl5pPr>
            <a:lvl6pPr marL="2578123" indent="-234375" defTabSz="952149" eaLnBrk="0" fontAlgn="base" hangingPunct="0">
              <a:spcBef>
                <a:spcPct val="50000"/>
              </a:spcBef>
              <a:spcAft>
                <a:spcPct val="0"/>
              </a:spcAft>
              <a:defRPr sz="2100">
                <a:solidFill>
                  <a:schemeClr val="tx1"/>
                </a:solidFill>
                <a:latin typeface="Arial" pitchFamily="34" charset="0"/>
              </a:defRPr>
            </a:lvl6pPr>
            <a:lvl7pPr marL="3046873" indent="-234375" defTabSz="952149" eaLnBrk="0" fontAlgn="base" hangingPunct="0">
              <a:spcBef>
                <a:spcPct val="50000"/>
              </a:spcBef>
              <a:spcAft>
                <a:spcPct val="0"/>
              </a:spcAft>
              <a:defRPr sz="2100">
                <a:solidFill>
                  <a:schemeClr val="tx1"/>
                </a:solidFill>
                <a:latin typeface="Arial" pitchFamily="34" charset="0"/>
              </a:defRPr>
            </a:lvl7pPr>
            <a:lvl8pPr marL="3515622" indent="-234375" defTabSz="952149" eaLnBrk="0" fontAlgn="base" hangingPunct="0">
              <a:spcBef>
                <a:spcPct val="50000"/>
              </a:spcBef>
              <a:spcAft>
                <a:spcPct val="0"/>
              </a:spcAft>
              <a:defRPr sz="2100">
                <a:solidFill>
                  <a:schemeClr val="tx1"/>
                </a:solidFill>
                <a:latin typeface="Arial" pitchFamily="34" charset="0"/>
              </a:defRPr>
            </a:lvl8pPr>
            <a:lvl9pPr marL="3984372" indent="-234375" defTabSz="952149" eaLnBrk="0" fontAlgn="base" hangingPunct="0">
              <a:spcBef>
                <a:spcPct val="50000"/>
              </a:spcBef>
              <a:spcAft>
                <a:spcPct val="0"/>
              </a:spcAft>
              <a:defRPr sz="2100">
                <a:solidFill>
                  <a:schemeClr val="tx1"/>
                </a:solidFill>
                <a:latin typeface="Arial" pitchFamily="34" charset="0"/>
              </a:defRPr>
            </a:lvl9pPr>
          </a:lstStyle>
          <a:p>
            <a:pPr eaLnBrk="1" hangingPunct="1">
              <a:defRPr/>
            </a:pPr>
            <a:r>
              <a:rPr lang="en-US" sz="1200">
                <a:solidFill>
                  <a:srgbClr val="000000"/>
                </a:solidFill>
                <a:ea typeface="MS PGothic" pitchFamily="34" charset="-128"/>
              </a:rPr>
              <a:t> </a:t>
            </a:r>
            <a:endParaRPr lang="en-US" sz="1200" dirty="0">
              <a:solidFill>
                <a:srgbClr val="000000"/>
              </a:solidFill>
              <a:ea typeface="MS PGothic" pitchFamily="34" charset="-128"/>
            </a:endParaRPr>
          </a:p>
        </p:txBody>
      </p:sp>
      <p:sp>
        <p:nvSpPr>
          <p:cNvPr id="20483" name="Slide Number Placeholder 2"/>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52149" eaLnBrk="0" hangingPunct="0">
              <a:spcBef>
                <a:spcPct val="50000"/>
              </a:spcBef>
              <a:defRPr sz="2100">
                <a:solidFill>
                  <a:schemeClr val="tx1"/>
                </a:solidFill>
                <a:latin typeface="Arial" pitchFamily="34" charset="0"/>
              </a:defRPr>
            </a:lvl1pPr>
            <a:lvl2pPr marL="761717" indent="-292968" defTabSz="952149" eaLnBrk="0" hangingPunct="0">
              <a:spcBef>
                <a:spcPct val="50000"/>
              </a:spcBef>
              <a:defRPr sz="2100">
                <a:solidFill>
                  <a:schemeClr val="tx1"/>
                </a:solidFill>
                <a:latin typeface="Arial" pitchFamily="34" charset="0"/>
              </a:defRPr>
            </a:lvl2pPr>
            <a:lvl3pPr marL="1171873" indent="-234375" defTabSz="952149" eaLnBrk="0" hangingPunct="0">
              <a:spcBef>
                <a:spcPct val="50000"/>
              </a:spcBef>
              <a:defRPr sz="2100">
                <a:solidFill>
                  <a:schemeClr val="tx1"/>
                </a:solidFill>
                <a:latin typeface="Arial" pitchFamily="34" charset="0"/>
              </a:defRPr>
            </a:lvl3pPr>
            <a:lvl4pPr marL="1640624" indent="-234375" defTabSz="952149" eaLnBrk="0" hangingPunct="0">
              <a:spcBef>
                <a:spcPct val="50000"/>
              </a:spcBef>
              <a:defRPr sz="2100">
                <a:solidFill>
                  <a:schemeClr val="tx1"/>
                </a:solidFill>
                <a:latin typeface="Arial" pitchFamily="34" charset="0"/>
              </a:defRPr>
            </a:lvl4pPr>
            <a:lvl5pPr marL="2109373" indent="-234375" defTabSz="952149" eaLnBrk="0" hangingPunct="0">
              <a:spcBef>
                <a:spcPct val="50000"/>
              </a:spcBef>
              <a:defRPr sz="2100">
                <a:solidFill>
                  <a:schemeClr val="tx1"/>
                </a:solidFill>
                <a:latin typeface="Arial" pitchFamily="34" charset="0"/>
              </a:defRPr>
            </a:lvl5pPr>
            <a:lvl6pPr marL="2578123" indent="-234375" defTabSz="952149" eaLnBrk="0" fontAlgn="base" hangingPunct="0">
              <a:spcBef>
                <a:spcPct val="50000"/>
              </a:spcBef>
              <a:spcAft>
                <a:spcPct val="0"/>
              </a:spcAft>
              <a:defRPr sz="2100">
                <a:solidFill>
                  <a:schemeClr val="tx1"/>
                </a:solidFill>
                <a:latin typeface="Arial" pitchFamily="34" charset="0"/>
              </a:defRPr>
            </a:lvl6pPr>
            <a:lvl7pPr marL="3046873" indent="-234375" defTabSz="952149" eaLnBrk="0" fontAlgn="base" hangingPunct="0">
              <a:spcBef>
                <a:spcPct val="50000"/>
              </a:spcBef>
              <a:spcAft>
                <a:spcPct val="0"/>
              </a:spcAft>
              <a:defRPr sz="2100">
                <a:solidFill>
                  <a:schemeClr val="tx1"/>
                </a:solidFill>
                <a:latin typeface="Arial" pitchFamily="34" charset="0"/>
              </a:defRPr>
            </a:lvl7pPr>
            <a:lvl8pPr marL="3515622" indent="-234375" defTabSz="952149" eaLnBrk="0" fontAlgn="base" hangingPunct="0">
              <a:spcBef>
                <a:spcPct val="50000"/>
              </a:spcBef>
              <a:spcAft>
                <a:spcPct val="0"/>
              </a:spcAft>
              <a:defRPr sz="2100">
                <a:solidFill>
                  <a:schemeClr val="tx1"/>
                </a:solidFill>
                <a:latin typeface="Arial" pitchFamily="34" charset="0"/>
              </a:defRPr>
            </a:lvl8pPr>
            <a:lvl9pPr marL="3984372" indent="-234375" defTabSz="952149" eaLnBrk="0" fontAlgn="base" hangingPunct="0">
              <a:spcBef>
                <a:spcPct val="50000"/>
              </a:spcBef>
              <a:spcAft>
                <a:spcPct val="0"/>
              </a:spcAft>
              <a:defRPr sz="2100">
                <a:solidFill>
                  <a:schemeClr val="tx1"/>
                </a:solidFill>
                <a:latin typeface="Arial" pitchFamily="34" charset="0"/>
              </a:defRPr>
            </a:lvl9pPr>
          </a:lstStyle>
          <a:p>
            <a:pPr eaLnBrk="1" hangingPunct="1">
              <a:defRPr/>
            </a:pPr>
            <a:fld id="{E1C65BFA-0B88-4479-9B7C-B87E585F8BFC}" type="slidenum">
              <a:rPr lang="en-US" sz="900">
                <a:solidFill>
                  <a:srgbClr val="000000"/>
                </a:solidFill>
                <a:ea typeface="MS PGothic" pitchFamily="34" charset="-128"/>
              </a:rPr>
              <a:t>153</a:t>
            </a:fld>
            <a:endParaRPr lang="en-US" sz="900" dirty="0">
              <a:solidFill>
                <a:srgbClr val="000000"/>
              </a:solidFill>
              <a:ea typeface="MS PGothic" pitchFamily="34" charset="-128"/>
            </a:endParaRPr>
          </a:p>
        </p:txBody>
      </p:sp>
      <p:sp>
        <p:nvSpPr>
          <p:cNvPr id="20484" name="Header Placeholder 3"/>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52149" eaLnBrk="0" hangingPunct="0">
              <a:spcBef>
                <a:spcPct val="50000"/>
              </a:spcBef>
              <a:defRPr sz="2100">
                <a:solidFill>
                  <a:schemeClr val="tx1"/>
                </a:solidFill>
                <a:latin typeface="Arial" pitchFamily="34" charset="0"/>
              </a:defRPr>
            </a:lvl1pPr>
            <a:lvl2pPr marL="761717" indent="-292968" defTabSz="952149" eaLnBrk="0" hangingPunct="0">
              <a:spcBef>
                <a:spcPct val="50000"/>
              </a:spcBef>
              <a:defRPr sz="2100">
                <a:solidFill>
                  <a:schemeClr val="tx1"/>
                </a:solidFill>
                <a:latin typeface="Arial" pitchFamily="34" charset="0"/>
              </a:defRPr>
            </a:lvl2pPr>
            <a:lvl3pPr marL="1171873" indent="-234375" defTabSz="952149" eaLnBrk="0" hangingPunct="0">
              <a:spcBef>
                <a:spcPct val="50000"/>
              </a:spcBef>
              <a:defRPr sz="2100">
                <a:solidFill>
                  <a:schemeClr val="tx1"/>
                </a:solidFill>
                <a:latin typeface="Arial" pitchFamily="34" charset="0"/>
              </a:defRPr>
            </a:lvl3pPr>
            <a:lvl4pPr marL="1640624" indent="-234375" defTabSz="952149" eaLnBrk="0" hangingPunct="0">
              <a:spcBef>
                <a:spcPct val="50000"/>
              </a:spcBef>
              <a:defRPr sz="2100">
                <a:solidFill>
                  <a:schemeClr val="tx1"/>
                </a:solidFill>
                <a:latin typeface="Arial" pitchFamily="34" charset="0"/>
              </a:defRPr>
            </a:lvl4pPr>
            <a:lvl5pPr marL="2109373" indent="-234375" defTabSz="952149" eaLnBrk="0" hangingPunct="0">
              <a:spcBef>
                <a:spcPct val="50000"/>
              </a:spcBef>
              <a:defRPr sz="2100">
                <a:solidFill>
                  <a:schemeClr val="tx1"/>
                </a:solidFill>
                <a:latin typeface="Arial" pitchFamily="34" charset="0"/>
              </a:defRPr>
            </a:lvl5pPr>
            <a:lvl6pPr marL="2578123" indent="-234375" defTabSz="952149" eaLnBrk="0" fontAlgn="base" hangingPunct="0">
              <a:spcBef>
                <a:spcPct val="50000"/>
              </a:spcBef>
              <a:spcAft>
                <a:spcPct val="0"/>
              </a:spcAft>
              <a:defRPr sz="2100">
                <a:solidFill>
                  <a:schemeClr val="tx1"/>
                </a:solidFill>
                <a:latin typeface="Arial" pitchFamily="34" charset="0"/>
              </a:defRPr>
            </a:lvl6pPr>
            <a:lvl7pPr marL="3046873" indent="-234375" defTabSz="952149" eaLnBrk="0" fontAlgn="base" hangingPunct="0">
              <a:spcBef>
                <a:spcPct val="50000"/>
              </a:spcBef>
              <a:spcAft>
                <a:spcPct val="0"/>
              </a:spcAft>
              <a:defRPr sz="2100">
                <a:solidFill>
                  <a:schemeClr val="tx1"/>
                </a:solidFill>
                <a:latin typeface="Arial" pitchFamily="34" charset="0"/>
              </a:defRPr>
            </a:lvl7pPr>
            <a:lvl8pPr marL="3515622" indent="-234375" defTabSz="952149" eaLnBrk="0" fontAlgn="base" hangingPunct="0">
              <a:spcBef>
                <a:spcPct val="50000"/>
              </a:spcBef>
              <a:spcAft>
                <a:spcPct val="0"/>
              </a:spcAft>
              <a:defRPr sz="2100">
                <a:solidFill>
                  <a:schemeClr val="tx1"/>
                </a:solidFill>
                <a:latin typeface="Arial" pitchFamily="34" charset="0"/>
              </a:defRPr>
            </a:lvl8pPr>
            <a:lvl9pPr marL="3984372" indent="-234375" defTabSz="952149" eaLnBrk="0" fontAlgn="base" hangingPunct="0">
              <a:spcBef>
                <a:spcPct val="50000"/>
              </a:spcBef>
              <a:spcAft>
                <a:spcPct val="0"/>
              </a:spcAft>
              <a:defRPr sz="2100">
                <a:solidFill>
                  <a:schemeClr val="tx1"/>
                </a:solidFill>
                <a:latin typeface="Arial" pitchFamily="34" charset="0"/>
              </a:defRPr>
            </a:lvl9pPr>
          </a:lstStyle>
          <a:p>
            <a:pPr eaLnBrk="1" hangingPunct="1">
              <a:defRPr/>
            </a:pPr>
            <a:r>
              <a:rPr lang="en-US" sz="1100">
                <a:solidFill>
                  <a:srgbClr val="000000"/>
                </a:solidFill>
                <a:ea typeface="MS PGothic" pitchFamily="34" charset="-128"/>
              </a:rPr>
              <a:t>5G Core Concepts</a:t>
            </a:r>
            <a:endParaRPr lang="en-US" sz="1100" dirty="0">
              <a:solidFill>
                <a:srgbClr val="000000"/>
              </a:solidFill>
              <a:ea typeface="MS PGothic" pitchFamily="34" charset="-128"/>
            </a:endParaRPr>
          </a:p>
        </p:txBody>
      </p:sp>
      <p:sp>
        <p:nvSpPr>
          <p:cNvPr id="20485" name="Footer Placeholder 5"/>
          <p:cNvSpPr>
            <a:spLocks noGrp="1"/>
          </p:cNvSpPr>
          <p:nvPr>
            <p:ph type="ftr" sz="quarter" idx="4"/>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52149" eaLnBrk="0" hangingPunct="0">
              <a:spcBef>
                <a:spcPct val="50000"/>
              </a:spcBef>
              <a:defRPr sz="2100">
                <a:solidFill>
                  <a:schemeClr val="tx1"/>
                </a:solidFill>
                <a:latin typeface="Arial" pitchFamily="34" charset="0"/>
              </a:defRPr>
            </a:lvl1pPr>
            <a:lvl2pPr marL="761717" indent="-292968" defTabSz="952149" eaLnBrk="0" hangingPunct="0">
              <a:spcBef>
                <a:spcPct val="50000"/>
              </a:spcBef>
              <a:defRPr sz="2100">
                <a:solidFill>
                  <a:schemeClr val="tx1"/>
                </a:solidFill>
                <a:latin typeface="Arial" pitchFamily="34" charset="0"/>
              </a:defRPr>
            </a:lvl2pPr>
            <a:lvl3pPr marL="1171873" indent="-234375" defTabSz="952149" eaLnBrk="0" hangingPunct="0">
              <a:spcBef>
                <a:spcPct val="50000"/>
              </a:spcBef>
              <a:defRPr sz="2100">
                <a:solidFill>
                  <a:schemeClr val="tx1"/>
                </a:solidFill>
                <a:latin typeface="Arial" pitchFamily="34" charset="0"/>
              </a:defRPr>
            </a:lvl3pPr>
            <a:lvl4pPr marL="1640624" indent="-234375" defTabSz="952149" eaLnBrk="0" hangingPunct="0">
              <a:spcBef>
                <a:spcPct val="50000"/>
              </a:spcBef>
              <a:defRPr sz="2100">
                <a:solidFill>
                  <a:schemeClr val="tx1"/>
                </a:solidFill>
                <a:latin typeface="Arial" pitchFamily="34" charset="0"/>
              </a:defRPr>
            </a:lvl4pPr>
            <a:lvl5pPr marL="2109373" indent="-234375" defTabSz="952149" eaLnBrk="0" hangingPunct="0">
              <a:spcBef>
                <a:spcPct val="50000"/>
              </a:spcBef>
              <a:defRPr sz="2100">
                <a:solidFill>
                  <a:schemeClr val="tx1"/>
                </a:solidFill>
                <a:latin typeface="Arial" pitchFamily="34" charset="0"/>
              </a:defRPr>
            </a:lvl5pPr>
            <a:lvl6pPr marL="2578123" indent="-234375" defTabSz="952149" eaLnBrk="0" fontAlgn="base" hangingPunct="0">
              <a:spcBef>
                <a:spcPct val="50000"/>
              </a:spcBef>
              <a:spcAft>
                <a:spcPct val="0"/>
              </a:spcAft>
              <a:defRPr sz="2100">
                <a:solidFill>
                  <a:schemeClr val="tx1"/>
                </a:solidFill>
                <a:latin typeface="Arial" pitchFamily="34" charset="0"/>
              </a:defRPr>
            </a:lvl6pPr>
            <a:lvl7pPr marL="3046873" indent="-234375" defTabSz="952149" eaLnBrk="0" fontAlgn="base" hangingPunct="0">
              <a:spcBef>
                <a:spcPct val="50000"/>
              </a:spcBef>
              <a:spcAft>
                <a:spcPct val="0"/>
              </a:spcAft>
              <a:defRPr sz="2100">
                <a:solidFill>
                  <a:schemeClr val="tx1"/>
                </a:solidFill>
                <a:latin typeface="Arial" pitchFamily="34" charset="0"/>
              </a:defRPr>
            </a:lvl7pPr>
            <a:lvl8pPr marL="3515622" indent="-234375" defTabSz="952149" eaLnBrk="0" fontAlgn="base" hangingPunct="0">
              <a:spcBef>
                <a:spcPct val="50000"/>
              </a:spcBef>
              <a:spcAft>
                <a:spcPct val="0"/>
              </a:spcAft>
              <a:defRPr sz="2100">
                <a:solidFill>
                  <a:schemeClr val="tx1"/>
                </a:solidFill>
                <a:latin typeface="Arial" pitchFamily="34" charset="0"/>
              </a:defRPr>
            </a:lvl8pPr>
            <a:lvl9pPr marL="3984372" indent="-234375" defTabSz="952149" eaLnBrk="0" fontAlgn="base" hangingPunct="0">
              <a:spcBef>
                <a:spcPct val="50000"/>
              </a:spcBef>
              <a:spcAft>
                <a:spcPct val="0"/>
              </a:spcAft>
              <a:defRPr sz="2100">
                <a:solidFill>
                  <a:schemeClr val="tx1"/>
                </a:solidFill>
                <a:latin typeface="Arial" pitchFamily="34" charset="0"/>
              </a:defRPr>
            </a:lvl9pPr>
          </a:lstStyle>
          <a:p>
            <a:pPr eaLnBrk="1" hangingPunct="1">
              <a:defRPr/>
            </a:pPr>
            <a:r>
              <a:rPr lang="de-DE" sz="900">
                <a:solidFill>
                  <a:srgbClr val="000000"/>
                </a:solidFill>
                <a:ea typeface="MS PGothic" pitchFamily="34" charset="-128"/>
              </a:rPr>
              <a:t>© Ericsson AB 2017  |  LZU1421223 PA2</a:t>
            </a:r>
            <a:endParaRPr lang="en-US" sz="900" dirty="0">
              <a:solidFill>
                <a:srgbClr val="000000"/>
              </a:solidFill>
              <a:ea typeface="MS PGothic" pitchFamily="34" charset="-128"/>
            </a:endParaRPr>
          </a:p>
        </p:txBody>
      </p:sp>
      <p:sp>
        <p:nvSpPr>
          <p:cNvPr id="13318" name="Rectangle 2"/>
          <p:cNvSpPr>
            <a:spLocks noGrp="1" noRot="1" noChangeAspect="1" noTextEdit="1"/>
          </p:cNvSpPr>
          <p:nvPr>
            <p:ph type="sldImg"/>
          </p:nvPr>
        </p:nvSpPr>
        <p:spPr bwMode="auto">
          <a:xfrm>
            <a:off x="511175" y="842963"/>
            <a:ext cx="6227763"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b="1" dirty="0">
                <a:cs typeface="Times New Roman" panose="02020603050405020304" pitchFamily="18" charset="0"/>
              </a:rPr>
              <a:t>Main architecture principles</a:t>
            </a:r>
            <a:endParaRPr lang="en-US" sz="1000" dirty="0">
              <a:cs typeface="Times New Roman" panose="02020603050405020304" pitchFamily="18" charset="0"/>
            </a:endParaRPr>
          </a:p>
          <a:p>
            <a:r>
              <a:rPr lang="en-US" sz="1000" dirty="0">
                <a:cs typeface="Times New Roman" panose="02020603050405020304" pitchFamily="18" charset="0"/>
              </a:rPr>
              <a:t>The target architecture is built on interfaces that support the principles of service and resource abstraction, multi-tenancy and programmability. Inter-domain interfaces also support business relations, as they include security and SLAs, as well as separation of responsi­bility and accountability. </a:t>
            </a:r>
          </a:p>
          <a:p>
            <a:r>
              <a:rPr lang="en-US" sz="1000" dirty="0">
                <a:cs typeface="Times New Roman" panose="02020603050405020304" pitchFamily="18" charset="0"/>
              </a:rPr>
              <a:t>Services from other domains can also be viewed as resources orchestrated in a synchronized manner with a domain’s own resources to provide services in a hierarchical way. A strict framework with a common information model is required.</a:t>
            </a:r>
            <a:endParaRPr lang="en-US" sz="1000" b="1" dirty="0">
              <a:cs typeface="Times New Roman" panose="02020603050405020304" pitchFamily="18" charset="0"/>
            </a:endParaRPr>
          </a:p>
          <a:p>
            <a:r>
              <a:rPr lang="en-US" sz="1000" b="1" dirty="0">
                <a:cs typeface="Times New Roman" panose="02020603050405020304" pitchFamily="18" charset="0"/>
              </a:rPr>
              <a:t>Control, orchestration and management</a:t>
            </a:r>
          </a:p>
          <a:p>
            <a:r>
              <a:rPr lang="en-US" sz="1000" dirty="0">
                <a:cs typeface="Times New Roman" panose="02020603050405020304" pitchFamily="18" charset="0"/>
              </a:rPr>
              <a:t>Management and control functions within each domain will do much the same job as they do today, but with a higher degree of automation and real-time capabilities. Orchestration enables automation across different types of resources and uses defined workflows to provide the desired network behavior – all aligned with and enabled by a policy framework that is supported by analytics insights. Creating infrastructure services is one example of where orchestration is heavily used in the Cloud Infrastructure domain, in which processing, storage and networking resources are assigned in a coordinated manner.</a:t>
            </a:r>
          </a:p>
          <a:p>
            <a:r>
              <a:rPr lang="en-US" sz="1000" dirty="0">
                <a:cs typeface="Times New Roman" panose="02020603050405020304" pitchFamily="18" charset="0"/>
              </a:rPr>
              <a:t>Services from other domains can also be viewed as resources orchestrated in a synchronized manner with other resources to provide services from the Cloud Infrastructure domain in a hierarchical way. A strict framework with a common information model is required to maintain consistency across domains. </a:t>
            </a:r>
          </a:p>
          <a:p>
            <a:r>
              <a:rPr lang="en-US" sz="1000" dirty="0">
                <a:cs typeface="Times New Roman" panose="02020603050405020304" pitchFamily="18" charset="0"/>
              </a:rPr>
              <a:t>To offer services that draw resources from more than one domain, a cross-domain OSS/BSS function is needed. This second main flow of orchestration relates to external business offerings and how to leverage services from multiple domains. For example, an enterprise customer may require a service that combines an infrastructure service with a business VPN from the transport domain.</a:t>
            </a:r>
          </a:p>
          <a:p>
            <a:endParaRPr lang="sv-SE" sz="1000" dirty="0">
              <a:cs typeface="Times New Roman" panose="02020603050405020304" pitchFamily="18" charset="0"/>
            </a:endParaRPr>
          </a:p>
        </p:txBody>
      </p:sp>
    </p:spTree>
    <p:extLst>
      <p:ext uri="{BB962C8B-B14F-4D97-AF65-F5344CB8AC3E}">
        <p14:creationId xmlns:p14="http://schemas.microsoft.com/office/powerpoint/2010/main" val="89742311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US" sz="1000" dirty="0">
                <a:cs typeface="Times New Roman" panose="02020603050405020304" pitchFamily="18" charset="0"/>
              </a:rPr>
              <a:t>To support service exposure, each domain needs appropriate logging tools. For example, an Cloud Infrastructure domain will need access to data records related to usage for the infrastructure services it provides – regardless of whether it delivers these services to an external tenant or to an internal tenant (to other domains within the same operator). Many of these functions will be automated and simplified in their interfaces among staff, BSS, OSS, and resource control functions. </a:t>
            </a:r>
          </a:p>
          <a:p>
            <a:r>
              <a:rPr lang="en-US" sz="1000" b="1" dirty="0">
                <a:cs typeface="Times New Roman" panose="02020603050405020304" pitchFamily="18" charset="0"/>
              </a:rPr>
              <a:t>The policy framework</a:t>
            </a:r>
          </a:p>
          <a:p>
            <a:r>
              <a:rPr lang="en-US" sz="1000" dirty="0">
                <a:cs typeface="Times New Roman" panose="02020603050405020304" pitchFamily="18" charset="0"/>
              </a:rPr>
              <a:t>Policies are sets of rules that govern the behavior of a system. A policy comprises conditions and actions; events trigger conditions to be evaluated and an action is taken if the conditions are met. Policies are used to define a framework and set the bounds for the control-orchestration-management functions, derived from the overall business goals of the operator.</a:t>
            </a:r>
          </a:p>
          <a:p>
            <a:r>
              <a:rPr lang="en-US" sz="1000" dirty="0">
                <a:cs typeface="Times New Roman" panose="02020603050405020304" pitchFamily="18" charset="0"/>
              </a:rPr>
              <a:t>Some policies, like those that control how specific resources are used, are strictly defined and applied within an administrative domain. Other policies apply to the inter-domain interfaces, and define for example how one domain can use services from another. Such policies can be partly defined by the administrative domain delivering the service, but may also be defined by the business-management administrative domain. </a:t>
            </a:r>
          </a:p>
          <a:p>
            <a:r>
              <a:rPr lang="en-US" sz="1000" dirty="0">
                <a:cs typeface="Times New Roman" panose="02020603050405020304" pitchFamily="18" charset="0"/>
              </a:rPr>
              <a:t>The relationship between business and network operations policies is defined by a set of meaningful operational KPIs. For example, a business policy governing the parameters of a gold subscriber service can be interpreted into specific settings for, say, </a:t>
            </a:r>
            <a:r>
              <a:rPr lang="en-US" sz="1000" dirty="0" err="1">
                <a:cs typeface="Times New Roman" panose="02020603050405020304" pitchFamily="18" charset="0"/>
              </a:rPr>
              <a:t>QoS</a:t>
            </a:r>
            <a:r>
              <a:rPr lang="en-US" sz="1000" dirty="0">
                <a:cs typeface="Times New Roman" panose="02020603050405020304" pitchFamily="18" charset="0"/>
              </a:rPr>
              <a:t> and throttle. By factoring in the insights supplied by analytics, these KPIs enable a greater degree of network automation, as policies can govern operational decisions. </a:t>
            </a:r>
          </a:p>
          <a:p>
            <a:r>
              <a:rPr lang="en-US" sz="1000" b="1" dirty="0">
                <a:cs typeface="Times New Roman" panose="02020603050405020304" pitchFamily="18" charset="0"/>
              </a:rPr>
              <a:t>Network analytics</a:t>
            </a:r>
          </a:p>
          <a:p>
            <a:r>
              <a:rPr lang="en-US" sz="1000" dirty="0">
                <a:cs typeface="Times New Roman" panose="02020603050405020304" pitchFamily="18" charset="0"/>
              </a:rPr>
              <a:t>Analytics is a key tool for increasing automation of operations. To provide prediction insights, analytics can be applied within an administrative domain or work in conjunction with the other COMPA functions – both in offline processing of data and for real-time stream processing. Domain competence is usually needed to understand prediction, but insights exposed from other domains or external sources could also be used as input. </a:t>
            </a:r>
          </a:p>
          <a:p>
            <a:r>
              <a:rPr lang="en-US" sz="1000" dirty="0">
                <a:cs typeface="Times New Roman" panose="02020603050405020304" pitchFamily="18" charset="0"/>
              </a:rPr>
              <a:t>Exposing analytics insights on a domain basis, and then aggregating multiple domains through a cross-domain analytics application, enables the entire network state to be analyzed, which supports the definition of network-wide KPIs.</a:t>
            </a:r>
          </a:p>
          <a:p>
            <a:r>
              <a:rPr lang="en-US" sz="1000" dirty="0">
                <a:cs typeface="Times New Roman" panose="02020603050405020304" pitchFamily="18" charset="0"/>
              </a:rPr>
              <a:t>A policy rules engine can use network analytics to check performance-related KPIs, triggering network state updates when needed. Such requests could then be applied to the relevant network domains by the control-orchestration-management functions – possibly with some form of manual intervention. </a:t>
            </a:r>
          </a:p>
          <a:p>
            <a:r>
              <a:rPr lang="en-US" sz="1000" dirty="0">
                <a:cs typeface="Times New Roman" panose="02020603050405020304" pitchFamily="18" charset="0"/>
              </a:rPr>
              <a:t>A closed feedback loop from the control-orchestration-management functionality back to the rules engine would enable policies to learn and adapt automatically as the network environment changes. </a:t>
            </a:r>
          </a:p>
          <a:p>
            <a:endParaRPr lang="en-US" sz="1000" dirty="0"/>
          </a:p>
        </p:txBody>
      </p:sp>
      <p:sp>
        <p:nvSpPr>
          <p:cNvPr id="4" name="Slide Number Placeholder 3"/>
          <p:cNvSpPr>
            <a:spLocks noGrp="1"/>
          </p:cNvSpPr>
          <p:nvPr>
            <p:ph type="sldNum" sz="quarter" idx="10"/>
          </p:nvPr>
        </p:nvSpPr>
        <p:spPr/>
        <p:txBody>
          <a:bodyPr/>
          <a:lstStyle/>
          <a:p>
            <a:fld id="{4A902908-7467-450F-8EFE-284659980DC4}" type="slidenum">
              <a:rPr lang="en-US" smtClean="0"/>
              <a:t>15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4204323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500063" y="842963"/>
            <a:ext cx="6229350" cy="3503612"/>
          </a:xfrm>
        </p:spPr>
      </p:sp>
      <p:sp>
        <p:nvSpPr>
          <p:cNvPr id="3" name="Platshållare för anteckningar 2"/>
          <p:cNvSpPr>
            <a:spLocks noGrp="1"/>
          </p:cNvSpPr>
          <p:nvPr>
            <p:ph type="body" idx="1"/>
          </p:nvPr>
        </p:nvSpPr>
        <p:spPr/>
        <p:txBody>
          <a:bodyPr/>
          <a:lstStyle/>
          <a:p>
            <a:pPr defTabSz="937626">
              <a:defRPr/>
            </a:pPr>
            <a:r>
              <a:rPr lang="en-US" sz="1000" dirty="0"/>
              <a:t>This figure shows a high level model of network Functions deployed onto a set of selected Responsibility Domains (RDs). The focus of this type of picture is on the inter-dependencies and interfaces between network functions imposed from organizational structures and separations of concerns. It shall be noted that the purpose is to highlight splits of responsibility that needs to be enabled and supported by the architecture, rather than imposing or mandating a particular organizational structure.</a:t>
            </a:r>
          </a:p>
          <a:p>
            <a:endParaRPr lang="sv-SE" sz="1000" dirty="0"/>
          </a:p>
        </p:txBody>
      </p:sp>
      <p:sp>
        <p:nvSpPr>
          <p:cNvPr id="4" name="Platshållare för datum 3"/>
          <p:cNvSpPr>
            <a:spLocks noGrp="1"/>
          </p:cNvSpPr>
          <p:nvPr>
            <p:ph type="dt" idx="10"/>
          </p:nvPr>
        </p:nvSpPr>
        <p:spPr/>
        <p:txBody>
          <a:bodyPr/>
          <a:lstStyle/>
          <a:p>
            <a:r>
              <a:rPr lang="en-US"/>
              <a:t> </a:t>
            </a:r>
            <a:endParaRPr lang="en-US" dirty="0"/>
          </a:p>
        </p:txBody>
      </p:sp>
      <p:sp>
        <p:nvSpPr>
          <p:cNvPr id="5" name="Platshållare för bildnummer 4"/>
          <p:cNvSpPr>
            <a:spLocks noGrp="1"/>
          </p:cNvSpPr>
          <p:nvPr>
            <p:ph type="sldNum" sz="quarter" idx="11"/>
          </p:nvPr>
        </p:nvSpPr>
        <p:spPr/>
        <p:txBody>
          <a:bodyPr/>
          <a:lstStyle/>
          <a:p>
            <a:fld id="{90253330-62F1-4EAE-B79D-8F32D9BA7144}" type="slidenum">
              <a:rPr lang="en-US" smtClean="0"/>
              <a:t>155</a:t>
            </a:fld>
            <a:endParaRPr lang="en-US" dirty="0"/>
          </a:p>
        </p:txBody>
      </p:sp>
      <p:sp>
        <p:nvSpPr>
          <p:cNvPr id="6" name="Platshållare för sidhuvud 5"/>
          <p:cNvSpPr>
            <a:spLocks noGrp="1"/>
          </p:cNvSpPr>
          <p:nvPr>
            <p:ph type="hdr" sz="quarter" idx="12"/>
          </p:nvPr>
        </p:nvSpPr>
        <p:spPr/>
        <p:txBody>
          <a:bodyPr/>
          <a:lstStyle/>
          <a:p>
            <a:r>
              <a:rPr lang="en-US"/>
              <a:t>5G Core Concepts</a:t>
            </a:r>
            <a:endParaRPr lang="en-US" dirty="0"/>
          </a:p>
        </p:txBody>
      </p:sp>
      <p:sp>
        <p:nvSpPr>
          <p:cNvPr id="7" name="Platshållare för sidfot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98204486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842963"/>
            <a:ext cx="6229350" cy="3503612"/>
          </a:xfrm>
        </p:spPr>
      </p:sp>
      <p:sp>
        <p:nvSpPr>
          <p:cNvPr id="3" name="Notes Placeholder 2"/>
          <p:cNvSpPr>
            <a:spLocks noGrp="1"/>
          </p:cNvSpPr>
          <p:nvPr>
            <p:ph type="body" idx="1"/>
          </p:nvPr>
        </p:nvSpPr>
        <p:spPr/>
        <p:txBody>
          <a:bodyPr/>
          <a:lstStyle/>
          <a:p>
            <a:r>
              <a:rPr lang="en-US" sz="1000" dirty="0"/>
              <a:t>The figure shows an example of how two slices are instantiated and how the resources are allocated across the responsibility domains. The end-to-end service is coordinated and monitored by the business and cross domain.</a:t>
            </a:r>
          </a:p>
        </p:txBody>
      </p:sp>
      <p:sp>
        <p:nvSpPr>
          <p:cNvPr id="4" name="Slide Number Placeholder 3"/>
          <p:cNvSpPr>
            <a:spLocks noGrp="1"/>
          </p:cNvSpPr>
          <p:nvPr>
            <p:ph type="sldNum" sz="quarter" idx="10"/>
          </p:nvPr>
        </p:nvSpPr>
        <p:spPr/>
        <p:txBody>
          <a:bodyPr/>
          <a:lstStyle/>
          <a:p>
            <a:fld id="{A30ACCA5-0B05-4459-89AB-7432EBE8A5BB}" type="slidenum">
              <a:rPr lang="en-US" smtClean="0"/>
              <a:t>15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8415788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842963"/>
            <a:ext cx="6227763" cy="3503612"/>
          </a:xfrm>
        </p:spPr>
      </p:sp>
      <p:sp>
        <p:nvSpPr>
          <p:cNvPr id="3" name="Notes Placeholder 2"/>
          <p:cNvSpPr>
            <a:spLocks noGrp="1"/>
          </p:cNvSpPr>
          <p:nvPr>
            <p:ph type="body" idx="1"/>
          </p:nvPr>
        </p:nvSpPr>
        <p:spPr/>
        <p:txBody>
          <a:bodyPr/>
          <a:lstStyle/>
          <a:p>
            <a:r>
              <a:rPr lang="en-US" sz="1000" dirty="0"/>
              <a:t>This slide explains the architecture in terms of an example: Service Instantiation</a:t>
            </a:r>
          </a:p>
          <a:p>
            <a:pPr marL="234406" indent="-234406">
              <a:buAutoNum type="arabicPeriod"/>
            </a:pPr>
            <a:r>
              <a:rPr lang="en-US" sz="1000" dirty="0"/>
              <a:t>A </a:t>
            </a:r>
            <a:r>
              <a:rPr lang="en-US" sz="1000" dirty="0" err="1"/>
              <a:t>NaaS</a:t>
            </a:r>
            <a:r>
              <a:rPr lang="en-US" sz="1000" dirty="0"/>
              <a:t> customer requests a </a:t>
            </a:r>
            <a:r>
              <a:rPr lang="en-US" sz="1000" dirty="0" err="1"/>
              <a:t>NaaS</a:t>
            </a:r>
            <a:r>
              <a:rPr lang="en-US" sz="1000" dirty="0"/>
              <a:t>. This is an “offer” available in the service catalogue and made orderable. The customer may provide some input/customer specific data needed during the instantiation</a:t>
            </a:r>
          </a:p>
          <a:p>
            <a:pPr marL="234406" indent="-234406">
              <a:buAutoNum type="arabicPeriod"/>
            </a:pPr>
            <a:r>
              <a:rPr lang="en-US" sz="1000" dirty="0"/>
              <a:t>Based on the definition of the requested offer, the </a:t>
            </a:r>
            <a:r>
              <a:rPr lang="en-US" sz="1000" dirty="0" err="1"/>
              <a:t>NaaS</a:t>
            </a:r>
            <a:r>
              <a:rPr lang="en-US" sz="1000" dirty="0"/>
              <a:t> governance maps this to network slices. As an example the offer may say that a new slice shall be instantiated via a blueprint. It may also specify some of the input parameters required at the network slice governance layer (this is defined by the blueprint) or how to derive these parameters e.g. based on customer data, SLA data etc.</a:t>
            </a:r>
          </a:p>
          <a:p>
            <a:pPr marL="234406" indent="-234406">
              <a:buAutoNum type="arabicPeriod"/>
            </a:pPr>
            <a:r>
              <a:rPr lang="en-US" sz="1000" dirty="0"/>
              <a:t>A request is sent downwards (to the network slice LCM) to instantiate a slice, pointing at a named blueprint and providing the required input parameters</a:t>
            </a:r>
          </a:p>
          <a:p>
            <a:pPr marL="234406" indent="-234406">
              <a:buAutoNum type="arabicPeriod"/>
            </a:pPr>
            <a:r>
              <a:rPr lang="en-US" sz="1000" dirty="0"/>
              <a:t>The network slice LCM parses the blueprint and executes a workflow for instantiation. Resource needs are determined, e.g. based on blueprint and inputs, such as “size” of network functions instances, and a configuration is generated for each VNF (or management instance) based on blueprint, input parameters and back-end services (some properties may need to be assigned/unique, such as IP addresses or certain identifiers)</a:t>
            </a:r>
          </a:p>
          <a:p>
            <a:pPr marL="234406" indent="-234406">
              <a:buAutoNum type="arabicPeriod"/>
            </a:pPr>
            <a:r>
              <a:rPr lang="en-US" sz="1000" dirty="0"/>
              <a:t>The network slice LCM layer may request infrastructure resource shares from transport, access and cloud domains (e.g. separate pools of resources or some level of “priority”).</a:t>
            </a:r>
          </a:p>
          <a:p>
            <a:pPr marL="234406" indent="-234406">
              <a:buAutoNum type="arabicPeriod"/>
            </a:pPr>
            <a:r>
              <a:rPr lang="en-US" sz="1000" dirty="0"/>
              <a:t>The network slice LCM requests the Cloud DM/NFVO to instantiate either individual VNFs or complete ETSI NFV network services. An initial configuration may at this point be pushed.</a:t>
            </a:r>
          </a:p>
          <a:p>
            <a:pPr marL="234406" indent="-234406">
              <a:buAutoNum type="arabicPeriod"/>
            </a:pPr>
            <a:r>
              <a:rPr lang="en-US" sz="1000" dirty="0"/>
              <a:t> Post-install, the network slice LCM may interact directly with VNFs and/or intra-slice management functions to fully configure the network slice.</a:t>
            </a:r>
          </a:p>
          <a:p>
            <a:endParaRPr lang="en-US" sz="1000" dirty="0"/>
          </a:p>
        </p:txBody>
      </p:sp>
      <p:sp>
        <p:nvSpPr>
          <p:cNvPr id="4" name="Slide Number Placeholder 3"/>
          <p:cNvSpPr>
            <a:spLocks noGrp="1"/>
          </p:cNvSpPr>
          <p:nvPr>
            <p:ph type="sldNum" sz="quarter" idx="10"/>
          </p:nvPr>
        </p:nvSpPr>
        <p:spPr/>
        <p:txBody>
          <a:bodyPr/>
          <a:lstStyle/>
          <a:p>
            <a:fld id="{61715A03-35A0-4BCC-8316-FBF6EEDCD756}" type="slidenum">
              <a:rPr lang="en-US" smtClean="0"/>
              <a:t>15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2658263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t>For the area of application management, TOSCA can be used to drive Life Cycle management (as a Subnetwork Instance Blueprint). TOSCA is all about a model driven life cycle management/orchestration, everything the life cycle manager needs to do is given by the (TOSCA model) alone. Workflows can be invoked (e.g. by requests to the NBI or by triggers arriving on SBI), and can both deal with instantiation (setting up resources and controlling the application configuration) as well as runtime actions such as scaling (of the whole subnetwork instance) or upgrades.</a:t>
            </a:r>
          </a:p>
          <a:p>
            <a:r>
              <a:rPr lang="en-US" sz="1000" dirty="0"/>
              <a:t>The actual configuration of the VNF may e.g. be done by a Domain Manager, which for instance use </a:t>
            </a:r>
            <a:r>
              <a:rPr lang="en-US" sz="1000" dirty="0" err="1"/>
              <a:t>Netconf</a:t>
            </a:r>
            <a:r>
              <a:rPr lang="en-US" sz="1000" dirty="0"/>
              <a:t>/YANG to execute the actual configuration towards the network function/element. This can be done both during instantiation/activation and at runtime. Runtime actions can be, but are not necessarily triggered by the domain LCM. There could for instance be “COMPA loops” within the domain manager taking actions, or possible manual reconfigurations through local CLI. The main role of domain LCM is to control the overall LCM, to keep the overall understanding of the overall application and all its dependencies and to interface the upper layers e.g. to create the overall service.</a:t>
            </a:r>
          </a:p>
          <a:p>
            <a:r>
              <a:rPr lang="en-US" sz="1000" b="1" dirty="0"/>
              <a:t>TOSCA:</a:t>
            </a:r>
            <a:br>
              <a:rPr lang="en-US" sz="1000" dirty="0"/>
            </a:br>
            <a:r>
              <a:rPr lang="en-US" sz="1000" dirty="0"/>
              <a:t>Topology and Orchestration Specification for Cloud Applications (TOSCA), is an OASIS standard language to describe a topology of cloud based web services, their components, relationships, and the processes that manage them.</a:t>
            </a:r>
          </a:p>
          <a:p>
            <a:r>
              <a:rPr lang="en-US" sz="1000" b="1" dirty="0"/>
              <a:t>YANG:</a:t>
            </a:r>
            <a:br>
              <a:rPr lang="en-US" sz="1000" dirty="0"/>
            </a:br>
            <a:r>
              <a:rPr lang="en-US" sz="1000" dirty="0"/>
              <a:t>A data modeling language for the definition of data sent over the NETCONF network configuration protocol. The name is an acronym for "Yet Another Next Generation". The YANG data modeling language was developed by the NETMOD working group in the Internet Engineering Task Force (IETF) and was published as RFC 6020 in October 2010. </a:t>
            </a:r>
          </a:p>
          <a:p>
            <a:endParaRPr lang="en-US" sz="1000" dirty="0"/>
          </a:p>
        </p:txBody>
      </p:sp>
      <p:sp>
        <p:nvSpPr>
          <p:cNvPr id="4" name="Slide Number Placeholder 3"/>
          <p:cNvSpPr>
            <a:spLocks noGrp="1"/>
          </p:cNvSpPr>
          <p:nvPr>
            <p:ph type="sldNum" sz="quarter" idx="10"/>
          </p:nvPr>
        </p:nvSpPr>
        <p:spPr/>
        <p:txBody>
          <a:bodyPr/>
          <a:lstStyle/>
          <a:p>
            <a:fld id="{1E4B25AC-4631-44DF-94CB-83E24AAB60E0}" type="slidenum">
              <a:rPr lang="en-US" smtClean="0"/>
              <a:t>15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250521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842963"/>
            <a:ext cx="6227763" cy="3503612"/>
          </a:xfrm>
        </p:spPr>
      </p:sp>
      <p:sp>
        <p:nvSpPr>
          <p:cNvPr id="3" name="Notes Placeholder 2"/>
          <p:cNvSpPr>
            <a:spLocks noGrp="1"/>
          </p:cNvSpPr>
          <p:nvPr>
            <p:ph type="body" idx="1"/>
          </p:nvPr>
        </p:nvSpPr>
        <p:spPr/>
        <p:txBody>
          <a:bodyPr/>
          <a:lstStyle/>
          <a:p>
            <a:r>
              <a:rPr lang="en-US" sz="1000" dirty="0"/>
              <a:t>Looking solely at the core network level, analyzing the functional and characteristics requirements, there may not be so many different types of network slices. However, when combined with other factors (operational, service, business oriented) we can see that the number of variants of network slice types (and thus blueprints) may be quite high. Slices may differ in terms of size/capacity, to what degree they share resources with others vs the need of isolation, other capabilities that are bundled (applications also running in the slice, IaaS/PaaS services) etc. When combining all of these, the list of potential blueprints and slice types can grow long. Any blueprint can generate any number of instances. The number of instances can e.g. be driven by the need for isolation (per customer).</a:t>
            </a:r>
          </a:p>
          <a:p>
            <a:r>
              <a:rPr lang="en-US" sz="1000" dirty="0"/>
              <a:t>So, how many blueprints and slice instances will there be? It is a question that doesn’t have simple answer. Obviously it needs to be driven from a business perspective, if creating a separate slice instance brings no value to the business (new revenue, faster TTM/TTC, lower cost, lower risk) there is no reason to do it. Given that there may be limiting factors. For example, having a larger number of slice instances would drive the OPEX or CAPEX (due to lack of automation, lack of autonomy, cost overhead due to lack of multiplexing gains), and thereby killing the business case. In other words, the better we can automate management of slices, and the more autonomous we can make them, the more of them we can have without driving cost, and the more we can realize the business potential coming with network slicing. There may also be technical limitations, inherent to standardized architecture or implementation that prevents a wider range/number of network slices. As such limitations can go away (or be limited) over time, it is reasonable to assume that initial deployments will only have a limited number of network slices, while this can be scaled up over time as technology and solutions evolve.</a:t>
            </a:r>
          </a:p>
          <a:p>
            <a:endParaRPr lang="en-US" sz="1000" dirty="0"/>
          </a:p>
        </p:txBody>
      </p:sp>
      <p:sp>
        <p:nvSpPr>
          <p:cNvPr id="4" name="Slide Number Placeholder 3"/>
          <p:cNvSpPr>
            <a:spLocks noGrp="1"/>
          </p:cNvSpPr>
          <p:nvPr>
            <p:ph type="sldNum" sz="quarter" idx="10"/>
          </p:nvPr>
        </p:nvSpPr>
        <p:spPr/>
        <p:txBody>
          <a:bodyPr/>
          <a:lstStyle/>
          <a:p>
            <a:fld id="{503145DD-058E-4891-AE6A-C3E3712B3578}" type="slidenum">
              <a:rPr lang="en-US" smtClean="0"/>
              <a:t>15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19867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287338" y="842963"/>
            <a:ext cx="6580187" cy="37004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xfrm>
            <a:off x="1309532" y="4736302"/>
            <a:ext cx="4714315" cy="491540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Ericsson 5G core system offering is divided into the following Key System Areas with their own value for the operator:</a:t>
            </a:r>
          </a:p>
          <a:p>
            <a:r>
              <a:rPr lang="en-US" altLang="en-US" sz="1000" b="1" dirty="0"/>
              <a:t>Application Cloud</a:t>
            </a:r>
            <a:r>
              <a:rPr lang="en-US" altLang="en-US" sz="1000" dirty="0"/>
              <a:t> – </a:t>
            </a:r>
            <a:r>
              <a:rPr lang="en-US" sz="1000" dirty="0"/>
              <a:t>This area adds the opportunities for new business with exposure of cloud capabilities for enterprises and/or governments to facilitate deployment of cloud based applications with different degree of SLAs attached.</a:t>
            </a:r>
          </a:p>
          <a:p>
            <a:r>
              <a:rPr lang="en-US" sz="1000" b="1" dirty="0"/>
              <a:t>Management &amp; Monetization – </a:t>
            </a:r>
            <a:r>
              <a:rPr lang="en-US" sz="1000" dirty="0"/>
              <a:t>This is the layer that contains BSS, Customer, Business &amp; Partner management, OSS (Network &amp; Cloud </a:t>
            </a:r>
            <a:r>
              <a:rPr lang="en-US" sz="1000" dirty="0" err="1"/>
              <a:t>mgmt</a:t>
            </a:r>
            <a:r>
              <a:rPr lang="en-US" sz="1000" dirty="0"/>
              <a:t>) Service &amp; Network orchestration as well as  Analytics &amp; Exposure that adds actionable insights about user experience and network performance.</a:t>
            </a:r>
            <a:endParaRPr lang="en-US" sz="1000" b="1" dirty="0"/>
          </a:p>
          <a:p>
            <a:r>
              <a:rPr lang="en-US" sz="1000" b="1" dirty="0"/>
              <a:t>Network Slices – </a:t>
            </a:r>
            <a:r>
              <a:rPr lang="en-US" sz="1000" dirty="0"/>
              <a:t>This is dedicated connections , SLA-optimized per service both in terms of cost &amp; performance. Network slices could also be “offered”  or exposed for enterprises. E.g. large scale of sensors can be connected in a very cost effective way</a:t>
            </a:r>
            <a:r>
              <a:rPr lang="en-US" sz="1100" dirty="0"/>
              <a:t>.</a:t>
            </a:r>
            <a:endParaRPr lang="en-US" sz="1000" b="1" dirty="0"/>
          </a:p>
          <a:p>
            <a:r>
              <a:rPr lang="en-US" sz="1000" b="1" dirty="0"/>
              <a:t>Access, Mobility &amp; Network Applications – </a:t>
            </a:r>
            <a:r>
              <a:rPr lang="en-US" sz="1000" dirty="0"/>
              <a:t>VNFs, (software) can be deployed or trialed, very quickly compared to traditional appliances. </a:t>
            </a:r>
            <a:endParaRPr lang="en-US" sz="1000" b="1" dirty="0"/>
          </a:p>
          <a:p>
            <a:r>
              <a:rPr lang="en-US" sz="1000" b="1" dirty="0"/>
              <a:t>Cloud Infrastructure – </a:t>
            </a:r>
            <a:r>
              <a:rPr lang="en-US" sz="1000" dirty="0"/>
              <a:t>Offers a more effective and versatile infrastructure than purpose built hardware appliances. Redundancies can be applied in software instead of hardware.</a:t>
            </a:r>
          </a:p>
          <a:p>
            <a:r>
              <a:rPr lang="en-US" sz="1000" b="1" dirty="0"/>
              <a:t>Transport – </a:t>
            </a:r>
            <a:r>
              <a:rPr lang="en-US" sz="1000" dirty="0"/>
              <a:t>Microwave links, Routers and Optical transport are increasingly improved with scale &amp; capacity. SDN programmability make the utilization higher as well as time to market with VPN services &amp; Software Defined Wide Area Networks (SD WAN)</a:t>
            </a:r>
            <a:endParaRPr lang="en-US" sz="1000" b="1" dirty="0"/>
          </a:p>
          <a:p>
            <a:endParaRPr lang="en-US" altLang="en-US" sz="1000" dirty="0"/>
          </a:p>
          <a:p>
            <a:endParaRPr lang="en-US" altLang="en-US" sz="1000"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5192CB3-A791-4210-8B25-89D3E92189C9}" type="slidenum">
              <a:rPr lang="en-US" altLang="en-US" smtClean="0">
                <a:latin typeface="Arial" charset="0"/>
                <a:ea typeface="MS PGothic" pitchFamily="34" charset="-128"/>
                <a:cs typeface="Arial" charset="0"/>
              </a:rPr>
              <a:t>16</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194524678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4513" y="842963"/>
            <a:ext cx="6229350" cy="3503612"/>
          </a:xfrm>
        </p:spPr>
      </p:sp>
      <p:sp>
        <p:nvSpPr>
          <p:cNvPr id="3" name="Notes Placeholder 2"/>
          <p:cNvSpPr>
            <a:spLocks noGrp="1"/>
          </p:cNvSpPr>
          <p:nvPr>
            <p:ph type="body" idx="1"/>
          </p:nvPr>
        </p:nvSpPr>
        <p:spPr/>
        <p:txBody>
          <a:bodyPr/>
          <a:lstStyle/>
          <a:p>
            <a:r>
              <a:rPr lang="en-US" sz="1000" dirty="0"/>
              <a:t>The ETSI NFV (Network Functions Virtualization) architecture regards the implementation of Network Functions (NFs) as software-only entities that run over the NFV Infrastructure (NFVI). The figure illustrates the high-level NFV framework.</a:t>
            </a:r>
          </a:p>
          <a:p>
            <a:pPr marL="175805" indent="-175805">
              <a:buFont typeface="Arial" panose="020B0604020202020204" pitchFamily="34" charset="0"/>
              <a:buChar char="•"/>
            </a:pPr>
            <a:r>
              <a:rPr lang="en-US" sz="1000" b="1" dirty="0"/>
              <a:t>Virtualized Network Function</a:t>
            </a:r>
            <a:r>
              <a:rPr lang="en-US" sz="1000" dirty="0"/>
              <a:t>, as the software implementation of a network function which is capable of running over the NFVI.</a:t>
            </a:r>
          </a:p>
          <a:p>
            <a:pPr marL="175805" indent="-175805">
              <a:buFont typeface="Arial" panose="020B0604020202020204" pitchFamily="34" charset="0"/>
              <a:buChar char="•"/>
            </a:pPr>
            <a:r>
              <a:rPr lang="en-US" sz="1000" b="1" dirty="0"/>
              <a:t>NFV Infrastructure (NFVI)</a:t>
            </a:r>
            <a:r>
              <a:rPr lang="en-US" sz="1000" dirty="0"/>
              <a:t>, including the diversity of physical resources and how these can be virtualized. NFVI supports the execution of the VNFs.</a:t>
            </a:r>
          </a:p>
          <a:p>
            <a:pPr marL="175805" indent="-175805">
              <a:buFont typeface="Arial" panose="020B0604020202020204" pitchFamily="34" charset="0"/>
              <a:buChar char="•"/>
            </a:pPr>
            <a:r>
              <a:rPr lang="en-US" sz="1000" b="1" dirty="0"/>
              <a:t>NFV Management and Orchestration (MANO)</a:t>
            </a:r>
            <a:r>
              <a:rPr lang="en-US" sz="1000" dirty="0"/>
              <a:t>, which covers the orchestration and lifecycle management of physical and/or software resources that support the infrastructure virtualization, and the lifecycle management of VNFs. NFV Management and Orchestration focuses on all virtualization-specific management tasks necessary in the NFV framework.</a:t>
            </a:r>
          </a:p>
          <a:p>
            <a:pPr marL="175805" indent="-175805">
              <a:buFont typeface="Arial" panose="020B0604020202020204" pitchFamily="34" charset="0"/>
              <a:buChar char="•"/>
            </a:pPr>
            <a:r>
              <a:rPr lang="en-US" sz="1000" b="1" dirty="0"/>
              <a:t>Element Manager (EM)</a:t>
            </a:r>
            <a:r>
              <a:rPr lang="en-US" sz="1000" dirty="0"/>
              <a:t> performs the typical management functionality for one or several VNFs.</a:t>
            </a:r>
          </a:p>
          <a:p>
            <a:pPr marL="175805" indent="-175805">
              <a:buFont typeface="Arial" panose="020B0604020202020204" pitchFamily="34" charset="0"/>
              <a:buChar char="•"/>
            </a:pPr>
            <a:r>
              <a:rPr lang="en-US" sz="1000" b="1" dirty="0"/>
              <a:t>Virtualized Infrastructure Manager (VIM)</a:t>
            </a:r>
            <a:r>
              <a:rPr lang="en-US" sz="1000" dirty="0"/>
              <a:t> performs resource management concerning compute, storage and networking dedicated to the NFVI by allocating VMs.</a:t>
            </a:r>
          </a:p>
          <a:p>
            <a:pPr marL="175805" indent="-175805">
              <a:buFont typeface="Arial" panose="020B0604020202020204" pitchFamily="34" charset="0"/>
              <a:buChar char="•"/>
            </a:pPr>
            <a:r>
              <a:rPr lang="en-US" sz="1000" b="1" dirty="0"/>
              <a:t>NFV Orchestrator (NFVO)</a:t>
            </a:r>
            <a:r>
              <a:rPr lang="en-US" sz="1000" dirty="0"/>
              <a:t> orchestrates network services across multiple VIMs</a:t>
            </a:r>
          </a:p>
          <a:p>
            <a:pPr marL="175805" indent="-175805">
              <a:buFont typeface="Arial" panose="020B0604020202020204" pitchFamily="34" charset="0"/>
              <a:buChar char="•"/>
            </a:pPr>
            <a:r>
              <a:rPr lang="en-US" sz="1000" b="1" dirty="0"/>
              <a:t>VNF Manager</a:t>
            </a:r>
            <a:r>
              <a:rPr lang="en-US" sz="1000" dirty="0"/>
              <a:t>, responsible for VNF lifecycle management. Multiple VNF managers can be deployed.</a:t>
            </a:r>
          </a:p>
          <a:p>
            <a:pPr marL="175805" indent="-175805">
              <a:buFont typeface="Arial" panose="020B0604020202020204" pitchFamily="34" charset="0"/>
              <a:buChar char="•"/>
            </a:pPr>
            <a:endParaRPr lang="en-US" sz="1000" dirty="0"/>
          </a:p>
          <a:p>
            <a:pPr marL="175805" indent="-175805">
              <a:buFont typeface="Arial" panose="020B0604020202020204" pitchFamily="34" charset="0"/>
              <a:buChar char="•"/>
            </a:pPr>
            <a:endParaRPr lang="en-US" sz="1000" dirty="0"/>
          </a:p>
          <a:p>
            <a:endParaRPr lang="en-US" sz="1000" dirty="0"/>
          </a:p>
        </p:txBody>
      </p:sp>
      <p:sp>
        <p:nvSpPr>
          <p:cNvPr id="4" name="Slide Number Placeholder 3"/>
          <p:cNvSpPr>
            <a:spLocks noGrp="1"/>
          </p:cNvSpPr>
          <p:nvPr>
            <p:ph type="sldNum" sz="quarter" idx="10"/>
          </p:nvPr>
        </p:nvSpPr>
        <p:spPr/>
        <p:txBody>
          <a:bodyPr/>
          <a:lstStyle/>
          <a:p>
            <a:fld id="{EE3915AA-FA5A-4075-8D5B-53ACBDBAFBCB}" type="slidenum">
              <a:rPr lang="en-US" smtClean="0"/>
              <a:t>16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45488642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0700" y="842963"/>
            <a:ext cx="6227763" cy="3503612"/>
          </a:xfrm>
        </p:spPr>
      </p:sp>
      <p:sp>
        <p:nvSpPr>
          <p:cNvPr id="3" name="Notes Placeholder 2"/>
          <p:cNvSpPr>
            <a:spLocks noGrp="1"/>
          </p:cNvSpPr>
          <p:nvPr>
            <p:ph type="body" idx="1"/>
          </p:nvPr>
        </p:nvSpPr>
        <p:spPr/>
        <p:txBody>
          <a:bodyPr/>
          <a:lstStyle/>
          <a:p>
            <a:r>
              <a:rPr lang="en-US" sz="1000" dirty="0"/>
              <a:t>The relation between the ETSI NFV reference architecture and the Ericsson full cloud stack offering is shown in the figure.</a:t>
            </a:r>
          </a:p>
          <a:p>
            <a:pPr marL="175805" indent="-175805">
              <a:buFont typeface="Arial" panose="020B0604020202020204" pitchFamily="34" charset="0"/>
              <a:buChar char="•"/>
            </a:pPr>
            <a:r>
              <a:rPr lang="en-US" sz="1000" b="1" dirty="0"/>
              <a:t>Ericsson Network Manager (ENM) </a:t>
            </a:r>
            <a:r>
              <a:rPr lang="en-US" sz="1000" dirty="0"/>
              <a:t>offers the ETSI/NFV OSS/BSS and Element Management (EM) functionality. ENM can also act as the VNF Life Cycle Manager (LCM) </a:t>
            </a:r>
          </a:p>
          <a:p>
            <a:pPr marL="175805" indent="-175805">
              <a:buFont typeface="Arial" panose="020B0604020202020204" pitchFamily="34" charset="0"/>
              <a:buChar char="•"/>
            </a:pPr>
            <a:r>
              <a:rPr lang="en-US" sz="1000" b="1" dirty="0"/>
              <a:t>Ericsson Cloud Manager (ECM)</a:t>
            </a:r>
            <a:r>
              <a:rPr lang="en-US" sz="1000" dirty="0"/>
              <a:t> offers the ETSI/NFV Orchestrator and VNF Manager(s) functionality (MANO)</a:t>
            </a:r>
          </a:p>
          <a:p>
            <a:pPr marL="175805" indent="-175805">
              <a:buFont typeface="Arial" panose="020B0604020202020204" pitchFamily="34" charset="0"/>
              <a:buChar char="•"/>
            </a:pPr>
            <a:r>
              <a:rPr lang="en-US" sz="1000" b="1" dirty="0"/>
              <a:t>Ericsson Cloud Execution Environment (CEE)</a:t>
            </a:r>
            <a:r>
              <a:rPr lang="en-US" sz="1000" dirty="0"/>
              <a:t> offers the ETSI/NFV Infrastructure (NFVI) and Virtualized Infrastructure Manager (VIM) functionality</a:t>
            </a:r>
          </a:p>
          <a:p>
            <a:pPr marL="175805" indent="-175805">
              <a:buFont typeface="Arial" panose="020B0604020202020204" pitchFamily="34" charset="0"/>
              <a:buChar char="•"/>
            </a:pPr>
            <a:r>
              <a:rPr lang="en-US" sz="1000" b="1" dirty="0"/>
              <a:t>ATLAS </a:t>
            </a:r>
            <a:r>
              <a:rPr lang="en-US" altLang="en-US" sz="1000" dirty="0">
                <a:cs typeface="Times New Roman" panose="02020603050405020304" pitchFamily="18" charset="0"/>
              </a:rPr>
              <a:t>is a set of management tools for the Cloud Execution Environment (CEE). It provides the management interfaces, Command-Line Interface (CLI), and Graphical User Interface (GUI), for managing the virtual infrastructure.</a:t>
            </a:r>
            <a:endParaRPr lang="en-US" sz="1000" b="1" dirty="0"/>
          </a:p>
          <a:p>
            <a:endParaRPr lang="en-US" sz="1000" dirty="0"/>
          </a:p>
        </p:txBody>
      </p:sp>
      <p:sp>
        <p:nvSpPr>
          <p:cNvPr id="4" name="Slide Number Placeholder 3"/>
          <p:cNvSpPr>
            <a:spLocks noGrp="1"/>
          </p:cNvSpPr>
          <p:nvPr>
            <p:ph type="sldNum" sz="quarter" idx="10"/>
          </p:nvPr>
        </p:nvSpPr>
        <p:spPr/>
        <p:txBody>
          <a:bodyPr/>
          <a:lstStyle/>
          <a:p>
            <a:fld id="{75CF4048-97AD-4D57-AEB0-6EED5864A3C7}" type="slidenum">
              <a:rPr lang="en-US" smtClean="0"/>
              <a:t>16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7973638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2613" y="842963"/>
            <a:ext cx="6229350" cy="3503612"/>
          </a:xfrm>
        </p:spPr>
      </p:sp>
      <p:sp>
        <p:nvSpPr>
          <p:cNvPr id="3" name="Notes Placeholder 2"/>
          <p:cNvSpPr>
            <a:spLocks noGrp="1"/>
          </p:cNvSpPr>
          <p:nvPr>
            <p:ph type="body" idx="1"/>
          </p:nvPr>
        </p:nvSpPr>
        <p:spPr/>
        <p:txBody>
          <a:bodyPr/>
          <a:lstStyle/>
          <a:p>
            <a:r>
              <a:rPr lang="en-US" sz="1000" dirty="0"/>
              <a:t>The Ericsson small cloud stack does not include the Ericsson Cloud Manager (ECM).</a:t>
            </a:r>
          </a:p>
        </p:txBody>
      </p:sp>
      <p:sp>
        <p:nvSpPr>
          <p:cNvPr id="4" name="Slide Number Placeholder 3"/>
          <p:cNvSpPr>
            <a:spLocks noGrp="1"/>
          </p:cNvSpPr>
          <p:nvPr>
            <p:ph type="sldNum" sz="quarter" idx="10"/>
          </p:nvPr>
        </p:nvSpPr>
        <p:spPr/>
        <p:txBody>
          <a:bodyPr/>
          <a:lstStyle/>
          <a:p>
            <a:fld id="{DD055106-1F07-4000-89F0-5D43CA4FD4FC}" type="slidenum">
              <a:rPr lang="en-US" smtClean="0"/>
              <a:t>16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54973517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2613" y="842963"/>
            <a:ext cx="6229350" cy="3503612"/>
          </a:xfrm>
        </p:spPr>
      </p:sp>
      <p:sp>
        <p:nvSpPr>
          <p:cNvPr id="3" name="Notes Placeholder 2"/>
          <p:cNvSpPr>
            <a:spLocks noGrp="1"/>
          </p:cNvSpPr>
          <p:nvPr>
            <p:ph type="body" idx="1"/>
          </p:nvPr>
        </p:nvSpPr>
        <p:spPr/>
        <p:txBody>
          <a:bodyPr/>
          <a:lstStyle/>
          <a:p>
            <a:r>
              <a:rPr lang="en-US" sz="1000" dirty="0"/>
              <a:t>Ericsson VNFs and can also be deployed on third party providers (3PP) cloud stack based on OpenStack. ENM is used to offer the OSS/BSS and Element Management (EM) functionality also in this case. </a:t>
            </a:r>
          </a:p>
          <a:p>
            <a:r>
              <a:rPr lang="en-US" sz="1000" dirty="0"/>
              <a:t>System Integration (SI) work is required to integrate the VNF-LCM with a 3PP NFVO.</a:t>
            </a:r>
          </a:p>
        </p:txBody>
      </p:sp>
      <p:sp>
        <p:nvSpPr>
          <p:cNvPr id="4" name="Slide Number Placeholder 3"/>
          <p:cNvSpPr>
            <a:spLocks noGrp="1"/>
          </p:cNvSpPr>
          <p:nvPr>
            <p:ph type="sldNum" sz="quarter" idx="10"/>
          </p:nvPr>
        </p:nvSpPr>
        <p:spPr/>
        <p:txBody>
          <a:bodyPr/>
          <a:lstStyle/>
          <a:p>
            <a:fld id="{3336DAC3-B375-4011-B04F-65D7AC61D9E1}" type="slidenum">
              <a:rPr lang="en-US" smtClean="0"/>
              <a:t>16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12882764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t>Ericsson VNFs and ENM also supports the VMware based cloud stack which includes the VMware </a:t>
            </a:r>
            <a:r>
              <a:rPr lang="en-US" sz="1000" dirty="0" err="1"/>
              <a:t>vCloud</a:t>
            </a:r>
            <a:r>
              <a:rPr lang="en-US" sz="1000" dirty="0"/>
              <a:t> and vSphere VIM products. </a:t>
            </a:r>
          </a:p>
          <a:p>
            <a:endParaRPr lang="en-US" sz="1000" dirty="0"/>
          </a:p>
        </p:txBody>
      </p:sp>
      <p:sp>
        <p:nvSpPr>
          <p:cNvPr id="4" name="Slide Number Placeholder 3"/>
          <p:cNvSpPr>
            <a:spLocks noGrp="1"/>
          </p:cNvSpPr>
          <p:nvPr>
            <p:ph type="sldNum" sz="quarter" idx="10"/>
          </p:nvPr>
        </p:nvSpPr>
        <p:spPr/>
        <p:txBody>
          <a:bodyPr/>
          <a:lstStyle/>
          <a:p>
            <a:fld id="{D356CF9D-A7F4-4DDD-8521-078CC3E21001}" type="slidenum">
              <a:rPr lang="en-US" smtClean="0"/>
              <a:t>16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28839831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t>The figure shows the main steps for how to onboard, instantiate, configure and put a new IMS VNF in traffic.</a:t>
            </a:r>
          </a:p>
          <a:p>
            <a:pPr marL="234406" indent="-234406">
              <a:buFont typeface="+mj-lt"/>
              <a:buAutoNum type="arabicPeriod"/>
            </a:pPr>
            <a:r>
              <a:rPr lang="en-US" sz="1000" dirty="0"/>
              <a:t>A request for onboarding new VNF is sent from ENM to the Cloud Manager. In the cloud manager there is an already loaded OVA (Open Virtualization Archive) package which includes an OVF descriptor file and SW image. The OVF </a:t>
            </a:r>
            <a:r>
              <a:rPr lang="en-US" altLang="sv-SE" sz="1000" dirty="0"/>
              <a:t>The OVF descriptor is an XML file which describes the packaged virtual machine; it contains the metadata for the OVF package, such as name, hardware requirements, references to the other files in the OVF package and human-readable descriptions.</a:t>
            </a:r>
          </a:p>
          <a:p>
            <a:pPr marL="234406" indent="-234406">
              <a:buFont typeface="+mj-lt"/>
              <a:buAutoNum type="arabicPeriod"/>
            </a:pPr>
            <a:r>
              <a:rPr lang="en-US" sz="1000" dirty="0"/>
              <a:t>An instantiation request is sent from the Cloud Manager to the VIM in order to  create a new VM.</a:t>
            </a:r>
          </a:p>
          <a:p>
            <a:pPr marL="234406" indent="-234406">
              <a:buFont typeface="+mj-lt"/>
              <a:buAutoNum type="arabicPeriod"/>
            </a:pPr>
            <a:r>
              <a:rPr lang="en-US" sz="1000" dirty="0"/>
              <a:t>The new VNF instance is added to the OSS model in order to perform configuration management, fault management and performance management.</a:t>
            </a:r>
          </a:p>
          <a:p>
            <a:pPr marL="234406" indent="-234406">
              <a:buFont typeface="+mj-lt"/>
              <a:buAutoNum type="arabicPeriod"/>
            </a:pPr>
            <a:r>
              <a:rPr lang="en-US" sz="1000" dirty="0"/>
              <a:t>The VNF Element Manager (EM) is used to configure the new VNF.</a:t>
            </a:r>
          </a:p>
          <a:p>
            <a:pPr marL="234406" indent="-234406">
              <a:buFont typeface="+mj-lt"/>
              <a:buAutoNum type="arabicPeriod"/>
            </a:pPr>
            <a:r>
              <a:rPr lang="en-US" sz="1000" dirty="0"/>
              <a:t>The new VNF is validated and put into traffic.</a:t>
            </a:r>
          </a:p>
          <a:p>
            <a:r>
              <a:rPr lang="en-US" sz="1000" dirty="0"/>
              <a:t>  </a:t>
            </a:r>
          </a:p>
          <a:p>
            <a:endParaRPr lang="en-US" sz="1000" dirty="0"/>
          </a:p>
        </p:txBody>
      </p:sp>
      <p:sp>
        <p:nvSpPr>
          <p:cNvPr id="4" name="Slide Number Placeholder 3"/>
          <p:cNvSpPr>
            <a:spLocks noGrp="1"/>
          </p:cNvSpPr>
          <p:nvPr>
            <p:ph type="sldNum" sz="quarter" idx="10"/>
          </p:nvPr>
        </p:nvSpPr>
        <p:spPr/>
        <p:txBody>
          <a:bodyPr/>
          <a:lstStyle/>
          <a:p>
            <a:fld id="{068080D6-96BF-464C-98B1-E6E4041D5B10}" type="slidenum">
              <a:rPr lang="en-US" smtClean="0"/>
              <a:t>16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20894606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47663" y="747713"/>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A8C6F685-BC74-440E-AECA-60EA3174BE91}" type="slidenum">
              <a:rPr lang="en-US" smtClean="0"/>
              <a:t>166</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186548611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E6B883CD-0778-47A7-8726-9287CAE0FFA1}" type="slidenum">
              <a:rPr lang="en-US" smtClean="0"/>
              <a:t>16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82500067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re are different deployment options discussed in 3GPP and are subject to ongoing standardization work.  </a:t>
            </a:r>
          </a:p>
          <a:p>
            <a:r>
              <a:rPr lang="en-US" sz="1000" dirty="0">
                <a:cs typeface="Times New Roman" panose="02020603050405020304" pitchFamily="18" charset="0"/>
              </a:rPr>
              <a:t>The figure shows an overview of the scenarios covered by the SA2 normative work in 3GPP.</a:t>
            </a:r>
          </a:p>
          <a:p>
            <a:pPr marL="175805" indent="-175805">
              <a:buFont typeface="Arial" panose="020B0604020202020204" pitchFamily="34" charset="0"/>
              <a:buChar char="•"/>
            </a:pPr>
            <a:r>
              <a:rPr lang="en-US" sz="1000" dirty="0">
                <a:cs typeface="Times New Roman" panose="02020603050405020304" pitchFamily="18" charset="0"/>
              </a:rPr>
              <a:t>Option 2: standalone NR to 5GC. </a:t>
            </a:r>
          </a:p>
          <a:p>
            <a:pPr marL="175805" indent="-175805">
              <a:buFont typeface="Arial" panose="020B0604020202020204" pitchFamily="34" charset="0"/>
              <a:buChar char="•"/>
            </a:pPr>
            <a:r>
              <a:rPr lang="en-US" sz="1000" dirty="0">
                <a:cs typeface="Times New Roman" panose="02020603050405020304" pitchFamily="18" charset="0"/>
              </a:rPr>
              <a:t>Option 4: “NR-Assisted” NR and LTE with NAS over NR to 5GC, i.e. the UE registers via NR to 5GC, but both NR and LTE can be used for User Plane (dual-connectivity). </a:t>
            </a:r>
          </a:p>
          <a:p>
            <a:pPr marL="175805" indent="-175805">
              <a:buFont typeface="Arial" panose="020B0604020202020204" pitchFamily="34" charset="0"/>
              <a:buChar char="•"/>
            </a:pPr>
            <a:r>
              <a:rPr lang="en-US" sz="1000" dirty="0">
                <a:cs typeface="Times New Roman" panose="02020603050405020304" pitchFamily="18" charset="0"/>
              </a:rPr>
              <a:t>Option 5: standalone LTE connected to 5GC.</a:t>
            </a:r>
          </a:p>
          <a:p>
            <a:pPr marL="175805" indent="-175805">
              <a:buFont typeface="Arial" panose="020B0604020202020204" pitchFamily="34" charset="0"/>
              <a:buChar char="•"/>
            </a:pPr>
            <a:r>
              <a:rPr lang="en-US" sz="1000" dirty="0">
                <a:cs typeface="Times New Roman" panose="02020603050405020304" pitchFamily="18" charset="0"/>
              </a:rPr>
              <a:t>Option 7: “LTE assisted”, NR and LTE with NAS over LTE to 5GC, . i.e. the UE registers via LTE to 5GC, i.e. the UE registers via NR to 5GC, but both NR and LTE can be used for User Plane (dual-connectivity). </a:t>
            </a:r>
          </a:p>
          <a:p>
            <a:pPr lvl="0">
              <a:defRPr/>
            </a:pPr>
            <a:r>
              <a:rPr lang="en-US" sz="1000" dirty="0"/>
              <a:t>5G EPC scenario (covered by work in RAN2/3 and </a:t>
            </a:r>
            <a:r>
              <a:rPr lang="fr-FR" sz="1000" dirty="0"/>
              <a:t>SA2 WID on EPC </a:t>
            </a:r>
            <a:r>
              <a:rPr lang="fr-FR" sz="1000" dirty="0" err="1"/>
              <a:t>enhancements</a:t>
            </a:r>
            <a:r>
              <a:rPr lang="fr-FR" sz="1000" dirty="0"/>
              <a:t>):</a:t>
            </a:r>
            <a:endParaRPr lang="en-US" sz="1000" dirty="0">
              <a:cs typeface="Times New Roman" panose="02020603050405020304" pitchFamily="18" charset="0"/>
            </a:endParaRPr>
          </a:p>
          <a:p>
            <a:pPr marL="175805" indent="-175805">
              <a:buFont typeface="Arial" panose="020B0604020202020204" pitchFamily="34" charset="0"/>
              <a:buChar char="•"/>
              <a:defRPr/>
            </a:pPr>
            <a:r>
              <a:rPr lang="en-US" sz="1000" dirty="0">
                <a:cs typeface="Times New Roman" panose="02020603050405020304" pitchFamily="18" charset="0"/>
              </a:rPr>
              <a:t>Option 3: “LTE assisted”, NR and LTE with NAS over LTE to 5G enabled EPC,  i.e. the UE registers via LTE to EPC, but both NR and LTE can be used for User Plane (dual-connectivity). </a:t>
            </a:r>
          </a:p>
          <a:p>
            <a:r>
              <a:rPr lang="en-US" sz="1000" dirty="0">
                <a:cs typeface="Times New Roman" panose="02020603050405020304" pitchFamily="18" charset="0"/>
              </a:rPr>
              <a:t>Note: Option 1 is “legacy” LTE connected to EPC and Option 6 is not in the scope (NAS over NR to EPC).</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defTabSz="937626">
              <a:defRPr/>
            </a:pPr>
            <a:fld id="{2821F605-7072-4C83-84CB-440966368178}" type="slidenum">
              <a:rPr lang="en-US">
                <a:solidFill>
                  <a:srgbClr val="000000"/>
                </a:solidFill>
              </a:rPr>
              <a:pPr defTabSz="937626">
                <a:defRPr/>
              </a:pPr>
              <a:t>168</a:t>
            </a:fld>
            <a:endParaRPr lang="en-US" dirty="0">
              <a:solidFill>
                <a:srgbClr val="000000"/>
              </a:solidFill>
            </a:endParaRPr>
          </a:p>
        </p:txBody>
      </p:sp>
      <p:sp>
        <p:nvSpPr>
          <p:cNvPr id="5" name="Header Placeholder 4"/>
          <p:cNvSpPr>
            <a:spLocks noGrp="1"/>
          </p:cNvSpPr>
          <p:nvPr>
            <p:ph type="hdr" sz="quarter" idx="11"/>
          </p:nvPr>
        </p:nvSpPr>
        <p:spPr/>
        <p:txBody>
          <a:bodyPr/>
          <a:lstStyle/>
          <a:p>
            <a:pPr defTabSz="937626">
              <a:defRPr/>
            </a:pPr>
            <a:r>
              <a:rPr lang="en-US">
                <a:solidFill>
                  <a:srgbClr val="000000"/>
                </a:solidFill>
              </a:rPr>
              <a:t>5G Core Concepts</a:t>
            </a:r>
            <a:endParaRPr lang="en-US" dirty="0">
              <a:solidFill>
                <a:srgbClr val="000000"/>
              </a:solidFill>
            </a:endParaRPr>
          </a:p>
        </p:txBody>
      </p:sp>
      <p:sp>
        <p:nvSpPr>
          <p:cNvPr id="6" name="Footer Placeholder 5"/>
          <p:cNvSpPr>
            <a:spLocks noGrp="1"/>
          </p:cNvSpPr>
          <p:nvPr>
            <p:ph type="ftr" sz="quarter" idx="12"/>
          </p:nvPr>
        </p:nvSpPr>
        <p:spPr/>
        <p:txBody>
          <a:bodyPr/>
          <a:lstStyle/>
          <a:p>
            <a:pPr defTabSz="937626">
              <a:defRPr/>
            </a:pPr>
            <a:r>
              <a:rPr lang="de-DE">
                <a:solidFill>
                  <a:srgbClr val="000000"/>
                </a:solidFill>
              </a:rPr>
              <a:t>© Ericsson AB 2017  |  LZU1421223 PA2</a:t>
            </a:r>
            <a:endParaRPr lang="en-US" dirty="0">
              <a:solidFill>
                <a:srgbClr val="000000"/>
              </a:solidFill>
            </a:endParaRPr>
          </a:p>
        </p:txBody>
      </p:sp>
      <p:sp>
        <p:nvSpPr>
          <p:cNvPr id="7" name="Date Placeholder 6"/>
          <p:cNvSpPr>
            <a:spLocks noGrp="1"/>
          </p:cNvSpPr>
          <p:nvPr>
            <p:ph type="dt" idx="1"/>
          </p:nvPr>
        </p:nvSpPr>
        <p:spPr/>
        <p:txBody>
          <a:bodyPr/>
          <a:lstStyle/>
          <a:p>
            <a:pPr defTabSz="937626">
              <a:defRPr/>
            </a:pPr>
            <a:r>
              <a:rPr lang="en-US">
                <a:solidFill>
                  <a:srgbClr val="000000"/>
                </a:solidFill>
              </a:rPr>
              <a:t> </a:t>
            </a:r>
          </a:p>
        </p:txBody>
      </p:sp>
    </p:spTree>
    <p:extLst>
      <p:ext uri="{BB962C8B-B14F-4D97-AF65-F5344CB8AC3E}">
        <p14:creationId xmlns:p14="http://schemas.microsoft.com/office/powerpoint/2010/main" val="89575394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In option 3 (3x), NR is a non-standalone access connected to LTE, and the UE may use LTE+NR and EPC for communication services</a:t>
            </a:r>
            <a:r>
              <a:rPr lang="en-US" sz="1000" b="1" dirty="0">
                <a:cs typeface="Times New Roman" panose="02020603050405020304" pitchFamily="18" charset="0"/>
              </a:rPr>
              <a:t>. </a:t>
            </a:r>
            <a:r>
              <a:rPr lang="en-US" sz="1000" dirty="0">
                <a:cs typeface="Times New Roman" panose="02020603050405020304" pitchFamily="18" charset="0"/>
              </a:rPr>
              <a:t>The radio resource control (RRC) in the </a:t>
            </a:r>
            <a:r>
              <a:rPr lang="en-US" sz="1000" dirty="0" err="1">
                <a:cs typeface="Times New Roman" panose="02020603050405020304" pitchFamily="18" charset="0"/>
              </a:rPr>
              <a:t>eNB</a:t>
            </a:r>
            <a:r>
              <a:rPr lang="en-US" sz="1000" dirty="0">
                <a:cs typeface="Times New Roman" panose="02020603050405020304" pitchFamily="18" charset="0"/>
              </a:rPr>
              <a:t> controls which user plane traffic (SIP and/or media) is on LTE and on NR, respectively.</a:t>
            </a:r>
          </a:p>
          <a:p>
            <a:pPr marL="175805" indent="-175805">
              <a:buFont typeface="Arial" panose="020B0604020202020204" pitchFamily="34" charset="0"/>
              <a:buChar char="•"/>
              <a:defRPr/>
            </a:pPr>
            <a:r>
              <a:rPr lang="en-US" sz="1000" dirty="0">
                <a:cs typeface="Times New Roman" panose="02020603050405020304" pitchFamily="18" charset="0"/>
              </a:rPr>
              <a:t>NR is initially used only for QCI=6-9, i.e. IMS signaling (QCI=5) and voice media (QCI=1) remains on LTE. Video media on QCI=2 remains on LTE, while video media on QCI=6-8 may be on NR.</a:t>
            </a:r>
          </a:p>
          <a:p>
            <a:pPr marL="175805" indent="-175805">
              <a:buFont typeface="Arial" panose="020B0604020202020204" pitchFamily="34" charset="0"/>
              <a:buChar char="•"/>
            </a:pPr>
            <a:r>
              <a:rPr lang="en-US" sz="1000" dirty="0">
                <a:cs typeface="Times New Roman" panose="02020603050405020304" pitchFamily="18" charset="0"/>
              </a:rPr>
              <a:t>There are only small impacts expected on 5G EPC, only adaption to support 5G characteristics and capabilities</a:t>
            </a:r>
          </a:p>
          <a:p>
            <a:pPr marL="175805" indent="-175805">
              <a:buFont typeface="Arial" panose="020B0604020202020204" pitchFamily="34" charset="0"/>
              <a:buChar char="•"/>
            </a:pPr>
            <a:r>
              <a:rPr lang="en-US" sz="1000" dirty="0">
                <a:cs typeface="Times New Roman" panose="02020603050405020304" pitchFamily="18" charset="0"/>
              </a:rPr>
              <a:t>There is no IMS impact.</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A9B578F-A9D7-455D-B3A2-DB0DF6FD6EA6}" type="slidenum">
              <a:rPr lang="en-US" smtClean="0"/>
              <a:t>16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33892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8800" y="842963"/>
            <a:ext cx="6227763" cy="3503612"/>
          </a:xfrm>
        </p:spPr>
      </p:sp>
      <p:sp>
        <p:nvSpPr>
          <p:cNvPr id="3" name="Notes Placeholder 2"/>
          <p:cNvSpPr>
            <a:spLocks noGrp="1"/>
          </p:cNvSpPr>
          <p:nvPr>
            <p:ph type="body" idx="1"/>
          </p:nvPr>
        </p:nvSpPr>
        <p:spPr/>
        <p:txBody>
          <a:bodyPr/>
          <a:lstStyle/>
          <a:p>
            <a:r>
              <a:rPr lang="en-US" sz="1000" dirty="0"/>
              <a:t>Ericsson already have products in the key areas of the 5G Core system as shown in the figure.</a:t>
            </a:r>
          </a:p>
          <a:p>
            <a:endParaRPr lang="en-US" sz="1000" dirty="0"/>
          </a:p>
        </p:txBody>
      </p:sp>
      <p:sp>
        <p:nvSpPr>
          <p:cNvPr id="4" name="Slide Number Placeholder 3"/>
          <p:cNvSpPr>
            <a:spLocks noGrp="1"/>
          </p:cNvSpPr>
          <p:nvPr>
            <p:ph type="sldNum" sz="quarter" idx="10"/>
          </p:nvPr>
        </p:nvSpPr>
        <p:spPr/>
        <p:txBody>
          <a:bodyPr/>
          <a:lstStyle/>
          <a:p>
            <a:fld id="{AC077F78-1582-40BA-85E5-F17DFED92792}" type="slidenum">
              <a:rPr lang="en-US" smtClean="0"/>
              <a:t>1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9053183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is slide is focused on Option 3x, where S1-U is between S-GW and </a:t>
            </a:r>
            <a:r>
              <a:rPr lang="en-US" sz="1000" dirty="0" err="1">
                <a:cs typeface="Times New Roman" panose="02020603050405020304" pitchFamily="18" charset="0"/>
              </a:rPr>
              <a:t>gNB</a:t>
            </a:r>
            <a:r>
              <a:rPr lang="en-US" sz="1000" dirty="0">
                <a:cs typeface="Times New Roman" panose="02020603050405020304" pitchFamily="18" charset="0"/>
              </a:rPr>
              <a:t> (NR). For simplicity, UL/DL is shown to be on one RAT only. Work on 3x is in progress in 3GPP. </a:t>
            </a:r>
          </a:p>
          <a:p>
            <a:r>
              <a:rPr lang="en-US" sz="1000" dirty="0">
                <a:cs typeface="Times New Roman" panose="02020603050405020304" pitchFamily="18" charset="0"/>
              </a:rPr>
              <a:t>For the case that “other traffic” RRC could decide to use LTE only, NR only or both LTE and NR as depicted in the figure.</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A156B8CD-3AC2-438A-AE43-9F5E50FD728C}" type="slidenum">
              <a:rPr lang="en-US" smtClean="0"/>
              <a:t>17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18247444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5300" y="858838"/>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In scenarios with spotty NR coverage, due to deployment on a high frequency or due to limited build-up, the voice and video will initially be delivered over the LTE RAT, having larger coverage which simplifies mobility handling. Procedures for SRVCC, CS Fallback and SMS over NAS (Network Access Stratum) can be reused.</a:t>
            </a:r>
          </a:p>
          <a:p>
            <a:r>
              <a:rPr lang="en-US" sz="1000" dirty="0">
                <a:cs typeface="Times New Roman" panose="02020603050405020304" pitchFamily="18" charset="0"/>
              </a:rPr>
              <a:t>The bearer used for voice media is QCI=1, and the presence of this bearer is input for the decision by the RAN whether to initiate SRVCC.</a:t>
            </a:r>
            <a:endParaRPr lang="en-US" sz="1000" b="1"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CA5E331-3FC6-4542-8A7B-77EAF379C176}" type="slidenum">
              <a:rPr lang="en-US" smtClean="0"/>
              <a:t>17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37381774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NR and/or LTE are provided as a standalone radio accesses to 5G Core (5GC). This implies support of emergency call &amp; regulatory requirements on 5GC &amp; RAN, and there is no need for CS interworking if LTE + NR have full coverage.</a:t>
            </a:r>
          </a:p>
          <a:p>
            <a:r>
              <a:rPr lang="en-US" sz="1000" dirty="0">
                <a:cs typeface="Times New Roman" panose="02020603050405020304" pitchFamily="18" charset="0"/>
              </a:rPr>
              <a:t>Both LTE and NR are connected to new 5G core (5GC) network as standalone accesses (option 2 and 5) and hence the UE can attach to either NR and LTE. If LTE is a standalone access, then NR can also be used as non-standalone access, and vice versa (options 4 and 7). However, not all options must be supported by a single deployment, and the options can be introduced stepwise.</a:t>
            </a:r>
          </a:p>
          <a:p>
            <a:r>
              <a:rPr lang="en-US" sz="1000" dirty="0">
                <a:cs typeface="Times New Roman" panose="02020603050405020304" pitchFamily="18" charset="0"/>
              </a:rPr>
              <a:t>IMS support requirements on the 5GC:</a:t>
            </a:r>
          </a:p>
          <a:p>
            <a:pPr marL="175805" indent="-175805">
              <a:buFont typeface="Arial" panose="020B0604020202020204" pitchFamily="34" charset="0"/>
              <a:buChar char="•"/>
            </a:pPr>
            <a:r>
              <a:rPr lang="en-GB" sz="1000" dirty="0"/>
              <a:t>The UE shall establish a PDU session with PDU session type set to IP for the corresponding APN/DNN.</a:t>
            </a:r>
          </a:p>
          <a:p>
            <a:pPr marL="175805" indent="-175805">
              <a:buFont typeface="Arial" panose="020B0604020202020204" pitchFamily="34" charset="0"/>
              <a:buChar char="•"/>
            </a:pPr>
            <a:r>
              <a:rPr lang="en-GB" sz="1000" dirty="0"/>
              <a:t>SSC mode 1 shall be set for the PDU session.</a:t>
            </a:r>
          </a:p>
          <a:p>
            <a:pPr marL="175805" indent="-175805">
              <a:buFont typeface="Arial" panose="020B0604020202020204" pitchFamily="34" charset="0"/>
              <a:buChar char="•"/>
            </a:pPr>
            <a:r>
              <a:rPr lang="en-GB" sz="1000" dirty="0"/>
              <a:t>P‑CSCF discovery shall take place during the PDU session establishment procedure.</a:t>
            </a:r>
          </a:p>
          <a:p>
            <a:pPr marL="175805" indent="-175805">
              <a:buFont typeface="Arial" panose="020B0604020202020204" pitchFamily="34" charset="0"/>
              <a:buChar char="•"/>
            </a:pPr>
            <a:r>
              <a:rPr lang="en-GB" sz="1000" dirty="0"/>
              <a:t>It shall be possible to establish at least one </a:t>
            </a:r>
            <a:r>
              <a:rPr lang="en-GB" sz="1000" dirty="0" err="1"/>
              <a:t>QoS</a:t>
            </a:r>
            <a:r>
              <a:rPr lang="en-GB" sz="1000" dirty="0"/>
              <a:t> flow identified by a QFI for IMS signalling.</a:t>
            </a:r>
          </a:p>
          <a:p>
            <a:pPr marL="175805" indent="-175805">
              <a:buFont typeface="Arial" panose="020B0604020202020204" pitchFamily="34" charset="0"/>
              <a:buChar char="•"/>
            </a:pPr>
            <a:r>
              <a:rPr lang="en-GB" sz="1000" dirty="0"/>
              <a:t>All associated media flows (such as e.g. RTP / RTCP flows) used by the UE to support a single media component are assumed to be carried within the same 5GS </a:t>
            </a:r>
            <a:r>
              <a:rPr lang="en-GB" sz="1000" dirty="0" err="1"/>
              <a:t>QoS</a:t>
            </a:r>
            <a:r>
              <a:rPr lang="en-GB" sz="1000" dirty="0"/>
              <a:t> flow.</a:t>
            </a:r>
          </a:p>
          <a:p>
            <a:pPr marL="175805" indent="-175805">
              <a:buFont typeface="Arial" panose="020B0604020202020204" pitchFamily="34" charset="0"/>
              <a:buChar char="•"/>
            </a:pPr>
            <a:r>
              <a:rPr lang="en-US" sz="1000" dirty="0">
                <a:cs typeface="Times New Roman" panose="02020603050405020304" pitchFamily="18" charset="0"/>
              </a:rPr>
              <a:t>IMS need to have an interface (N5) to policy control in 5GC (not depicted here).</a:t>
            </a:r>
          </a:p>
          <a:p>
            <a:endParaRPr lang="en-US" sz="1000" dirty="0">
              <a:cs typeface="Times New Roman" panose="02020603050405020304" pitchFamily="18" charset="0"/>
            </a:endParaRPr>
          </a:p>
          <a:p>
            <a:r>
              <a:rPr lang="en-US" sz="1000" dirty="0">
                <a:cs typeface="Times New Roman" panose="02020603050405020304" pitchFamily="18" charset="0"/>
              </a:rPr>
              <a:t>It can be assumed that such deployments of 5GC will be in co-existence with deployments of LTE (with or without NR) and EPC.</a:t>
            </a:r>
          </a:p>
          <a:p>
            <a:endParaRPr 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5A76A2BD-410E-448D-9FB5-B3898B23B5D8}" type="slidenum">
              <a:rPr lang="en-US" smtClean="0"/>
              <a:t>17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68026709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Operators investing in 5G will be in different situations regarding their coverage build-up. The deployment of LTE and NR to full coverage and the migration of all subscribers to IMS voice service reduces the need to interwork with legacy 3GPP accesses. If SRVCC and CSFB are required during the migration to LTE+NR until full coverage, the existing solution using EPC is re-used (assuming SRVCC and CSFB from 5GC are not required). Support for SMS over NAS in 5GC via SMSF.</a:t>
            </a:r>
          </a:p>
          <a:p>
            <a:endParaRPr lang="en-US" sz="1000" dirty="0">
              <a:cs typeface="Times New Roman" panose="02020603050405020304" pitchFamily="18" charset="0"/>
            </a:endParaRPr>
          </a:p>
          <a:p>
            <a:r>
              <a:rPr lang="en-US" sz="1000" dirty="0">
                <a:cs typeface="Times New Roman" panose="02020603050405020304" pitchFamily="18" charset="0"/>
              </a:rPr>
              <a:t>If attaching via LTE to EPC, then MME needs to select PGW or PGW-C/SMF (Session Management Function). If no PGW is left in the network, then all traffic is going via PGW-C/SMF in 5GC.</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390C21B6-3F9E-4F3B-B649-4AA0BF183607}" type="slidenum">
              <a:rPr lang="en-US" smtClean="0"/>
              <a:t>17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8219282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GB" sz="1000" dirty="0">
                <a:cs typeface="Times New Roman" panose="02020603050405020304" pitchFamily="18" charset="0"/>
              </a:rPr>
              <a:t>The table lists the voice and emergency call related functionalities.</a:t>
            </a:r>
          </a:p>
          <a:p>
            <a:r>
              <a:rPr lang="en-GB" sz="1000" dirty="0">
                <a:cs typeface="Times New Roman" panose="02020603050405020304" pitchFamily="18" charset="0"/>
              </a:rPr>
              <a:t>Open aspects:</a:t>
            </a:r>
          </a:p>
          <a:p>
            <a:r>
              <a:rPr lang="en-US" sz="1000" b="1" dirty="0">
                <a:cs typeface="Times New Roman" panose="02020603050405020304" pitchFamily="18" charset="0"/>
              </a:rPr>
              <a:t>Option 3 QCI=1/2 and QCI=5 always on </a:t>
            </a:r>
            <a:r>
              <a:rPr lang="en-US" sz="1000" b="1" dirty="0" err="1">
                <a:cs typeface="Times New Roman" panose="02020603050405020304" pitchFamily="18" charset="0"/>
              </a:rPr>
              <a:t>eNB</a:t>
            </a:r>
            <a:endParaRPr lang="en-US" sz="1000" b="1" dirty="0">
              <a:cs typeface="Times New Roman" panose="02020603050405020304" pitchFamily="18" charset="0"/>
            </a:endParaRPr>
          </a:p>
          <a:p>
            <a:pPr marL="175805" indent="-175805">
              <a:buFont typeface="Arial" panose="020B0604020202020204" pitchFamily="34" charset="0"/>
              <a:buChar char="•"/>
            </a:pPr>
            <a:r>
              <a:rPr lang="en-US" sz="1000" dirty="0"/>
              <a:t>During voice call, have all bearers on LTE to minimize call drop rate due to excessive RRC signaling caused by NR mobility</a:t>
            </a:r>
          </a:p>
          <a:p>
            <a:r>
              <a:rPr lang="en-US" sz="1000" b="1" dirty="0">
                <a:cs typeface="Times New Roman" panose="02020603050405020304" pitchFamily="18" charset="0"/>
              </a:rPr>
              <a:t>Option 3 QCI=1/2 and QCI=5 bearers on NR</a:t>
            </a:r>
          </a:p>
          <a:p>
            <a:pPr marL="175805" indent="-175805">
              <a:buFont typeface="Arial" panose="020B0604020202020204" pitchFamily="34" charset="0"/>
              <a:buChar char="•"/>
            </a:pPr>
            <a:r>
              <a:rPr lang="en-US" sz="1000" dirty="0"/>
              <a:t>Requires </a:t>
            </a:r>
            <a:r>
              <a:rPr lang="en-US" sz="1000" dirty="0" err="1"/>
              <a:t>QoS</a:t>
            </a:r>
            <a:r>
              <a:rPr lang="en-US" sz="1000" dirty="0"/>
              <a:t> support on NR for </a:t>
            </a:r>
            <a:r>
              <a:rPr lang="en-GB" sz="1000" dirty="0"/>
              <a:t>QCI=1/2 and QCI=5</a:t>
            </a:r>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D45448B-EE82-4B3B-8A25-0B366FA4C80B}" type="slidenum">
              <a:rPr lang="en-US" smtClean="0"/>
              <a:t>17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42273084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842963"/>
            <a:ext cx="6229350" cy="3503612"/>
          </a:xfrm>
        </p:spPr>
      </p:sp>
      <p:sp>
        <p:nvSpPr>
          <p:cNvPr id="3" name="Notes Placeholder 2"/>
          <p:cNvSpPr>
            <a:spLocks noGrp="1"/>
          </p:cNvSpPr>
          <p:nvPr>
            <p:ph type="body" idx="1"/>
          </p:nvPr>
        </p:nvSpPr>
        <p:spPr/>
        <p:txBody>
          <a:bodyPr/>
          <a:lstStyle/>
          <a:p>
            <a:pPr lvl="0">
              <a:defRPr/>
            </a:pPr>
            <a:r>
              <a:rPr lang="en-US" sz="1000" dirty="0">
                <a:solidFill>
                  <a:schemeClr val="tx2"/>
                </a:solidFill>
              </a:rPr>
              <a:t>AMF (Core Access and Mobility Management Function) p</a:t>
            </a:r>
            <a:r>
              <a:rPr lang="en-US" sz="1000" dirty="0"/>
              <a:t>rovides transport for SMS messages between the UE and the SMS Function (SMSF).</a:t>
            </a:r>
          </a:p>
          <a:p>
            <a:r>
              <a:rPr lang="en-US" sz="1000" dirty="0"/>
              <a:t>This s</a:t>
            </a:r>
            <a:r>
              <a:rPr lang="en-US" sz="1000" dirty="0">
                <a:solidFill>
                  <a:schemeClr val="tx2"/>
                </a:solidFill>
              </a:rPr>
              <a:t>olution is similar to the </a:t>
            </a:r>
            <a:r>
              <a:rPr lang="en-US" sz="1000" dirty="0" err="1">
                <a:solidFill>
                  <a:schemeClr val="tx2"/>
                </a:solidFill>
              </a:rPr>
              <a:t>SGd</a:t>
            </a:r>
            <a:r>
              <a:rPr lang="en-US" sz="1000" dirty="0">
                <a:solidFill>
                  <a:schemeClr val="tx2"/>
                </a:solidFill>
              </a:rPr>
              <a:t> support in MME and the </a:t>
            </a:r>
            <a:r>
              <a:rPr lang="en-US" sz="1000" dirty="0" err="1">
                <a:solidFill>
                  <a:schemeClr val="tx2"/>
                </a:solidFill>
              </a:rPr>
              <a:t>Gdd</a:t>
            </a:r>
            <a:r>
              <a:rPr lang="en-US" sz="1000" dirty="0">
                <a:solidFill>
                  <a:schemeClr val="tx2"/>
                </a:solidFill>
              </a:rPr>
              <a:t> support in SGSN. </a:t>
            </a:r>
          </a:p>
          <a:p>
            <a:r>
              <a:rPr lang="en-US" sz="1000" dirty="0">
                <a:solidFill>
                  <a:schemeClr val="tx2"/>
                </a:solidFill>
              </a:rPr>
              <a:t>Interfaces:</a:t>
            </a:r>
          </a:p>
          <a:p>
            <a:pPr marL="175805" indent="-175805">
              <a:buFont typeface="Arial" panose="020B0604020202020204" pitchFamily="34" charset="0"/>
              <a:buChar char="•"/>
            </a:pPr>
            <a:r>
              <a:rPr lang="en-US" sz="1000" dirty="0">
                <a:solidFill>
                  <a:schemeClr val="tx2"/>
                </a:solidFill>
              </a:rPr>
              <a:t>N20: AMF – SMSF</a:t>
            </a:r>
          </a:p>
          <a:p>
            <a:pPr marL="175805" indent="-175805">
              <a:buFont typeface="Arial" panose="020B0604020202020204" pitchFamily="34" charset="0"/>
              <a:buChar char="•"/>
            </a:pPr>
            <a:r>
              <a:rPr lang="en-US" sz="1000" dirty="0">
                <a:solidFill>
                  <a:schemeClr val="tx2"/>
                </a:solidFill>
              </a:rPr>
              <a:t>N21: SMSF - UDM</a:t>
            </a:r>
          </a:p>
          <a:p>
            <a:pPr lvl="0">
              <a:defRPr/>
            </a:pPr>
            <a:r>
              <a:rPr lang="en-US" sz="1000" dirty="0">
                <a:solidFill>
                  <a:schemeClr val="tx2"/>
                </a:solidFill>
              </a:rPr>
              <a:t>For the interworking between the  SMS-C and the AMF there is no protocol decision taken yet.</a:t>
            </a:r>
          </a:p>
          <a:p>
            <a:pPr>
              <a:defRPr/>
            </a:pPr>
            <a:r>
              <a:rPr lang="en-US" sz="1000" dirty="0"/>
              <a:t>Interface between SMSF and SMS-C: Can be MAP or DIAMETER (see TS 23.040).</a:t>
            </a:r>
          </a:p>
          <a:p>
            <a:pPr lvl="0">
              <a:defRPr/>
            </a:pPr>
            <a:endParaRPr lang="en-US" sz="1000" dirty="0">
              <a:solidFill>
                <a:schemeClr val="tx2"/>
              </a:solidFill>
            </a:endParaRPr>
          </a:p>
          <a:p>
            <a:endParaRPr lang="en-US" sz="1000" dirty="0"/>
          </a:p>
        </p:txBody>
      </p:sp>
      <p:sp>
        <p:nvSpPr>
          <p:cNvPr id="4" name="Slide Number Placeholder 3"/>
          <p:cNvSpPr>
            <a:spLocks noGrp="1"/>
          </p:cNvSpPr>
          <p:nvPr>
            <p:ph type="sldNum" sz="quarter" idx="10"/>
          </p:nvPr>
        </p:nvSpPr>
        <p:spPr/>
        <p:txBody>
          <a:bodyPr/>
          <a:lstStyle/>
          <a:p>
            <a:fld id="{6FC9E92E-EC65-4608-9B35-41FC50A218B9}" type="slidenum">
              <a:rPr lang="en-US" smtClean="0"/>
              <a:t>17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29424718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842963"/>
            <a:ext cx="6227762" cy="3503612"/>
          </a:xfrm>
        </p:spPr>
      </p:sp>
      <p:sp>
        <p:nvSpPr>
          <p:cNvPr id="3" name="Notes Placeholder 2"/>
          <p:cNvSpPr>
            <a:spLocks noGrp="1"/>
          </p:cNvSpPr>
          <p:nvPr>
            <p:ph type="body" idx="1"/>
          </p:nvPr>
        </p:nvSpPr>
        <p:spPr/>
        <p:txBody>
          <a:bodyPr/>
          <a:lstStyle/>
          <a:p>
            <a:r>
              <a:rPr lang="en-US" altLang="en-US" sz="1000" dirty="0">
                <a:cs typeface="Times New Roman" panose="02020603050405020304" pitchFamily="18" charset="0"/>
                <a:sym typeface="Wingdings" pitchFamily="2" charset="2"/>
              </a:rPr>
              <a:t>The figure shows example of use cases of a network with MBB (Mobile Broadband) and </a:t>
            </a:r>
            <a:r>
              <a:rPr lang="en-US" altLang="en-US" sz="1000" dirty="0" err="1">
                <a:cs typeface="Times New Roman" panose="02020603050405020304" pitchFamily="18" charset="0"/>
                <a:sym typeface="Wingdings" pitchFamily="2" charset="2"/>
              </a:rPr>
              <a:t>CIoT</a:t>
            </a:r>
            <a:r>
              <a:rPr lang="en-US" altLang="en-US" sz="1000" dirty="0">
                <a:cs typeface="Times New Roman" panose="02020603050405020304" pitchFamily="18" charset="0"/>
                <a:sym typeface="Wingdings" pitchFamily="2" charset="2"/>
              </a:rPr>
              <a:t> (Cellular </a:t>
            </a:r>
            <a:r>
              <a:rPr lang="en-US" altLang="en-US" sz="1000" dirty="0" err="1">
                <a:cs typeface="Times New Roman" panose="02020603050405020304" pitchFamily="18" charset="0"/>
                <a:sym typeface="Wingdings" pitchFamily="2" charset="2"/>
              </a:rPr>
              <a:t>IoT</a:t>
            </a:r>
            <a:r>
              <a:rPr lang="en-US" altLang="en-US" sz="1000" dirty="0">
                <a:cs typeface="Times New Roman" panose="02020603050405020304" pitchFamily="18" charset="0"/>
                <a:sym typeface="Wingdings" pitchFamily="2" charset="2"/>
              </a:rPr>
              <a:t>) core network instances.</a:t>
            </a:r>
          </a:p>
          <a:p>
            <a:r>
              <a:rPr lang="en-US" altLang="en-US" sz="1000" dirty="0">
                <a:cs typeface="Times New Roman" panose="02020603050405020304" pitchFamily="18" charset="0"/>
                <a:sym typeface="Wingdings" pitchFamily="2" charset="2"/>
              </a:rPr>
              <a:t>The MBB device uses IMS based communication services carried via MBB core network slice, which in addition support SMS over NAS (SMSF).</a:t>
            </a:r>
          </a:p>
          <a:p>
            <a:r>
              <a:rPr lang="en-US" altLang="en-US" sz="1000" dirty="0">
                <a:cs typeface="Times New Roman" panose="02020603050405020304" pitchFamily="18" charset="0"/>
                <a:sym typeface="Wingdings" pitchFamily="2" charset="2"/>
              </a:rPr>
              <a:t>The </a:t>
            </a:r>
            <a:r>
              <a:rPr lang="en-US" altLang="en-US" sz="1000" dirty="0" err="1">
                <a:cs typeface="Times New Roman" panose="02020603050405020304" pitchFamily="18" charset="0"/>
                <a:sym typeface="Wingdings" pitchFamily="2" charset="2"/>
              </a:rPr>
              <a:t>CIoT</a:t>
            </a:r>
            <a:r>
              <a:rPr lang="en-US" altLang="en-US" sz="1000" dirty="0">
                <a:cs typeface="Times New Roman" panose="02020603050405020304" pitchFamily="18" charset="0"/>
                <a:sym typeface="Wingdings" pitchFamily="2" charset="2"/>
              </a:rPr>
              <a:t> device uses the </a:t>
            </a:r>
            <a:r>
              <a:rPr lang="en-US" altLang="en-US" sz="1000" dirty="0" err="1">
                <a:cs typeface="Times New Roman" panose="02020603050405020304" pitchFamily="18" charset="0"/>
                <a:sym typeface="Wingdings" pitchFamily="2" charset="2"/>
              </a:rPr>
              <a:t>CIoT</a:t>
            </a:r>
            <a:r>
              <a:rPr lang="en-US" altLang="en-US" sz="1000" dirty="0">
                <a:cs typeface="Times New Roman" panose="02020603050405020304" pitchFamily="18" charset="0"/>
                <a:sym typeface="Wingdings" pitchFamily="2" charset="2"/>
              </a:rPr>
              <a:t> core network instance, which in addition supports SMS over NAS (SMSF). There exist different deployment options for </a:t>
            </a:r>
            <a:r>
              <a:rPr lang="en-US" altLang="en-US" sz="1000" dirty="0" err="1">
                <a:cs typeface="Times New Roman" panose="02020603050405020304" pitchFamily="18" charset="0"/>
                <a:sym typeface="Wingdings" pitchFamily="2" charset="2"/>
              </a:rPr>
              <a:t>CIoT</a:t>
            </a:r>
            <a:r>
              <a:rPr lang="en-US" altLang="en-US" sz="1000" dirty="0">
                <a:cs typeface="Times New Roman" panose="02020603050405020304" pitchFamily="18" charset="0"/>
                <a:sym typeface="Wingdings" pitchFamily="2" charset="2"/>
              </a:rPr>
              <a:t>, and only one is depicted.</a:t>
            </a:r>
          </a:p>
          <a:p>
            <a:endParaRPr lang="en-US" altLang="en-US" sz="1000" dirty="0">
              <a:cs typeface="Times New Roman" panose="02020603050405020304" pitchFamily="18" charset="0"/>
              <a:sym typeface="Wingdings" pitchFamily="2" charset="2"/>
            </a:endParaRPr>
          </a:p>
          <a:p>
            <a:r>
              <a:rPr lang="en-US" altLang="en-US" sz="1000" dirty="0">
                <a:cs typeface="Times New Roman" panose="02020603050405020304" pitchFamily="18" charset="0"/>
                <a:sym typeface="Wingdings" pitchFamily="2" charset="2"/>
              </a:rPr>
              <a:t>AUSF - </a:t>
            </a:r>
            <a:r>
              <a:rPr lang="x-none" sz="1000" kern="0" dirty="0">
                <a:cs typeface="Times New Roman" panose="02020603050405020304" pitchFamily="18" charset="0"/>
              </a:rPr>
              <a:t>Authentication Server Function </a:t>
            </a:r>
            <a:endParaRPr lang="en-US" altLang="en-US" sz="1000" dirty="0">
              <a:cs typeface="Times New Roman" panose="02020603050405020304" pitchFamily="18" charset="0"/>
              <a:sym typeface="Wingdings" pitchFamily="2" charset="2"/>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97CAEAD2-BD93-4143-8B95-CAFDF156562D}" type="slidenum">
              <a:rPr lang="en-US" smtClean="0"/>
              <a:t>17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2714377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3713" y="842963"/>
            <a:ext cx="6229350" cy="3503612"/>
          </a:xfrm>
        </p:spPr>
      </p:sp>
      <p:sp>
        <p:nvSpPr>
          <p:cNvPr id="3" name="Notes Placeholder 2"/>
          <p:cNvSpPr>
            <a:spLocks noGrp="1"/>
          </p:cNvSpPr>
          <p:nvPr>
            <p:ph type="body" idx="1"/>
          </p:nvPr>
        </p:nvSpPr>
        <p:spPr/>
        <p:txBody>
          <a:bodyPr/>
          <a:lstStyle/>
          <a:p>
            <a:r>
              <a:rPr lang="en-US" sz="1000" dirty="0">
                <a:solidFill>
                  <a:schemeClr val="tx2"/>
                </a:solidFill>
              </a:rPr>
              <a:t>All IMS services are supported via the EPC integrated Wi-Fi (single registration) and will also be supported via the 5GC integrated untrusted Wi-Fi in Rel. 15.</a:t>
            </a:r>
          </a:p>
          <a:p>
            <a:r>
              <a:rPr lang="en-US" sz="1000" dirty="0">
                <a:solidFill>
                  <a:schemeClr val="tx2"/>
                </a:solidFill>
              </a:rPr>
              <a:t>There are support of handover between:</a:t>
            </a:r>
          </a:p>
          <a:p>
            <a:pPr marL="175805" indent="-175805">
              <a:buFont typeface="Arial" panose="020B0604020202020204" pitchFamily="34" charset="0"/>
              <a:buChar char="•"/>
            </a:pPr>
            <a:r>
              <a:rPr lang="en-US" sz="1000" dirty="0">
                <a:solidFill>
                  <a:schemeClr val="tx2"/>
                </a:solidFill>
              </a:rPr>
              <a:t>Wi-Fi and LTE</a:t>
            </a:r>
          </a:p>
          <a:p>
            <a:pPr marL="175805" indent="-175805">
              <a:buFont typeface="Arial" panose="020B0604020202020204" pitchFamily="34" charset="0"/>
              <a:buChar char="•"/>
            </a:pPr>
            <a:r>
              <a:rPr lang="en-US" sz="1000" dirty="0">
                <a:solidFill>
                  <a:schemeClr val="tx2"/>
                </a:solidFill>
              </a:rPr>
              <a:t>Wi-Fi and NR (if standalone)</a:t>
            </a:r>
          </a:p>
          <a:p>
            <a:endParaRPr lang="en-US" sz="1000" dirty="0"/>
          </a:p>
        </p:txBody>
      </p:sp>
      <p:sp>
        <p:nvSpPr>
          <p:cNvPr id="4" name="Slide Number Placeholder 3"/>
          <p:cNvSpPr>
            <a:spLocks noGrp="1"/>
          </p:cNvSpPr>
          <p:nvPr>
            <p:ph type="sldNum" sz="quarter" idx="10"/>
          </p:nvPr>
        </p:nvSpPr>
        <p:spPr/>
        <p:txBody>
          <a:bodyPr/>
          <a:lstStyle/>
          <a:p>
            <a:fld id="{979B2A7A-E2A9-4C96-8A36-8D68DFD46A70}" type="slidenum">
              <a:rPr lang="en-US" smtClean="0"/>
              <a:t>17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71630741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When introducing a 5G CN it is assumed that EPC/LTE networks need to be kept to support existing EPC/LTE handsets and inbound roamers.</a:t>
            </a:r>
          </a:p>
          <a:p>
            <a:r>
              <a:rPr lang="en-US" sz="1000" dirty="0">
                <a:cs typeface="Times New Roman" panose="02020603050405020304" pitchFamily="18" charset="0"/>
              </a:rPr>
              <a:t>There exist different alternatives to enable support for mobility between 5G CN and 5G EPC (only for MME and SGW in EPC):</a:t>
            </a:r>
          </a:p>
          <a:p>
            <a:pPr marL="234406" indent="-234406">
              <a:buFont typeface="+mj-lt"/>
              <a:buAutoNum type="arabicParenR"/>
            </a:pPr>
            <a:r>
              <a:rPr lang="en-US" sz="1000" dirty="0">
                <a:cs typeface="Times New Roman" panose="02020603050405020304" pitchFamily="18" charset="0"/>
              </a:rPr>
              <a:t>Re-attach without keeping IP address</a:t>
            </a:r>
          </a:p>
          <a:p>
            <a:pPr marL="644618" lvl="1" indent="-175805">
              <a:buFontTx/>
              <a:buChar char="-"/>
            </a:pPr>
            <a:r>
              <a:rPr lang="en-US" sz="1000" dirty="0" err="1">
                <a:cs typeface="Times New Roman" panose="02020603050405020304" pitchFamily="18" charset="0"/>
              </a:rPr>
              <a:t>VoLTE</a:t>
            </a:r>
            <a:r>
              <a:rPr lang="en-US" sz="1000" dirty="0">
                <a:cs typeface="Times New Roman" panose="02020603050405020304" pitchFamily="18" charset="0"/>
              </a:rPr>
              <a:t> calls do not survive, new registration in IMS required.</a:t>
            </a:r>
          </a:p>
          <a:p>
            <a:pPr marL="234406" indent="-234406">
              <a:buFont typeface="+mj-lt"/>
              <a:buAutoNum type="arabicParenR"/>
            </a:pPr>
            <a:r>
              <a:rPr lang="en-US" sz="1000" dirty="0">
                <a:cs typeface="Times New Roman" panose="02020603050405020304" pitchFamily="18" charset="0"/>
              </a:rPr>
              <a:t>Handover attach with loose interworking (keeping IP address) – in 3GPP “mobility without </a:t>
            </a:r>
            <a:r>
              <a:rPr lang="en-US" sz="1000" dirty="0" err="1">
                <a:cs typeface="Times New Roman" panose="02020603050405020304" pitchFamily="18" charset="0"/>
              </a:rPr>
              <a:t>Nx</a:t>
            </a:r>
            <a:r>
              <a:rPr lang="en-US" sz="1000" dirty="0">
                <a:cs typeface="Times New Roman" panose="02020603050405020304" pitchFamily="18" charset="0"/>
              </a:rPr>
              <a:t>”</a:t>
            </a:r>
          </a:p>
          <a:p>
            <a:pPr marL="644618" lvl="1" indent="-175805">
              <a:buFontTx/>
              <a:buChar char="-"/>
            </a:pPr>
            <a:r>
              <a:rPr lang="en-US" sz="1000" dirty="0">
                <a:cs typeface="Times New Roman" panose="02020603050405020304" pitchFamily="18" charset="0"/>
              </a:rPr>
              <a:t>Connecting SGW to SMF/PGW-C and H-UPF/PGW-U over S5, mimicking Wi-Fi interworking. Avoids new registration in IMS, but no seamless voice call continuity.</a:t>
            </a:r>
          </a:p>
          <a:p>
            <a:pPr marL="234406" indent="-234406">
              <a:buFont typeface="+mj-lt"/>
              <a:buAutoNum type="arabicParenR"/>
            </a:pPr>
            <a:r>
              <a:rPr lang="en-US" sz="1000" dirty="0">
                <a:cs typeface="Times New Roman" panose="02020603050405020304" pitchFamily="18" charset="0"/>
              </a:rPr>
              <a:t>”IRAT mobility” with tight CN-level interworking between EPC and 5G CN (idle or active mode variants)</a:t>
            </a:r>
          </a:p>
          <a:p>
            <a:pPr marL="644618" lvl="1" indent="-175805">
              <a:buFontTx/>
              <a:buChar char="-"/>
            </a:pPr>
            <a:r>
              <a:rPr lang="en-US" sz="1000" dirty="0">
                <a:cs typeface="Times New Roman" panose="02020603050405020304" pitchFamily="18" charset="0"/>
              </a:rPr>
              <a:t>Required for </a:t>
            </a:r>
            <a:r>
              <a:rPr lang="en-US" sz="1000" dirty="0" err="1">
                <a:cs typeface="Times New Roman" panose="02020603050405020304" pitchFamily="18" charset="0"/>
              </a:rPr>
              <a:t>VoLTE</a:t>
            </a:r>
            <a:endParaRPr lang="en-US" sz="1000" dirty="0">
              <a:cs typeface="Times New Roman" panose="02020603050405020304" pitchFamily="18" charset="0"/>
            </a:endParaRPr>
          </a:p>
          <a:p>
            <a:pPr marL="644618" lvl="1" indent="-175805">
              <a:buFontTx/>
              <a:buChar char="-"/>
            </a:pPr>
            <a:r>
              <a:rPr lang="en-US" sz="1000" dirty="0">
                <a:cs typeface="Times New Roman" panose="02020603050405020304" pitchFamily="18" charset="0"/>
              </a:rPr>
              <a:t>Connecting SGW to SMF/PGW-C and H-UPF/PGW-U over S5, and MME to AMF over </a:t>
            </a:r>
            <a:r>
              <a:rPr lang="en-US" sz="1000" dirty="0" err="1">
                <a:cs typeface="Times New Roman" panose="02020603050405020304" pitchFamily="18" charset="0"/>
              </a:rPr>
              <a:t>Nx</a:t>
            </a:r>
            <a:r>
              <a:rPr lang="en-US" sz="1000" dirty="0">
                <a:cs typeface="Times New Roman" panose="02020603050405020304" pitchFamily="18" charset="0"/>
              </a:rPr>
              <a:t>(s10): potential for short voice interruption. Requires </a:t>
            </a:r>
            <a:r>
              <a:rPr lang="en-US" sz="1000" dirty="0" err="1">
                <a:cs typeface="Times New Roman" panose="02020603050405020304" pitchFamily="18" charset="0"/>
              </a:rPr>
              <a:t>QoS</a:t>
            </a:r>
            <a:r>
              <a:rPr lang="en-US" sz="1000" dirty="0">
                <a:cs typeface="Times New Roman" panose="02020603050405020304" pitchFamily="18" charset="0"/>
              </a:rPr>
              <a:t> translation between 5GC and EPC.</a:t>
            </a:r>
          </a:p>
          <a:p>
            <a:r>
              <a:rPr lang="en-US" sz="1000" dirty="0">
                <a:cs typeface="Times New Roman" panose="02020603050405020304" pitchFamily="18" charset="0"/>
              </a:rPr>
              <a:t>A solution with common SMF/PGW-C, UPF/PGW-U, PCF/PCRF, and UDM/HSS is assumed to enable mobility support. </a:t>
            </a:r>
          </a:p>
          <a:p>
            <a:r>
              <a:rPr lang="en-US" sz="1000" dirty="0">
                <a:cs typeface="Times New Roman" panose="02020603050405020304" pitchFamily="18" charset="0"/>
              </a:rPr>
              <a:t>It is expected that service requirements regarding seamless mobility for services such as </a:t>
            </a:r>
            <a:r>
              <a:rPr lang="en-US" sz="1000" dirty="0" err="1">
                <a:cs typeface="Times New Roman" panose="02020603050405020304" pitchFamily="18" charset="0"/>
              </a:rPr>
              <a:t>VoLTE</a:t>
            </a:r>
            <a:r>
              <a:rPr lang="en-US" sz="1000" dirty="0">
                <a:cs typeface="Times New Roman" panose="02020603050405020304" pitchFamily="18" charset="0"/>
              </a:rPr>
              <a:t> need to be fulfilled when the user moves between 5G and 4G systems For seamless mobility between LTE/NR and LTE a solution is required where the UP anchor is not relocated to avoid change of IP address.</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5A1881C-23AC-42E7-BE2A-0623587FDC12}" type="slidenum">
              <a:rPr lang="en-US" smtClean="0"/>
              <a:t>17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66072682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842963"/>
            <a:ext cx="6227762" cy="3503612"/>
          </a:xfrm>
        </p:spPr>
      </p:sp>
      <p:sp>
        <p:nvSpPr>
          <p:cNvPr id="3" name="Notes Placeholder 2"/>
          <p:cNvSpPr>
            <a:spLocks noGrp="1"/>
          </p:cNvSpPr>
          <p:nvPr>
            <p:ph type="body" idx="1"/>
          </p:nvPr>
        </p:nvSpPr>
        <p:spPr/>
        <p:txBody>
          <a:bodyPr/>
          <a:lstStyle/>
          <a:p>
            <a:r>
              <a:rPr lang="en-US" sz="1000" dirty="0"/>
              <a:t>Further details for a tight interworking between 5GC and EPC:</a:t>
            </a:r>
          </a:p>
          <a:p>
            <a:pPr marL="175805" indent="-175805">
              <a:buFont typeface="Arial" panose="020B0604020202020204" pitchFamily="34" charset="0"/>
              <a:buChar char="•"/>
            </a:pPr>
            <a:r>
              <a:rPr lang="en-US" sz="1000" dirty="0"/>
              <a:t>The SGW need to support both S5-C and S5-U, such that a single SMF/PGW-C and H-UPF/PGW-U can be used, regardless whether the UE camps on LTE connected to EPC or on 5G RAN connected to 5GC.</a:t>
            </a:r>
          </a:p>
          <a:p>
            <a:pPr marL="175805" indent="-175805">
              <a:buFont typeface="Arial" panose="020B0604020202020204" pitchFamily="34" charset="0"/>
              <a:buChar char="•"/>
            </a:pPr>
            <a:r>
              <a:rPr lang="en-US" sz="1000" dirty="0"/>
              <a:t>EPC may support also CP/UP split towards RAN, but not necessary for tight interworking.</a:t>
            </a:r>
          </a:p>
          <a:p>
            <a:pPr marL="175805" indent="-175805">
              <a:buFont typeface="Arial" panose="020B0604020202020204" pitchFamily="34" charset="0"/>
              <a:buChar char="•"/>
            </a:pPr>
            <a:r>
              <a:rPr lang="en-US" sz="1000" dirty="0"/>
              <a:t>“IRAT mobility” requires support in 5G RAN, AMF, MME and LTE RAN.</a:t>
            </a:r>
          </a:p>
          <a:p>
            <a:pPr marL="175805" indent="-175805">
              <a:buFont typeface="Arial" panose="020B0604020202020204" pitchFamily="34" charset="0"/>
              <a:buChar char="•"/>
            </a:pPr>
            <a:r>
              <a:rPr lang="en-US" sz="1000" dirty="0"/>
              <a:t>The interface between AMF and MME is </a:t>
            </a:r>
            <a:r>
              <a:rPr lang="en-US" sz="1000" dirty="0" err="1"/>
              <a:t>Nx</a:t>
            </a:r>
            <a:r>
              <a:rPr lang="en-US" sz="1000" dirty="0"/>
              <a:t>, but should have S10 functionality to avoid/minimize impact on MME.</a:t>
            </a:r>
          </a:p>
          <a:p>
            <a:pPr marL="175805" indent="-175805">
              <a:buFont typeface="Arial" panose="020B0604020202020204" pitchFamily="34" charset="0"/>
              <a:buChar char="•"/>
            </a:pPr>
            <a:r>
              <a:rPr lang="en-US" sz="1000" dirty="0"/>
              <a:t>There should be re-use of EPC procedures and S10 interface to minimize EPC (MME and SGW) impact.</a:t>
            </a:r>
          </a:p>
          <a:p>
            <a:pPr marL="175805" indent="-175805">
              <a:buFont typeface="Arial" panose="020B0604020202020204" pitchFamily="34" charset="0"/>
              <a:buChar char="•"/>
            </a:pPr>
            <a:r>
              <a:rPr lang="en-US" sz="1000" dirty="0"/>
              <a:t>The SMF+PGW-C and the UPF+PGW-U are connected to the EPC (SGW) through S5/S8 interface.</a:t>
            </a:r>
          </a:p>
          <a:p>
            <a:pPr marL="175805" indent="-175805">
              <a:buFont typeface="Arial" panose="020B0604020202020204" pitchFamily="34" charset="0"/>
              <a:buChar char="•"/>
            </a:pPr>
            <a:r>
              <a:rPr lang="en-US" sz="1000" dirty="0"/>
              <a:t>The SGW in EPC might be split in CP and UP or be monolithic.</a:t>
            </a:r>
          </a:p>
          <a:p>
            <a:endParaRPr lang="en-US" sz="1000" dirty="0"/>
          </a:p>
        </p:txBody>
      </p:sp>
      <p:sp>
        <p:nvSpPr>
          <p:cNvPr id="4" name="Slide Number Placeholder 3"/>
          <p:cNvSpPr>
            <a:spLocks noGrp="1"/>
          </p:cNvSpPr>
          <p:nvPr>
            <p:ph type="sldNum" sz="quarter" idx="10"/>
          </p:nvPr>
        </p:nvSpPr>
        <p:spPr/>
        <p:txBody>
          <a:bodyPr/>
          <a:lstStyle/>
          <a:p>
            <a:fld id="{7D9AB177-FE5A-4B2F-9580-6B403C78921F}" type="slidenum">
              <a:rPr lang="en-US" smtClean="0"/>
              <a:t>17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951830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04800" y="736600"/>
            <a:ext cx="6537325"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79B28CCF-90E5-4B5C-A84C-D16D2A9488F2}" type="slidenum">
              <a:rPr lang="en-US" smtClean="0"/>
              <a:t>18</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193168034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GB" sz="1000" dirty="0"/>
              <a:t>HSS is used to store IMS related subscription and context. For 5GS, HSS functionality for IMS shall continue to be as standalone regardless it is co-located or implemented as part of the UDM. A single IMS subscription profile is used regardless of UE accessing IMS via different IP-CANs.</a:t>
            </a:r>
            <a:endParaRPr lang="en-US" sz="1000" dirty="0"/>
          </a:p>
          <a:p>
            <a:r>
              <a:rPr lang="en-GB" sz="1000" dirty="0"/>
              <a:t>From IMS perspective, the Rx interface as specified in TS 23.203 is continued to be used between the P‑CSCF and the Policy Control Function (PCF). This facilitates the migration from EPC to 5GC without requiring these AFs to upgrade to support the N5 interface.</a:t>
            </a:r>
            <a:endParaRPr lang="en-US" sz="1000" dirty="0"/>
          </a:p>
          <a:p>
            <a:r>
              <a:rPr lang="en-GB" sz="1000" dirty="0"/>
              <a:t>In 5G System the Gm reference point is supported for the communication between UE and IMS, e.g. related to registration and session control. Therefore, the same interface is used, i.e. Gm, from P-CSCF perspective towards the UE, when UE is in 5G System and EPS.</a:t>
            </a:r>
            <a:endParaRPr lang="en-US" sz="1000" dirty="0"/>
          </a:p>
          <a:p>
            <a:endParaRPr lang="en-US" sz="1000" dirty="0"/>
          </a:p>
        </p:txBody>
      </p:sp>
      <p:sp>
        <p:nvSpPr>
          <p:cNvPr id="4" name="Slide Number Placeholder 3"/>
          <p:cNvSpPr>
            <a:spLocks noGrp="1"/>
          </p:cNvSpPr>
          <p:nvPr>
            <p:ph type="sldNum" sz="quarter" idx="10"/>
          </p:nvPr>
        </p:nvSpPr>
        <p:spPr/>
        <p:txBody>
          <a:bodyPr/>
          <a:lstStyle/>
          <a:p>
            <a:fld id="{801EA8BB-292F-4509-A666-4695C4ACBE6F}" type="slidenum">
              <a:rPr lang="en-US" smtClean="0"/>
              <a:t>18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21843291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842963"/>
            <a:ext cx="6229350" cy="3503612"/>
          </a:xfrm>
        </p:spPr>
      </p:sp>
      <p:sp>
        <p:nvSpPr>
          <p:cNvPr id="3" name="Notes Placeholder 2"/>
          <p:cNvSpPr>
            <a:spLocks noGrp="1"/>
          </p:cNvSpPr>
          <p:nvPr>
            <p:ph type="body" idx="1"/>
          </p:nvPr>
        </p:nvSpPr>
        <p:spPr/>
        <p:txBody>
          <a:bodyPr/>
          <a:lstStyle/>
          <a:p>
            <a:r>
              <a:rPr lang="en-US" sz="1000" dirty="0"/>
              <a:t>All the IMS services and the architecture will be used in 5G.</a:t>
            </a:r>
          </a:p>
          <a:p>
            <a:pPr marL="175805" indent="-175805">
              <a:buFont typeface="Arial" panose="020B0604020202020204" pitchFamily="34" charset="0"/>
              <a:buChar char="•"/>
            </a:pPr>
            <a:r>
              <a:rPr lang="en-US" sz="1000" dirty="0"/>
              <a:t>Offerings of IMS voice and SMS over NR/LTE and 5GC implies support of IMS emergency call and regulatory requirements related to voice and messaging</a:t>
            </a:r>
          </a:p>
          <a:p>
            <a:pPr marL="0" lvl="1">
              <a:buClr>
                <a:srgbClr val="00A9D4"/>
              </a:buClr>
            </a:pPr>
            <a:r>
              <a:rPr lang="en-US" sz="1000" dirty="0"/>
              <a:t>There are different tracks for 5G:</a:t>
            </a:r>
          </a:p>
          <a:p>
            <a:pPr marL="175805" lvl="1" indent="-175805">
              <a:buClr>
                <a:srgbClr val="00A9D4"/>
              </a:buClr>
              <a:buFont typeface="Arial" panose="020B0604020202020204" pitchFamily="34" charset="0"/>
              <a:buChar char="•"/>
            </a:pPr>
            <a:r>
              <a:rPr lang="en-US" sz="1000" dirty="0"/>
              <a:t>Adding NR to LTE (dual-connectivity), connected to EPC (RAN option 3)</a:t>
            </a:r>
          </a:p>
          <a:p>
            <a:pPr marL="175805" lvl="1" indent="-175805">
              <a:buClr>
                <a:srgbClr val="00A9D4"/>
              </a:buClr>
              <a:buFont typeface="Arial" panose="020B0604020202020204" pitchFamily="34" charset="0"/>
              <a:buChar char="•"/>
            </a:pPr>
            <a:r>
              <a:rPr lang="en-US" sz="1000" dirty="0"/>
              <a:t>NR and LTE connected to 5GC (RAN option 2, 4, 5, 7)</a:t>
            </a:r>
          </a:p>
          <a:p>
            <a:pPr marL="0" lvl="1">
              <a:buClr>
                <a:srgbClr val="00A9D4"/>
              </a:buClr>
            </a:pPr>
            <a:r>
              <a:rPr lang="en-US" sz="1000" dirty="0"/>
              <a:t>Migration towards 5G can be in different steps, including adding support of NR and/or deploying 5GC </a:t>
            </a:r>
          </a:p>
          <a:p>
            <a:pPr marL="175805" lvl="1" indent="-175805">
              <a:buClr>
                <a:srgbClr val="00A9D4"/>
              </a:buClr>
              <a:buFont typeface="Arial" panose="020B0604020202020204" pitchFamily="34" charset="0"/>
              <a:buChar char="•"/>
            </a:pPr>
            <a:r>
              <a:rPr lang="en-US" sz="1000" dirty="0"/>
              <a:t>”IRAT mobility” with tight CN-level interworking between EPC and 5G CN required for IMS Voice and Video calls</a:t>
            </a:r>
          </a:p>
          <a:p>
            <a:pPr marL="0" lvl="1">
              <a:buClr>
                <a:srgbClr val="00A9D4"/>
              </a:buClr>
            </a:pPr>
            <a:r>
              <a:rPr lang="en-US" sz="1000" dirty="0"/>
              <a:t>The development of LTE+NR in to full coverage to support service continuity for voice, and to migrate all subscribers to IMS voice service, will avoid the need to interwork with legacy 3GPP accesses</a:t>
            </a:r>
          </a:p>
          <a:p>
            <a:pPr marL="175805" lvl="1" indent="-175805">
              <a:buClr>
                <a:srgbClr val="00A9D4"/>
              </a:buClr>
              <a:buFont typeface="Arial" panose="020B0604020202020204" pitchFamily="34" charset="0"/>
              <a:buChar char="•"/>
            </a:pPr>
            <a:r>
              <a:rPr lang="en-US" sz="1000" dirty="0"/>
              <a:t>If SRVCC and CSFB are required during the migration to LTE / NR only coverage, then the existing solutions for SRVCC in CSFB in EPC must be reused for interworking with legacy 3GPP accesses.</a:t>
            </a:r>
          </a:p>
          <a:p>
            <a:pPr marL="0" lvl="1">
              <a:buClr>
                <a:srgbClr val="00A9D4"/>
              </a:buClr>
            </a:pPr>
            <a:r>
              <a:rPr lang="en-US" sz="1000" dirty="0"/>
              <a:t>The legacy LTE, EPC (MME, SGW), CS and HSS functionality is needed for inbound and outbound roamers. 2G/3G coverage will still be in place at 5GC introduction; if not in HPLMN, then for sure when roaming.</a:t>
            </a:r>
          </a:p>
          <a:p>
            <a:endParaRPr lang="en-US" sz="1000" dirty="0"/>
          </a:p>
        </p:txBody>
      </p:sp>
      <p:sp>
        <p:nvSpPr>
          <p:cNvPr id="4" name="Slide Number Placeholder 3"/>
          <p:cNvSpPr>
            <a:spLocks noGrp="1"/>
          </p:cNvSpPr>
          <p:nvPr>
            <p:ph type="sldNum" sz="quarter" idx="10"/>
          </p:nvPr>
        </p:nvSpPr>
        <p:spPr/>
        <p:txBody>
          <a:bodyPr/>
          <a:lstStyle/>
          <a:p>
            <a:fld id="{52ECD17E-A660-460A-9984-332D3B6CEBBC}" type="slidenum">
              <a:rPr lang="en-US" smtClean="0"/>
              <a:t>18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0627097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47663" y="747713"/>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56A37B86-745D-4F49-9220-D925CC38B8C5}" type="slidenum">
              <a:rPr lang="en-US" smtClean="0"/>
              <a:t>182</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244421167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9F9B4727-501D-44C7-AE33-EBBF39E12F38}" type="slidenum">
              <a:rPr lang="en-US" smtClean="0"/>
              <a:t>18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26804544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287338" y="842963"/>
            <a:ext cx="6580187" cy="37004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xfrm>
            <a:off x="1309532" y="4736302"/>
            <a:ext cx="4714315" cy="491540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sz="1000" dirty="0"/>
              <a:t>Overall standardization time plan towards 5G.</a:t>
            </a:r>
          </a:p>
          <a:p>
            <a:pPr lvl="0">
              <a:defRPr/>
            </a:pPr>
            <a:r>
              <a:rPr lang="en-US" sz="1000" dirty="0"/>
              <a:t>The first release of 5G will be what is called 5G Phase 1, and will be specified in Release 15. It is based on the </a:t>
            </a:r>
            <a:r>
              <a:rPr lang="en-US" sz="1000" dirty="0" err="1"/>
              <a:t>NextGen</a:t>
            </a:r>
            <a:r>
              <a:rPr lang="en-US" sz="1000" dirty="0"/>
              <a:t> TR completed in December 2016 (TR 23.799).</a:t>
            </a:r>
          </a:p>
          <a:p>
            <a:pPr>
              <a:defRPr/>
            </a:pPr>
            <a:r>
              <a:rPr lang="en-US" sz="1000" dirty="0"/>
              <a:t>3GPP acceleration of 5G availability is achieved by specifying a non-standalone NR operation using LTE as control plane (CP) anchor and a 5G-enabled EPC as core network. (labeled as Option 3). The plan to have this ready by December 2017.</a:t>
            </a:r>
          </a:p>
          <a:p>
            <a:pPr>
              <a:defRPr/>
            </a:pPr>
            <a:r>
              <a:rPr lang="en-US" sz="1000" dirty="0"/>
              <a:t>The full Release 15 standard Stage 3 is due June 2018 and includes remaining Options for RAN-CN interworking and also the new 5G CN.</a:t>
            </a:r>
          </a:p>
          <a:p>
            <a:endParaRPr lang="en-US" altLang="en-US" sz="1000"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0BAD97D-1A4D-4907-BC07-3441538AA2AF}" type="slidenum">
              <a:rPr lang="en-US" altLang="en-US" smtClean="0">
                <a:latin typeface="Arial" charset="0"/>
                <a:ea typeface="MS PGothic" pitchFamily="34" charset="-128"/>
                <a:cs typeface="Arial" charset="0"/>
              </a:rPr>
              <a:t>184</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341820278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811213"/>
            <a:ext cx="6224587" cy="3502025"/>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3GPP RAN-CN architecture Option 3 is based on tight interworking between LTE and NR on RAN-level providing NR support with minor impact to EPC.</a:t>
            </a:r>
          </a:p>
          <a:p>
            <a:pPr lvl="0">
              <a:defRPr/>
            </a:pPr>
            <a:r>
              <a:rPr lang="en-US" sz="1000" dirty="0">
                <a:cs typeface="Times New Roman" panose="02020603050405020304" pitchFamily="18" charset="0"/>
              </a:rPr>
              <a:t>The sub-option 3A provides an alternative path for the user plane interface between CN and AN. The user plane in this case can also be between CN and NR </a:t>
            </a:r>
            <a:r>
              <a:rPr lang="en-US" sz="1000" dirty="0" err="1">
                <a:cs typeface="Times New Roman" panose="02020603050405020304" pitchFamily="18" charset="0"/>
              </a:rPr>
              <a:t>gNB</a:t>
            </a:r>
            <a:r>
              <a:rPr lang="en-US" sz="1000" dirty="0">
                <a:cs typeface="Times New Roman" panose="02020603050405020304" pitchFamily="18" charset="0"/>
              </a:rPr>
              <a:t>.</a:t>
            </a:r>
          </a:p>
          <a:p>
            <a:pPr lvl="0">
              <a:defRPr/>
            </a:pPr>
            <a:r>
              <a:rPr lang="en-US" sz="1000" dirty="0">
                <a:cs typeface="Times New Roman" panose="02020603050405020304" pitchFamily="18" charset="0"/>
              </a:rPr>
              <a:t>The sub-option 3X provides user plane aggregation in NR </a:t>
            </a:r>
            <a:r>
              <a:rPr lang="en-US" sz="1000" dirty="0" err="1">
                <a:cs typeface="Times New Roman" panose="02020603050405020304" pitchFamily="18" charset="0"/>
              </a:rPr>
              <a:t>gNb</a:t>
            </a:r>
            <a:r>
              <a:rPr lang="en-US" sz="1000" dirty="0">
                <a:cs typeface="Times New Roman" panose="02020603050405020304" pitchFamily="18" charset="0"/>
              </a:rPr>
              <a:t> towards EPC by the use of the X2 interface between </a:t>
            </a:r>
            <a:r>
              <a:rPr lang="en-US" sz="1000" dirty="0" err="1">
                <a:cs typeface="Times New Roman" panose="02020603050405020304" pitchFamily="18" charset="0"/>
              </a:rPr>
              <a:t>eNb</a:t>
            </a:r>
            <a:r>
              <a:rPr lang="en-US" sz="1000" dirty="0">
                <a:cs typeface="Times New Roman" panose="02020603050405020304" pitchFamily="18" charset="0"/>
              </a:rPr>
              <a:t> and </a:t>
            </a:r>
            <a:r>
              <a:rPr lang="en-US" sz="1000" dirty="0" err="1">
                <a:cs typeface="Times New Roman" panose="02020603050405020304" pitchFamily="18" charset="0"/>
              </a:rPr>
              <a:t>gNb</a:t>
            </a:r>
            <a:r>
              <a:rPr lang="en-US" sz="1000" dirty="0">
                <a:cs typeface="Times New Roman" panose="02020603050405020304" pitchFamily="18" charset="0"/>
              </a:rPr>
              <a:t>.</a:t>
            </a:r>
          </a:p>
          <a:p>
            <a:pPr lvl="0">
              <a:defRPr/>
            </a:pPr>
            <a:r>
              <a:rPr lang="en-US" sz="1000" dirty="0">
                <a:cs typeface="Times New Roman" panose="02020603050405020304" pitchFamily="18" charset="0"/>
              </a:rPr>
              <a:t>Option 3 also enables RAN to do </a:t>
            </a:r>
            <a:r>
              <a:rPr lang="en-US" sz="1000" dirty="0"/>
              <a:t>dual connectivity over LTE and NR in order to optimize capacity and spectrum utilization.</a:t>
            </a:r>
            <a:endParaRPr 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0607883-FE2E-49D6-B1AA-54379D9FD86E}" type="slidenum">
              <a:rPr lang="en-US" smtClean="0"/>
              <a:t>18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07341878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777875"/>
            <a:ext cx="6227763" cy="3503613"/>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 describes the 3GPP RAN-CN options 2 and 4/4A. </a:t>
            </a:r>
          </a:p>
          <a:p>
            <a:pPr marL="175805" indent="-175805">
              <a:buFont typeface="Arial" panose="020B0604020202020204" pitchFamily="34" charset="0"/>
              <a:buChar char="•"/>
            </a:pPr>
            <a:r>
              <a:rPr lang="en-US" sz="1000" dirty="0">
                <a:cs typeface="Times New Roman" panose="02020603050405020304" pitchFamily="18" charset="0"/>
              </a:rPr>
              <a:t>Option 2: standalone NR to 5GC. </a:t>
            </a:r>
          </a:p>
          <a:p>
            <a:pPr marL="175805" indent="-175805">
              <a:buFont typeface="Arial" panose="020B0604020202020204" pitchFamily="34" charset="0"/>
              <a:buChar char="•"/>
            </a:pPr>
            <a:r>
              <a:rPr lang="en-US" sz="1000" dirty="0">
                <a:cs typeface="Times New Roman" panose="02020603050405020304" pitchFamily="18" charset="0"/>
              </a:rPr>
              <a:t>Option 4: “NR-Assisted” NR and LTE with NAS over NR to 5GC, i.e. the UE registers via NR to 5GC, but both NR and LTE can be used for User Plane (dual-connectivity). </a:t>
            </a:r>
          </a:p>
          <a:p>
            <a:endParaRPr lang="en-US" sz="1000" dirty="0"/>
          </a:p>
        </p:txBody>
      </p:sp>
      <p:sp>
        <p:nvSpPr>
          <p:cNvPr id="4" name="Slide Number Placeholder 3"/>
          <p:cNvSpPr>
            <a:spLocks noGrp="1"/>
          </p:cNvSpPr>
          <p:nvPr>
            <p:ph type="sldNum" sz="quarter" idx="10"/>
          </p:nvPr>
        </p:nvSpPr>
        <p:spPr/>
        <p:txBody>
          <a:bodyPr/>
          <a:lstStyle/>
          <a:p>
            <a:fld id="{D6E78CF9-1B69-4C50-9246-8EB157B9F7D4}" type="slidenum">
              <a:rPr lang="en-US" smtClean="0"/>
              <a:t>18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7797048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 describes the 3GPP RAN-CN options 5 and 7/7A.</a:t>
            </a:r>
          </a:p>
          <a:p>
            <a:pPr marL="175805" indent="-175805">
              <a:buFont typeface="Arial" panose="020B0604020202020204" pitchFamily="34" charset="0"/>
              <a:buChar char="•"/>
            </a:pPr>
            <a:r>
              <a:rPr lang="en-US" sz="1000" dirty="0">
                <a:cs typeface="Times New Roman" panose="02020603050405020304" pitchFamily="18" charset="0"/>
              </a:rPr>
              <a:t>Option 5: standalone LTE connected to 5GC.</a:t>
            </a:r>
          </a:p>
          <a:p>
            <a:pPr marL="175805" indent="-175805">
              <a:buFont typeface="Arial" panose="020B0604020202020204" pitchFamily="34" charset="0"/>
              <a:buChar char="•"/>
            </a:pPr>
            <a:r>
              <a:rPr lang="en-US" sz="1000" dirty="0">
                <a:cs typeface="Times New Roman" panose="02020603050405020304" pitchFamily="18" charset="0"/>
              </a:rPr>
              <a:t>Option 7: “LTE assisted”, NR and LTE with NAS over LTE to 5GC, . i.e. the UE registers via LTE to 5GC, i.e. the UE registers via NR to 5GC, but both NR and LTE can be used for User Plane (dual-connectivity). </a:t>
            </a:r>
          </a:p>
          <a:p>
            <a:pPr marL="175805" indent="-175805">
              <a:buFont typeface="Arial" panose="020B0604020202020204" pitchFamily="34" charset="0"/>
              <a:buChar char="•"/>
            </a:pPr>
            <a:r>
              <a:rPr lang="en-US" sz="1000" dirty="0">
                <a:cs typeface="Times New Roman" panose="02020603050405020304" pitchFamily="18" charset="0"/>
              </a:rPr>
              <a:t>Option 7X: Provides user plane aggregation in NR </a:t>
            </a:r>
            <a:r>
              <a:rPr lang="en-US" sz="1000" dirty="0" err="1">
                <a:cs typeface="Times New Roman" panose="02020603050405020304" pitchFamily="18" charset="0"/>
              </a:rPr>
              <a:t>gNb</a:t>
            </a:r>
            <a:r>
              <a:rPr lang="en-US" sz="1000" dirty="0">
                <a:cs typeface="Times New Roman" panose="02020603050405020304" pitchFamily="18" charset="0"/>
              </a:rPr>
              <a:t> towards 5GC by the use of the X2 interface between </a:t>
            </a:r>
            <a:r>
              <a:rPr lang="en-US" sz="1000" dirty="0" err="1">
                <a:cs typeface="Times New Roman" panose="02020603050405020304" pitchFamily="18" charset="0"/>
              </a:rPr>
              <a:t>eNb</a:t>
            </a:r>
            <a:r>
              <a:rPr lang="en-US" sz="1000" dirty="0">
                <a:cs typeface="Times New Roman" panose="02020603050405020304" pitchFamily="18" charset="0"/>
              </a:rPr>
              <a:t> and </a:t>
            </a:r>
            <a:r>
              <a:rPr lang="en-US" sz="1000" dirty="0" err="1">
                <a:cs typeface="Times New Roman" panose="02020603050405020304" pitchFamily="18" charset="0"/>
              </a:rPr>
              <a:t>gNb</a:t>
            </a:r>
            <a:endParaRPr lang="en-US" sz="1000" dirty="0">
              <a:cs typeface="Times New Roman" panose="02020603050405020304" pitchFamily="18" charset="0"/>
            </a:endParaRPr>
          </a:p>
          <a:p>
            <a:endParaRPr lang="en-US" sz="1000" dirty="0"/>
          </a:p>
        </p:txBody>
      </p:sp>
      <p:sp>
        <p:nvSpPr>
          <p:cNvPr id="4" name="Slide Number Placeholder 3"/>
          <p:cNvSpPr>
            <a:spLocks noGrp="1"/>
          </p:cNvSpPr>
          <p:nvPr>
            <p:ph type="sldNum" sz="quarter" idx="10"/>
          </p:nvPr>
        </p:nvSpPr>
        <p:spPr/>
        <p:txBody>
          <a:bodyPr/>
          <a:lstStyle/>
          <a:p>
            <a:fld id="{1A3ECF05-6279-41EC-A83A-830F0AE336F4}" type="slidenum">
              <a:rPr lang="en-US" smtClean="0"/>
              <a:t>18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02259868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different RAN-CN options and the different timing of availability cause an impact on UE functionality, specifically on the UE-CN signaling for attach procedure. The two UE types shown here are likely due to the timing of the early deployment of Option 3.</a:t>
            </a:r>
          </a:p>
          <a:p>
            <a:r>
              <a:rPr lang="en-GB" sz="1000" dirty="0">
                <a:cs typeface="Times New Roman" panose="02020603050405020304" pitchFamily="18" charset="0"/>
              </a:rPr>
              <a:t>Additional variants of UE’s may appear based on how 5G will be deployed initially. E.g. some UEs may support option 5+7, some option 4 and some only option 2 etc. </a:t>
            </a:r>
            <a:endParaRPr lang="en-US" sz="1000" dirty="0">
              <a:cs typeface="Times New Roman" panose="02020603050405020304" pitchFamily="18" charset="0"/>
            </a:endParaRPr>
          </a:p>
          <a:p>
            <a:endParaRPr 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DA43767-ADCC-4F71-A3C1-F58C0CC84B77}" type="slidenum">
              <a:rPr lang="en-US" smtClean="0"/>
              <a:t>18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6882141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is figure is one way to depict all the RAN-CN interface options for Release 15 including the timing of standardization availability as well as UE impact.</a:t>
            </a:r>
          </a:p>
          <a:p>
            <a:r>
              <a:rPr lang="en-US" altLang="en-US" sz="1000" dirty="0"/>
              <a:t>Operators may or may not deploy all these options.</a:t>
            </a:r>
          </a:p>
          <a:p>
            <a:r>
              <a:rPr lang="en-US" altLang="en-US" sz="1000" i="1" dirty="0"/>
              <a:t>Note</a:t>
            </a:r>
            <a:r>
              <a:rPr lang="en-US" altLang="en-US" sz="1000" dirty="0"/>
              <a:t> that this is not a product view. Product realization may bundle support for different interfaces in the same solution, and timing of product availability  is obviously after the standardization availability.</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6329F61-1A0A-4C85-B294-70C56A2C6FA3}" type="slidenum">
              <a:rPr lang="en-US" altLang="en-US" smtClean="0">
                <a:latin typeface="Arial" charset="0"/>
                <a:ea typeface="MS PGothic" pitchFamily="34" charset="-128"/>
                <a:cs typeface="Arial" charset="0"/>
              </a:rPr>
              <a:t>189</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41203936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ADC3F943-AD87-422B-9BD9-51CC22AF716B}" type="slidenum">
              <a:rPr lang="en-US" smtClean="0"/>
              <a:t>1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97819346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US" sz="1000" dirty="0"/>
              <a:t>The figure illustrates the timing for 3GPP specifications availability concerning the architecture options and </a:t>
            </a:r>
            <a:r>
              <a:rPr lang="en-US" altLang="en-US" sz="1000" dirty="0"/>
              <a:t>different ways for a UE to connect at any given time.</a:t>
            </a:r>
          </a:p>
          <a:p>
            <a:endParaRPr lang="en-US" sz="1000" dirty="0"/>
          </a:p>
        </p:txBody>
      </p:sp>
      <p:sp>
        <p:nvSpPr>
          <p:cNvPr id="4" name="Slide Number Placeholder 3"/>
          <p:cNvSpPr>
            <a:spLocks noGrp="1"/>
          </p:cNvSpPr>
          <p:nvPr>
            <p:ph type="sldNum" sz="quarter" idx="10"/>
          </p:nvPr>
        </p:nvSpPr>
        <p:spPr/>
        <p:txBody>
          <a:bodyPr/>
          <a:lstStyle/>
          <a:p>
            <a:fld id="{820AE0FD-18E4-4DD8-BF04-7D81FD2C1175}" type="slidenum">
              <a:rPr lang="en-US" smtClean="0"/>
              <a:t>19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35311091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8325" y="842963"/>
            <a:ext cx="6227763" cy="3503612"/>
          </a:xfrm>
        </p:spPr>
      </p:sp>
      <p:sp>
        <p:nvSpPr>
          <p:cNvPr id="3" name="Notes Placeholder 2"/>
          <p:cNvSpPr>
            <a:spLocks noGrp="1"/>
          </p:cNvSpPr>
          <p:nvPr>
            <p:ph type="body" idx="1"/>
          </p:nvPr>
        </p:nvSpPr>
        <p:spPr/>
        <p:txBody>
          <a:bodyPr/>
          <a:lstStyle/>
          <a:p>
            <a:r>
              <a:rPr lang="en-US" altLang="en-US" sz="1000" dirty="0"/>
              <a:t>Early introduction of 5G/NR is provided by Option 3 and is likely used in first field trials and early commercial deployments. It has a dependency on legacy LTE and EPC networks when it comes to functionality, coverage, spectrum availability etc. that must be considered for the different deployment scenarios.</a:t>
            </a:r>
          </a:p>
          <a:p>
            <a:r>
              <a:rPr lang="en-US" altLang="en-US" sz="1000" dirty="0"/>
              <a:t>Additional considerations when moving beyond initial trials include:</a:t>
            </a:r>
          </a:p>
          <a:p>
            <a:pPr marL="175805" indent="-175805">
              <a:buFont typeface="Arial" panose="020B0604020202020204" pitchFamily="34" charset="0"/>
              <a:buChar char="•"/>
            </a:pPr>
            <a:r>
              <a:rPr lang="en-US" altLang="en-US" sz="1000" dirty="0"/>
              <a:t>Further considerations might be needed for multi-vendor aspects (RAN-CN), which could e.g. impact availability due to interop (depending on standards specification maturity etc.). </a:t>
            </a:r>
          </a:p>
          <a:p>
            <a:pPr marL="175805" indent="-175805">
              <a:buFont typeface="Arial" panose="020B0604020202020204" pitchFamily="34" charset="0"/>
              <a:buChar char="•"/>
            </a:pPr>
            <a:r>
              <a:rPr lang="en-US" altLang="en-US" sz="1000" dirty="0"/>
              <a:t>LTE and NR capability to handle the same services. Initially there might be differences for services that have regulatory requirements, like emergency call.</a:t>
            </a:r>
          </a:p>
          <a:p>
            <a:endParaRPr lang="en-US" sz="1000" dirty="0"/>
          </a:p>
        </p:txBody>
      </p:sp>
      <p:sp>
        <p:nvSpPr>
          <p:cNvPr id="4" name="Slide Number Placeholder 3"/>
          <p:cNvSpPr>
            <a:spLocks noGrp="1"/>
          </p:cNvSpPr>
          <p:nvPr>
            <p:ph type="sldNum" sz="quarter" idx="10"/>
          </p:nvPr>
        </p:nvSpPr>
        <p:spPr/>
        <p:txBody>
          <a:bodyPr/>
          <a:lstStyle/>
          <a:p>
            <a:fld id="{0B4134DD-C128-4B6C-9515-D133B4E8ED28}" type="slidenum">
              <a:rPr lang="en-US" smtClean="0"/>
              <a:t>19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9825254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842963"/>
            <a:ext cx="6229350" cy="3503612"/>
          </a:xfrm>
        </p:spPr>
      </p:sp>
      <p:sp>
        <p:nvSpPr>
          <p:cNvPr id="3" name="Notes Placeholder 2"/>
          <p:cNvSpPr>
            <a:spLocks noGrp="1"/>
          </p:cNvSpPr>
          <p:nvPr>
            <p:ph type="body" idx="1"/>
          </p:nvPr>
        </p:nvSpPr>
        <p:spPr/>
        <p:txBody>
          <a:bodyPr/>
          <a:lstStyle/>
          <a:p>
            <a:r>
              <a:rPr lang="en-US" altLang="en-US" sz="1000" dirty="0">
                <a:cs typeface="Times New Roman" panose="02020603050405020304" pitchFamily="18" charset="0"/>
              </a:rPr>
              <a:t>A possible first introduction of 5G/NR radio is to introduce a 5G-enabled EPC with a LTE-assisted NR (Opt. 3) in parallel to existing LTE/EPC (Opt. 1). This may be suitable for smaller trials but also when upgrading both RAN and Core per geographic area. Over time the end target is a combined Packet Core supporting both a 5G-enabled EPC and 5G CN, for Options 1, 2, 3, 5 and 7. It is unlikely Option 4 will be used since it assumes a wider coverage of NR than LTE.</a:t>
            </a:r>
          </a:p>
          <a:p>
            <a:endParaRPr lang="en-US" altLang="en-US" sz="1000" dirty="0">
              <a:cs typeface="Times New Roman" panose="02020603050405020304" pitchFamily="18" charset="0"/>
            </a:endParaRPr>
          </a:p>
          <a:p>
            <a:r>
              <a:rPr lang="en-US" altLang="en-US" sz="1000" dirty="0">
                <a:cs typeface="Times New Roman" panose="02020603050405020304" pitchFamily="18" charset="0"/>
              </a:rPr>
              <a:t>Option 3 type UE’s will always be anchored in 5G-enabled EPC and are not assumed to be forward compatible to 5G CN.</a:t>
            </a:r>
          </a:p>
          <a:p>
            <a:endParaRPr lang="en-US" altLang="en-US" sz="1000" dirty="0">
              <a:cs typeface="Times New Roman" panose="02020603050405020304" pitchFamily="18" charset="0"/>
            </a:endParaRPr>
          </a:p>
          <a:p>
            <a:r>
              <a:rPr lang="en-US" altLang="en-US" sz="1000" dirty="0">
                <a:cs typeface="Times New Roman" panose="02020603050405020304" pitchFamily="18" charset="0"/>
              </a:rPr>
              <a:t>Note that the support for LTE/EPC Option 1 will be required for a long time, e.g. for legacy devices or for roaming users with legacy devices.</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8253F7D-DCB4-4EE8-832A-0A17B0D4B6FE}" type="slidenum">
              <a:rPr lang="en-US" smtClean="0"/>
              <a:t>19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4585627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842963"/>
            <a:ext cx="6229350" cy="3503612"/>
          </a:xfrm>
        </p:spPr>
      </p:sp>
      <p:sp>
        <p:nvSpPr>
          <p:cNvPr id="3" name="Notes Placeholder 2"/>
          <p:cNvSpPr>
            <a:spLocks noGrp="1"/>
          </p:cNvSpPr>
          <p:nvPr>
            <p:ph type="body" idx="1"/>
          </p:nvPr>
        </p:nvSpPr>
        <p:spPr/>
        <p:txBody>
          <a:bodyPr/>
          <a:lstStyle/>
          <a:p>
            <a:r>
              <a:rPr lang="en-US" altLang="en-US" sz="1000" dirty="0"/>
              <a:t>The figure shows migration of existing EPC and LTE to the 5G-enabled EPC and Option 3 capable </a:t>
            </a:r>
            <a:r>
              <a:rPr lang="en-US" altLang="en-US" sz="1000" dirty="0" err="1"/>
              <a:t>eNb</a:t>
            </a:r>
            <a:r>
              <a:rPr lang="en-US" altLang="en-US" sz="1000" dirty="0"/>
              <a:t>. The final target is still the same with a 5G-enabled EPC plus a 5G CN functionality in the same Packet Core solution.</a:t>
            </a:r>
          </a:p>
        </p:txBody>
      </p:sp>
      <p:sp>
        <p:nvSpPr>
          <p:cNvPr id="4" name="Slide Number Placeholder 3"/>
          <p:cNvSpPr>
            <a:spLocks noGrp="1"/>
          </p:cNvSpPr>
          <p:nvPr>
            <p:ph type="sldNum" sz="quarter" idx="10"/>
          </p:nvPr>
        </p:nvSpPr>
        <p:spPr/>
        <p:txBody>
          <a:bodyPr/>
          <a:lstStyle/>
          <a:p>
            <a:fld id="{B36DB5C8-78BC-427C-A093-DDEA4492FD3A}" type="slidenum">
              <a:rPr lang="en-US" smtClean="0"/>
              <a:t>19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3811796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3713" y="842963"/>
            <a:ext cx="6229350" cy="3503612"/>
          </a:xfrm>
        </p:spPr>
      </p:sp>
      <p:sp>
        <p:nvSpPr>
          <p:cNvPr id="3" name="Notes Placeholder 2"/>
          <p:cNvSpPr>
            <a:spLocks noGrp="1"/>
          </p:cNvSpPr>
          <p:nvPr>
            <p:ph type="body" idx="1"/>
          </p:nvPr>
        </p:nvSpPr>
        <p:spPr/>
        <p:txBody>
          <a:bodyPr/>
          <a:lstStyle/>
          <a:p>
            <a:r>
              <a:rPr lang="en-US" altLang="en-US" sz="1000" dirty="0">
                <a:cs typeface="Times New Roman" panose="02020603050405020304" pitchFamily="18" charset="0"/>
              </a:rPr>
              <a:t>As an alternative, a first introduction of 5G/NR radio is to introduce a 5G CN with NR standalone (Opt. 2) in parallel to existing LTE/EPC (Opt. 1). This may be suitable for smaller trials and also larger deployments due to dedicated frequency for NR and hence no dependency on the existing LTE/EPC. Over time the end target is similar as in previous slides, a combined Packet Core supporting both a 5G-enabled EPC and 5G CN, for Options 1, 2, 5 and 7. However, a benefit with this scenario is that the Option 3 alternative is not necessary and it removes the Option 3 UE’s from the picture (UE’s not forward compatible to 5G CN).</a:t>
            </a:r>
          </a:p>
          <a:p>
            <a:r>
              <a:rPr lang="en-US" altLang="en-US" sz="1000" dirty="0">
                <a:cs typeface="Times New Roman" panose="02020603050405020304" pitchFamily="18" charset="0"/>
              </a:rPr>
              <a:t>Again, it is unlikely Option 4 will be used since it assumes a wider coverage of NR than LTE.</a:t>
            </a:r>
          </a:p>
          <a:p>
            <a:endParaRPr lang="en-US" altLang="en-US" sz="1000" dirty="0">
              <a:cs typeface="Times New Roman" panose="02020603050405020304" pitchFamily="18" charset="0"/>
            </a:endParaRPr>
          </a:p>
          <a:p>
            <a:r>
              <a:rPr lang="en-US" altLang="en-US" sz="1000" dirty="0">
                <a:cs typeface="Times New Roman" panose="02020603050405020304" pitchFamily="18" charset="0"/>
              </a:rPr>
              <a:t>Note that the support for LTE/EPC Option 1 will be required for a long time, e.g. for legacy devices or for roaming users with legacy devices.</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4FC3699F-3565-42F6-9A19-97DA03F71192}" type="slidenum">
              <a:rPr lang="en-US" smtClean="0"/>
              <a:t>19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81786284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4663" y="842963"/>
            <a:ext cx="6229350" cy="3503612"/>
          </a:xfrm>
        </p:spPr>
      </p:sp>
      <p:sp>
        <p:nvSpPr>
          <p:cNvPr id="3" name="Notes Placeholder 2"/>
          <p:cNvSpPr>
            <a:spLocks noGrp="1"/>
          </p:cNvSpPr>
          <p:nvPr>
            <p:ph type="body" idx="1"/>
          </p:nvPr>
        </p:nvSpPr>
        <p:spPr/>
        <p:txBody>
          <a:bodyPr/>
          <a:lstStyle/>
          <a:p>
            <a:r>
              <a:rPr lang="en-US" altLang="en-US" sz="1000" dirty="0"/>
              <a:t>This is another way to depict the initial introduction of 5G/NR with Option 3, where the migration of existing EPC and LTE to the 5G-enabled EPC and Option 3 capable </a:t>
            </a:r>
            <a:r>
              <a:rPr lang="en-US" altLang="en-US" sz="1000" dirty="0" err="1"/>
              <a:t>eNb</a:t>
            </a:r>
            <a:r>
              <a:rPr lang="en-US" altLang="en-US" sz="1000" dirty="0"/>
              <a:t> is complete. </a:t>
            </a:r>
          </a:p>
          <a:p>
            <a:endParaRPr lang="en-US" sz="1000" dirty="0"/>
          </a:p>
        </p:txBody>
      </p:sp>
      <p:sp>
        <p:nvSpPr>
          <p:cNvPr id="4" name="Slide Number Placeholder 3"/>
          <p:cNvSpPr>
            <a:spLocks noGrp="1"/>
          </p:cNvSpPr>
          <p:nvPr>
            <p:ph type="sldNum" sz="quarter" idx="10"/>
          </p:nvPr>
        </p:nvSpPr>
        <p:spPr/>
        <p:txBody>
          <a:bodyPr/>
          <a:lstStyle/>
          <a:p>
            <a:fld id="{47A6DB46-31EA-4710-9AEC-E7FED7608B57}" type="slidenum">
              <a:rPr lang="en-US" smtClean="0"/>
              <a:t>19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078149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842963"/>
            <a:ext cx="6229350" cy="3503612"/>
          </a:xfrm>
        </p:spPr>
      </p:sp>
      <p:sp>
        <p:nvSpPr>
          <p:cNvPr id="3" name="Notes Placeholder 2"/>
          <p:cNvSpPr>
            <a:spLocks noGrp="1"/>
          </p:cNvSpPr>
          <p:nvPr>
            <p:ph type="body" idx="1"/>
          </p:nvPr>
        </p:nvSpPr>
        <p:spPr/>
        <p:txBody>
          <a:bodyPr/>
          <a:lstStyle/>
          <a:p>
            <a:r>
              <a:rPr lang="en-US" altLang="en-US" sz="1000" dirty="0">
                <a:cs typeface="Times New Roman" panose="02020603050405020304" pitchFamily="18" charset="0"/>
              </a:rPr>
              <a:t>This is another way to depict the target state with a combined Packet Core supporting both a 5G-enabled EPC and 5G CN, for Options 1, 2, 3, 5 and 7. It is unlikely Option 4 will be used since it assumes a wider coverage of NR than LTE.</a:t>
            </a:r>
          </a:p>
          <a:p>
            <a:r>
              <a:rPr lang="en-US" altLang="en-US" sz="1000" dirty="0">
                <a:cs typeface="Times New Roman" panose="02020603050405020304" pitchFamily="18" charset="0"/>
              </a:rPr>
              <a:t>Option 3 type UE’s will always be anchored in 5G-enabled EPC and are not assumed to be forward compatible to 5G CN.</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B47AE54-A44E-4518-8E0D-5BAAEE592869}" type="slidenum">
              <a:rPr lang="en-US" smtClean="0"/>
              <a:t>19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2377179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figure shows two alternatives to reach wide area coverage supporting IP mobility across 4G and 5G.</a:t>
            </a:r>
          </a:p>
          <a:p>
            <a:pPr marL="175805" indent="-175805">
              <a:buFont typeface="Arial" panose="020B0604020202020204" pitchFamily="34" charset="0"/>
              <a:buChar char="•"/>
            </a:pPr>
            <a:r>
              <a:rPr lang="en-US" sz="1000" dirty="0">
                <a:cs typeface="Times New Roman" panose="02020603050405020304" pitchFamily="18" charset="0"/>
              </a:rPr>
              <a:t>ALT. A – Upgrade of LTE RAN to support 5GC</a:t>
            </a:r>
          </a:p>
          <a:p>
            <a:pPr marL="175805" indent="-175805">
              <a:buFont typeface="Arial" panose="020B0604020202020204" pitchFamily="34" charset="0"/>
              <a:buChar char="•"/>
            </a:pPr>
            <a:r>
              <a:rPr lang="en-US" sz="1000" dirty="0">
                <a:cs typeface="Times New Roman" panose="02020603050405020304" pitchFamily="18" charset="0"/>
              </a:rPr>
              <a:t>ALT. B – Core network interworking between EPC and 5GC</a:t>
            </a:r>
          </a:p>
          <a:p>
            <a:r>
              <a:rPr lang="en-US" sz="1000" dirty="0">
                <a:cs typeface="Times New Roman" panose="02020603050405020304" pitchFamily="18" charset="0"/>
              </a:rPr>
              <a:t>For ALT. A all LTE </a:t>
            </a:r>
            <a:r>
              <a:rPr lang="en-US" sz="1000" dirty="0" err="1">
                <a:cs typeface="Times New Roman" panose="02020603050405020304" pitchFamily="18" charset="0"/>
              </a:rPr>
              <a:t>eNBs</a:t>
            </a:r>
            <a:r>
              <a:rPr lang="en-US" sz="1000" dirty="0">
                <a:cs typeface="Times New Roman" panose="02020603050405020304" pitchFamily="18" charset="0"/>
              </a:rPr>
              <a:t> will likely not be upgraded to support 5GC, and likely not as a forklift upgrade when launching 5G. It would be a  challenge with in a single RAN vendor network, but a major challenge in networks with more than one LTE vendor.</a:t>
            </a:r>
          </a:p>
          <a:p>
            <a:r>
              <a:rPr lang="en-US" sz="1000" dirty="0">
                <a:cs typeface="Times New Roman" panose="02020603050405020304" pitchFamily="18" charset="0"/>
              </a:rPr>
              <a:t>This means that to support MBB/smartphones some level of mobility support between 5GCN and EPC will be needed.</a:t>
            </a:r>
          </a:p>
        </p:txBody>
      </p:sp>
      <p:sp>
        <p:nvSpPr>
          <p:cNvPr id="4" name="Slide Number Placeholder 3"/>
          <p:cNvSpPr>
            <a:spLocks noGrp="1"/>
          </p:cNvSpPr>
          <p:nvPr>
            <p:ph type="sldNum" sz="quarter" idx="10"/>
          </p:nvPr>
        </p:nvSpPr>
        <p:spPr/>
        <p:txBody>
          <a:bodyPr/>
          <a:lstStyle/>
          <a:p>
            <a:fld id="{1C98B271-965B-44C6-88DE-882B17FD2C16}" type="slidenum">
              <a:rPr lang="en-US" smtClean="0"/>
              <a:t>19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2845828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a:xfrm>
            <a:off x="1309532" y="4605657"/>
            <a:ext cx="4714315" cy="4915404"/>
          </a:xfrm>
        </p:spPr>
        <p:txBody>
          <a:bodyPr/>
          <a:lstStyle/>
          <a:p>
            <a:r>
              <a:rPr lang="en-US" sz="1000" dirty="0"/>
              <a:t>Migration scenarios per slice type are defined assuming different drivers for introducing 5G/NR and 5G CN depending on customer segment.</a:t>
            </a:r>
          </a:p>
        </p:txBody>
      </p:sp>
      <p:sp>
        <p:nvSpPr>
          <p:cNvPr id="4" name="Slide Number Placeholder 3"/>
          <p:cNvSpPr>
            <a:spLocks noGrp="1"/>
          </p:cNvSpPr>
          <p:nvPr>
            <p:ph type="sldNum" sz="quarter" idx="10"/>
          </p:nvPr>
        </p:nvSpPr>
        <p:spPr/>
        <p:txBody>
          <a:bodyPr/>
          <a:lstStyle/>
          <a:p>
            <a:fld id="{F9F140D4-8B2A-429C-B8E7-280B1B4D8A73}" type="slidenum">
              <a:rPr lang="en-US" smtClean="0"/>
              <a:t>19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05550492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842963"/>
            <a:ext cx="6229350" cy="3503612"/>
          </a:xfrm>
        </p:spPr>
      </p:sp>
      <p:sp>
        <p:nvSpPr>
          <p:cNvPr id="3" name="Notes Placeholder 2"/>
          <p:cNvSpPr>
            <a:spLocks noGrp="1"/>
          </p:cNvSpPr>
          <p:nvPr>
            <p:ph type="body" idx="1"/>
          </p:nvPr>
        </p:nvSpPr>
        <p:spPr/>
        <p:txBody>
          <a:bodyPr/>
          <a:lstStyle/>
          <a:p>
            <a:r>
              <a:rPr lang="en-US" sz="1000" dirty="0"/>
              <a:t>This segment has a wide range of use cases but focusing on wide area coverage to a low cost. These use cases are addressed by M-MTC specific features emerging already in Release 14 like </a:t>
            </a:r>
            <a:r>
              <a:rPr lang="en-US" sz="1000" dirty="0" err="1"/>
              <a:t>NBIoT</a:t>
            </a:r>
            <a:r>
              <a:rPr lang="en-US" sz="1000" dirty="0"/>
              <a:t> (Narrow Band </a:t>
            </a:r>
            <a:r>
              <a:rPr lang="en-US" sz="1000" dirty="0" err="1"/>
              <a:t>IoT</a:t>
            </a:r>
            <a:r>
              <a:rPr lang="en-US" sz="1000" dirty="0"/>
              <a:t>). Over time the corresponding functionality will be supported in 5G CN over Option 5.</a:t>
            </a:r>
          </a:p>
          <a:p>
            <a:endParaRPr lang="en-US" sz="1000" dirty="0"/>
          </a:p>
        </p:txBody>
      </p:sp>
      <p:sp>
        <p:nvSpPr>
          <p:cNvPr id="4" name="Slide Number Placeholder 3"/>
          <p:cNvSpPr>
            <a:spLocks noGrp="1"/>
          </p:cNvSpPr>
          <p:nvPr>
            <p:ph type="sldNum" sz="quarter" idx="10"/>
          </p:nvPr>
        </p:nvSpPr>
        <p:spPr/>
        <p:txBody>
          <a:bodyPr/>
          <a:lstStyle/>
          <a:p>
            <a:fld id="{4FC2379D-4B81-4641-ABE3-B955FAC33709}" type="slidenum">
              <a:rPr lang="en-US" smtClean="0"/>
              <a:t>19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283589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3075" cy="3838575"/>
          </a:xfrm>
        </p:spPr>
      </p:sp>
      <p:sp>
        <p:nvSpPr>
          <p:cNvPr id="3" name="Notes Placeholder 2"/>
          <p:cNvSpPr>
            <a:spLocks noGrp="1"/>
          </p:cNvSpPr>
          <p:nvPr>
            <p:ph type="body" idx="1"/>
          </p:nvPr>
        </p:nvSpPr>
        <p:spPr>
          <a:xfrm>
            <a:off x="1309532" y="4789883"/>
            <a:ext cx="4714315" cy="4915404"/>
          </a:xfrm>
        </p:spPr>
        <p:txBody>
          <a:bodyPr/>
          <a:lstStyle/>
          <a:p>
            <a:r>
              <a:rPr lang="en-US" sz="1000" dirty="0"/>
              <a:t>The main course objectives for this course is listed in the figure.</a:t>
            </a: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A8A1D28A-A36E-4FBB-9FEF-68E91FAFD95A}" type="slidenum">
              <a:rPr lang="en-US" smtClean="0"/>
              <a:t>2</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29099398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figure shows the o</a:t>
            </a:r>
            <a:r>
              <a:rPr lang="en-US" sz="1000" dirty="0"/>
              <a:t>verall standardization time plan towards 5G.</a:t>
            </a:r>
          </a:p>
          <a:p>
            <a:r>
              <a:rPr lang="en-US" sz="1000" dirty="0"/>
              <a:t>The first release of 5G is called 5G Phase 1, and will be specified in Release 15. It is based on the </a:t>
            </a:r>
            <a:r>
              <a:rPr lang="en-US" sz="1000" dirty="0" err="1"/>
              <a:t>NextGen</a:t>
            </a:r>
            <a:r>
              <a:rPr lang="en-US" sz="1000" dirty="0"/>
              <a:t> TR completed in December 2016 (TR 23.799).</a:t>
            </a:r>
          </a:p>
          <a:p>
            <a:r>
              <a:rPr lang="en-US" sz="1000" dirty="0"/>
              <a:t>3GPP acceleration of 5G availability is achieved by specifying a non-standalone NR operation using LTE as control plane (CP) anchor and a 5G-enabled EPC as core network. (labeled as Option 3). The plan to have this ready by December 2017.</a:t>
            </a:r>
          </a:p>
          <a:p>
            <a:r>
              <a:rPr lang="en-US" sz="1000" dirty="0"/>
              <a:t>The full Release 15 standard Stage 3 is due June 2018 and includes remaining Options for RAN-CN interworking and also the new 5G CN.</a:t>
            </a:r>
          </a:p>
          <a:p>
            <a:endParaRPr lang="en-US" sz="1000" dirty="0"/>
          </a:p>
          <a:p>
            <a:endParaRPr lang="en-US" sz="1000" dirty="0"/>
          </a:p>
          <a:p>
            <a:endParaRPr lang="en-US" sz="1000" dirty="0"/>
          </a:p>
          <a:p>
            <a:endParaRPr lang="en-US" altLang="en-US" sz="1000"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8D1F62E-BC61-42F6-844C-0DFFBD1E6269}" type="slidenum">
              <a:rPr lang="en-US" altLang="en-US" smtClean="0">
                <a:latin typeface="Arial" charset="0"/>
                <a:ea typeface="MS PGothic" pitchFamily="34" charset="-128"/>
                <a:cs typeface="Arial" charset="0"/>
              </a:rPr>
              <a:t>20</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2004456138"/>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2925" y="842963"/>
            <a:ext cx="6229350" cy="3503612"/>
          </a:xfrm>
        </p:spPr>
      </p:sp>
      <p:sp>
        <p:nvSpPr>
          <p:cNvPr id="3" name="Notes Placeholder 2"/>
          <p:cNvSpPr>
            <a:spLocks noGrp="1"/>
          </p:cNvSpPr>
          <p:nvPr>
            <p:ph type="body" idx="1"/>
          </p:nvPr>
        </p:nvSpPr>
        <p:spPr/>
        <p:txBody>
          <a:bodyPr/>
          <a:lstStyle/>
          <a:p>
            <a:r>
              <a:rPr lang="en-US" sz="1000" dirty="0"/>
              <a:t>This segment targets the consumer MBB business including voice and data services, as well as future services using e.g. AR/VR technology. But as today, also other customer segments may be addressed by the enhanced MBB network slice. A key requirement for the </a:t>
            </a:r>
            <a:r>
              <a:rPr lang="en-US" sz="1000" dirty="0" err="1"/>
              <a:t>eMBB</a:t>
            </a:r>
            <a:r>
              <a:rPr lang="en-US" sz="1000" dirty="0"/>
              <a:t> segment is increased capacity and generally lowered latency requirements.</a:t>
            </a:r>
          </a:p>
          <a:p>
            <a:r>
              <a:rPr lang="en-US" sz="1000" dirty="0"/>
              <a:t>Early introduction of 5G could be through Option 3 to leverage NR as a capacity boost and enabler for new services requiring low latency. End target would include Option 5 and 7 to provide wide area coverage with high capacity.</a:t>
            </a:r>
          </a:p>
          <a:p>
            <a:endParaRPr lang="en-US" sz="1000" dirty="0"/>
          </a:p>
        </p:txBody>
      </p:sp>
      <p:sp>
        <p:nvSpPr>
          <p:cNvPr id="4" name="Slide Number Placeholder 3"/>
          <p:cNvSpPr>
            <a:spLocks noGrp="1"/>
          </p:cNvSpPr>
          <p:nvPr>
            <p:ph type="sldNum" sz="quarter" idx="10"/>
          </p:nvPr>
        </p:nvSpPr>
        <p:spPr/>
        <p:txBody>
          <a:bodyPr/>
          <a:lstStyle/>
          <a:p>
            <a:fld id="{F7A775B7-E722-4103-A729-EEA6D7EA48FE}" type="slidenum">
              <a:rPr lang="en-US" smtClean="0"/>
              <a:t>20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21645432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7213" y="842963"/>
            <a:ext cx="6227762" cy="3503612"/>
          </a:xfrm>
        </p:spPr>
      </p:sp>
      <p:sp>
        <p:nvSpPr>
          <p:cNvPr id="3" name="Notes Placeholder 2"/>
          <p:cNvSpPr>
            <a:spLocks noGrp="1"/>
          </p:cNvSpPr>
          <p:nvPr>
            <p:ph type="body" idx="1"/>
          </p:nvPr>
        </p:nvSpPr>
        <p:spPr/>
        <p:txBody>
          <a:bodyPr/>
          <a:lstStyle/>
          <a:p>
            <a:r>
              <a:rPr lang="en-US" sz="1000" dirty="0"/>
              <a:t>This segment has a wide range of use cases ranging from controlled environment in confined local area like a factory floor, to wide area coverage for critical communication systems like NSPS. Some of these use cases require NR and/or 5G CN characteristics while others can be solved with existing LTE/EPC, possibly with enhanced network design rules to support resilience or autonomous operations requirements.</a:t>
            </a:r>
          </a:p>
          <a:p>
            <a:endParaRPr lang="en-US" sz="1000" dirty="0"/>
          </a:p>
          <a:p>
            <a:r>
              <a:rPr lang="en-US" sz="1000" dirty="0"/>
              <a:t>Early introduction of 5G could be via Option 2 or Option 3. End target would include Option 2, 5 and 7.</a:t>
            </a:r>
          </a:p>
          <a:p>
            <a:endParaRPr lang="en-US" sz="1000" dirty="0"/>
          </a:p>
        </p:txBody>
      </p:sp>
      <p:sp>
        <p:nvSpPr>
          <p:cNvPr id="4" name="Slide Number Placeholder 3"/>
          <p:cNvSpPr>
            <a:spLocks noGrp="1"/>
          </p:cNvSpPr>
          <p:nvPr>
            <p:ph type="sldNum" sz="quarter" idx="10"/>
          </p:nvPr>
        </p:nvSpPr>
        <p:spPr/>
        <p:txBody>
          <a:bodyPr/>
          <a:lstStyle/>
          <a:p>
            <a:fld id="{713945F5-D5FF-429B-8711-36E79A3CC747}" type="slidenum">
              <a:rPr lang="en-US" smtClean="0"/>
              <a:t>20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89292360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t>A UE supporting multiple connectivity options can connect to the network in different ways, depending on radio coverage and assuming the network supports corresponding connectivity options.</a:t>
            </a:r>
          </a:p>
          <a:p>
            <a:r>
              <a:rPr lang="en-US" sz="1000" dirty="0"/>
              <a:t>The example in the figure depicts options 1, 2 and 3x.</a:t>
            </a:r>
          </a:p>
        </p:txBody>
      </p:sp>
      <p:sp>
        <p:nvSpPr>
          <p:cNvPr id="4" name="Slide Number Placeholder 3"/>
          <p:cNvSpPr>
            <a:spLocks noGrp="1"/>
          </p:cNvSpPr>
          <p:nvPr>
            <p:ph type="sldNum" sz="quarter" idx="10"/>
          </p:nvPr>
        </p:nvSpPr>
        <p:spPr/>
        <p:txBody>
          <a:bodyPr/>
          <a:lstStyle/>
          <a:p>
            <a:fld id="{6C297A88-41FE-487F-A9C9-89D4AA795A2F}" type="slidenum">
              <a:rPr lang="en-US" smtClean="0"/>
              <a:t>20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6706825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r>
              <a:rPr lang="en-US" sz="1000" dirty="0"/>
              <a:t>A UE supporting multiple connectivity options can connect to the network in different ways, depending on radio coverage and assuming the network supports corresponding connectivity options.</a:t>
            </a:r>
          </a:p>
          <a:p>
            <a:r>
              <a:rPr lang="en-US" sz="1000" dirty="0"/>
              <a:t>The example in the figure depicts options 1, 2 and 5.</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8CC43974-624F-4FCD-B890-4CC381F35985}" type="slidenum">
              <a:rPr lang="en-US" smtClean="0"/>
              <a:t>20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8" name="Date Placeholder 7"/>
          <p:cNvSpPr>
            <a:spLocks noGrp="1"/>
          </p:cNvSpPr>
          <p:nvPr>
            <p:ph type="dt" idx="1"/>
          </p:nvPr>
        </p:nvSpPr>
        <p:spPr/>
        <p:txBody>
          <a:bodyPr/>
          <a:lstStyle/>
          <a:p>
            <a:r>
              <a:rPr lang="en-US"/>
              <a:t> </a:t>
            </a:r>
          </a:p>
        </p:txBody>
      </p:sp>
    </p:spTree>
    <p:extLst>
      <p:ext uri="{BB962C8B-B14F-4D97-AF65-F5344CB8AC3E}">
        <p14:creationId xmlns:p14="http://schemas.microsoft.com/office/powerpoint/2010/main" val="338799840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842963"/>
            <a:ext cx="6229350" cy="3503612"/>
          </a:xfrm>
        </p:spPr>
      </p:sp>
      <p:sp>
        <p:nvSpPr>
          <p:cNvPr id="3" name="Notes Placeholder 2"/>
          <p:cNvSpPr>
            <a:spLocks noGrp="1"/>
          </p:cNvSpPr>
          <p:nvPr>
            <p:ph type="body" idx="1"/>
          </p:nvPr>
        </p:nvSpPr>
        <p:spPr/>
        <p:txBody>
          <a:bodyPr/>
          <a:lstStyle/>
          <a:p>
            <a:r>
              <a:rPr lang="en-US" sz="1000" dirty="0"/>
              <a:t>A UE supporting multiple connectivity options can connect to the network in different ways, depending on radio coverage and assuming the network supports corresponding connectivity options.</a:t>
            </a:r>
          </a:p>
          <a:p>
            <a:r>
              <a:rPr lang="en-US" sz="1000" dirty="0"/>
              <a:t>The example in the figure depicts options 1, 2, 5 and 7x.</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BA4CC3EF-12E6-4B39-8B3F-4A9FAC758EE0}" type="slidenum">
              <a:rPr lang="en-US" smtClean="0"/>
              <a:t>20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04605499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8800" y="842963"/>
            <a:ext cx="6227763" cy="35036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C8E220-CFE2-4821-AB30-13A551C267ED}" type="slidenum">
              <a:rPr lang="en-US" smtClean="0"/>
              <a:t>20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91645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842963"/>
            <a:ext cx="6229350" cy="3503612"/>
          </a:xfrm>
        </p:spPr>
      </p:sp>
      <p:sp>
        <p:nvSpPr>
          <p:cNvPr id="3" name="Notes Placeholder 2"/>
          <p:cNvSpPr>
            <a:spLocks noGrp="1"/>
          </p:cNvSpPr>
          <p:nvPr>
            <p:ph type="body" idx="1"/>
          </p:nvPr>
        </p:nvSpPr>
        <p:spPr/>
        <p:txBody>
          <a:bodyPr/>
          <a:lstStyle/>
          <a:p>
            <a:r>
              <a:rPr lang="en-US" sz="1000" dirty="0"/>
              <a:t>The figure shows the indicative time plan for the 5G Core standardization work in 3GPP.</a:t>
            </a:r>
          </a:p>
        </p:txBody>
      </p:sp>
      <p:sp>
        <p:nvSpPr>
          <p:cNvPr id="4" name="Slide Number Placeholder 3"/>
          <p:cNvSpPr>
            <a:spLocks noGrp="1"/>
          </p:cNvSpPr>
          <p:nvPr>
            <p:ph type="sldNum" sz="quarter" idx="10"/>
          </p:nvPr>
        </p:nvSpPr>
        <p:spPr/>
        <p:txBody>
          <a:bodyPr/>
          <a:lstStyle/>
          <a:p>
            <a:fld id="{C87D7EE1-7B73-4540-B7BE-2BA3F511DD2A}" type="slidenum">
              <a:rPr lang="en-US" smtClean="0"/>
              <a:t>2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2017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figure shows details about timing and options within the 3GPP Rel-15 standardization work. </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15D19BD-8822-4992-847A-343722EF0D09}" type="slidenum">
              <a:rPr lang="en-US" altLang="en-US" smtClean="0">
                <a:latin typeface="Arial" charset="0"/>
                <a:ea typeface="MS PGothic" pitchFamily="34" charset="-128"/>
                <a:cs typeface="Arial" charset="0"/>
              </a:rPr>
              <a:t>22</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39729781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4663" y="842963"/>
            <a:ext cx="6227762"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3GPP has decided to standardize the following RAN-CN architecture Options in Release 15:</a:t>
            </a:r>
          </a:p>
          <a:p>
            <a:pPr marL="175805" indent="-175805">
              <a:buFont typeface="Arial" panose="020B0604020202020204" pitchFamily="34" charset="0"/>
              <a:buChar char="•"/>
            </a:pPr>
            <a:r>
              <a:rPr lang="en-US" sz="1000" dirty="0">
                <a:cs typeface="Times New Roman" panose="02020603050405020304" pitchFamily="18" charset="0"/>
              </a:rPr>
              <a:t>Option 2, 4, 5 and 7 including the new 5G Core Network.</a:t>
            </a:r>
          </a:p>
          <a:p>
            <a:pPr marL="175805" indent="-175805">
              <a:buFont typeface="Arial" panose="020B0604020202020204" pitchFamily="34" charset="0"/>
              <a:buChar char="•"/>
            </a:pPr>
            <a:r>
              <a:rPr lang="en-US" sz="1000" dirty="0">
                <a:cs typeface="Times New Roman" panose="02020603050405020304" pitchFamily="18" charset="0"/>
              </a:rPr>
              <a:t>Option 3 </a:t>
            </a:r>
            <a:r>
              <a:rPr lang="en-GB" sz="1000" dirty="0">
                <a:cs typeface="Times New Roman" panose="02020603050405020304" pitchFamily="18" charset="0"/>
              </a:rPr>
              <a:t>is based on tight interworking between LTE and NR on RAN-level providing NR support with minor impact to EPC. </a:t>
            </a:r>
          </a:p>
          <a:p>
            <a:pPr lvl="0">
              <a:defRPr/>
            </a:pPr>
            <a:r>
              <a:rPr lang="en-US" sz="1000" dirty="0">
                <a:cs typeface="Times New Roman" panose="02020603050405020304" pitchFamily="18" charset="0"/>
              </a:rPr>
              <a:t>The sub-options (called as 3a, 4a and 7a) provides an alternative path for the user plane interface between CN and AN. For example, in option 3 user plane is between CN and LTE </a:t>
            </a:r>
            <a:r>
              <a:rPr lang="en-US" sz="1000" dirty="0" err="1">
                <a:cs typeface="Times New Roman" panose="02020603050405020304" pitchFamily="18" charset="0"/>
              </a:rPr>
              <a:t>eNB</a:t>
            </a:r>
            <a:r>
              <a:rPr lang="en-US" sz="1000" dirty="0">
                <a:cs typeface="Times New Roman" panose="02020603050405020304" pitchFamily="18" charset="0"/>
              </a:rPr>
              <a:t> while in option 3a user plane can also be between CN and NR </a:t>
            </a:r>
            <a:r>
              <a:rPr lang="en-US" sz="1000" dirty="0" err="1">
                <a:cs typeface="Times New Roman" panose="02020603050405020304" pitchFamily="18" charset="0"/>
              </a:rPr>
              <a:t>gNB</a:t>
            </a:r>
            <a:r>
              <a:rPr lang="en-US" sz="1000" dirty="0">
                <a:cs typeface="Times New Roman" panose="02020603050405020304" pitchFamily="18" charset="0"/>
              </a:rPr>
              <a:t>.</a:t>
            </a:r>
          </a:p>
          <a:p>
            <a:r>
              <a:rPr lang="en-GB" sz="1000" dirty="0">
                <a:cs typeface="Times New Roman" panose="02020603050405020304" pitchFamily="18" charset="0"/>
              </a:rPr>
              <a:t>In addition, 3GPP decided not to standardize Option 6 and 8, which were options for NR interworking with EPC.</a:t>
            </a:r>
          </a:p>
          <a:p>
            <a:r>
              <a:rPr lang="en-US" sz="1000" dirty="0">
                <a:cs typeface="Times New Roman" panose="02020603050405020304" pitchFamily="18" charset="0"/>
              </a:rPr>
              <a:t>Option 3, 4 and 7 enables RAN to do dual connectivity over LTE and NR in order to optimize capacity and spectrum utilization.</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3F74BDF-93BF-4D21-AE0A-D3D6C94E467E}" type="slidenum">
              <a:rPr lang="en-US" smtClean="0"/>
              <a:t>2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50781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is slide is one way to depict all the RAN-CN interface options for Release 15 including the timing of standardization availability as well as UE impact.</a:t>
            </a:r>
          </a:p>
          <a:p>
            <a:r>
              <a:rPr lang="en-US" altLang="en-US" sz="1000" dirty="0"/>
              <a:t>Operators may or may not deploy all these options.</a:t>
            </a:r>
          </a:p>
          <a:p>
            <a:r>
              <a:rPr lang="en-US" altLang="en-US" sz="1000" dirty="0"/>
              <a:t>Note that this is not a product view. Product realization may bundle support for different interfaces in the same solution, and timing of product availability  is obviously after the standardization availability.</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7B53A01-649A-4734-986D-E98FF871D271}" type="slidenum">
              <a:rPr lang="en-US" altLang="en-US" smtClean="0">
                <a:latin typeface="Arial" charset="0"/>
                <a:ea typeface="MS PGothic" pitchFamily="34" charset="-128"/>
                <a:cs typeface="Arial" charset="0"/>
              </a:rPr>
              <a:t>24</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26641432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1975" y="842963"/>
            <a:ext cx="6227763" cy="3503612"/>
          </a:xfrm>
        </p:spPr>
      </p:sp>
      <p:sp>
        <p:nvSpPr>
          <p:cNvPr id="3" name="Notes Placeholder 2"/>
          <p:cNvSpPr>
            <a:spLocks noGrp="1"/>
          </p:cNvSpPr>
          <p:nvPr>
            <p:ph type="body" idx="1"/>
          </p:nvPr>
        </p:nvSpPr>
        <p:spPr/>
        <p:txBody>
          <a:bodyPr/>
          <a:lstStyle/>
          <a:p>
            <a:r>
              <a:rPr lang="en-US" sz="1000" dirty="0"/>
              <a:t>The slide lists the key issues that the next generation (5G) study group has identified and listed in 3GPP TR 23.799. The study was concluded in December 2016.</a:t>
            </a:r>
          </a:p>
        </p:txBody>
      </p:sp>
      <p:sp>
        <p:nvSpPr>
          <p:cNvPr id="4" name="Slide Number Placeholder 3"/>
          <p:cNvSpPr>
            <a:spLocks noGrp="1"/>
          </p:cNvSpPr>
          <p:nvPr>
            <p:ph type="sldNum" sz="quarter" idx="10"/>
          </p:nvPr>
        </p:nvSpPr>
        <p:spPr/>
        <p:txBody>
          <a:bodyPr/>
          <a:lstStyle/>
          <a:p>
            <a:fld id="{508FA24F-FDC4-4BF9-97E1-BBEB9F021B80}" type="slidenum">
              <a:rPr lang="en-US" smtClean="0"/>
              <a:t>2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882334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842963"/>
            <a:ext cx="6229350" cy="3503612"/>
          </a:xfrm>
        </p:spPr>
      </p:sp>
      <p:sp>
        <p:nvSpPr>
          <p:cNvPr id="3" name="Notes Placeholder 2"/>
          <p:cNvSpPr>
            <a:spLocks noGrp="1"/>
          </p:cNvSpPr>
          <p:nvPr>
            <p:ph type="body" idx="1"/>
          </p:nvPr>
        </p:nvSpPr>
        <p:spPr/>
        <p:txBody>
          <a:bodyPr/>
          <a:lstStyle/>
          <a:p>
            <a:r>
              <a:rPr lang="en-US" sz="1000" dirty="0"/>
              <a:t>The key features that will be covered in 5G system release 15 phase 1.</a:t>
            </a:r>
          </a:p>
        </p:txBody>
      </p:sp>
      <p:sp>
        <p:nvSpPr>
          <p:cNvPr id="4" name="Slide Number Placeholder 3"/>
          <p:cNvSpPr>
            <a:spLocks noGrp="1"/>
          </p:cNvSpPr>
          <p:nvPr>
            <p:ph type="sldNum" sz="quarter" idx="10"/>
          </p:nvPr>
        </p:nvSpPr>
        <p:spPr/>
        <p:txBody>
          <a:bodyPr/>
          <a:lstStyle/>
          <a:p>
            <a:fld id="{4138E39C-F5D7-4B01-B066-5B16196A8456}" type="slidenum">
              <a:rPr lang="en-US" smtClean="0"/>
              <a:t>2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6881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842963"/>
            <a:ext cx="6229350" cy="3503612"/>
          </a:xfrm>
        </p:spPr>
      </p:sp>
      <p:sp>
        <p:nvSpPr>
          <p:cNvPr id="3" name="Notes Placeholder 2"/>
          <p:cNvSpPr>
            <a:spLocks noGrp="1"/>
          </p:cNvSpPr>
          <p:nvPr>
            <p:ph type="body" idx="1"/>
          </p:nvPr>
        </p:nvSpPr>
        <p:spPr/>
        <p:txBody>
          <a:bodyPr/>
          <a:lstStyle/>
          <a:p>
            <a:r>
              <a:rPr lang="en-US" sz="1000" dirty="0"/>
              <a:t>The slide described the work being done at the moment for phase 1 stage 2.</a:t>
            </a:r>
          </a:p>
        </p:txBody>
      </p:sp>
      <p:sp>
        <p:nvSpPr>
          <p:cNvPr id="4" name="Slide Number Placeholder 3"/>
          <p:cNvSpPr>
            <a:spLocks noGrp="1"/>
          </p:cNvSpPr>
          <p:nvPr>
            <p:ph type="sldNum" sz="quarter" idx="10"/>
          </p:nvPr>
        </p:nvSpPr>
        <p:spPr/>
        <p:txBody>
          <a:bodyPr/>
          <a:lstStyle/>
          <a:p>
            <a:fld id="{87B17E9F-F528-4D89-84F0-A504C073F426}" type="slidenum">
              <a:rPr lang="en-US" smtClean="0"/>
              <a:t>2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658352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842963"/>
            <a:ext cx="6229350" cy="3503612"/>
          </a:xfrm>
        </p:spPr>
      </p:sp>
      <p:sp>
        <p:nvSpPr>
          <p:cNvPr id="3" name="Notes Placeholder 2"/>
          <p:cNvSpPr>
            <a:spLocks noGrp="1"/>
          </p:cNvSpPr>
          <p:nvPr>
            <p:ph type="body" idx="1"/>
          </p:nvPr>
        </p:nvSpPr>
        <p:spPr/>
        <p:txBody>
          <a:bodyPr/>
          <a:lstStyle/>
          <a:p>
            <a:r>
              <a:rPr lang="en-US" sz="1000" dirty="0"/>
              <a:t>The slide describes the work going on within 3GPP related to Telecom Management for 5G (SA5).</a:t>
            </a:r>
          </a:p>
        </p:txBody>
      </p:sp>
      <p:sp>
        <p:nvSpPr>
          <p:cNvPr id="4" name="Slide Number Placeholder 3"/>
          <p:cNvSpPr>
            <a:spLocks noGrp="1"/>
          </p:cNvSpPr>
          <p:nvPr>
            <p:ph type="sldNum" sz="quarter" idx="10"/>
          </p:nvPr>
        </p:nvSpPr>
        <p:spPr/>
        <p:txBody>
          <a:bodyPr/>
          <a:lstStyle/>
          <a:p>
            <a:fld id="{0C6D7417-F929-448B-9405-620A630DED73}" type="slidenum">
              <a:rPr lang="en-US" smtClean="0"/>
              <a:t>2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8508687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9913" y="842963"/>
            <a:ext cx="6227762" cy="3503612"/>
          </a:xfrm>
        </p:spPr>
      </p:sp>
      <p:sp>
        <p:nvSpPr>
          <p:cNvPr id="3" name="Notes Placeholder 2"/>
          <p:cNvSpPr>
            <a:spLocks noGrp="1"/>
          </p:cNvSpPr>
          <p:nvPr>
            <p:ph type="body" idx="1"/>
          </p:nvPr>
        </p:nvSpPr>
        <p:spPr/>
        <p:txBody>
          <a:bodyPr/>
          <a:lstStyle/>
          <a:p>
            <a:r>
              <a:rPr lang="en-US" sz="1000" dirty="0"/>
              <a:t>The NGMN Alliance (Next Generation Mobile Networks Alliance) is an open forum founded by world-leading mobile network operators. Its goal is to ensure that the standards for next generation network infrastructure, service platforms and devices will meet the requirements of operators and, ultimately, will satisfy end user demand and expectations. </a:t>
            </a:r>
          </a:p>
          <a:p>
            <a:r>
              <a:rPr lang="en-US" sz="1000" dirty="0"/>
              <a:t>NGMN seeks to incorporate the views of all interested stakeholders in the telecommunications industry and is open to three categories of participants (NGMN Partners):</a:t>
            </a:r>
          </a:p>
          <a:p>
            <a:pPr marL="175805" indent="-175805">
              <a:buFont typeface="Arial" panose="020B0604020202020204" pitchFamily="34" charset="0"/>
              <a:buChar char="•"/>
            </a:pPr>
            <a:r>
              <a:rPr lang="en-US" sz="1000" dirty="0"/>
              <a:t>Mobile network operators (Members)</a:t>
            </a:r>
          </a:p>
          <a:p>
            <a:pPr marL="175805" indent="-175805">
              <a:buFont typeface="Arial" panose="020B0604020202020204" pitchFamily="34" charset="0"/>
              <a:buChar char="•"/>
            </a:pPr>
            <a:r>
              <a:rPr lang="en-US" sz="1000" dirty="0"/>
              <a:t>Telco vendors, software companies and many other leading industry players (Contributors)</a:t>
            </a:r>
          </a:p>
          <a:p>
            <a:pPr marL="175805" indent="-175805">
              <a:buFont typeface="Arial" panose="020B0604020202020204" pitchFamily="34" charset="0"/>
              <a:buChar char="•"/>
            </a:pPr>
            <a:r>
              <a:rPr lang="en-US" sz="1000" dirty="0"/>
              <a:t>Research institutes contributing substantially to mid- to long-term innovation (Advisors).</a:t>
            </a:r>
          </a:p>
          <a:p>
            <a:r>
              <a:rPr lang="en-US" sz="1000" dirty="0"/>
              <a:t>Each of these Partner categories has different rights as laid down in the NGMN Articles of Association and the NGMN Participation Guidelines. </a:t>
            </a:r>
          </a:p>
          <a:p>
            <a:endParaRPr lang="en-US" sz="1000" dirty="0"/>
          </a:p>
        </p:txBody>
      </p:sp>
      <p:sp>
        <p:nvSpPr>
          <p:cNvPr id="4" name="Slide Number Placeholder 3"/>
          <p:cNvSpPr>
            <a:spLocks noGrp="1"/>
          </p:cNvSpPr>
          <p:nvPr>
            <p:ph type="sldNum" sz="quarter" idx="10"/>
          </p:nvPr>
        </p:nvSpPr>
        <p:spPr/>
        <p:txBody>
          <a:bodyPr/>
          <a:lstStyle/>
          <a:p>
            <a:fld id="{C760F106-7438-4827-9A1D-5006FF912805}" type="slidenum">
              <a:rPr lang="en-US" smtClean="0"/>
              <a:t>2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261872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79413" y="736600"/>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7386AB46-C2B8-4F14-A0EB-A528CD7EEF9F}" type="slidenum">
              <a:rPr lang="en-US" smtClean="0"/>
              <a:t>3</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7339029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NGMN has defined a set of  terms, useful in the context of explaining and discussing network slicing and the associated services. </a:t>
            </a:r>
          </a:p>
          <a:p>
            <a:pPr marL="175805" indent="-175805">
              <a:buFont typeface="Arial" panose="020B0604020202020204" pitchFamily="34" charset="0"/>
              <a:buChar char="•"/>
            </a:pPr>
            <a:r>
              <a:rPr lang="en-US" sz="1000" dirty="0">
                <a:cs typeface="Times New Roman" panose="02020603050405020304" pitchFamily="18" charset="0"/>
              </a:rPr>
              <a:t>A “network slice instance” is defined as a set of network functions, and resources to run these network functions, forming a complete instantiated logical network to meet certain network characteristics required by the Service Instance(s). This implies that a network slice (instance) is not a service by itself, but it serves to support one or several services.</a:t>
            </a:r>
          </a:p>
          <a:p>
            <a:pPr marL="175805" indent="-175805">
              <a:buFont typeface="Arial" panose="020B0604020202020204" pitchFamily="34" charset="0"/>
              <a:buChar char="•"/>
            </a:pPr>
            <a:r>
              <a:rPr lang="en-US" sz="1000" dirty="0">
                <a:cs typeface="Times New Roman" panose="02020603050405020304" pitchFamily="18" charset="0"/>
              </a:rPr>
              <a:t>A “sub-network instance” is defined as comprising  of a set of Network Functions and the logical resources for these Network Functions. It is similar to network slice instance, difference being that they do not form a “complete instantiated logical network”. An instance of </a:t>
            </a:r>
            <a:r>
              <a:rPr lang="en-US" sz="1000" dirty="0" err="1">
                <a:cs typeface="Times New Roman" panose="02020603050405020304" pitchFamily="18" charset="0"/>
              </a:rPr>
              <a:t>vEPC</a:t>
            </a:r>
            <a:r>
              <a:rPr lang="en-US" sz="1000" dirty="0">
                <a:cs typeface="Times New Roman" panose="02020603050405020304" pitchFamily="18" charset="0"/>
              </a:rPr>
              <a:t> would thus be a kind of sub-network instance, but not a network slice instance. A complete logical network servicing e.g. an MVNO (Mobile Virtual Network Operator) or some vehicular customer(s) would be an example of a network slice instance. Sub-network instances may be shared by several network slice instances (yellow one in the figure)</a:t>
            </a:r>
          </a:p>
          <a:p>
            <a:pPr marL="175805" indent="-175805">
              <a:buFont typeface="Arial" panose="020B0604020202020204" pitchFamily="34" charset="0"/>
              <a:buChar char="•"/>
            </a:pPr>
            <a:r>
              <a:rPr lang="en-US" sz="1000" dirty="0">
                <a:cs typeface="Times New Roman" panose="02020603050405020304" pitchFamily="18" charset="0"/>
              </a:rPr>
              <a:t>A “service instance” is defined as an instance of an end-user service or “network as a service” (</a:t>
            </a:r>
            <a:r>
              <a:rPr lang="en-US" sz="1000" dirty="0" err="1">
                <a:cs typeface="Times New Roman" panose="02020603050405020304" pitchFamily="18" charset="0"/>
              </a:rPr>
              <a:t>NaaS</a:t>
            </a:r>
            <a:r>
              <a:rPr lang="en-US" sz="1000" dirty="0">
                <a:cs typeface="Times New Roman" panose="02020603050405020304" pitchFamily="18" charset="0"/>
              </a:rPr>
              <a:t>) that is realized within or by a Network Slice. </a:t>
            </a:r>
            <a:r>
              <a:rPr lang="en-US" sz="1000" dirty="0" err="1">
                <a:cs typeface="Times New Roman" panose="02020603050405020304" pitchFamily="18" charset="0"/>
              </a:rPr>
              <a:t>VoLTE</a:t>
            </a:r>
            <a:r>
              <a:rPr lang="en-US" sz="1000" dirty="0">
                <a:cs typeface="Times New Roman" panose="02020603050405020304" pitchFamily="18" charset="0"/>
              </a:rPr>
              <a:t> end user service could be an example of a service realized </a:t>
            </a:r>
            <a:r>
              <a:rPr lang="en-US" sz="1000" u="sng" dirty="0">
                <a:cs typeface="Times New Roman" panose="02020603050405020304" pitchFamily="18" charset="0"/>
              </a:rPr>
              <a:t>within</a:t>
            </a:r>
            <a:r>
              <a:rPr lang="en-US" sz="1000" dirty="0">
                <a:cs typeface="Times New Roman" panose="02020603050405020304" pitchFamily="18" charset="0"/>
              </a:rPr>
              <a:t> a network slice (meaning that the slice contains all the needed functions/resources for that service). A “network as a service”, i.e. wholesale/B2B/B2B2C  offering  (e.g. a complete “network as a service offering to an MVNO is an example of a service realized </a:t>
            </a:r>
            <a:r>
              <a:rPr lang="en-US" sz="1000" u="sng" dirty="0">
                <a:cs typeface="Times New Roman" panose="02020603050405020304" pitchFamily="18" charset="0"/>
              </a:rPr>
              <a:t>by</a:t>
            </a:r>
            <a:r>
              <a:rPr lang="en-US" sz="1000" dirty="0">
                <a:cs typeface="Times New Roman" panose="02020603050405020304" pitchFamily="18" charset="0"/>
              </a:rPr>
              <a:t> a network slice. In this case the network slice itself becomes a vehicle of being able to deliver such a service, through the capabilities of isolation, independent management, automation etc. Some network slices are built for a single service instance (e.g. one type of end user service or for a single business/</a:t>
            </a:r>
            <a:r>
              <a:rPr lang="en-US" sz="1000" dirty="0" err="1">
                <a:cs typeface="Times New Roman" panose="02020603050405020304" pitchFamily="18" charset="0"/>
              </a:rPr>
              <a:t>NaaS</a:t>
            </a:r>
            <a:r>
              <a:rPr lang="en-US" sz="1000" dirty="0">
                <a:cs typeface="Times New Roman" panose="02020603050405020304" pitchFamily="18" charset="0"/>
              </a:rPr>
              <a:t> customer) while others are hosting multiple service instances (multiple end user services, multiple business/</a:t>
            </a:r>
            <a:r>
              <a:rPr lang="en-US" sz="1000" dirty="0" err="1">
                <a:cs typeface="Times New Roman" panose="02020603050405020304" pitchFamily="18" charset="0"/>
              </a:rPr>
              <a:t>NaaS</a:t>
            </a:r>
            <a:r>
              <a:rPr lang="en-US" sz="1000" dirty="0">
                <a:cs typeface="Times New Roman" panose="02020603050405020304" pitchFamily="18" charset="0"/>
              </a:rPr>
              <a:t> customers). Whether to “multiplex” service instances on a network slice or not is a business (</a:t>
            </a:r>
            <a:r>
              <a:rPr lang="en-US" sz="1000" dirty="0" err="1">
                <a:cs typeface="Times New Roman" panose="02020603050405020304" pitchFamily="18" charset="0"/>
              </a:rPr>
              <a:t>polciy</a:t>
            </a:r>
            <a:r>
              <a:rPr lang="en-US" sz="1000" dirty="0">
                <a:cs typeface="Times New Roman" panose="02020603050405020304" pitchFamily="18" charset="0"/>
              </a:rPr>
              <a:t>) decision, and could even change over time/be dynamic (going from co-hosted to dedicated in order to fulfil service SLAs.</a:t>
            </a:r>
          </a:p>
          <a:p>
            <a:endParaRPr lang="en-US" sz="1000" dirty="0"/>
          </a:p>
        </p:txBody>
      </p:sp>
      <p:sp>
        <p:nvSpPr>
          <p:cNvPr id="4" name="Slide Number Placeholder 3"/>
          <p:cNvSpPr>
            <a:spLocks noGrp="1"/>
          </p:cNvSpPr>
          <p:nvPr>
            <p:ph type="sldNum" sz="quarter" idx="10"/>
          </p:nvPr>
        </p:nvSpPr>
        <p:spPr/>
        <p:txBody>
          <a:bodyPr/>
          <a:lstStyle/>
          <a:p>
            <a:fld id="{A0AFD373-0948-4C69-AB92-66B595F65B2B}" type="slidenum">
              <a:rPr lang="en-US" smtClean="0"/>
              <a:t>3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535622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US" sz="1000" dirty="0">
                <a:cs typeface="Times New Roman" panose="02020603050405020304" pitchFamily="18" charset="0"/>
              </a:rPr>
              <a:t>The lower layer contains everything from which network slice and sub-network instances can be built, the shared physical infrastructure, the ability to allocate logical resources (e.g. VMs or VPNs) and network functions/system logic that can be instantiated and configured</a:t>
            </a:r>
          </a:p>
          <a:p>
            <a:r>
              <a:rPr lang="en-US" sz="1000" dirty="0">
                <a:cs typeface="Times New Roman" panose="02020603050405020304" pitchFamily="18" charset="0"/>
              </a:rPr>
              <a:t>NGMN also defines the concept of “blueprints” (for network slice and sub-network)  as a complete description of the structure, configuration and the plans/work flows for how to instantiate and control the Network Slice Instance during its life cycle. A Network Slice Blueprint enables the instantiation of a Network Slice, which provides a certain network characteristic (e.g. ultra-low latency, ultra-reliability, value-added services for enterprises, etc.). A Network Slice Blueprint refers to required physical and logical resources and/or to Sub-network Blueprint(s).</a:t>
            </a:r>
          </a:p>
          <a:p>
            <a:r>
              <a:rPr lang="en-US" sz="1000" i="1" dirty="0">
                <a:cs typeface="Times New Roman" panose="02020603050405020304" pitchFamily="18" charset="0"/>
              </a:rPr>
              <a:t>The February 2015 5G whitepaper from NGMN pre-dated and served as requirements input to 3GPP, e.g. study 23.799 done in 2016.</a:t>
            </a:r>
          </a:p>
          <a:p>
            <a:r>
              <a:rPr lang="en-US" sz="1000" i="1" dirty="0"/>
              <a:t>https://www.ngmn.org/uploads/media/NGMN_5G_White_Paper_V1_0.pdf</a:t>
            </a:r>
            <a:endParaRPr lang="en-US" sz="1000" i="1" dirty="0">
              <a:cs typeface="Times New Roman" panose="02020603050405020304" pitchFamily="18" charset="0"/>
            </a:endParaRPr>
          </a:p>
          <a:p>
            <a:endParaRPr lang="en-US" sz="1000" dirty="0"/>
          </a:p>
        </p:txBody>
      </p:sp>
      <p:sp>
        <p:nvSpPr>
          <p:cNvPr id="4" name="Slide Number Placeholder 3"/>
          <p:cNvSpPr>
            <a:spLocks noGrp="1"/>
          </p:cNvSpPr>
          <p:nvPr>
            <p:ph type="sldNum" sz="quarter" idx="10"/>
          </p:nvPr>
        </p:nvSpPr>
        <p:spPr/>
        <p:txBody>
          <a:bodyPr/>
          <a:lstStyle/>
          <a:p>
            <a:fld id="{6F4844B9-AA82-4584-BE4A-1282DED8CD0E}" type="slidenum">
              <a:rPr lang="en-US" smtClean="0"/>
              <a:t>3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056908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7850" y="842963"/>
            <a:ext cx="6227763" cy="3503612"/>
          </a:xfrm>
        </p:spPr>
      </p:sp>
      <p:sp>
        <p:nvSpPr>
          <p:cNvPr id="3" name="Notes Placeholder 2"/>
          <p:cNvSpPr>
            <a:spLocks noGrp="1"/>
          </p:cNvSpPr>
          <p:nvPr>
            <p:ph type="body" idx="1"/>
          </p:nvPr>
        </p:nvSpPr>
        <p:spPr/>
        <p:txBody>
          <a:bodyPr/>
          <a:lstStyle/>
          <a:p>
            <a:r>
              <a:rPr lang="en-US" sz="1000" dirty="0"/>
              <a:t>The figure shows the definition of a network slice instance.</a:t>
            </a: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CCA17CE3-C851-4E35-AAF8-CD7466FB355E}" type="slidenum">
              <a:rPr lang="en-US" smtClean="0"/>
              <a:t>32</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4933586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250825" y="736600"/>
            <a:ext cx="6537325"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7ADCC02C-FCD6-47A2-AA20-9E4C0923061F}" type="slidenum">
              <a:rPr lang="en-US" smtClean="0"/>
              <a:t>33</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40615253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B73FEE59-2B42-4828-B00C-3F507EC71E4C}" type="slidenum">
              <a:rPr lang="en-US" smtClean="0"/>
              <a:t>3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635051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842963"/>
            <a:ext cx="6227763" cy="3503612"/>
          </a:xfrm>
        </p:spPr>
      </p:sp>
      <p:sp>
        <p:nvSpPr>
          <p:cNvPr id="3" name="Notes Placeholder 2"/>
          <p:cNvSpPr>
            <a:spLocks noGrp="1"/>
          </p:cNvSpPr>
          <p:nvPr>
            <p:ph type="body" idx="1"/>
          </p:nvPr>
        </p:nvSpPr>
        <p:spPr/>
        <p:txBody>
          <a:bodyPr/>
          <a:lstStyle/>
          <a:p>
            <a:r>
              <a:rPr lang="en-US" sz="1000" dirty="0"/>
              <a:t>The figure shows the Ericsson roadmap for the introduction of 5G EPC.</a:t>
            </a:r>
          </a:p>
        </p:txBody>
      </p:sp>
      <p:sp>
        <p:nvSpPr>
          <p:cNvPr id="4" name="Slide Number Placeholder 3"/>
          <p:cNvSpPr>
            <a:spLocks noGrp="1"/>
          </p:cNvSpPr>
          <p:nvPr>
            <p:ph type="sldNum" sz="quarter" idx="10"/>
          </p:nvPr>
        </p:nvSpPr>
        <p:spPr/>
        <p:txBody>
          <a:bodyPr/>
          <a:lstStyle/>
          <a:p>
            <a:fld id="{00972125-EDC9-4A67-B87D-126847D23764}" type="slidenum">
              <a:rPr lang="en-US" smtClean="0"/>
              <a:t>3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7288607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1025"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3GPP RAN-CN architecture Option 3 is based on tight interworking between LTE and NR on RAN-level providing NR support with minor impact to EPC.</a:t>
            </a:r>
          </a:p>
          <a:p>
            <a:pPr lvl="0">
              <a:defRPr/>
            </a:pPr>
            <a:r>
              <a:rPr lang="en-US" sz="1000" dirty="0">
                <a:cs typeface="Times New Roman" panose="02020603050405020304" pitchFamily="18" charset="0"/>
              </a:rPr>
              <a:t>The sub-option 3A provides an alternative path for the user plane interface between CN and AN. The user plane in this case can also be between CN and NR </a:t>
            </a:r>
            <a:r>
              <a:rPr lang="en-US" sz="1000" dirty="0" err="1">
                <a:cs typeface="Times New Roman" panose="02020603050405020304" pitchFamily="18" charset="0"/>
              </a:rPr>
              <a:t>gNB</a:t>
            </a:r>
            <a:r>
              <a:rPr lang="en-US" sz="1000" dirty="0">
                <a:cs typeface="Times New Roman" panose="02020603050405020304" pitchFamily="18" charset="0"/>
              </a:rPr>
              <a:t>.</a:t>
            </a:r>
          </a:p>
          <a:p>
            <a:pPr lvl="0">
              <a:defRPr/>
            </a:pPr>
            <a:r>
              <a:rPr lang="en-US" sz="1000" dirty="0">
                <a:cs typeface="Times New Roman" panose="02020603050405020304" pitchFamily="18" charset="0"/>
              </a:rPr>
              <a:t>The sub-option 3X provides user plane aggregation in NR </a:t>
            </a:r>
            <a:r>
              <a:rPr lang="en-US" sz="1000" dirty="0" err="1">
                <a:cs typeface="Times New Roman" panose="02020603050405020304" pitchFamily="18" charset="0"/>
              </a:rPr>
              <a:t>gNb</a:t>
            </a:r>
            <a:r>
              <a:rPr lang="en-US" sz="1000" dirty="0">
                <a:cs typeface="Times New Roman" panose="02020603050405020304" pitchFamily="18" charset="0"/>
              </a:rPr>
              <a:t> towards EPC by the use of the X2 interface between </a:t>
            </a:r>
            <a:r>
              <a:rPr lang="en-US" sz="1000" dirty="0" err="1">
                <a:cs typeface="Times New Roman" panose="02020603050405020304" pitchFamily="18" charset="0"/>
              </a:rPr>
              <a:t>eNb</a:t>
            </a:r>
            <a:r>
              <a:rPr lang="en-US" sz="1000" dirty="0">
                <a:cs typeface="Times New Roman" panose="02020603050405020304" pitchFamily="18" charset="0"/>
              </a:rPr>
              <a:t> and </a:t>
            </a:r>
            <a:r>
              <a:rPr lang="en-US" sz="1000" dirty="0" err="1">
                <a:cs typeface="Times New Roman" panose="02020603050405020304" pitchFamily="18" charset="0"/>
              </a:rPr>
              <a:t>gNb</a:t>
            </a:r>
            <a:r>
              <a:rPr lang="en-US" sz="1000" dirty="0">
                <a:cs typeface="Times New Roman" panose="02020603050405020304" pitchFamily="18" charset="0"/>
              </a:rPr>
              <a:t>.</a:t>
            </a:r>
          </a:p>
          <a:p>
            <a:pPr lvl="0">
              <a:defRPr/>
            </a:pPr>
            <a:r>
              <a:rPr lang="en-US" sz="1000" dirty="0">
                <a:cs typeface="Times New Roman" panose="02020603050405020304" pitchFamily="18" charset="0"/>
              </a:rPr>
              <a:t>Option 3 also enables RAN to do </a:t>
            </a:r>
            <a:r>
              <a:rPr lang="en-US" sz="1000" dirty="0"/>
              <a:t>dual connectivity over LTE and NR in order to optimize capacity and spectrum utilization.</a:t>
            </a:r>
            <a:endParaRPr lang="en-US" sz="1000" dirty="0">
              <a:cs typeface="Times New Roman" panose="02020603050405020304" pitchFamily="18" charset="0"/>
            </a:endParaRPr>
          </a:p>
          <a:p>
            <a:endParaRPr lang="en-US" sz="1000" dirty="0"/>
          </a:p>
        </p:txBody>
      </p:sp>
      <p:sp>
        <p:nvSpPr>
          <p:cNvPr id="4" name="Slide Number Placeholder 3"/>
          <p:cNvSpPr>
            <a:spLocks noGrp="1"/>
          </p:cNvSpPr>
          <p:nvPr>
            <p:ph type="sldNum" sz="quarter" idx="10"/>
          </p:nvPr>
        </p:nvSpPr>
        <p:spPr/>
        <p:txBody>
          <a:bodyPr/>
          <a:lstStyle/>
          <a:p>
            <a:fld id="{2E1251BB-0ADE-4938-849D-72997ABE60EC}" type="slidenum">
              <a:rPr lang="en-US" smtClean="0"/>
              <a:t>3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528713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842963"/>
            <a:ext cx="6229350" cy="3503612"/>
          </a:xfrm>
        </p:spPr>
      </p:sp>
      <p:sp>
        <p:nvSpPr>
          <p:cNvPr id="3" name="Notes Placeholder 2"/>
          <p:cNvSpPr>
            <a:spLocks noGrp="1"/>
          </p:cNvSpPr>
          <p:nvPr>
            <p:ph type="body" idx="1"/>
          </p:nvPr>
        </p:nvSpPr>
        <p:spPr/>
        <p:txBody>
          <a:bodyPr/>
          <a:lstStyle/>
          <a:p>
            <a:r>
              <a:rPr lang="en-US" sz="1000" dirty="0"/>
              <a:t>The figure shows the functional view of the non-roaming RAN – 5G EPC interaction supporting Option 3.</a:t>
            </a:r>
          </a:p>
        </p:txBody>
      </p:sp>
      <p:sp>
        <p:nvSpPr>
          <p:cNvPr id="4" name="Slide Number Placeholder 3"/>
          <p:cNvSpPr>
            <a:spLocks noGrp="1"/>
          </p:cNvSpPr>
          <p:nvPr>
            <p:ph type="sldNum" sz="quarter" idx="10"/>
          </p:nvPr>
        </p:nvSpPr>
        <p:spPr/>
        <p:txBody>
          <a:bodyPr/>
          <a:lstStyle/>
          <a:p>
            <a:fld id="{E5F564FE-27C8-412E-9DBB-9DD4A134FC34}" type="slidenum">
              <a:rPr lang="en-US" smtClean="0"/>
              <a:t>3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18415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842963"/>
            <a:ext cx="6229350" cy="3503612"/>
          </a:xfrm>
        </p:spPr>
      </p:sp>
      <p:sp>
        <p:nvSpPr>
          <p:cNvPr id="3" name="Notes Placeholder 2"/>
          <p:cNvSpPr>
            <a:spLocks noGrp="1"/>
          </p:cNvSpPr>
          <p:nvPr>
            <p:ph type="body" idx="1"/>
          </p:nvPr>
        </p:nvSpPr>
        <p:spPr/>
        <p:txBody>
          <a:bodyPr/>
          <a:lstStyle/>
          <a:p>
            <a:r>
              <a:rPr lang="en-US" sz="1000" dirty="0"/>
              <a:t>The figure shows the additional features needed to be supported in order to enable the EPC network for 5G option 3.</a:t>
            </a:r>
          </a:p>
          <a:p>
            <a:endParaRPr lang="en-US" sz="1000" dirty="0"/>
          </a:p>
        </p:txBody>
      </p:sp>
      <p:sp>
        <p:nvSpPr>
          <p:cNvPr id="4" name="Slide Number Placeholder 3"/>
          <p:cNvSpPr>
            <a:spLocks noGrp="1"/>
          </p:cNvSpPr>
          <p:nvPr>
            <p:ph type="sldNum" sz="quarter" idx="10"/>
          </p:nvPr>
        </p:nvSpPr>
        <p:spPr/>
        <p:txBody>
          <a:bodyPr/>
          <a:lstStyle/>
          <a:p>
            <a:fld id="{68082A3F-123F-4F9E-9CDC-2D38484B5615}" type="slidenum">
              <a:rPr lang="en-US" smtClean="0"/>
              <a:t>3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8371760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9600" y="842963"/>
            <a:ext cx="6227763" cy="3503612"/>
          </a:xfrm>
        </p:spPr>
      </p:sp>
      <p:sp>
        <p:nvSpPr>
          <p:cNvPr id="3" name="Notes Placeholder 2"/>
          <p:cNvSpPr>
            <a:spLocks noGrp="1"/>
          </p:cNvSpPr>
          <p:nvPr>
            <p:ph type="body" idx="1"/>
          </p:nvPr>
        </p:nvSpPr>
        <p:spPr>
          <a:xfrm>
            <a:off x="1309532" y="4540788"/>
            <a:ext cx="4714315" cy="5205860"/>
          </a:xfrm>
        </p:spPr>
        <p:txBody>
          <a:bodyPr/>
          <a:lstStyle/>
          <a:p>
            <a:r>
              <a:rPr lang="en-US" sz="1000" dirty="0">
                <a:cs typeface="Times New Roman" panose="02020603050405020304" pitchFamily="18" charset="0"/>
              </a:rPr>
              <a:t>Network slicing and slice selection for 5G is still to be standardized and will be an evolution of existing mechanisms.</a:t>
            </a:r>
            <a:endParaRPr lang="sv-SE" sz="1000" dirty="0">
              <a:cs typeface="Times New Roman" panose="02020603050405020304" pitchFamily="18" charset="0"/>
            </a:endParaRPr>
          </a:p>
          <a:p>
            <a:r>
              <a:rPr lang="en-US" sz="1000" dirty="0">
                <a:cs typeface="Times New Roman" panose="02020603050405020304" pitchFamily="18" charset="0"/>
              </a:rPr>
              <a:t>Functionality similar to network slicing has been possible for a long time. One example is shared networks (e.g. based on MOCN) in which network (slicing) selection is based on PLMN-ID. Another example is APN concept, for example different APNs for </a:t>
            </a:r>
            <a:r>
              <a:rPr lang="en-US" sz="1000" dirty="0" err="1">
                <a:cs typeface="Times New Roman" panose="02020603050405020304" pitchFamily="18" charset="0"/>
              </a:rPr>
              <a:t>VoLTE</a:t>
            </a:r>
            <a:r>
              <a:rPr lang="en-US" sz="1000" dirty="0">
                <a:cs typeface="Times New Roman" panose="02020603050405020304" pitchFamily="18" charset="0"/>
              </a:rPr>
              <a:t>/IMS and MBB.</a:t>
            </a:r>
            <a:br>
              <a:rPr lang="en-US" sz="1000" dirty="0">
                <a:cs typeface="Times New Roman" panose="02020603050405020304" pitchFamily="18" charset="0"/>
              </a:rPr>
            </a:br>
            <a:endParaRPr lang="en-US" sz="1000" dirty="0">
              <a:cs typeface="Times New Roman" panose="02020603050405020304" pitchFamily="18" charset="0"/>
            </a:endParaRPr>
          </a:p>
          <a:p>
            <a:r>
              <a:rPr lang="en-US" sz="1000" dirty="0">
                <a:cs typeface="Times New Roman" panose="02020603050405020304" pitchFamily="18" charset="0"/>
              </a:rPr>
              <a:t>Dedicated Core Networks (DECOR) was specified in 3GPP Rel-13. Selection of DCN is based on network configuration (New HSS parameter “UE Usage Type” used to select dedicated CN). DECOR is targeting e.g. MTC type of deployment i.e. a dedicated CN would be used for MTC and separated e.g. from MBB core network. One benefit with DECOR is that the UE is not impacted and one drawback is that it is not possible to achieve fully isolated network slices.</a:t>
            </a:r>
          </a:p>
          <a:p>
            <a:r>
              <a:rPr lang="en-US" sz="1000" dirty="0"/>
              <a:t>The DECOR architecture is specified by updates to existing specifications, most notably 23.401 and 23.060</a:t>
            </a:r>
          </a:p>
          <a:p>
            <a:endParaRPr lang="en-US" sz="1000" dirty="0">
              <a:cs typeface="Times New Roman" panose="02020603050405020304" pitchFamily="18" charset="0"/>
            </a:endParaRPr>
          </a:p>
          <a:p>
            <a:r>
              <a:rPr lang="en-US" sz="1000" dirty="0">
                <a:cs typeface="Times New Roman" panose="02020603050405020304" pitchFamily="18" charset="0"/>
              </a:rPr>
              <a:t>Evolved DECOR (</a:t>
            </a:r>
            <a:r>
              <a:rPr lang="en-US" sz="1000" dirty="0" err="1">
                <a:cs typeface="Times New Roman" panose="02020603050405020304" pitchFamily="18" charset="0"/>
              </a:rPr>
              <a:t>eDECOR</a:t>
            </a:r>
            <a:r>
              <a:rPr lang="en-US" sz="1000" dirty="0">
                <a:cs typeface="Times New Roman" panose="02020603050405020304" pitchFamily="18" charset="0"/>
              </a:rPr>
              <a:t>) was specified in 3GPP Rel-14. In this case, selection of DCN is based on information from UE and additional network logic. </a:t>
            </a:r>
            <a:r>
              <a:rPr lang="en-US" sz="1000" dirty="0" err="1">
                <a:cs typeface="Times New Roman" panose="02020603050405020304" pitchFamily="18" charset="0"/>
              </a:rPr>
              <a:t>eDECOR</a:t>
            </a:r>
            <a:r>
              <a:rPr lang="en-US" sz="1000" dirty="0">
                <a:cs typeface="Times New Roman" panose="02020603050405020304" pitchFamily="18" charset="0"/>
              </a:rPr>
              <a:t> provides support for improved isolation between network slices. UE connected to multiple slices is still not supported in </a:t>
            </a:r>
            <a:r>
              <a:rPr lang="en-US" sz="1000" dirty="0" err="1">
                <a:cs typeface="Times New Roman" panose="02020603050405020304" pitchFamily="18" charset="0"/>
              </a:rPr>
              <a:t>eDECOR</a:t>
            </a:r>
            <a:r>
              <a:rPr lang="en-US" sz="1000" dirty="0">
                <a:cs typeface="Times New Roman" panose="02020603050405020304" pitchFamily="18" charset="0"/>
              </a:rPr>
              <a:t>.</a:t>
            </a:r>
          </a:p>
          <a:p>
            <a:r>
              <a:rPr lang="en-US" sz="1000" dirty="0"/>
              <a:t>Study on DECOR enhancements started in 3GPP SA2 Release 14 with Ericsson as rapporteur.</a:t>
            </a:r>
          </a:p>
          <a:p>
            <a:endParaRPr lang="en-US" sz="1000" dirty="0">
              <a:cs typeface="Times New Roman" panose="02020603050405020304" pitchFamily="18" charset="0"/>
            </a:endParaRPr>
          </a:p>
          <a:p>
            <a:r>
              <a:rPr lang="en-US" sz="1000" dirty="0">
                <a:cs typeface="Times New Roman" panose="02020603050405020304" pitchFamily="18" charset="0"/>
              </a:rPr>
              <a:t>Network slicing for 5G is likely based on </a:t>
            </a:r>
            <a:r>
              <a:rPr lang="en-US" sz="1000" dirty="0" err="1">
                <a:cs typeface="Times New Roman" panose="02020603050405020304" pitchFamily="18" charset="0"/>
              </a:rPr>
              <a:t>eDECOR</a:t>
            </a:r>
            <a:r>
              <a:rPr lang="en-US" sz="1000" dirty="0">
                <a:cs typeface="Times New Roman" panose="02020603050405020304" pitchFamily="18" charset="0"/>
              </a:rPr>
              <a:t> and will be specified in 3GPP Rel-15. Possible benefits may include further improved isolation between network slices, support for UE connected to multiple slices and possibility to support slice specific authentication. Anyhow, these benefits remain to be seen as the standardization work is still not ready.</a:t>
            </a:r>
            <a:endParaRPr lang="sv-SE" sz="1000" dirty="0">
              <a:cs typeface="Times New Roman" panose="02020603050405020304" pitchFamily="18" charset="0"/>
            </a:endParaRPr>
          </a:p>
        </p:txBody>
      </p:sp>
      <p:sp>
        <p:nvSpPr>
          <p:cNvPr id="4" name="Date Placeholder 3"/>
          <p:cNvSpPr>
            <a:spLocks noGrp="1"/>
          </p:cNvSpPr>
          <p:nvPr>
            <p:ph type="dt" idx="10"/>
          </p:nvPr>
        </p:nvSpPr>
        <p:spPr/>
        <p:txBody>
          <a:bodyPr/>
          <a:lstStyle/>
          <a:p>
            <a:r>
              <a:rPr lang="en-US">
                <a:solidFill>
                  <a:prstClr val="black"/>
                </a:solidFill>
              </a:rPr>
              <a:t> </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B2CC8032-9E5A-4A92-A5E4-56A5C3248F31}" type="slidenum">
              <a:rPr lang="en-US" smtClean="0">
                <a:solidFill>
                  <a:prstClr val="black"/>
                </a:solidFill>
              </a:rPr>
              <a:t>39</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a:solidFill>
                  <a:prstClr val="black"/>
                </a:solidFill>
              </a:rPr>
              <a:t>5G Core Concepts</a:t>
            </a:r>
            <a:endParaRPr lang="en-US" dirty="0">
              <a:solidFill>
                <a:prstClr val="black"/>
              </a:solidFill>
            </a:endParaRPr>
          </a:p>
        </p:txBody>
      </p:sp>
      <p:sp>
        <p:nvSpPr>
          <p:cNvPr id="7" name="Footer Placeholder 6"/>
          <p:cNvSpPr>
            <a:spLocks noGrp="1"/>
          </p:cNvSpPr>
          <p:nvPr>
            <p:ph type="ftr" sz="quarter" idx="13"/>
          </p:nvPr>
        </p:nvSpPr>
        <p:spPr/>
        <p:txBody>
          <a:bodyPr/>
          <a:lstStyle/>
          <a:p>
            <a:r>
              <a:rPr lang="de-DE">
                <a:solidFill>
                  <a:prstClr val="black"/>
                </a:solidFill>
              </a:rPr>
              <a:t>© Ericsson AB 2017  |  LZU1421223 PA2</a:t>
            </a:r>
            <a:endParaRPr lang="en-US" dirty="0">
              <a:solidFill>
                <a:prstClr val="black"/>
              </a:solidFill>
            </a:endParaRPr>
          </a:p>
        </p:txBody>
      </p:sp>
    </p:spTree>
    <p:extLst>
      <p:ext uri="{BB962C8B-B14F-4D97-AF65-F5344CB8AC3E}">
        <p14:creationId xmlns:p14="http://schemas.microsoft.com/office/powerpoint/2010/main" val="373869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5AF4B24B-8CAE-4209-B7B9-FF6191130281}" type="slidenum">
              <a:rPr lang="en-US" smtClean="0"/>
              <a:t>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1275963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1488" y="842963"/>
            <a:ext cx="6227762" cy="3503612"/>
          </a:xfrm>
        </p:spPr>
      </p:sp>
      <p:sp>
        <p:nvSpPr>
          <p:cNvPr id="3" name="Notes Placeholder 2"/>
          <p:cNvSpPr>
            <a:spLocks noGrp="1"/>
          </p:cNvSpPr>
          <p:nvPr>
            <p:ph type="body" idx="1"/>
          </p:nvPr>
        </p:nvSpPr>
        <p:spPr/>
        <p:txBody>
          <a:bodyPr/>
          <a:lstStyle/>
          <a:p>
            <a:pPr>
              <a:defRPr/>
            </a:pPr>
            <a:r>
              <a:rPr lang="en-US" sz="1000" dirty="0">
                <a:cs typeface="Times New Roman" panose="02020603050405020304" pitchFamily="18" charset="0"/>
              </a:rPr>
              <a:t>The figure show the slice selection based on DECOR using the HSS provisioned parameter “UE Usage Type”. The main steps in the DECOR procedure are described below. </a:t>
            </a:r>
          </a:p>
          <a:p>
            <a:pPr>
              <a:defRPr/>
            </a:pPr>
            <a:r>
              <a:rPr lang="en-US" sz="1000" dirty="0">
                <a:cs typeface="Times New Roman" panose="02020603050405020304" pitchFamily="18" charset="0"/>
              </a:rPr>
              <a:t>Step 3:</a:t>
            </a:r>
          </a:p>
          <a:p>
            <a:pPr>
              <a:defRPr/>
            </a:pPr>
            <a:r>
              <a:rPr lang="en-US" sz="1000" dirty="0">
                <a:cs typeface="Times New Roman" panose="02020603050405020304" pitchFamily="18" charset="0"/>
              </a:rPr>
              <a:t>  </a:t>
            </a:r>
            <a:r>
              <a:rPr lang="en-US" sz="1000" dirty="0">
                <a:cs typeface="Times New Roman" panose="02020603050405020304" pitchFamily="18" charset="0"/>
                <a:sym typeface="Wingdings" panose="05000000000000000000" pitchFamily="2" charset="2"/>
              </a:rPr>
              <a:t> </a:t>
            </a:r>
            <a:r>
              <a:rPr lang="en-US" sz="1000" dirty="0">
                <a:cs typeface="Times New Roman" panose="02020603050405020304" pitchFamily="18" charset="0"/>
              </a:rPr>
              <a:t>Update Location Request (No registration flag set)</a:t>
            </a:r>
          </a:p>
          <a:p>
            <a:pPr>
              <a:defRPr/>
            </a:pPr>
            <a:r>
              <a:rPr lang="en-US" sz="1000" dirty="0">
                <a:cs typeface="Times New Roman" panose="02020603050405020304" pitchFamily="18" charset="0"/>
              </a:rPr>
              <a:t>  </a:t>
            </a:r>
            <a:r>
              <a:rPr lang="en-US" sz="1000" dirty="0">
                <a:cs typeface="Times New Roman" panose="02020603050405020304" pitchFamily="18" charset="0"/>
                <a:sym typeface="Wingdings" panose="05000000000000000000" pitchFamily="2" charset="2"/>
              </a:rPr>
              <a:t> </a:t>
            </a:r>
            <a:r>
              <a:rPr lang="en-US" sz="1000" dirty="0">
                <a:cs typeface="Times New Roman" panose="02020603050405020304" pitchFamily="18" charset="0"/>
              </a:rPr>
              <a:t>Update Location Acknowledge (UE Usage Type)</a:t>
            </a:r>
          </a:p>
          <a:p>
            <a:pPr>
              <a:defRPr/>
            </a:pPr>
            <a:r>
              <a:rPr lang="en-US" sz="1000" dirty="0">
                <a:cs typeface="Times New Roman" panose="02020603050405020304" pitchFamily="18" charset="0"/>
              </a:rPr>
              <a:t>Step 4: </a:t>
            </a:r>
          </a:p>
          <a:p>
            <a:pPr>
              <a:defRPr/>
            </a:pPr>
            <a:r>
              <a:rPr lang="en-US" sz="1000" dirty="0">
                <a:cs typeface="Times New Roman" panose="02020603050405020304" pitchFamily="18" charset="0"/>
              </a:rPr>
              <a:t>  </a:t>
            </a:r>
            <a:r>
              <a:rPr lang="en-US" sz="1000" dirty="0">
                <a:cs typeface="Times New Roman" panose="02020603050405020304" pitchFamily="18" charset="0"/>
                <a:sym typeface="Wingdings" panose="05000000000000000000" pitchFamily="2" charset="2"/>
              </a:rPr>
              <a:t> DNS request (UE Usage Type)</a:t>
            </a:r>
          </a:p>
          <a:p>
            <a:pPr>
              <a:defRPr/>
            </a:pPr>
            <a:r>
              <a:rPr lang="en-US" sz="1000" dirty="0">
                <a:cs typeface="Times New Roman" panose="02020603050405020304" pitchFamily="18" charset="0"/>
                <a:sym typeface="Wingdings" panose="05000000000000000000" pitchFamily="2" charset="2"/>
              </a:rPr>
              <a:t>   DNS reply (MME Group Id (MMEGI))</a:t>
            </a:r>
          </a:p>
          <a:p>
            <a:pPr>
              <a:defRPr/>
            </a:pPr>
            <a:r>
              <a:rPr lang="en-US" sz="1000" dirty="0">
                <a:cs typeface="Times New Roman" panose="02020603050405020304" pitchFamily="18" charset="0"/>
                <a:sym typeface="Wingdings" panose="05000000000000000000" pitchFamily="2" charset="2"/>
              </a:rPr>
              <a:t>Step 5:</a:t>
            </a:r>
          </a:p>
          <a:p>
            <a:pPr>
              <a:defRPr/>
            </a:pPr>
            <a:r>
              <a:rPr lang="en-US" sz="1000" dirty="0">
                <a:cs typeface="Times New Roman" panose="02020603050405020304" pitchFamily="18" charset="0"/>
                <a:sym typeface="Wingdings" panose="05000000000000000000" pitchFamily="2" charset="2"/>
              </a:rPr>
              <a:t>   Reroute NAS Message Request (MMEGI, …)</a:t>
            </a:r>
          </a:p>
          <a:p>
            <a:pPr>
              <a:defRPr/>
            </a:pPr>
            <a:r>
              <a:rPr lang="en-US" sz="1000" dirty="0">
                <a:cs typeface="Times New Roman" panose="02020603050405020304" pitchFamily="18" charset="0"/>
                <a:sym typeface="Wingdings" panose="05000000000000000000" pitchFamily="2" charset="2"/>
              </a:rPr>
              <a:t>Step 6:</a:t>
            </a:r>
          </a:p>
          <a:p>
            <a:pPr>
              <a:defRPr/>
            </a:pPr>
            <a:r>
              <a:rPr lang="en-US" sz="1000" dirty="0">
                <a:cs typeface="Times New Roman" panose="02020603050405020304" pitchFamily="18" charset="0"/>
                <a:sym typeface="Wingdings" panose="05000000000000000000" pitchFamily="2" charset="2"/>
              </a:rPr>
              <a:t>   </a:t>
            </a:r>
            <a:r>
              <a:rPr lang="en-US" sz="1000" dirty="0">
                <a:cs typeface="Times New Roman" panose="02020603050405020304" pitchFamily="18" charset="0"/>
              </a:rPr>
              <a:t>Initial UE Message (MMEGI, …)</a:t>
            </a:r>
          </a:p>
          <a:p>
            <a:pPr>
              <a:defRPr/>
            </a:pPr>
            <a:r>
              <a:rPr lang="en-US" sz="1000" dirty="0">
                <a:cs typeface="Times New Roman" panose="02020603050405020304" pitchFamily="18" charset="0"/>
              </a:rPr>
              <a:t>Additional details:</a:t>
            </a:r>
          </a:p>
          <a:p>
            <a:pPr>
              <a:defRPr/>
            </a:pPr>
            <a:r>
              <a:rPr lang="en-US" sz="1000" dirty="0">
                <a:cs typeface="Times New Roman" panose="02020603050405020304" pitchFamily="18" charset="0"/>
              </a:rPr>
              <a:t>The first MME may omit the request of UE Usage Type from the HSS in the following cases:</a:t>
            </a:r>
          </a:p>
          <a:p>
            <a:pPr marL="175805" indent="-175805">
              <a:buFont typeface="Arial" panose="020B0604020202020204" pitchFamily="34" charset="0"/>
              <a:buChar char="•"/>
              <a:defRPr/>
            </a:pPr>
            <a:r>
              <a:rPr lang="en-US" sz="1000" dirty="0">
                <a:cs typeface="Times New Roman" panose="02020603050405020304" pitchFamily="18" charset="0"/>
              </a:rPr>
              <a:t>The UE Usage Type is locally configured in the MME</a:t>
            </a:r>
          </a:p>
          <a:p>
            <a:pPr marL="175805" indent="-175805">
              <a:buFont typeface="Arial" panose="020B0604020202020204" pitchFamily="34" charset="0"/>
              <a:buChar char="•"/>
              <a:defRPr/>
            </a:pPr>
            <a:r>
              <a:rPr lang="en-US" sz="1000" dirty="0">
                <a:cs typeface="Times New Roman" panose="02020603050405020304" pitchFamily="18" charset="0"/>
              </a:rPr>
              <a:t>The UE Usage Type is received from a previously connected MME</a:t>
            </a:r>
          </a:p>
          <a:p>
            <a:pPr>
              <a:defRPr/>
            </a:pPr>
            <a:r>
              <a:rPr lang="en-US" sz="1000" dirty="0">
                <a:cs typeface="Times New Roman" panose="02020603050405020304" pitchFamily="18" charset="0"/>
              </a:rPr>
              <a:t>The </a:t>
            </a:r>
            <a:r>
              <a:rPr lang="en-US" sz="1000" dirty="0" err="1">
                <a:cs typeface="Times New Roman" panose="02020603050405020304" pitchFamily="18" charset="0"/>
              </a:rPr>
              <a:t>eNB</a:t>
            </a:r>
            <a:r>
              <a:rPr lang="en-US" sz="1000" dirty="0">
                <a:cs typeface="Times New Roman" panose="02020603050405020304" pitchFamily="18" charset="0"/>
              </a:rPr>
              <a:t> will include the MMEGI when re-routing to a correct MME after a Reroute NAS Message Request. </a:t>
            </a:r>
            <a:r>
              <a:rPr lang="en-US" sz="1000" b="1" dirty="0">
                <a:cs typeface="Times New Roman" panose="02020603050405020304" pitchFamily="18" charset="0"/>
              </a:rPr>
              <a:t>The presence of MMEGI will indicate to the selected MME to not attempt to re-route again.</a:t>
            </a:r>
          </a:p>
          <a:p>
            <a:pPr>
              <a:defRPr/>
            </a:pPr>
            <a:r>
              <a:rPr lang="en-US" sz="1000" dirty="0">
                <a:cs typeface="Times New Roman" panose="02020603050405020304" pitchFamily="18" charset="0"/>
              </a:rPr>
              <a:t>The GUTI association between UE and MME will be used to route subsequent messages, like Service Request to the selected MME in the correct DCN (slice).</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BAF20350-C5AC-47E8-AC49-F76209ECC5FD}" type="slidenum">
              <a:rPr lang="en-US" smtClean="0"/>
              <a:t>4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9074791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US" sz="1000" b="1" dirty="0"/>
              <a:t>MMEGI</a:t>
            </a:r>
          </a:p>
          <a:p>
            <a:pPr hangingPunct="0"/>
            <a:r>
              <a:rPr lang="en-GB" sz="1000" dirty="0"/>
              <a:t>MME Identifier (MMEI) is constructed from an MME Group ID (MMEGI) and an MME Code (MMEC). The MMEGI is the unique identity of MME Pool within the context of PLMN. (TS 23.003).</a:t>
            </a:r>
            <a:endParaRPr lang="en-US" sz="1000" dirty="0"/>
          </a:p>
          <a:p>
            <a:r>
              <a:rPr lang="en-US" sz="1000" dirty="0"/>
              <a:t>An </a:t>
            </a:r>
            <a:r>
              <a:rPr lang="en-IE" sz="1000" dirty="0"/>
              <a:t>UE, supported by a cell, can connect to one out of a group of </a:t>
            </a:r>
            <a:r>
              <a:rPr lang="en-IE" sz="1000" dirty="0" err="1"/>
              <a:t>MMEs.</a:t>
            </a:r>
            <a:r>
              <a:rPr lang="en-IE" sz="1000" dirty="0"/>
              <a:t> The group consists of the MMEs supporting the tracking area for the cell limited to those that are connected to the serving </a:t>
            </a:r>
            <a:r>
              <a:rPr lang="en-IE" sz="1000" dirty="0" err="1"/>
              <a:t>eNB</a:t>
            </a:r>
            <a:r>
              <a:rPr lang="en-US" sz="1000" dirty="0"/>
              <a:t>. The MME is identified by the </a:t>
            </a:r>
            <a:r>
              <a:rPr lang="en-IE" sz="1000" dirty="0"/>
              <a:t>combination PLMNID-MMEGI-MMEC. The combination is called GUMMEI.</a:t>
            </a:r>
          </a:p>
          <a:p>
            <a:r>
              <a:rPr lang="fr-FR" sz="1000" i="1" dirty="0"/>
              <a:t>GUMMEI = MCC (3 bit) + MNC (3 bit) + MME Group ID (16 bit) + MME code (8 bit)</a:t>
            </a:r>
            <a:endParaRPr lang="en-IE" sz="1000" i="1" dirty="0"/>
          </a:p>
          <a:p>
            <a:r>
              <a:rPr lang="en-IE" sz="1000" b="1" dirty="0"/>
              <a:t>GUTI (Global Unique Temporary Identity)</a:t>
            </a:r>
          </a:p>
          <a:p>
            <a:r>
              <a:rPr lang="en-US" sz="1000" dirty="0"/>
              <a:t>The GUTI is assigned only by the MME during initial attach of a UE to the E-UTRAN. The purpose of the GUTI is to provide an unambiguous identification of the UE that does not reveal the UE or the user's permanent identity in the E-UTRAN. It also allows identification of the MME and network to which the UE attaches. The GUTI can be used by the network to identify each UE unambiguously during signaling connections.</a:t>
            </a:r>
          </a:p>
          <a:p>
            <a:r>
              <a:rPr lang="fr-FR" sz="1000" i="1" dirty="0"/>
              <a:t>GUTI  =  MCC (3 bit) + MNC (3 bit) + MME Group ID (16 bit) + MME code (8 bit) + M-TMSI(32 bit)</a:t>
            </a:r>
            <a:endParaRPr lang="en-IE" sz="1000" b="1" i="1" dirty="0"/>
          </a:p>
          <a:p>
            <a:endParaRPr lang="en-US" sz="1000" b="1" dirty="0"/>
          </a:p>
        </p:txBody>
      </p:sp>
      <p:sp>
        <p:nvSpPr>
          <p:cNvPr id="4" name="Slide Number Placeholder 3"/>
          <p:cNvSpPr>
            <a:spLocks noGrp="1"/>
          </p:cNvSpPr>
          <p:nvPr>
            <p:ph type="sldNum" sz="quarter" idx="10"/>
          </p:nvPr>
        </p:nvSpPr>
        <p:spPr/>
        <p:txBody>
          <a:bodyPr/>
          <a:lstStyle/>
          <a:p>
            <a:fld id="{E1B8AA89-011A-4529-BE3B-F8356AFEB861}" type="slidenum">
              <a:rPr lang="en-US" smtClean="0"/>
              <a:t>4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13213749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In the </a:t>
            </a:r>
            <a:r>
              <a:rPr lang="en-US" sz="1000" dirty="0" err="1">
                <a:cs typeface="Times New Roman" panose="02020603050405020304" pitchFamily="18" charset="0"/>
              </a:rPr>
              <a:t>eDECOR</a:t>
            </a:r>
            <a:r>
              <a:rPr lang="en-US" sz="1000" dirty="0">
                <a:cs typeface="Times New Roman" panose="02020603050405020304" pitchFamily="18" charset="0"/>
              </a:rPr>
              <a:t> case, selection of DCN is based on information from UE in the form of the CN Selection assistance parameter (DCN-ID). </a:t>
            </a:r>
            <a:endParaRPr lang="en-US" sz="1000" dirty="0"/>
          </a:p>
        </p:txBody>
      </p:sp>
      <p:sp>
        <p:nvSpPr>
          <p:cNvPr id="4" name="Slide Number Placeholder 3"/>
          <p:cNvSpPr>
            <a:spLocks noGrp="1"/>
          </p:cNvSpPr>
          <p:nvPr>
            <p:ph type="sldNum" sz="quarter" idx="10"/>
          </p:nvPr>
        </p:nvSpPr>
        <p:spPr/>
        <p:txBody>
          <a:bodyPr/>
          <a:lstStyle/>
          <a:p>
            <a:fld id="{CC7AD921-0AC6-4410-B862-0D47FB6E566D}" type="slidenum">
              <a:rPr lang="en-US" smtClean="0"/>
              <a:t>4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9301726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842963"/>
            <a:ext cx="6229350" cy="3503612"/>
          </a:xfrm>
        </p:spPr>
      </p:sp>
      <p:sp>
        <p:nvSpPr>
          <p:cNvPr id="3" name="Notes Placeholder 2"/>
          <p:cNvSpPr>
            <a:spLocks noGrp="1"/>
          </p:cNvSpPr>
          <p:nvPr>
            <p:ph type="body" idx="1"/>
          </p:nvPr>
        </p:nvSpPr>
        <p:spPr/>
        <p:txBody>
          <a:bodyPr/>
          <a:lstStyle/>
          <a:p>
            <a:r>
              <a:rPr lang="en-US" sz="1000" dirty="0"/>
              <a:t>The figure describes the background and drivers for the split of the control plane (CP) and the user plane (UP) functions in the current core network (EPC).</a:t>
            </a: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BCF07CCE-EDC8-4875-99CF-35908090CF94}" type="slidenum">
              <a:rPr lang="en-US" smtClean="0"/>
              <a:t>43</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30095502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7050" y="842963"/>
            <a:ext cx="6227763" cy="3503612"/>
          </a:xfrm>
        </p:spPr>
      </p:sp>
      <p:sp>
        <p:nvSpPr>
          <p:cNvPr id="3" name="Notes Placeholder 2"/>
          <p:cNvSpPr>
            <a:spLocks noGrp="1"/>
          </p:cNvSpPr>
          <p:nvPr>
            <p:ph type="body" idx="1"/>
          </p:nvPr>
        </p:nvSpPr>
        <p:spPr/>
        <p:txBody>
          <a:bodyPr/>
          <a:lstStyle/>
          <a:p>
            <a:r>
              <a:rPr lang="en-US" sz="1000" dirty="0"/>
              <a:t>The figure summarizes the ongoing activities in 3GPP regarding the CP/UP split and the relation to the ongoing 5G Core standardization.</a:t>
            </a:r>
          </a:p>
          <a:p>
            <a:endParaRPr lang="en-US" sz="1000" dirty="0"/>
          </a:p>
          <a:p>
            <a:r>
              <a:rPr lang="en-US" sz="1000" i="1" dirty="0"/>
              <a:t>TDF=Traffic Detection Function which is the 3GPP name for Deep Packet Inspection (DPI).</a:t>
            </a:r>
          </a:p>
        </p:txBody>
      </p:sp>
      <p:sp>
        <p:nvSpPr>
          <p:cNvPr id="4" name="Slide Number Placeholder 3"/>
          <p:cNvSpPr>
            <a:spLocks noGrp="1"/>
          </p:cNvSpPr>
          <p:nvPr>
            <p:ph type="sldNum" sz="quarter" idx="10"/>
          </p:nvPr>
        </p:nvSpPr>
        <p:spPr/>
        <p:txBody>
          <a:bodyPr/>
          <a:lstStyle/>
          <a:p>
            <a:fld id="{F17961BA-CF60-486F-B9B4-FCF00CD3F7F3}" type="slidenum">
              <a:rPr lang="en-US" smtClean="0"/>
              <a:t>4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638332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separation of CP and UP is the first step in a general network evolution towards 5G Core.</a:t>
            </a:r>
          </a:p>
          <a:p>
            <a:r>
              <a:rPr lang="en-US" altLang="en-US" sz="1000" dirty="0"/>
              <a:t>It makes it possible to scale the UP and CP independently which makes it easier to optimize the UP for latency/transport, efficiency and security.</a:t>
            </a:r>
          </a:p>
          <a:p>
            <a:r>
              <a:rPr lang="en-US" altLang="en-US" sz="1000" dirty="0"/>
              <a:t>It also leads to cost optimization of the network deployment since one GW-C can control multiple GW-Us through a 1:N relationship geographically separated  in the range of 1000’s of km’s.</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E003D66-10D3-468B-AB95-BD06D68F2058}" type="slidenum">
              <a:rPr lang="en-US" altLang="en-US" smtClean="0">
                <a:latin typeface="Arial" charset="0"/>
                <a:ea typeface="MS PGothic" pitchFamily="34" charset="-128"/>
                <a:cs typeface="Arial" charset="0"/>
              </a:rPr>
              <a:t>45</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39637586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842963"/>
            <a:ext cx="6229350" cy="3503612"/>
          </a:xfrm>
        </p:spPr>
      </p:sp>
      <p:sp>
        <p:nvSpPr>
          <p:cNvPr id="3" name="Notes Placeholder 2"/>
          <p:cNvSpPr>
            <a:spLocks noGrp="1"/>
          </p:cNvSpPr>
          <p:nvPr>
            <p:ph type="body" idx="1"/>
          </p:nvPr>
        </p:nvSpPr>
        <p:spPr/>
        <p:txBody>
          <a:bodyPr/>
          <a:lstStyle/>
          <a:p>
            <a:r>
              <a:rPr lang="en-GB" sz="1000" dirty="0"/>
              <a:t>The protocol stack for the control plane over the </a:t>
            </a:r>
            <a:r>
              <a:rPr lang="en-GB" sz="1000" dirty="0" err="1"/>
              <a:t>Sxa</a:t>
            </a:r>
            <a:r>
              <a:rPr lang="en-GB" sz="1000" dirty="0"/>
              <a:t>, </a:t>
            </a:r>
            <a:r>
              <a:rPr lang="en-GB" sz="1000" dirty="0" err="1"/>
              <a:t>Sxb</a:t>
            </a:r>
            <a:r>
              <a:rPr lang="en-GB" sz="1000" dirty="0"/>
              <a:t> and </a:t>
            </a:r>
            <a:r>
              <a:rPr lang="en-GB" sz="1000" dirty="0" err="1"/>
              <a:t>Sxc</a:t>
            </a:r>
            <a:r>
              <a:rPr lang="en-GB" sz="1000" dirty="0"/>
              <a:t> reference points is shown in the figure. </a:t>
            </a:r>
          </a:p>
          <a:p>
            <a:r>
              <a:rPr lang="en-GB" sz="1000" dirty="0"/>
              <a:t>The </a:t>
            </a:r>
            <a:r>
              <a:rPr lang="en-GB" sz="1000" i="1" dirty="0"/>
              <a:t>Packet Forwarding Control Protocol (PFCP) </a:t>
            </a:r>
            <a:r>
              <a:rPr lang="en-GB" sz="1000" dirty="0"/>
              <a:t>is a new protocol specified in 3GPP TS 29.244.</a:t>
            </a:r>
          </a:p>
          <a:p>
            <a:r>
              <a:rPr lang="en-US" sz="1000" dirty="0"/>
              <a:t>The CP function controls the packet processing in the UP function by establishing, modifying or terminating </a:t>
            </a:r>
            <a:r>
              <a:rPr lang="en-US" sz="1000" dirty="0" err="1"/>
              <a:t>Sx</a:t>
            </a:r>
            <a:r>
              <a:rPr lang="en-US" sz="1000" dirty="0"/>
              <a:t> Session contexts and by configuring (i.e. adding, modifying or deleting) Packet Detection Rules (PDRs), Forwarding Action Rules (FARs), </a:t>
            </a:r>
            <a:r>
              <a:rPr lang="en-US" sz="1000" dirty="0" err="1"/>
              <a:t>QoS</a:t>
            </a:r>
            <a:r>
              <a:rPr lang="en-US" sz="1000" dirty="0"/>
              <a:t> Enforcement Rules (QERs) and/or Usage Reporting Rules (URRs) per </a:t>
            </a:r>
            <a:r>
              <a:rPr lang="en-US" sz="1000" dirty="0" err="1"/>
              <a:t>Sx</a:t>
            </a:r>
            <a:r>
              <a:rPr lang="en-US" sz="1000" dirty="0"/>
              <a:t> session context, whereby an </a:t>
            </a:r>
            <a:r>
              <a:rPr lang="en-US" sz="1000" dirty="0" err="1"/>
              <a:t>Sx</a:t>
            </a:r>
            <a:r>
              <a:rPr lang="en-US" sz="1000" dirty="0"/>
              <a:t> session context may correspond to an individual PDN connection.</a:t>
            </a:r>
            <a:endParaRPr lang="en-GB" sz="1000" dirty="0"/>
          </a:p>
          <a:p>
            <a:endParaRPr lang="en-US" sz="1000" dirty="0"/>
          </a:p>
        </p:txBody>
      </p:sp>
      <p:sp>
        <p:nvSpPr>
          <p:cNvPr id="4" name="Slide Number Placeholder 3"/>
          <p:cNvSpPr>
            <a:spLocks noGrp="1"/>
          </p:cNvSpPr>
          <p:nvPr>
            <p:ph type="sldNum" sz="quarter" idx="10"/>
          </p:nvPr>
        </p:nvSpPr>
        <p:spPr/>
        <p:txBody>
          <a:bodyPr/>
          <a:lstStyle/>
          <a:p>
            <a:fld id="{551E2E24-3C21-47A1-9048-A67198C89E0D}" type="slidenum">
              <a:rPr lang="en-US" smtClean="0"/>
              <a:t>4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7419423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t>Dynamic Mobility Switching is the Ericsson 5G EPC feature name in order to support 3GPP option 3A where MME needs to support multiple user planes.</a:t>
            </a:r>
          </a:p>
        </p:txBody>
      </p:sp>
      <p:sp>
        <p:nvSpPr>
          <p:cNvPr id="4" name="Slide Number Placeholder 3"/>
          <p:cNvSpPr>
            <a:spLocks noGrp="1"/>
          </p:cNvSpPr>
          <p:nvPr>
            <p:ph type="sldNum" sz="quarter" idx="10"/>
          </p:nvPr>
        </p:nvSpPr>
        <p:spPr/>
        <p:txBody>
          <a:bodyPr/>
          <a:lstStyle/>
          <a:p>
            <a:fld id="{6FD36270-424D-4CF9-9F77-3084692F4543}" type="slidenum">
              <a:rPr lang="en-US" smtClean="0"/>
              <a:t>4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0469390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2613" y="842963"/>
            <a:ext cx="6229350" cy="3503612"/>
          </a:xfrm>
        </p:spPr>
      </p:sp>
      <p:sp>
        <p:nvSpPr>
          <p:cNvPr id="3" name="Notes Placeholder 2"/>
          <p:cNvSpPr>
            <a:spLocks noGrp="1"/>
          </p:cNvSpPr>
          <p:nvPr>
            <p:ph type="body" idx="1"/>
          </p:nvPr>
        </p:nvSpPr>
        <p:spPr/>
        <p:txBody>
          <a:bodyPr/>
          <a:lstStyle/>
          <a:p>
            <a:r>
              <a:rPr lang="en-US" sz="1000" dirty="0"/>
              <a:t>Virtual NW Service (VNS) is a logical set of several related VNFs or decomposed VNF’s packaged to provide a complete EPC solution providing an end user service as defined by Ericsson, e.g. Internet of Things, Enterprise, Mobile Broadband, etc.</a:t>
            </a:r>
          </a:p>
          <a:p>
            <a:r>
              <a:rPr lang="en-US" sz="1000" dirty="0"/>
              <a:t>The figure shows CN separation between the MBB VNS and the IOT VNS as it is done already today to achieve user service optimization for areas like:</a:t>
            </a:r>
          </a:p>
          <a:p>
            <a:pPr marL="175805" indent="-175805">
              <a:buFont typeface="Arial" panose="020B0604020202020204" pitchFamily="34" charset="0"/>
              <a:buChar char="•"/>
            </a:pPr>
            <a:r>
              <a:rPr lang="en-US" sz="1000" dirty="0"/>
              <a:t>Security differentiation</a:t>
            </a:r>
          </a:p>
          <a:p>
            <a:pPr marL="175805" indent="-175805">
              <a:buFont typeface="Arial" panose="020B0604020202020204" pitchFamily="34" charset="0"/>
              <a:buChar char="•"/>
            </a:pPr>
            <a:r>
              <a:rPr lang="en-US" sz="1000" dirty="0"/>
              <a:t>Characteristics</a:t>
            </a:r>
          </a:p>
          <a:p>
            <a:pPr marL="175805" indent="-175805">
              <a:buFont typeface="Arial" panose="020B0604020202020204" pitchFamily="34" charset="0"/>
              <a:buChar char="•"/>
            </a:pPr>
            <a:r>
              <a:rPr lang="en-US" sz="1000" dirty="0"/>
              <a:t>Individual scaling for growth </a:t>
            </a:r>
          </a:p>
          <a:p>
            <a:pPr marL="175805" indent="-175805">
              <a:buFont typeface="Arial" panose="020B0604020202020204" pitchFamily="34" charset="0"/>
              <a:buChar char="•"/>
            </a:pPr>
            <a:r>
              <a:rPr lang="en-US" sz="1000" dirty="0"/>
              <a:t>Fast TTM of new specific services</a:t>
            </a:r>
          </a:p>
          <a:p>
            <a:pPr marL="175805" indent="-175805">
              <a:buFont typeface="Arial" panose="020B0604020202020204" pitchFamily="34" charset="0"/>
              <a:buChar char="•"/>
            </a:pPr>
            <a:r>
              <a:rPr lang="en-US" sz="1000" dirty="0"/>
              <a:t>Functionality differentiation</a:t>
            </a:r>
          </a:p>
          <a:p>
            <a:pPr marL="175805" indent="-175805">
              <a:buFont typeface="Arial" panose="020B0604020202020204" pitchFamily="34" charset="0"/>
              <a:buChar char="•"/>
            </a:pPr>
            <a:r>
              <a:rPr lang="en-US" sz="1000" dirty="0"/>
              <a:t>Mission Criticality</a:t>
            </a:r>
          </a:p>
          <a:p>
            <a:pPr marL="175805" indent="-175805">
              <a:buFont typeface="Arial" panose="020B0604020202020204" pitchFamily="34" charset="0"/>
              <a:buChar char="•"/>
            </a:pPr>
            <a:r>
              <a:rPr lang="en-US" sz="1000" dirty="0"/>
              <a:t>Operator organizational aspects</a:t>
            </a:r>
          </a:p>
          <a:p>
            <a:endParaRPr lang="en-US" sz="1000" dirty="0"/>
          </a:p>
        </p:txBody>
      </p:sp>
      <p:sp>
        <p:nvSpPr>
          <p:cNvPr id="4" name="Slide Number Placeholder 3"/>
          <p:cNvSpPr>
            <a:spLocks noGrp="1"/>
          </p:cNvSpPr>
          <p:nvPr>
            <p:ph type="sldNum" sz="quarter" idx="10"/>
          </p:nvPr>
        </p:nvSpPr>
        <p:spPr/>
        <p:txBody>
          <a:bodyPr/>
          <a:lstStyle/>
          <a:p>
            <a:fld id="{1C712876-63D9-4395-A6E2-D00CE507E7EF}" type="slidenum">
              <a:rPr lang="en-US" smtClean="0"/>
              <a:t>4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8229648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dirty="0"/>
              <a:t>The figure gives the basic explanation of distributed cloud, what it is, why it is relevant and what the key business values are.</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DA2F375-4E5E-4E44-B7C3-D840B3A65FEC}" type="slidenum">
              <a:rPr lang="en-US" altLang="en-US" smtClean="0">
                <a:latin typeface="Arial" charset="0"/>
                <a:ea typeface="MS PGothic" pitchFamily="34" charset="-128"/>
                <a:cs typeface="Arial" charset="0"/>
              </a:rPr>
              <a:t>49</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3212190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dirty="0">
                <a:cs typeface="Times New Roman" panose="02020603050405020304" pitchFamily="18" charset="0"/>
              </a:rPr>
              <a:t>Several market studies shows that 5G will be an innovation engine for communication, bringing disruptive change across industries and society.</a:t>
            </a:r>
          </a:p>
          <a:p>
            <a:r>
              <a:rPr lang="en-US" sz="1000" dirty="0">
                <a:cs typeface="Times New Roman" panose="02020603050405020304" pitchFamily="18" charset="0"/>
              </a:rPr>
              <a:t>Worldwide mobile subscriptions now total around 7.4 billion; by 2021, the number will grow to 9 billion. </a:t>
            </a:r>
            <a:r>
              <a:rPr lang="en-US" sz="1000" dirty="0" err="1">
                <a:cs typeface="Times New Roman" panose="02020603050405020304" pitchFamily="18" charset="0"/>
              </a:rPr>
              <a:t>IoT</a:t>
            </a:r>
            <a:r>
              <a:rPr lang="en-US" sz="1000" dirty="0">
                <a:cs typeface="Times New Roman" panose="02020603050405020304" pitchFamily="18" charset="0"/>
              </a:rPr>
              <a:t> devices with cellular subscriptions will leap from 400 million today to 1.5 billion by 2021. [Ericsson Mobility Report, 2016]. </a:t>
            </a:r>
          </a:p>
          <a:p>
            <a:r>
              <a:rPr lang="en-US" sz="1000" dirty="0">
                <a:cs typeface="Times New Roman" panose="02020603050405020304" pitchFamily="18" charset="0"/>
              </a:rPr>
              <a:t>5G will accelerate this transformation and create new use cases, new revenue streams, and new business models for industries and consumers. </a:t>
            </a:r>
          </a:p>
          <a:p>
            <a:r>
              <a:rPr lang="en-US" sz="1000" dirty="0">
                <a:cs typeface="Times New Roman" panose="02020603050405020304" pitchFamily="18" charset="0"/>
              </a:rPr>
              <a:t>Industries that will benefit the most from 5G are those that connect something in the physical world to the internet in order to create innovative products or services, provide a better customer experience, increase efficiency, or improve safety. </a:t>
            </a:r>
          </a:p>
          <a:p>
            <a:r>
              <a:rPr lang="en-US" sz="1000" dirty="0">
                <a:cs typeface="Times New Roman" panose="02020603050405020304" pitchFamily="18" charset="0"/>
              </a:rPr>
              <a:t>With 5G, industries will have connectivity that is customized for their requirements and the agility to move quickly to meet customer needs and stay ahead of the competition</a:t>
            </a:r>
            <a:endParaRPr lang="en-US" altLang="en-US" sz="1000" dirty="0">
              <a:cs typeface="Times New Roman" panose="02020603050405020304" pitchFamily="18" charset="0"/>
            </a:endParaRP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EC4107B-B299-4520-8F42-525A85C84475}" type="slidenum">
              <a:rPr lang="en-US" altLang="en-US" smtClean="0">
                <a:latin typeface="Arial" charset="0"/>
                <a:ea typeface="MS PGothic" pitchFamily="34" charset="-128"/>
                <a:cs typeface="Arial" charset="0"/>
              </a:rPr>
              <a:t>5</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20109045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dirty="0">
                <a:cs typeface="Times New Roman" panose="02020603050405020304" pitchFamily="18" charset="0"/>
              </a:rPr>
              <a:t>Already today we have scalable datacenter deployments for IMS, User management and </a:t>
            </a:r>
            <a:r>
              <a:rPr lang="en-US" sz="1000" dirty="0" err="1">
                <a:cs typeface="Times New Roman" panose="02020603050405020304" pitchFamily="18" charset="0"/>
              </a:rPr>
              <a:t>Vitrual</a:t>
            </a:r>
            <a:r>
              <a:rPr lang="en-US" sz="1000" dirty="0">
                <a:cs typeface="Times New Roman" panose="02020603050405020304" pitchFamily="18" charset="0"/>
              </a:rPr>
              <a:t> EPC. This today includes commercial support with separation of GW Control and user-plane with independent scalability inside a single datacenter.  </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7B8379-9340-4478-AF25-09E09B7843DB}" type="slidenum">
              <a:rPr lang="en-US" altLang="en-US" smtClean="0">
                <a:latin typeface="Arial" charset="0"/>
                <a:ea typeface="MS PGothic" pitchFamily="34" charset="-128"/>
                <a:cs typeface="Arial" charset="0"/>
              </a:rPr>
              <a:t>50</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8080880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47663" y="736600"/>
            <a:ext cx="6535737" cy="3676650"/>
          </a:xfrm>
          <a:prstGeom prst="rect">
            <a:avLst/>
          </a:prstGeom>
          <a:ln/>
        </p:spPr>
      </p:sp>
      <p:sp>
        <p:nvSpPr>
          <p:cNvPr id="80899" name="Rectangle 3"/>
          <p:cNvSpPr>
            <a:spLocks noGrp="1" noChangeArrowheads="1"/>
          </p:cNvSpPr>
          <p:nvPr>
            <p:ph type="body" idx="1"/>
          </p:nvPr>
        </p:nvSpPr>
        <p:spPr>
          <a:xfrm>
            <a:off x="754290" y="4658850"/>
            <a:ext cx="6034323" cy="4413646"/>
          </a:xfrm>
          <a:prstGeom prst="rect">
            <a:avLst/>
          </a:prstGeom>
        </p:spPr>
        <p:txBody>
          <a:bodyPr/>
          <a:lstStyle/>
          <a:p>
            <a:pPr eaLnBrk="1" hangingPunct="1"/>
            <a:endParaRPr lang="en-US" sz="1000" dirty="0"/>
          </a:p>
        </p:txBody>
      </p:sp>
      <p:sp>
        <p:nvSpPr>
          <p:cNvPr id="5" name="Date Placeholder 4"/>
          <p:cNvSpPr>
            <a:spLocks noGrp="1"/>
          </p:cNvSpPr>
          <p:nvPr>
            <p:ph type="dt" idx="10"/>
          </p:nvPr>
        </p:nvSpPr>
        <p:spPr/>
        <p:txBody>
          <a:bodyPr/>
          <a:lstStyle/>
          <a:p>
            <a:r>
              <a:rPr lang="en-US"/>
              <a:t> </a:t>
            </a:r>
            <a:endParaRPr lang="en-US" dirty="0"/>
          </a:p>
        </p:txBody>
      </p:sp>
      <p:sp>
        <p:nvSpPr>
          <p:cNvPr id="6" name="Footer Placeholder 5"/>
          <p:cNvSpPr>
            <a:spLocks noGrp="1"/>
          </p:cNvSpPr>
          <p:nvPr>
            <p:ph type="ftr" sz="quarter" idx="11"/>
          </p:nvPr>
        </p:nvSpPr>
        <p:spPr/>
        <p:txBody>
          <a:bodyPr/>
          <a:lstStyle/>
          <a:p>
            <a:r>
              <a:rPr lang="de-DE"/>
              <a:t>© Ericsson AB 2017  |  LZU1421223 PA2</a:t>
            </a:r>
            <a:endParaRPr lang="en-US" dirty="0"/>
          </a:p>
        </p:txBody>
      </p:sp>
      <p:sp>
        <p:nvSpPr>
          <p:cNvPr id="8" name="Slide Number Placeholder 7"/>
          <p:cNvSpPr>
            <a:spLocks noGrp="1"/>
          </p:cNvSpPr>
          <p:nvPr>
            <p:ph type="sldNum" sz="quarter" idx="12"/>
          </p:nvPr>
        </p:nvSpPr>
        <p:spPr/>
        <p:txBody>
          <a:bodyPr/>
          <a:lstStyle/>
          <a:p>
            <a:fld id="{F982151D-BEE1-4946-9756-B6E77E13368B}" type="slidenum">
              <a:rPr lang="en-US" smtClean="0"/>
              <a:t>51</a:t>
            </a:fld>
            <a:endParaRPr lang="en-US" dirty="0"/>
          </a:p>
        </p:txBody>
      </p:sp>
      <p:sp>
        <p:nvSpPr>
          <p:cNvPr id="9" name="Header Placeholder 8"/>
          <p:cNvSpPr>
            <a:spLocks noGrp="1"/>
          </p:cNvSpPr>
          <p:nvPr>
            <p:ph type="hdr" sz="quarter" idx="13"/>
          </p:nvPr>
        </p:nvSpPr>
        <p:spPr/>
        <p:txBody>
          <a:bodyPr/>
          <a:lstStyle/>
          <a:p>
            <a:r>
              <a:rPr lang="en-US"/>
              <a:t>5G Core Concepts</a:t>
            </a:r>
            <a:endParaRPr lang="en-US" dirty="0"/>
          </a:p>
        </p:txBody>
      </p:sp>
    </p:spTree>
    <p:extLst>
      <p:ext uri="{BB962C8B-B14F-4D97-AF65-F5344CB8AC3E}">
        <p14:creationId xmlns:p14="http://schemas.microsoft.com/office/powerpoint/2010/main" val="39108722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r>
              <a:rPr lang="en-US" sz="1000" dirty="0"/>
              <a:t>The chapter objectives are listed in the figure.</a:t>
            </a:r>
          </a:p>
          <a:p>
            <a:endParaRPr lang="en-US" sz="1000" dirty="0"/>
          </a:p>
        </p:txBody>
      </p:sp>
      <p:sp>
        <p:nvSpPr>
          <p:cNvPr id="4" name="Slide Number Placeholder 3"/>
          <p:cNvSpPr>
            <a:spLocks noGrp="1"/>
          </p:cNvSpPr>
          <p:nvPr>
            <p:ph type="sldNum" sz="quarter" idx="10"/>
          </p:nvPr>
        </p:nvSpPr>
        <p:spPr/>
        <p:txBody>
          <a:bodyPr/>
          <a:lstStyle/>
          <a:p>
            <a:fld id="{12C48564-632E-4BA5-8058-FDBCA5A0AA38}" type="slidenum">
              <a:rPr lang="en-US" smtClean="0"/>
              <a:t>5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627119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figure shows the Ericsson proposal for the 5G “One Core” visualizing the broadband network architecture beyond 2020.</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23AA4EF-B09E-47CD-A0DB-EA50A5DCCCC0}" type="slidenum">
              <a:rPr lang="en-US" altLang="en-US" smtClean="0">
                <a:latin typeface="Arial" charset="0"/>
                <a:ea typeface="MS PGothic" pitchFamily="34" charset="-128"/>
                <a:cs typeface="Arial" charset="0"/>
              </a:rPr>
              <a:t>53</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10829017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766763"/>
            <a:ext cx="6481762" cy="3646487"/>
          </a:xfrm>
        </p:spPr>
      </p:sp>
      <p:sp>
        <p:nvSpPr>
          <p:cNvPr id="3" name="Notes Placeholder 2"/>
          <p:cNvSpPr>
            <a:spLocks noGrp="1"/>
          </p:cNvSpPr>
          <p:nvPr>
            <p:ph type="body" idx="1"/>
          </p:nvPr>
        </p:nvSpPr>
        <p:spPr>
          <a:xfrm>
            <a:off x="1309532" y="4667136"/>
            <a:ext cx="4714315" cy="4915404"/>
          </a:xfrm>
        </p:spPr>
        <p:txBody>
          <a:bodyPr/>
          <a:lstStyle/>
          <a:p>
            <a:r>
              <a:rPr lang="en-US" sz="1000" dirty="0"/>
              <a:t>The slide shows the general 5G System architectural concept according to 3GPP TS 23.501. </a:t>
            </a: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E9129529-8E4D-4301-87AF-294344E517B2}" type="slidenum">
              <a:rPr lang="en-US" smtClean="0"/>
              <a:t>54</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20672042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766763"/>
            <a:ext cx="6481762" cy="3646487"/>
          </a:xfrm>
        </p:spPr>
      </p:sp>
      <p:sp>
        <p:nvSpPr>
          <p:cNvPr id="3" name="Notes Placeholder 2"/>
          <p:cNvSpPr>
            <a:spLocks noGrp="1"/>
          </p:cNvSpPr>
          <p:nvPr>
            <p:ph type="body" idx="1"/>
          </p:nvPr>
        </p:nvSpPr>
        <p:spPr>
          <a:xfrm>
            <a:off x="1309532" y="4667136"/>
            <a:ext cx="4714315" cy="4915404"/>
          </a:xfrm>
        </p:spPr>
        <p:txBody>
          <a:bodyPr/>
          <a:lstStyle/>
          <a:p>
            <a:r>
              <a:rPr lang="en-GB" sz="1000" dirty="0"/>
              <a:t>Some key principles and concept are to:</a:t>
            </a:r>
          </a:p>
          <a:p>
            <a:pPr marL="175805" indent="-175805">
              <a:buFont typeface="Arial" panose="020B0604020202020204" pitchFamily="34" charset="0"/>
              <a:buChar char="•"/>
            </a:pPr>
            <a:r>
              <a:rPr lang="en-GB" sz="1000" dirty="0"/>
              <a:t>Separate the User Plane (UP) functions from the Control Plane (CP) functions, allowing independent scalability, evolution and flexible deployments e.g. centralized location or distributed (remote) location.</a:t>
            </a:r>
            <a:endParaRPr lang="en-US" sz="1000" dirty="0"/>
          </a:p>
          <a:p>
            <a:pPr marL="175805" indent="-175805">
              <a:buFont typeface="Arial" panose="020B0604020202020204" pitchFamily="34" charset="0"/>
              <a:buChar char="•"/>
            </a:pPr>
            <a:r>
              <a:rPr lang="en-GB" sz="1000" dirty="0"/>
              <a:t>Modularize the function design, e.g. to enable flexible and efficient network slicing.</a:t>
            </a:r>
            <a:endParaRPr lang="en-US" sz="1000" dirty="0"/>
          </a:p>
          <a:p>
            <a:pPr marL="175805" indent="-175805">
              <a:buFont typeface="Arial" panose="020B0604020202020204" pitchFamily="34" charset="0"/>
              <a:buChar char="•"/>
            </a:pPr>
            <a:r>
              <a:rPr lang="en-GB" sz="1000" dirty="0"/>
              <a:t>Wherever applicable, define procedures (i.e. the set of interactions between network functions) as services, so that their re-use is possible.</a:t>
            </a:r>
            <a:endParaRPr lang="en-US" sz="1000" dirty="0"/>
          </a:p>
          <a:p>
            <a:pPr marL="175805" indent="-175805">
              <a:buFont typeface="Arial" panose="020B0604020202020204" pitchFamily="34" charset="0"/>
              <a:buChar char="•"/>
            </a:pPr>
            <a:r>
              <a:rPr lang="en-GB" sz="1000" dirty="0"/>
              <a:t>Enable each Network Function to interact with other NF directly if required. The architecture does not preclude the use of an intermediate function to help route Control Plane messages (e.g. like a DRA).</a:t>
            </a:r>
            <a:endParaRPr lang="en-US" sz="1000" dirty="0"/>
          </a:p>
          <a:p>
            <a:pPr marL="175805" indent="-175805">
              <a:buFont typeface="Arial" panose="020B0604020202020204" pitchFamily="34" charset="0"/>
              <a:buChar char="•"/>
            </a:pPr>
            <a:r>
              <a:rPr lang="en-GB" sz="1000" dirty="0"/>
              <a:t>Minimize dependencies between the Access Network (AN) and the Core Network (CN). The architecture is defined with a converged access-agnostic core network with a common AN - CN interface which integrates different 3GPP and non-3GPP access types.</a:t>
            </a:r>
            <a:endParaRPr lang="en-US" sz="1000" dirty="0"/>
          </a:p>
          <a:p>
            <a:endParaRPr lang="en-US" sz="1000" dirty="0"/>
          </a:p>
          <a:p>
            <a:endParaRPr lang="en-US" sz="1000" dirty="0"/>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E027ADE5-30A7-45ED-8063-FD6DA32BD18D}" type="slidenum">
              <a:rPr lang="en-US" smtClean="0"/>
              <a:t>55</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13255086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766763"/>
            <a:ext cx="6481762" cy="3646487"/>
          </a:xfrm>
        </p:spPr>
      </p:sp>
      <p:sp>
        <p:nvSpPr>
          <p:cNvPr id="3" name="Notes Placeholder 2"/>
          <p:cNvSpPr>
            <a:spLocks noGrp="1"/>
          </p:cNvSpPr>
          <p:nvPr>
            <p:ph type="body" idx="1"/>
          </p:nvPr>
        </p:nvSpPr>
        <p:spPr>
          <a:xfrm>
            <a:off x="1309532" y="4667136"/>
            <a:ext cx="4714315" cy="4915404"/>
          </a:xfrm>
        </p:spPr>
        <p:txBody>
          <a:bodyPr/>
          <a:lstStyle/>
          <a:p>
            <a:r>
              <a:rPr lang="en-US" sz="1000" dirty="0"/>
              <a:t>Key principles continued.</a:t>
            </a:r>
          </a:p>
          <a:p>
            <a:pPr marL="175805" indent="-175805">
              <a:buFont typeface="Arial" panose="020B0604020202020204" pitchFamily="34" charset="0"/>
              <a:buChar char="•"/>
            </a:pPr>
            <a:r>
              <a:rPr lang="x-none" sz="1000" dirty="0"/>
              <a:t>Support capability exposure.</a:t>
            </a:r>
            <a:endParaRPr lang="en-US" sz="1000" dirty="0"/>
          </a:p>
          <a:p>
            <a:pPr marL="175805" indent="-175805">
              <a:buFont typeface="Arial" panose="020B0604020202020204" pitchFamily="34" charset="0"/>
              <a:buChar char="•"/>
            </a:pPr>
            <a:r>
              <a:rPr lang="en-US" sz="1000" dirty="0"/>
              <a:t>Support c</a:t>
            </a:r>
            <a:r>
              <a:rPr lang="x-none" sz="1000" dirty="0"/>
              <a:t>oncurrent access to local and centralized services. To support low latency services and access to local data networks, UP functions can be deployed close to the </a:t>
            </a:r>
            <a:r>
              <a:rPr lang="en-US" sz="1000" dirty="0"/>
              <a:t>Access N</a:t>
            </a:r>
            <a:r>
              <a:rPr lang="x-none" sz="1000" dirty="0"/>
              <a:t>etwork.</a:t>
            </a:r>
            <a:endParaRPr lang="en-US" sz="1000" dirty="0"/>
          </a:p>
          <a:p>
            <a:pPr marL="175805" indent="-175805">
              <a:buFont typeface="Arial" panose="020B0604020202020204" pitchFamily="34" charset="0"/>
              <a:buChar char="•"/>
            </a:pPr>
            <a:r>
              <a:rPr lang="x-none" sz="1000" dirty="0"/>
              <a:t>Support roaming with both Home routed traffic as well as Local breakout traffic in the visited PLMN.</a:t>
            </a:r>
            <a:endParaRPr lang="en-US" sz="1000" dirty="0"/>
          </a:p>
          <a:p>
            <a:endParaRPr lang="en-US" sz="1000" dirty="0"/>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65B984C7-A4EE-4A85-B039-6CC33832CA64}" type="slidenum">
              <a:rPr lang="en-US" smtClean="0"/>
              <a:t>56</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39661167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figure shows tentative 5G core architecture with the main control plain and user plane functions and the suggested interfaces, </a:t>
            </a:r>
            <a:r>
              <a:rPr lang="en-US" altLang="en-US" sz="1000" dirty="0" err="1"/>
              <a:t>Nx</a:t>
            </a:r>
            <a:r>
              <a:rPr lang="en-US" altLang="en-US" sz="1000" dirty="0"/>
              <a:t>.</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3F85F94-2DCD-4336-A0B5-AF802DDDFFCB}" type="slidenum">
              <a:rPr lang="en-US" altLang="en-US" smtClean="0">
                <a:latin typeface="Arial" charset="0"/>
                <a:ea typeface="MS PGothic" pitchFamily="34" charset="-128"/>
                <a:cs typeface="Arial" charset="0"/>
              </a:rPr>
              <a:t>57</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7617099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842963"/>
            <a:ext cx="6227762" cy="3503612"/>
          </a:xfrm>
        </p:spPr>
      </p:sp>
      <p:sp>
        <p:nvSpPr>
          <p:cNvPr id="3" name="Notes Placeholder 2"/>
          <p:cNvSpPr>
            <a:spLocks noGrp="1"/>
          </p:cNvSpPr>
          <p:nvPr>
            <p:ph type="body" idx="1"/>
          </p:nvPr>
        </p:nvSpPr>
        <p:spPr/>
        <p:txBody>
          <a:bodyPr/>
          <a:lstStyle/>
          <a:p>
            <a:pPr>
              <a:defRPr/>
            </a:pPr>
            <a:r>
              <a:rPr lang="en-GB" sz="1000" dirty="0"/>
              <a:t>The reference architecture in  23.501 for 5GC is defined as service-based and the interaction between network functions is represented in two ways:</a:t>
            </a:r>
          </a:p>
          <a:p>
            <a:pPr marL="175805" indent="-175805">
              <a:buFont typeface="Arial" panose="020B0604020202020204" pitchFamily="34" charset="0"/>
              <a:buChar char="•"/>
            </a:pPr>
            <a:r>
              <a:rPr lang="en-GB" sz="1000" dirty="0"/>
              <a:t>A service-based representation, where network functions (e.g. AMF) within the Control Plane enables other authorized network functions to access their services. This representation also includes point-to-point reference points where necessary.</a:t>
            </a:r>
            <a:endParaRPr lang="en-US" sz="1000" dirty="0"/>
          </a:p>
          <a:p>
            <a:pPr marL="175805" indent="-175805">
              <a:buFont typeface="Arial" panose="020B0604020202020204" pitchFamily="34" charset="0"/>
              <a:buChar char="•"/>
            </a:pPr>
            <a:r>
              <a:rPr lang="en-GB" sz="1000" dirty="0"/>
              <a:t>A reference point representation, shows the interaction exist between  the NF services in the network functions described by point-to-point reference point (e.g. N11) between any two network functions (e.g. AMF and SMF).</a:t>
            </a:r>
            <a:endParaRPr lang="en-US" sz="1000" dirty="0"/>
          </a:p>
          <a:p>
            <a:pPr>
              <a:defRPr/>
            </a:pPr>
            <a:r>
              <a:rPr lang="en-GB" sz="1000" dirty="0"/>
              <a:t>Network functions within the 5GC Control Plane shall only use service-based interfaces for their interactions.</a:t>
            </a:r>
            <a:endParaRPr lang="en-US" sz="1000" dirty="0"/>
          </a:p>
          <a:p>
            <a:pPr>
              <a:defRPr/>
            </a:pPr>
            <a:endParaRPr lang="en-US" sz="1000" dirty="0"/>
          </a:p>
          <a:p>
            <a:pPr lvl="0">
              <a:defRPr/>
            </a:pPr>
            <a:r>
              <a:rPr lang="en-GB" sz="1000" dirty="0"/>
              <a:t> </a:t>
            </a:r>
            <a:endParaRPr lang="en-US" sz="1000" dirty="0"/>
          </a:p>
        </p:txBody>
      </p:sp>
      <p:sp>
        <p:nvSpPr>
          <p:cNvPr id="4" name="Slide Number Placeholder 3"/>
          <p:cNvSpPr>
            <a:spLocks noGrp="1"/>
          </p:cNvSpPr>
          <p:nvPr>
            <p:ph type="sldNum" sz="quarter" idx="10"/>
          </p:nvPr>
        </p:nvSpPr>
        <p:spPr/>
        <p:txBody>
          <a:bodyPr/>
          <a:lstStyle/>
          <a:p>
            <a:fld id="{55F82642-60AE-4420-92A7-9E1EB5C4259C}" type="slidenum">
              <a:rPr lang="en-US" smtClean="0"/>
              <a:t>5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6966145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842963"/>
            <a:ext cx="6229350" cy="3503612"/>
          </a:xfrm>
        </p:spPr>
      </p:sp>
      <p:sp>
        <p:nvSpPr>
          <p:cNvPr id="3" name="Notes Placeholder 2"/>
          <p:cNvSpPr>
            <a:spLocks noGrp="1"/>
          </p:cNvSpPr>
          <p:nvPr>
            <p:ph type="body" idx="1"/>
          </p:nvPr>
        </p:nvSpPr>
        <p:spPr/>
        <p:txBody>
          <a:bodyPr/>
          <a:lstStyle/>
          <a:p>
            <a:r>
              <a:rPr lang="en-US" sz="1000" dirty="0"/>
              <a:t>Important terms and definitions according to 3GPP TS 23.501:</a:t>
            </a:r>
          </a:p>
          <a:p>
            <a:r>
              <a:rPr lang="en-GB" sz="1000" b="1" dirty="0"/>
              <a:t>5G System: </a:t>
            </a:r>
            <a:r>
              <a:rPr lang="en-GB" sz="1000" dirty="0"/>
              <a:t>3GPP system consisting of 5G Access Network (AN), 5G Core Network and UE.</a:t>
            </a:r>
          </a:p>
          <a:p>
            <a:r>
              <a:rPr lang="en-GB" sz="1000" b="1" dirty="0"/>
              <a:t>5G Access Network: </a:t>
            </a:r>
            <a:r>
              <a:rPr lang="en-GB" sz="1000" dirty="0"/>
              <a:t>An access network comprising a 5G-RAN and/or non-3GPP AN connecting to a 5G Core Network.</a:t>
            </a:r>
          </a:p>
          <a:p>
            <a:r>
              <a:rPr lang="en-GB" sz="1000" b="1" dirty="0"/>
              <a:t>5G Core Network: </a:t>
            </a:r>
            <a:r>
              <a:rPr lang="en-GB" sz="1000" dirty="0"/>
              <a:t>The core network specified in the present document. It connects to a 5G Access Network.</a:t>
            </a:r>
          </a:p>
          <a:p>
            <a:r>
              <a:rPr lang="en-GB" sz="1000" b="1" dirty="0"/>
              <a:t>5G-RAN:</a:t>
            </a:r>
            <a:r>
              <a:rPr lang="en-GB" sz="1000" dirty="0"/>
              <a:t> A radio access network that supports one or more of the following options with the common characteristics that it connects to 5GC:</a:t>
            </a:r>
            <a:endParaRPr lang="en-US" sz="1000" dirty="0"/>
          </a:p>
          <a:p>
            <a:pPr marL="234406" indent="-234406">
              <a:buFont typeface="+mj-lt"/>
              <a:buAutoNum type="arabicPeriod"/>
            </a:pPr>
            <a:r>
              <a:rPr lang="x-none" sz="1000" dirty="0"/>
              <a:t>Standalone New Radio.</a:t>
            </a:r>
            <a:endParaRPr lang="en-US" sz="1000" dirty="0"/>
          </a:p>
          <a:p>
            <a:pPr marL="234406" indent="-234406">
              <a:buFont typeface="+mj-lt"/>
              <a:buAutoNum type="arabicPeriod"/>
            </a:pPr>
            <a:r>
              <a:rPr lang="x-none" sz="1000" dirty="0"/>
              <a:t>New Radio is the anchor with E-UTRA extensions.</a:t>
            </a:r>
            <a:endParaRPr lang="en-US" sz="1000" dirty="0"/>
          </a:p>
          <a:p>
            <a:pPr marL="234406" indent="-234406">
              <a:buFont typeface="+mj-lt"/>
              <a:buAutoNum type="arabicPeriod"/>
            </a:pPr>
            <a:r>
              <a:rPr lang="x-none" sz="1000" dirty="0"/>
              <a:t>Standalone E-UTRA.</a:t>
            </a:r>
            <a:endParaRPr lang="en-US" sz="1000" dirty="0"/>
          </a:p>
          <a:p>
            <a:pPr marL="234406" indent="-234406">
              <a:buFont typeface="+mj-lt"/>
              <a:buAutoNum type="arabicPeriod"/>
            </a:pPr>
            <a:r>
              <a:rPr lang="x-none" sz="1000" dirty="0"/>
              <a:t>E-UTRA is the anchor with New Radio extensions.</a:t>
            </a:r>
            <a:endParaRPr lang="en-US" sz="1000" dirty="0"/>
          </a:p>
          <a:p>
            <a:r>
              <a:rPr lang="en-US" sz="1000" dirty="0"/>
              <a:t> </a:t>
            </a:r>
          </a:p>
        </p:txBody>
      </p:sp>
      <p:sp>
        <p:nvSpPr>
          <p:cNvPr id="4" name="Slide Number Placeholder 3"/>
          <p:cNvSpPr>
            <a:spLocks noGrp="1"/>
          </p:cNvSpPr>
          <p:nvPr>
            <p:ph type="sldNum" sz="quarter" idx="10"/>
          </p:nvPr>
        </p:nvSpPr>
        <p:spPr/>
        <p:txBody>
          <a:bodyPr/>
          <a:lstStyle/>
          <a:p>
            <a:fld id="{7AE1EC73-945B-46A1-97D1-8CAA77036FA3}" type="slidenum">
              <a:rPr lang="en-US" smtClean="0"/>
              <a:t>5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02125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000" dirty="0"/>
              <a:t>The 5G use cases is grouped into classes where the massive and critical Machine Type Communication (MTC) classes are new market segments where the Service Providers (e.g. operators) can expand their business beyond Mobile Broadband (MBB).   </a:t>
            </a:r>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0238A47-ACAA-4F49-8691-BD04DA84898D}" type="slidenum">
              <a:rPr lang="en-US" altLang="en-US" smtClean="0">
                <a:latin typeface="Arial" charset="0"/>
                <a:ea typeface="MS PGothic" pitchFamily="34" charset="-128"/>
                <a:cs typeface="Arial" charset="0"/>
              </a:rPr>
              <a:t>6</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5486546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842963"/>
            <a:ext cx="6227762" cy="3503612"/>
          </a:xfrm>
        </p:spPr>
      </p:sp>
      <p:sp>
        <p:nvSpPr>
          <p:cNvPr id="3" name="Notes Placeholder 2"/>
          <p:cNvSpPr>
            <a:spLocks noGrp="1"/>
          </p:cNvSpPr>
          <p:nvPr>
            <p:ph type="body" idx="1"/>
          </p:nvPr>
        </p:nvSpPr>
        <p:spPr/>
        <p:txBody>
          <a:bodyPr/>
          <a:lstStyle/>
          <a:p>
            <a:r>
              <a:rPr lang="en-US" sz="1000" dirty="0"/>
              <a:t>The figure illustrates the 5G System (5GS) including 5G Core (5GC), 5G-RAN and the UE. 5G-RAN is one component of the 5G Access Network the other component (not shown in the figure) is a non-3GPP access network connected to the 5GC.</a:t>
            </a:r>
          </a:p>
        </p:txBody>
      </p:sp>
      <p:sp>
        <p:nvSpPr>
          <p:cNvPr id="4" name="Slide Number Placeholder 3"/>
          <p:cNvSpPr>
            <a:spLocks noGrp="1"/>
          </p:cNvSpPr>
          <p:nvPr>
            <p:ph type="sldNum" sz="quarter" idx="10"/>
          </p:nvPr>
        </p:nvSpPr>
        <p:spPr/>
        <p:txBody>
          <a:bodyPr/>
          <a:lstStyle/>
          <a:p>
            <a:fld id="{0F10BCE7-E071-4958-9832-63DC51CE5563}" type="slidenum">
              <a:rPr lang="en-US" smtClean="0"/>
              <a:t>6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4911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313" y="842963"/>
            <a:ext cx="6229350" cy="3503612"/>
          </a:xfrm>
        </p:spPr>
      </p:sp>
      <p:sp>
        <p:nvSpPr>
          <p:cNvPr id="3" name="Notes Placeholder 2"/>
          <p:cNvSpPr>
            <a:spLocks noGrp="1"/>
          </p:cNvSpPr>
          <p:nvPr>
            <p:ph type="body" idx="1"/>
          </p:nvPr>
        </p:nvSpPr>
        <p:spPr/>
        <p:txBody>
          <a:bodyPr/>
          <a:lstStyle/>
          <a:p>
            <a:r>
              <a:rPr lang="en-US" sz="1000" dirty="0"/>
              <a:t>The figure </a:t>
            </a:r>
            <a:r>
              <a:rPr lang="en-GB" sz="1000" dirty="0"/>
              <a:t>the non-roaming reference architecture. Service-based interfaces are used within the Control Plane.</a:t>
            </a:r>
          </a:p>
          <a:p>
            <a:r>
              <a:rPr lang="en-GB" sz="1000" dirty="0"/>
              <a:t>The 5G System Architecture contains the following service-based interfaces:</a:t>
            </a:r>
            <a:endParaRPr lang="en-US" sz="1000" dirty="0"/>
          </a:p>
          <a:p>
            <a:pPr marL="175805" indent="-175805">
              <a:buFont typeface="Arial" panose="020B0604020202020204" pitchFamily="34" charset="0"/>
              <a:buChar char="•"/>
            </a:pPr>
            <a:r>
              <a:rPr lang="en-GB" sz="1000" b="1" dirty="0" err="1"/>
              <a:t>Namf</a:t>
            </a:r>
            <a:r>
              <a:rPr lang="en-GB" sz="1000" b="1" dirty="0"/>
              <a:t>: </a:t>
            </a:r>
            <a:r>
              <a:rPr lang="en-GB" sz="1000" dirty="0"/>
              <a:t>Service-based interface exhibited by AMF.</a:t>
            </a:r>
            <a:endParaRPr lang="en-US" sz="1000" dirty="0"/>
          </a:p>
          <a:p>
            <a:pPr marL="175805" indent="-175805">
              <a:buFont typeface="Arial" panose="020B0604020202020204" pitchFamily="34" charset="0"/>
              <a:buChar char="•"/>
            </a:pPr>
            <a:r>
              <a:rPr lang="en-GB" sz="1000" b="1" dirty="0" err="1"/>
              <a:t>Nsmf</a:t>
            </a:r>
            <a:r>
              <a:rPr lang="en-GB" sz="1000" b="1" dirty="0"/>
              <a:t>: </a:t>
            </a:r>
            <a:r>
              <a:rPr lang="en-GB" sz="1000" dirty="0"/>
              <a:t>Service-based interface exhibited by SMF.</a:t>
            </a:r>
            <a:endParaRPr lang="en-US" sz="1000" dirty="0"/>
          </a:p>
          <a:p>
            <a:pPr marL="175805" indent="-175805">
              <a:buFont typeface="Arial" panose="020B0604020202020204" pitchFamily="34" charset="0"/>
              <a:buChar char="•"/>
            </a:pPr>
            <a:r>
              <a:rPr lang="en-GB" sz="1000" b="1" dirty="0" err="1"/>
              <a:t>Nnef</a:t>
            </a:r>
            <a:r>
              <a:rPr lang="en-GB" sz="1000" b="1" dirty="0"/>
              <a:t>: </a:t>
            </a:r>
            <a:r>
              <a:rPr lang="en-GB" sz="1000" dirty="0"/>
              <a:t>Service-based interface exhibited by NEF.</a:t>
            </a:r>
            <a:endParaRPr lang="en-US" sz="1000" dirty="0"/>
          </a:p>
          <a:p>
            <a:pPr marL="175805" indent="-175805">
              <a:buFont typeface="Arial" panose="020B0604020202020204" pitchFamily="34" charset="0"/>
              <a:buChar char="•"/>
            </a:pPr>
            <a:r>
              <a:rPr lang="en-GB" sz="1000" b="1" dirty="0" err="1"/>
              <a:t>Npcf</a:t>
            </a:r>
            <a:r>
              <a:rPr lang="en-GB" sz="1000" b="1" dirty="0"/>
              <a:t>: </a:t>
            </a:r>
            <a:r>
              <a:rPr lang="en-GB" sz="1000" dirty="0"/>
              <a:t>Service-based interface exhibited by PCF.</a:t>
            </a:r>
            <a:endParaRPr lang="en-US" sz="1000" dirty="0"/>
          </a:p>
          <a:p>
            <a:pPr marL="175805" indent="-175805">
              <a:buFont typeface="Arial" panose="020B0604020202020204" pitchFamily="34" charset="0"/>
              <a:buChar char="•"/>
            </a:pPr>
            <a:r>
              <a:rPr lang="en-GB" sz="1000" b="1" dirty="0" err="1"/>
              <a:t>Nudm</a:t>
            </a:r>
            <a:r>
              <a:rPr lang="en-GB" sz="1000" b="1" dirty="0"/>
              <a:t>: </a:t>
            </a:r>
            <a:r>
              <a:rPr lang="en-GB" sz="1000" dirty="0"/>
              <a:t>Service-based interface exhibited by UDM.</a:t>
            </a:r>
            <a:endParaRPr lang="en-US" sz="1000" dirty="0"/>
          </a:p>
          <a:p>
            <a:pPr marL="175805" indent="-175805">
              <a:buFont typeface="Arial" panose="020B0604020202020204" pitchFamily="34" charset="0"/>
              <a:buChar char="•"/>
            </a:pPr>
            <a:r>
              <a:rPr lang="en-GB" sz="1000" b="1" dirty="0" err="1"/>
              <a:t>Naf</a:t>
            </a:r>
            <a:r>
              <a:rPr lang="en-GB" sz="1000" b="1" dirty="0"/>
              <a:t>: </a:t>
            </a:r>
            <a:r>
              <a:rPr lang="en-GB" sz="1000" dirty="0"/>
              <a:t>Service-based interface exhibited by AF.</a:t>
            </a:r>
            <a:endParaRPr lang="en-US" sz="1000" dirty="0"/>
          </a:p>
          <a:p>
            <a:pPr marL="175805" indent="-175805">
              <a:buFont typeface="Arial" panose="020B0604020202020204" pitchFamily="34" charset="0"/>
              <a:buChar char="•"/>
            </a:pPr>
            <a:r>
              <a:rPr lang="en-GB" sz="1000" b="1" dirty="0" err="1"/>
              <a:t>Nnrf</a:t>
            </a:r>
            <a:r>
              <a:rPr lang="en-GB" sz="1000" b="1" dirty="0"/>
              <a:t>: </a:t>
            </a:r>
            <a:r>
              <a:rPr lang="en-GB" sz="1000" dirty="0"/>
              <a:t>Service-based interface exhibited by NRF.</a:t>
            </a:r>
            <a:endParaRPr lang="en-US" sz="1000" dirty="0"/>
          </a:p>
          <a:p>
            <a:pPr marL="175805" indent="-175805">
              <a:buFont typeface="Arial" panose="020B0604020202020204" pitchFamily="34" charset="0"/>
              <a:buChar char="•"/>
            </a:pPr>
            <a:r>
              <a:rPr lang="en-GB" sz="1000" b="1" dirty="0" err="1"/>
              <a:t>Nausf</a:t>
            </a:r>
            <a:r>
              <a:rPr lang="en-GB" sz="1000" b="1" dirty="0"/>
              <a:t>: </a:t>
            </a:r>
            <a:r>
              <a:rPr lang="en-GB" sz="1000" dirty="0"/>
              <a:t>Service-based interface exhibited by AUSF.</a:t>
            </a:r>
          </a:p>
          <a:p>
            <a:pPr marL="175805" indent="-175805">
              <a:buFont typeface="Arial" panose="020B0604020202020204" pitchFamily="34" charset="0"/>
              <a:buChar char="•"/>
            </a:pPr>
            <a:r>
              <a:rPr lang="en-GB" sz="1000" b="1" dirty="0" err="1"/>
              <a:t>Nnssf</a:t>
            </a:r>
            <a:r>
              <a:rPr lang="en-GB" sz="1000" b="1" dirty="0"/>
              <a:t>:</a:t>
            </a:r>
            <a:r>
              <a:rPr lang="en-GB" sz="1000" dirty="0"/>
              <a:t> </a:t>
            </a:r>
            <a:r>
              <a:rPr lang="en-US" sz="1000" dirty="0"/>
              <a:t>Service-based interface exhibited by NSSF.</a:t>
            </a:r>
            <a:endParaRPr lang="en-GB" sz="1000" dirty="0"/>
          </a:p>
          <a:p>
            <a:r>
              <a:rPr lang="en-GB" sz="1000" dirty="0"/>
              <a:t>The 5G System Architecture contains the following reference points:</a:t>
            </a:r>
            <a:endParaRPr lang="en-US" sz="1000" dirty="0"/>
          </a:p>
          <a:p>
            <a:pPr marL="175805" indent="-175805">
              <a:buFont typeface="Arial" panose="020B0604020202020204" pitchFamily="34" charset="0"/>
              <a:buChar char="•"/>
            </a:pPr>
            <a:r>
              <a:rPr lang="en-GB" sz="1000" b="1" dirty="0"/>
              <a:t>N1: </a:t>
            </a:r>
            <a:r>
              <a:rPr lang="en-GB" sz="1000" dirty="0"/>
              <a:t>Reference point between the UE and the AMF.</a:t>
            </a:r>
            <a:endParaRPr lang="en-US" sz="1000" dirty="0"/>
          </a:p>
          <a:p>
            <a:pPr marL="175805" indent="-175805">
              <a:buFont typeface="Arial" panose="020B0604020202020204" pitchFamily="34" charset="0"/>
              <a:buChar char="•"/>
            </a:pPr>
            <a:r>
              <a:rPr lang="en-GB" sz="1000" b="1" dirty="0"/>
              <a:t>N2: </a:t>
            </a:r>
            <a:r>
              <a:rPr lang="en-GB" sz="1000" dirty="0"/>
              <a:t>Reference point between the (R)AN and the AMF.</a:t>
            </a:r>
            <a:endParaRPr lang="en-US" sz="1000" dirty="0"/>
          </a:p>
          <a:p>
            <a:pPr marL="175805" indent="-175805">
              <a:buFont typeface="Arial" panose="020B0604020202020204" pitchFamily="34" charset="0"/>
              <a:buChar char="•"/>
            </a:pPr>
            <a:r>
              <a:rPr lang="en-GB" sz="1000" b="1" dirty="0"/>
              <a:t>N3: </a:t>
            </a:r>
            <a:r>
              <a:rPr lang="en-GB" sz="1000" dirty="0"/>
              <a:t>Reference point between the (R)AN and the UPF.</a:t>
            </a:r>
            <a:endParaRPr lang="en-US" sz="1000" dirty="0"/>
          </a:p>
          <a:p>
            <a:pPr marL="175805" indent="-175805">
              <a:buFont typeface="Arial" panose="020B0604020202020204" pitchFamily="34" charset="0"/>
              <a:buChar char="•"/>
            </a:pPr>
            <a:r>
              <a:rPr lang="en-GB" sz="1000" b="1" dirty="0"/>
              <a:t>N4: </a:t>
            </a:r>
            <a:r>
              <a:rPr lang="en-GB" sz="1000" dirty="0"/>
              <a:t>Reference point between the SMF and the UPF.</a:t>
            </a:r>
            <a:endParaRPr lang="en-US" sz="1000" dirty="0"/>
          </a:p>
          <a:p>
            <a:pPr marL="175805" indent="-175805">
              <a:buFont typeface="Arial" panose="020B0604020202020204" pitchFamily="34" charset="0"/>
              <a:buChar char="•"/>
            </a:pPr>
            <a:r>
              <a:rPr lang="en-GB" sz="1000" b="1" dirty="0"/>
              <a:t>N6: </a:t>
            </a:r>
            <a:r>
              <a:rPr lang="en-GB" sz="1000" dirty="0"/>
              <a:t>Reference point between the UPF and a Data Network.</a:t>
            </a:r>
            <a:endParaRPr lang="en-US" sz="1000" dirty="0"/>
          </a:p>
          <a:p>
            <a:pPr marL="175805" indent="-175805">
              <a:buFont typeface="Arial" panose="020B0604020202020204" pitchFamily="34" charset="0"/>
              <a:buChar char="•"/>
            </a:pPr>
            <a:r>
              <a:rPr lang="en-GB" sz="1000" b="1" dirty="0"/>
              <a:t>N9: </a:t>
            </a:r>
            <a:r>
              <a:rPr lang="en-GB" sz="1000" dirty="0"/>
              <a:t>Reference point between two Core UPFs.</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20252FDC-70C1-40BB-A7F9-F15B76B8A2D0}" type="slidenum">
              <a:rPr lang="en-US" smtClean="0"/>
              <a:t>6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626663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a:xfrm>
            <a:off x="1309532" y="4540789"/>
            <a:ext cx="4714315" cy="4915404"/>
          </a:xfrm>
        </p:spPr>
        <p:txBody>
          <a:bodyPr/>
          <a:lstStyle/>
          <a:p>
            <a:r>
              <a:rPr lang="en-GB" sz="1000" dirty="0"/>
              <a:t>The figure depicts the 5G System architecture in the non-roaming case, using the reference point representation showing how various network functions interact with each other.</a:t>
            </a:r>
          </a:p>
          <a:p>
            <a:r>
              <a:rPr lang="en-GB" sz="1000" dirty="0"/>
              <a:t>For the sake of clarity of the point-to-point diagrams, the NEF and NRF have not been depicted. However, all depicted Network Functions can interact with the NEF and NRF as necessary.</a:t>
            </a:r>
          </a:p>
          <a:p>
            <a:r>
              <a:rPr lang="en-GB" sz="1000" dirty="0">
                <a:cs typeface="Times New Roman" panose="02020603050405020304" pitchFamily="18" charset="0"/>
              </a:rPr>
              <a:t>5G RAN includes the NR (New Radio) and LTE radio technologies.</a:t>
            </a:r>
          </a:p>
          <a:p>
            <a:r>
              <a:rPr lang="en-GB" sz="1000" dirty="0"/>
              <a:t>The following reference points show the interactions that exist between the NF services in the NFs. These reference points are realized by corresponding NF service-based interfaces and by specifying the identified consumer and producer NF service as well as their interaction in order to realize a particular system procedure.</a:t>
            </a:r>
          </a:p>
          <a:p>
            <a:pPr marL="175805" indent="-175805">
              <a:buFont typeface="Arial" panose="020B0604020202020204" pitchFamily="34" charset="0"/>
              <a:buChar char="•"/>
            </a:pPr>
            <a:r>
              <a:rPr lang="en-GB" sz="1000" b="1" dirty="0"/>
              <a:t>N5: </a:t>
            </a:r>
            <a:r>
              <a:rPr lang="en-GB" sz="1000" dirty="0"/>
              <a:t>Reference point between the PCF and an AF.</a:t>
            </a:r>
            <a:endParaRPr lang="en-US" sz="1000" dirty="0"/>
          </a:p>
          <a:p>
            <a:pPr marL="175805" indent="-175805">
              <a:buFont typeface="Arial" panose="020B0604020202020204" pitchFamily="34" charset="0"/>
              <a:buChar char="•"/>
            </a:pPr>
            <a:r>
              <a:rPr lang="en-GB" sz="1000" b="1" dirty="0"/>
              <a:t>N7: </a:t>
            </a:r>
            <a:r>
              <a:rPr lang="en-GB" sz="1000" dirty="0"/>
              <a:t>Reference point between the SMF and the PCF.</a:t>
            </a:r>
            <a:endParaRPr lang="en-US" sz="1000" dirty="0"/>
          </a:p>
          <a:p>
            <a:pPr marL="175805" indent="-175805">
              <a:buFont typeface="Arial" panose="020B0604020202020204" pitchFamily="34" charset="0"/>
              <a:buChar char="•"/>
            </a:pPr>
            <a:r>
              <a:rPr lang="en-GB" sz="1000" b="1" dirty="0"/>
              <a:t>N24: </a:t>
            </a:r>
            <a:r>
              <a:rPr lang="en-GB" sz="1000" dirty="0"/>
              <a:t>Reference point between the PCF in the visited network and the PCF in the home network.</a:t>
            </a:r>
            <a:endParaRPr lang="en-US" sz="1000" dirty="0"/>
          </a:p>
          <a:p>
            <a:pPr marL="175805" indent="-175805">
              <a:buFont typeface="Arial" panose="020B0604020202020204" pitchFamily="34" charset="0"/>
              <a:buChar char="•"/>
            </a:pPr>
            <a:r>
              <a:rPr lang="en-GB" sz="1000" b="1" dirty="0"/>
              <a:t>N8: </a:t>
            </a:r>
            <a:r>
              <a:rPr lang="en-GB" sz="1000" dirty="0"/>
              <a:t>Reference point between the UDM and the AMF.</a:t>
            </a:r>
            <a:endParaRPr lang="en-US" sz="1000" dirty="0"/>
          </a:p>
          <a:p>
            <a:pPr marL="175805" indent="-175805">
              <a:buFont typeface="Arial" panose="020B0604020202020204" pitchFamily="34" charset="0"/>
              <a:buChar char="•"/>
            </a:pPr>
            <a:r>
              <a:rPr lang="en-GB" sz="1000" b="1" dirty="0"/>
              <a:t>N9: </a:t>
            </a:r>
            <a:r>
              <a:rPr lang="en-GB" sz="1000" dirty="0"/>
              <a:t>Reference point between two Core UPFs.</a:t>
            </a:r>
            <a:endParaRPr lang="en-US" sz="1000" dirty="0"/>
          </a:p>
          <a:p>
            <a:pPr marL="175805" indent="-175805">
              <a:buFont typeface="Arial" panose="020B0604020202020204" pitchFamily="34" charset="0"/>
              <a:buChar char="•"/>
            </a:pPr>
            <a:r>
              <a:rPr lang="en-GB" sz="1000" b="1" dirty="0"/>
              <a:t>N10: </a:t>
            </a:r>
            <a:r>
              <a:rPr lang="en-GB" sz="1000" dirty="0"/>
              <a:t>Reference point between the UDM and the SMF.</a:t>
            </a:r>
            <a:endParaRPr lang="en-US" sz="1000" dirty="0"/>
          </a:p>
          <a:p>
            <a:pPr marL="175805" indent="-175805">
              <a:buFont typeface="Arial" panose="020B0604020202020204" pitchFamily="34" charset="0"/>
              <a:buChar char="•"/>
            </a:pPr>
            <a:r>
              <a:rPr lang="en-GB" sz="1000" b="1" dirty="0"/>
              <a:t>N11: </a:t>
            </a:r>
            <a:r>
              <a:rPr lang="en-GB" sz="1000" dirty="0"/>
              <a:t>Reference point between the AMF and the SMF.</a:t>
            </a:r>
            <a:endParaRPr lang="en-US" sz="1000" dirty="0"/>
          </a:p>
          <a:p>
            <a:pPr marL="175805" indent="-175805">
              <a:buFont typeface="Arial" panose="020B0604020202020204" pitchFamily="34" charset="0"/>
              <a:buChar char="•"/>
            </a:pPr>
            <a:r>
              <a:rPr lang="en-GB" sz="1000" b="1" dirty="0"/>
              <a:t>N12: </a:t>
            </a:r>
            <a:r>
              <a:rPr lang="en-GB" sz="1000" dirty="0"/>
              <a:t>Reference point between AMF and AUSF.</a:t>
            </a:r>
            <a:endParaRPr lang="en-US" sz="1000" dirty="0"/>
          </a:p>
          <a:p>
            <a:pPr marL="175805" indent="-175805">
              <a:buFont typeface="Arial" panose="020B0604020202020204" pitchFamily="34" charset="0"/>
              <a:buChar char="•"/>
            </a:pPr>
            <a:r>
              <a:rPr lang="en-GB" sz="1000" b="1" dirty="0"/>
              <a:t>N13: </a:t>
            </a:r>
            <a:r>
              <a:rPr lang="en-GB" sz="1000" dirty="0"/>
              <a:t>Reference point between the UDM and Authentication Server function the AUSF.</a:t>
            </a:r>
            <a:endParaRPr lang="en-US" sz="1000" dirty="0"/>
          </a:p>
          <a:p>
            <a:pPr marL="175805" indent="-175805">
              <a:buFont typeface="Arial" panose="020B0604020202020204" pitchFamily="34" charset="0"/>
              <a:buChar char="•"/>
            </a:pPr>
            <a:r>
              <a:rPr lang="en-GB" sz="1000" b="1" dirty="0"/>
              <a:t>N14: </a:t>
            </a:r>
            <a:r>
              <a:rPr lang="en-GB" sz="1000" dirty="0"/>
              <a:t>Reference point between two AMFs.</a:t>
            </a:r>
            <a:endParaRPr lang="en-US" sz="1000" dirty="0"/>
          </a:p>
          <a:p>
            <a:pPr marL="175805" indent="-175805">
              <a:buFont typeface="Arial" panose="020B0604020202020204" pitchFamily="34" charset="0"/>
              <a:buChar char="•"/>
            </a:pPr>
            <a:r>
              <a:rPr lang="en-GB" sz="1000" b="1" dirty="0"/>
              <a:t>N15: </a:t>
            </a:r>
            <a:r>
              <a:rPr lang="en-GB" sz="1000" dirty="0"/>
              <a:t>Reference point between the PCF and the AMF in case of non-roaming scenario, PCF in the visited network and AMF in case of roaming scenario.</a:t>
            </a:r>
            <a:endParaRPr lang="en-US" sz="1000" dirty="0"/>
          </a:p>
          <a:p>
            <a:endParaRPr lang="en-GB" sz="1000" dirty="0">
              <a:cs typeface="Times New Roman" panose="02020603050405020304" pitchFamily="18" charset="0"/>
            </a:endParaRPr>
          </a:p>
          <a:p>
            <a:endParaRPr lang="en-US" sz="1000" dirty="0">
              <a:cs typeface="Times New Roman" panose="02020603050405020304" pitchFamily="18" charset="0"/>
            </a:endParaRPr>
          </a:p>
          <a:p>
            <a:endParaRPr lang="en-US" sz="1000" i="1" dirty="0"/>
          </a:p>
          <a:p>
            <a:endParaRPr lang="en-US" sz="1000" dirty="0"/>
          </a:p>
        </p:txBody>
      </p:sp>
      <p:sp>
        <p:nvSpPr>
          <p:cNvPr id="4" name="Slide Number Placeholder 3"/>
          <p:cNvSpPr>
            <a:spLocks noGrp="1"/>
          </p:cNvSpPr>
          <p:nvPr>
            <p:ph type="sldNum" sz="quarter" idx="10"/>
          </p:nvPr>
        </p:nvSpPr>
        <p:spPr/>
        <p:txBody>
          <a:bodyPr/>
          <a:lstStyle/>
          <a:p>
            <a:fld id="{69A172EC-0287-4A2F-A019-7E71D2F499C5}" type="slidenum">
              <a:rPr lang="en-US" smtClean="0"/>
              <a:t>6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1168095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pPr marL="175805" indent="-175805">
              <a:buFont typeface="Arial" panose="020B0604020202020204" pitchFamily="34" charset="0"/>
              <a:buChar char="•"/>
            </a:pPr>
            <a:r>
              <a:rPr lang="en-GB" sz="1000" b="1" dirty="0"/>
              <a:t>N16: </a:t>
            </a:r>
            <a:r>
              <a:rPr lang="en-GB" sz="1000" dirty="0"/>
              <a:t>Reference point between two SMFs, (in roaming case between SMF in the visited network and the SMF in the home network).</a:t>
            </a:r>
            <a:endParaRPr lang="en-US" sz="1000" dirty="0"/>
          </a:p>
          <a:p>
            <a:pPr marL="175805" indent="-175805">
              <a:buFont typeface="Arial" panose="020B0604020202020204" pitchFamily="34" charset="0"/>
              <a:buChar char="•"/>
            </a:pPr>
            <a:r>
              <a:rPr lang="en-GB" sz="1000" b="1" dirty="0"/>
              <a:t>N17: </a:t>
            </a:r>
            <a:r>
              <a:rPr lang="en-GB" sz="1000" dirty="0"/>
              <a:t>Reference point between AMF and EIR.</a:t>
            </a:r>
            <a:endParaRPr lang="en-US" sz="1000" dirty="0"/>
          </a:p>
          <a:p>
            <a:pPr marL="175805" indent="-175805">
              <a:buFont typeface="Arial" panose="020B0604020202020204" pitchFamily="34" charset="0"/>
              <a:buChar char="•"/>
            </a:pPr>
            <a:r>
              <a:rPr lang="en-GB" sz="1000" b="1" dirty="0"/>
              <a:t>N18: </a:t>
            </a:r>
            <a:r>
              <a:rPr lang="en-GB" sz="1000" dirty="0"/>
              <a:t>Reference point between any NF and UDSF.</a:t>
            </a:r>
            <a:endParaRPr lang="en-US" sz="1000" dirty="0"/>
          </a:p>
          <a:p>
            <a:pPr marL="175805" indent="-175805">
              <a:buFont typeface="Arial" panose="020B0604020202020204" pitchFamily="34" charset="0"/>
              <a:buChar char="•"/>
            </a:pPr>
            <a:r>
              <a:rPr lang="en-GB" sz="1000" b="1" dirty="0"/>
              <a:t>N19: </a:t>
            </a:r>
            <a:r>
              <a:rPr lang="en-GB" sz="1000" dirty="0"/>
              <a:t>Reference point between NEF and SDSF.</a:t>
            </a:r>
          </a:p>
          <a:p>
            <a:pPr marL="175805" indent="-175805">
              <a:buFont typeface="Arial" panose="020B0604020202020204" pitchFamily="34" charset="0"/>
              <a:buChar char="•"/>
            </a:pPr>
            <a:r>
              <a:rPr lang="en-GB" sz="1000" b="1" dirty="0"/>
              <a:t>N22:</a:t>
            </a:r>
            <a:r>
              <a:rPr lang="en-GB" sz="1000" dirty="0"/>
              <a:t> Reference point between AMF and NSSF.</a:t>
            </a:r>
            <a:endParaRPr lang="en-US" sz="1000" dirty="0"/>
          </a:p>
          <a:p>
            <a:endParaRPr lang="en-US" sz="1000" dirty="0"/>
          </a:p>
        </p:txBody>
      </p:sp>
      <p:sp>
        <p:nvSpPr>
          <p:cNvPr id="4" name="Slide Number Placeholder 3"/>
          <p:cNvSpPr>
            <a:spLocks noGrp="1"/>
          </p:cNvSpPr>
          <p:nvPr>
            <p:ph type="sldNum" sz="quarter" idx="10"/>
          </p:nvPr>
        </p:nvSpPr>
        <p:spPr/>
        <p:txBody>
          <a:bodyPr/>
          <a:lstStyle/>
          <a:p>
            <a:fld id="{7177CDF0-C3AE-404C-BB1D-A0D5A8453E52}" type="slidenum">
              <a:rPr lang="en-US" smtClean="0"/>
              <a:t>6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2337421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GB" sz="1000" dirty="0"/>
              <a:t>The 5G Core Network supports the connectivity of the UE via non-3GPP access networks, e.g. WLAN access.</a:t>
            </a:r>
          </a:p>
          <a:p>
            <a:pPr marL="175805" indent="-175805">
              <a:buFont typeface="Arial" panose="020B0604020202020204" pitchFamily="34" charset="0"/>
              <a:buChar char="•"/>
            </a:pPr>
            <a:r>
              <a:rPr lang="en-GB" sz="1000" dirty="0"/>
              <a:t>The N2 and N3 reference points are used to connect standalone non-3GPP accesses to 5G Core Network control-plane functions and user-plane functions respectively.</a:t>
            </a:r>
          </a:p>
          <a:p>
            <a:pPr marL="175805" indent="-175805">
              <a:buFont typeface="Arial" panose="020B0604020202020204" pitchFamily="34" charset="0"/>
              <a:buChar char="•"/>
            </a:pPr>
            <a:r>
              <a:rPr lang="en-GB" sz="1000" dirty="0"/>
              <a:t>A UE that accesses the 5G Core Network over a standalone non-3GPP access shall, after UE attachment, support NAS signalling with 5G Core Network control-plane functions using the N1 reference point.</a:t>
            </a:r>
          </a:p>
          <a:p>
            <a:pPr marL="175805" indent="-175805">
              <a:buFont typeface="Arial" panose="020B0604020202020204" pitchFamily="34" charset="0"/>
              <a:buChar char="•"/>
            </a:pPr>
            <a:r>
              <a:rPr lang="en-GB" sz="1000" dirty="0"/>
              <a:t>When a UE is connected via a 5G-RAN and via standalone non-3GPP accesses, multiple N1 instances shall exist for the UE i.e. there shall be one N1 instance over 5G-RAN and one N1 instance over non-3GPP access.</a:t>
            </a:r>
          </a:p>
          <a:p>
            <a:pPr marL="175805" indent="-175805">
              <a:buFont typeface="Arial" panose="020B0604020202020204" pitchFamily="34" charset="0"/>
              <a:buChar char="•"/>
            </a:pPr>
            <a:r>
              <a:rPr lang="en-GB" sz="1000" dirty="0"/>
              <a:t>A UE simultaneously connected to the same 5G Core Network of a PLMN over 3GPP access and non-3GPP access shall be served by a single AMF if the selected N3IWF is located in the same PLMN as the 3GPP access.</a:t>
            </a:r>
          </a:p>
          <a:p>
            <a:pPr marL="175805" indent="-175805">
              <a:buFont typeface="Arial" panose="020B0604020202020204" pitchFamily="34" charset="0"/>
              <a:buChar char="•"/>
            </a:pPr>
            <a:r>
              <a:rPr lang="en-GB" sz="1000" dirty="0"/>
              <a:t>Non-3GPP access networks shall be connected to the 5G Core Network via a Non-3GPP </a:t>
            </a:r>
            <a:r>
              <a:rPr lang="en-GB" sz="1000" dirty="0" err="1"/>
              <a:t>InterWorking</a:t>
            </a:r>
            <a:r>
              <a:rPr lang="en-GB" sz="1000" dirty="0"/>
              <a:t> Function (N3IWF). The N3IWF interfaces to 5G Core Network control-plane functions and user-plane functions via N2 interface and N3 interface, respectively.</a:t>
            </a:r>
          </a:p>
          <a:p>
            <a:pPr marL="175805" indent="-175805">
              <a:buFont typeface="Arial" panose="020B0604020202020204" pitchFamily="34" charset="0"/>
              <a:buChar char="•"/>
            </a:pPr>
            <a:r>
              <a:rPr lang="en-GB" sz="1000" dirty="0"/>
              <a:t>A UE shall establish an </a:t>
            </a:r>
            <a:r>
              <a:rPr lang="en-GB" sz="1000" dirty="0" err="1"/>
              <a:t>IPSec</a:t>
            </a:r>
            <a:r>
              <a:rPr lang="en-GB" sz="1000" dirty="0"/>
              <a:t> tunnel with the N3IWF to attach to the 5G Core Network over untrusted non-3GPP access. The UE shall be authenticated by and attached to the 5G Core Network during the </a:t>
            </a:r>
            <a:r>
              <a:rPr lang="en-GB" sz="1000" dirty="0" err="1"/>
              <a:t>IPSec</a:t>
            </a:r>
            <a:r>
              <a:rPr lang="en-GB" sz="1000" dirty="0"/>
              <a:t> tunnel establishment procedure.</a:t>
            </a:r>
          </a:p>
          <a:p>
            <a:pPr marL="175805" indent="-175805">
              <a:buFont typeface="Arial" panose="020B0604020202020204" pitchFamily="34" charset="0"/>
              <a:buChar char="•"/>
            </a:pPr>
            <a:r>
              <a:rPr lang="en-GB" sz="1000" dirty="0"/>
              <a:t>N1 NAS signalling over standalone non-3GPP accesses shall be protected with the same security mechanism applied for N1 over a 3GPP access.</a:t>
            </a:r>
          </a:p>
          <a:p>
            <a:r>
              <a:rPr lang="en-GB" sz="1000" i="1" dirty="0"/>
              <a:t>Note: The reference architecture in the figure only shows the architecture and the network functions directly connected to non-3GPP access, other parts of the architecture are the same as described earlier in the presentation.</a:t>
            </a:r>
            <a:endParaRPr lang="en-US" sz="1000" i="1" dirty="0"/>
          </a:p>
          <a:p>
            <a:endParaRPr lang="en-US" sz="1000" dirty="0"/>
          </a:p>
          <a:p>
            <a:endParaRPr lang="en-US" sz="1000" dirty="0"/>
          </a:p>
          <a:p>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50AAA8BD-E746-4F63-BB3D-2CAA8123700B}" type="slidenum">
              <a:rPr lang="en-US" smtClean="0"/>
              <a:t>6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48833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338" y="842963"/>
            <a:ext cx="6227762" cy="3503612"/>
          </a:xfrm>
        </p:spPr>
      </p:sp>
      <p:sp>
        <p:nvSpPr>
          <p:cNvPr id="3" name="Notes Placeholder 2"/>
          <p:cNvSpPr>
            <a:spLocks noGrp="1"/>
          </p:cNvSpPr>
          <p:nvPr>
            <p:ph type="body" idx="1"/>
          </p:nvPr>
        </p:nvSpPr>
        <p:spPr/>
        <p:txBody>
          <a:bodyPr/>
          <a:lstStyle/>
          <a:p>
            <a:r>
              <a:rPr lang="en-GB" sz="1000" dirty="0"/>
              <a:t>Description of the reference points specific for the non-3GPP access:</a:t>
            </a:r>
          </a:p>
          <a:p>
            <a:r>
              <a:rPr lang="x-none" sz="1000" b="1" dirty="0"/>
              <a:t>Y1</a:t>
            </a:r>
            <a:br>
              <a:rPr lang="sv-SE" sz="1000" b="1" dirty="0"/>
            </a:br>
            <a:r>
              <a:rPr lang="x-none" sz="1000" dirty="0"/>
              <a:t>Reference point between the UE and the non-3GPP access (e.g. WLAN). This depends on the non-3GPP access technology and is outside the scope of 3GPP.</a:t>
            </a:r>
            <a:endParaRPr lang="en-US" sz="1000" dirty="0"/>
          </a:p>
          <a:p>
            <a:r>
              <a:rPr lang="x-none" sz="1000" b="1" dirty="0"/>
              <a:t>Y2</a:t>
            </a:r>
            <a:br>
              <a:rPr lang="sv-SE" sz="1000" b="1" dirty="0"/>
            </a:br>
            <a:r>
              <a:rPr lang="x-none" sz="1000" dirty="0"/>
              <a:t>Reference point between the untrusted non-3GPP access and the N3IWF for the transport of NWu traffic.</a:t>
            </a:r>
            <a:endParaRPr lang="en-US" sz="1000" dirty="0"/>
          </a:p>
          <a:p>
            <a:r>
              <a:rPr lang="x-none" sz="1000" b="1" dirty="0"/>
              <a:t>N</a:t>
            </a:r>
            <a:r>
              <a:rPr lang="en-US" sz="1000" b="1" dirty="0"/>
              <a:t>W</a:t>
            </a:r>
            <a:r>
              <a:rPr lang="x-none" sz="1000" b="1" dirty="0"/>
              <a:t>u</a:t>
            </a:r>
            <a:br>
              <a:rPr lang="sv-SE" sz="1000" b="1" dirty="0"/>
            </a:br>
            <a:r>
              <a:rPr lang="x-none" sz="1000" dirty="0"/>
              <a:t>Reference point between the UE and N3IWF for establishing secure tunnel(s) between the UE and N3IWF so that control-plane and user-plane exchanged between the UE and the 5G </a:t>
            </a:r>
            <a:r>
              <a:rPr lang="en-US" sz="1000" dirty="0"/>
              <a:t>C</a:t>
            </a:r>
            <a:r>
              <a:rPr lang="x-none" sz="1000" dirty="0"/>
              <a:t>ore </a:t>
            </a:r>
            <a:r>
              <a:rPr lang="en-US" sz="1000" dirty="0"/>
              <a:t>N</a:t>
            </a:r>
            <a:r>
              <a:rPr lang="x-none" sz="1000" dirty="0"/>
              <a:t>etwork is transferred securely over untrusted non-3GPP access.</a:t>
            </a:r>
            <a:endParaRPr lang="en-US" sz="1000" dirty="0"/>
          </a:p>
          <a:p>
            <a:endParaRPr lang="en-US" sz="1000" dirty="0"/>
          </a:p>
        </p:txBody>
      </p:sp>
      <p:sp>
        <p:nvSpPr>
          <p:cNvPr id="4" name="Slide Number Placeholder 3"/>
          <p:cNvSpPr>
            <a:spLocks noGrp="1"/>
          </p:cNvSpPr>
          <p:nvPr>
            <p:ph type="sldNum" sz="quarter" idx="10"/>
          </p:nvPr>
        </p:nvSpPr>
        <p:spPr/>
        <p:txBody>
          <a:bodyPr/>
          <a:lstStyle/>
          <a:p>
            <a:fld id="{4D3B0289-991A-4754-95F1-F5F265F7B89F}" type="slidenum">
              <a:rPr lang="en-US" smtClean="0"/>
              <a:t>6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7584252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842963"/>
            <a:ext cx="6229350" cy="3503612"/>
          </a:xfrm>
        </p:spPr>
      </p:sp>
      <p:sp>
        <p:nvSpPr>
          <p:cNvPr id="3" name="Notes Placeholder 2"/>
          <p:cNvSpPr>
            <a:spLocks noGrp="1"/>
          </p:cNvSpPr>
          <p:nvPr>
            <p:ph type="body" idx="1"/>
          </p:nvPr>
        </p:nvSpPr>
        <p:spPr/>
        <p:txBody>
          <a:bodyPr/>
          <a:lstStyle/>
          <a:p>
            <a:r>
              <a:rPr lang="en-US" sz="1000" dirty="0"/>
              <a:t>The main changes compared to EPC are: </a:t>
            </a:r>
          </a:p>
          <a:p>
            <a:pPr marL="234406" indent="-234406">
              <a:buFont typeface="+mj-lt"/>
              <a:buAutoNum type="arabicPeriod"/>
            </a:pPr>
            <a:r>
              <a:rPr lang="en-US" sz="1000" dirty="0"/>
              <a:t>CP/UP split is based on CUPS with some additional modifications for 5G expected, and </a:t>
            </a:r>
          </a:p>
          <a:p>
            <a:pPr marL="234406" indent="-234406">
              <a:buFont typeface="+mj-lt"/>
              <a:buAutoNum type="arabicPeriod"/>
            </a:pPr>
            <a:r>
              <a:rPr lang="en-US" sz="1000" dirty="0"/>
              <a:t>Different functional split in the CP, AMF contain a subset of MME </a:t>
            </a:r>
            <a:r>
              <a:rPr lang="en-US" sz="1000" dirty="0" err="1"/>
              <a:t>incl</a:t>
            </a:r>
            <a:r>
              <a:rPr lang="en-US" sz="1000" dirty="0"/>
              <a:t> key derivation and security context management; SMF contains part of MME and the CP of SGW and PGW; AUSF includes the authentication; and UDM contains subscription data repository as well as long term credential </a:t>
            </a:r>
            <a:r>
              <a:rPr lang="en-US" sz="1000" dirty="0" err="1"/>
              <a:t>respoitory</a:t>
            </a:r>
            <a:r>
              <a:rPr lang="en-US" sz="1000" dirty="0"/>
              <a:t>. PCF contains similar functionality as the PCRF in EPC</a:t>
            </a:r>
          </a:p>
          <a:p>
            <a:r>
              <a:rPr lang="en-US" sz="1000" dirty="0"/>
              <a:t>Additionally, the UPF can be deployed as two (or more) UPFs in serial for local offload at a remote site.</a:t>
            </a:r>
          </a:p>
          <a:p>
            <a:endParaRPr lang="en-US" sz="1000" dirty="0"/>
          </a:p>
        </p:txBody>
      </p:sp>
      <p:sp>
        <p:nvSpPr>
          <p:cNvPr id="4" name="Slide Number Placeholder 3"/>
          <p:cNvSpPr>
            <a:spLocks noGrp="1"/>
          </p:cNvSpPr>
          <p:nvPr>
            <p:ph type="sldNum" sz="quarter" idx="10"/>
          </p:nvPr>
        </p:nvSpPr>
        <p:spPr/>
        <p:txBody>
          <a:bodyPr/>
          <a:lstStyle/>
          <a:p>
            <a:fld id="{AE1746D6-2680-40BD-842E-A1D01EF480DD}" type="slidenum">
              <a:rPr lang="en-US" smtClean="0"/>
              <a:t>6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6188989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842963"/>
            <a:ext cx="6229350" cy="3503612"/>
          </a:xfrm>
        </p:spPr>
      </p:sp>
      <p:sp>
        <p:nvSpPr>
          <p:cNvPr id="3" name="Notes Placeholder 2"/>
          <p:cNvSpPr>
            <a:spLocks noGrp="1"/>
          </p:cNvSpPr>
          <p:nvPr>
            <p:ph type="body" idx="1"/>
          </p:nvPr>
        </p:nvSpPr>
        <p:spPr/>
        <p:txBody>
          <a:bodyPr/>
          <a:lstStyle/>
          <a:p>
            <a:r>
              <a:rPr lang="en-US" sz="1000"/>
              <a:t>The figure shows that the new 5GC CP-UP (N4) interface should be based on the EPC CUPS CP-UP interface, with enhancements for 5GC as needed. </a:t>
            </a:r>
          </a:p>
          <a:p>
            <a:r>
              <a:rPr lang="en-US" sz="1000"/>
              <a:t>N4 is the reference point between the SMF and the UPF in the 5GC architechture.</a:t>
            </a:r>
          </a:p>
        </p:txBody>
      </p:sp>
      <p:sp>
        <p:nvSpPr>
          <p:cNvPr id="4" name="Date Placeholder 3"/>
          <p:cNvSpPr>
            <a:spLocks noGrp="1"/>
          </p:cNvSpPr>
          <p:nvPr>
            <p:ph type="dt" idx="10"/>
          </p:nvPr>
        </p:nvSpPr>
        <p:spPr/>
        <p:txBody>
          <a:bodyPr/>
          <a:lstStyle/>
          <a:p>
            <a:r>
              <a:rPr lang="en-US"/>
              <a:t> </a:t>
            </a:r>
            <a:endParaRPr lang="en-US" dirty="0"/>
          </a:p>
        </p:txBody>
      </p:sp>
      <p:sp>
        <p:nvSpPr>
          <p:cNvPr id="5" name="Slide Number Placeholder 4"/>
          <p:cNvSpPr>
            <a:spLocks noGrp="1"/>
          </p:cNvSpPr>
          <p:nvPr>
            <p:ph type="sldNum" sz="quarter" idx="11"/>
          </p:nvPr>
        </p:nvSpPr>
        <p:spPr/>
        <p:txBody>
          <a:bodyPr/>
          <a:lstStyle/>
          <a:p>
            <a:fld id="{08A732E6-59C1-4CE3-8B99-39D3031649BB}" type="slidenum">
              <a:rPr lang="en-US" smtClean="0"/>
              <a:t>67</a:t>
            </a:fld>
            <a:endParaRPr lang="en-US" dirty="0"/>
          </a:p>
        </p:txBody>
      </p:sp>
      <p:sp>
        <p:nvSpPr>
          <p:cNvPr id="6" name="Header Placeholder 5"/>
          <p:cNvSpPr>
            <a:spLocks noGrp="1"/>
          </p:cNvSpPr>
          <p:nvPr>
            <p:ph type="hdr" sz="quarter" idx="12"/>
          </p:nvPr>
        </p:nvSpPr>
        <p:spPr/>
        <p:txBody>
          <a:bodyPr/>
          <a:lstStyle/>
          <a:p>
            <a:r>
              <a:rPr lang="en-US"/>
              <a:t>5G Core Concepts</a:t>
            </a:r>
            <a:endParaRPr lang="en-US" dirty="0"/>
          </a:p>
        </p:txBody>
      </p:sp>
      <p:sp>
        <p:nvSpPr>
          <p:cNvPr id="7" name="Footer Placeholder 6"/>
          <p:cNvSpPr>
            <a:spLocks noGrp="1"/>
          </p:cNvSpPr>
          <p:nvPr>
            <p:ph type="ftr" sz="quarter" idx="13"/>
          </p:nvPr>
        </p:nvSpPr>
        <p:spPr/>
        <p:txBody>
          <a:bodyPr/>
          <a:lstStyle/>
          <a:p>
            <a:r>
              <a:rPr lang="de-DE"/>
              <a:t>© Ericsson AB 2017  |  LZU1421223 PA2</a:t>
            </a:r>
            <a:endParaRPr lang="en-US" dirty="0"/>
          </a:p>
        </p:txBody>
      </p:sp>
    </p:spTree>
    <p:extLst>
      <p:ext uri="{BB962C8B-B14F-4D97-AF65-F5344CB8AC3E}">
        <p14:creationId xmlns:p14="http://schemas.microsoft.com/office/powerpoint/2010/main" val="9008399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842963"/>
            <a:ext cx="6227762" cy="3503612"/>
          </a:xfrm>
        </p:spPr>
      </p:sp>
      <p:sp>
        <p:nvSpPr>
          <p:cNvPr id="3" name="Notes Placeholder 2"/>
          <p:cNvSpPr>
            <a:spLocks noGrp="1"/>
          </p:cNvSpPr>
          <p:nvPr>
            <p:ph type="body" idx="1"/>
          </p:nvPr>
        </p:nvSpPr>
        <p:spPr/>
        <p:txBody>
          <a:bodyPr/>
          <a:lstStyle/>
          <a:p>
            <a:r>
              <a:rPr lang="en-US" sz="1000" dirty="0"/>
              <a:t>According to 3GPP TS 23.501 The Access and Mobility Management function (AMF) includes the following functionality. </a:t>
            </a:r>
          </a:p>
          <a:p>
            <a:r>
              <a:rPr lang="en-US" sz="1000" dirty="0"/>
              <a:t>Some or all of the AMF functionalities may be supported in a single instance of a AMF: </a:t>
            </a:r>
          </a:p>
          <a:p>
            <a:pPr marL="175805" indent="-175805">
              <a:buFont typeface="Arial" panose="020B0604020202020204" pitchFamily="34" charset="0"/>
              <a:buChar char="•"/>
            </a:pPr>
            <a:r>
              <a:rPr lang="x-none" sz="1000" dirty="0"/>
              <a:t>Termination of RAN CP interface (N2).</a:t>
            </a:r>
            <a:endParaRPr lang="en-US" sz="1000" dirty="0"/>
          </a:p>
          <a:p>
            <a:pPr marL="175805" indent="-175805">
              <a:buFont typeface="Arial" panose="020B0604020202020204" pitchFamily="34" charset="0"/>
              <a:buChar char="•"/>
            </a:pPr>
            <a:r>
              <a:rPr lang="x-none" sz="1000" dirty="0"/>
              <a:t>Termination of NAS (N1), NAS ciphering and integrity protection.</a:t>
            </a:r>
            <a:endParaRPr lang="en-US" sz="1000" dirty="0"/>
          </a:p>
          <a:p>
            <a:pPr marL="175805" indent="-175805">
              <a:buFont typeface="Arial" panose="020B0604020202020204" pitchFamily="34" charset="0"/>
              <a:buChar char="•"/>
            </a:pPr>
            <a:r>
              <a:rPr lang="x-none" sz="1000" dirty="0"/>
              <a:t>Registration management.</a:t>
            </a:r>
            <a:endParaRPr lang="en-US" sz="1000" dirty="0"/>
          </a:p>
          <a:p>
            <a:pPr marL="175805" indent="-175805">
              <a:buFont typeface="Arial" panose="020B0604020202020204" pitchFamily="34" charset="0"/>
              <a:buChar char="•"/>
            </a:pPr>
            <a:r>
              <a:rPr lang="x-none" sz="1000" dirty="0"/>
              <a:t>Connection management.</a:t>
            </a:r>
            <a:endParaRPr lang="en-US" sz="1000" dirty="0"/>
          </a:p>
          <a:p>
            <a:pPr marL="175805" indent="-175805">
              <a:buFont typeface="Arial" panose="020B0604020202020204" pitchFamily="34" charset="0"/>
              <a:buChar char="•"/>
            </a:pPr>
            <a:r>
              <a:rPr lang="x-none" sz="1000" dirty="0"/>
              <a:t>Reachability management.</a:t>
            </a:r>
            <a:endParaRPr lang="en-US" sz="1000" dirty="0"/>
          </a:p>
          <a:p>
            <a:pPr marL="175805" indent="-175805">
              <a:buFont typeface="Arial" panose="020B0604020202020204" pitchFamily="34" charset="0"/>
              <a:buChar char="•"/>
            </a:pPr>
            <a:r>
              <a:rPr lang="x-none" sz="1000" dirty="0"/>
              <a:t>Mobility Management.</a:t>
            </a:r>
            <a:endParaRPr lang="en-US" sz="1000" dirty="0"/>
          </a:p>
          <a:p>
            <a:pPr marL="175805" indent="-175805">
              <a:buFont typeface="Arial" panose="020B0604020202020204" pitchFamily="34" charset="0"/>
              <a:buChar char="•"/>
            </a:pPr>
            <a:r>
              <a:rPr lang="x-none" sz="1000" dirty="0"/>
              <a:t>Lawful intercept (for AMF events and interface to LI System).</a:t>
            </a:r>
            <a:endParaRPr lang="en-US" sz="1000" dirty="0"/>
          </a:p>
          <a:p>
            <a:pPr marL="175805" indent="-175805">
              <a:buFont typeface="Arial" panose="020B0604020202020204" pitchFamily="34" charset="0"/>
              <a:buChar char="•"/>
            </a:pPr>
            <a:r>
              <a:rPr lang="x-none" sz="1000" dirty="0"/>
              <a:t>Provide transport for SM messages between UE and SMF.</a:t>
            </a:r>
            <a:endParaRPr lang="en-US" sz="1000" dirty="0"/>
          </a:p>
          <a:p>
            <a:pPr marL="175805" indent="-175805">
              <a:buFont typeface="Arial" panose="020B0604020202020204" pitchFamily="34" charset="0"/>
              <a:buChar char="•"/>
            </a:pPr>
            <a:r>
              <a:rPr lang="en-US" sz="1000" dirty="0"/>
              <a:t>Support </a:t>
            </a:r>
            <a:r>
              <a:rPr lang="x-none" sz="1000" dirty="0"/>
              <a:t>Transparent proxy for routing SM messages.</a:t>
            </a:r>
            <a:endParaRPr lang="en-US" sz="1000" dirty="0"/>
          </a:p>
          <a:p>
            <a:pPr marL="175805" indent="-175805">
              <a:buFont typeface="Arial" panose="020B0604020202020204" pitchFamily="34" charset="0"/>
              <a:buChar char="•"/>
            </a:pPr>
            <a:r>
              <a:rPr lang="x-none" sz="1000" dirty="0"/>
              <a:t>Access Authentication.</a:t>
            </a:r>
            <a:endParaRPr lang="en-US" sz="1000" dirty="0"/>
          </a:p>
          <a:p>
            <a:pPr marL="175805" indent="-175805">
              <a:buFont typeface="Arial" panose="020B0604020202020204" pitchFamily="34" charset="0"/>
              <a:buChar char="•"/>
            </a:pPr>
            <a:r>
              <a:rPr lang="x-none" sz="1000" dirty="0"/>
              <a:t>Access Authorization.</a:t>
            </a:r>
            <a:endParaRPr lang="en-US" sz="1000" dirty="0"/>
          </a:p>
          <a:p>
            <a:pPr marL="175805" indent="-175805">
              <a:buFont typeface="Arial" panose="020B0604020202020204" pitchFamily="34" charset="0"/>
              <a:buChar char="•"/>
            </a:pPr>
            <a:r>
              <a:rPr lang="en-GB" sz="1000" dirty="0"/>
              <a:t>Provide transport for SMS messages between UE and SMSF.</a:t>
            </a:r>
          </a:p>
          <a:p>
            <a:pPr marL="175805" indent="-175805">
              <a:buFont typeface="Arial" panose="020B0604020202020204" pitchFamily="34" charset="0"/>
              <a:buChar char="•"/>
            </a:pPr>
            <a:r>
              <a:rPr lang="x-none" sz="1000" dirty="0"/>
              <a:t>Security Anchor Function (SEA). It interacts with the AUSF and the UE, receives the intermediate key that was established as a result of the UE authentication process. In case of USIM based authentication, the AMF retrieves the security material from the AUSF.</a:t>
            </a:r>
            <a:endParaRPr lang="en-US" sz="1000" dirty="0"/>
          </a:p>
          <a:p>
            <a:pPr marL="175805" indent="-175805">
              <a:buFont typeface="Arial" panose="020B0604020202020204" pitchFamily="34" charset="0"/>
              <a:buChar char="•"/>
            </a:pPr>
            <a:r>
              <a:rPr lang="x-none" sz="1000" dirty="0"/>
              <a:t>Security Context Management (SCM). The SCM receives a key from the SEA that it uses to derive access-network specific keys.</a:t>
            </a:r>
            <a:endParaRPr lang="sv-SE" sz="1000" dirty="0"/>
          </a:p>
          <a:p>
            <a:r>
              <a:rPr lang="x-none" sz="1000" i="1" dirty="0"/>
              <a:t>Regardless of the number of Network functions, there is only one NAS interface instance per access network between the UE and the CN, terminated at one of the Network functions that implements at least NAS security and mobility management.</a:t>
            </a:r>
            <a:endParaRPr lang="en-US" sz="1000" i="1" dirty="0"/>
          </a:p>
          <a:p>
            <a:pPr marL="175805" indent="-175805">
              <a:buFont typeface="Arial" panose="020B0604020202020204" pitchFamily="34" charset="0"/>
              <a:buChar char="•"/>
            </a:pPr>
            <a:endParaRPr lang="en-US" sz="1000" dirty="0"/>
          </a:p>
          <a:p>
            <a:pPr marL="175805" indent="-175805">
              <a:buFont typeface="Arial" panose="020B0604020202020204" pitchFamily="34" charset="0"/>
              <a:buChar char="•"/>
            </a:pP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9C7E5015-002F-4CC4-B415-0D99C8D40563}" type="slidenum">
              <a:rPr lang="en-US" smtClean="0"/>
              <a:t>6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512642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GB" sz="1000" dirty="0"/>
              <a:t>In addition to the functionalities of the AMF described above, the AMF may include the following functionality to support non-3GPP access networks:</a:t>
            </a:r>
            <a:endParaRPr lang="en-US" sz="1000" dirty="0"/>
          </a:p>
          <a:p>
            <a:pPr marL="175805" indent="-175805">
              <a:buFont typeface="Arial" panose="020B0604020202020204" pitchFamily="34" charset="0"/>
              <a:buChar char="•"/>
            </a:pPr>
            <a:r>
              <a:rPr lang="en-GB" sz="1000" dirty="0"/>
              <a:t>Support of N2 interface with N3IWF. Over this interface, some information (e.g. 3GPP cell Identification) and procedures (e.g. Hand-Over related) defined over 3GPP access may not apply, and non-3GPP access specific information may be applied that do not apply to 3GPP accesses.</a:t>
            </a:r>
          </a:p>
          <a:p>
            <a:pPr marL="175805" indent="-175805">
              <a:buFont typeface="Arial" panose="020B0604020202020204" pitchFamily="34" charset="0"/>
              <a:buChar char="•"/>
            </a:pPr>
            <a:r>
              <a:rPr lang="en-GB" sz="1000" dirty="0"/>
              <a:t>Support of NAS signalling with a UE over N3IWF. Some procedures supported by NAS signalling over 3GPP access may be not applicable to untrusted non-3GPP (e.g. Paging) access.</a:t>
            </a:r>
          </a:p>
          <a:p>
            <a:pPr marL="175805" indent="-175805">
              <a:buFont typeface="Arial" panose="020B0604020202020204" pitchFamily="34" charset="0"/>
              <a:buChar char="•"/>
            </a:pPr>
            <a:r>
              <a:rPr lang="x-none" sz="1000" dirty="0"/>
              <a:t>Support of authentication of UEs connected over N3IWF.</a:t>
            </a:r>
            <a:endParaRPr lang="en-US" sz="1000" dirty="0"/>
          </a:p>
          <a:p>
            <a:pPr marL="175805" indent="-175805">
              <a:buFont typeface="Arial" panose="020B0604020202020204" pitchFamily="34" charset="0"/>
              <a:buChar char="•"/>
            </a:pPr>
            <a:r>
              <a:rPr lang="x-none" sz="1000" dirty="0"/>
              <a:t>Management of mobility</a:t>
            </a:r>
            <a:r>
              <a:rPr lang="en-US" sz="1000" dirty="0"/>
              <a:t>,</a:t>
            </a:r>
            <a:r>
              <a:rPr lang="x-none" sz="1000" dirty="0"/>
              <a:t> authentication</a:t>
            </a:r>
            <a:r>
              <a:rPr lang="en-US" sz="1000" dirty="0"/>
              <a:t>, and separate </a:t>
            </a:r>
            <a:r>
              <a:rPr lang="x-none" sz="1000" dirty="0"/>
              <a:t>security context state(s) of a UE connected via non-3GPP access or connected via 3GPP and non-3GPP accesses simultaneously.</a:t>
            </a:r>
            <a:endParaRPr lang="en-US" sz="1000" dirty="0"/>
          </a:p>
          <a:p>
            <a:pPr marL="175805" indent="-175805">
              <a:buFont typeface="Arial" panose="020B0604020202020204" pitchFamily="34" charset="0"/>
              <a:buChar char="•"/>
            </a:pPr>
            <a:r>
              <a:rPr lang="x-none" sz="1000" dirty="0"/>
              <a:t>Support a co-ordinated RM management context valid over 3GPP and Non 3GPP accesses.</a:t>
            </a:r>
            <a:endParaRPr lang="en-US" sz="1000" dirty="0"/>
          </a:p>
          <a:p>
            <a:pPr marL="175805" indent="-175805">
              <a:buFont typeface="Arial" panose="020B0604020202020204" pitchFamily="34" charset="0"/>
              <a:buChar char="•"/>
            </a:pPr>
            <a:r>
              <a:rPr lang="x-none" sz="1000" dirty="0"/>
              <a:t>Support dedicated CM management contexts for the UE for connectivity over non-3GPP access.</a:t>
            </a:r>
            <a:endParaRPr lang="en-US" sz="1000" dirty="0"/>
          </a:p>
          <a:p>
            <a:endParaRPr lang="sv-SE" sz="1000" i="1" dirty="0"/>
          </a:p>
          <a:p>
            <a:r>
              <a:rPr lang="x-none" sz="1000" i="1" dirty="0"/>
              <a:t>Not all of the function</a:t>
            </a:r>
            <a:r>
              <a:rPr lang="en-US" sz="1000" i="1" dirty="0" err="1"/>
              <a:t>alities</a:t>
            </a:r>
            <a:r>
              <a:rPr lang="x-none" sz="1000" i="1" dirty="0"/>
              <a:t> are required to be supported in a</a:t>
            </a:r>
            <a:r>
              <a:rPr lang="en-US" sz="1000" i="1" dirty="0"/>
              <a:t>n</a:t>
            </a:r>
            <a:r>
              <a:rPr lang="x-none" sz="1000" i="1" dirty="0"/>
              <a:t> instance of a network slice.</a:t>
            </a:r>
            <a:endParaRPr lang="en-US" sz="1000" i="1" dirty="0"/>
          </a:p>
          <a:p>
            <a:endParaRPr lang="en-US" sz="1000" b="1" dirty="0"/>
          </a:p>
          <a:p>
            <a:r>
              <a:rPr lang="en-US" sz="1000" b="1" dirty="0"/>
              <a:t>SMF selection – key principles</a:t>
            </a:r>
          </a:p>
          <a:p>
            <a:pPr marL="175805" indent="-175805">
              <a:buFont typeface="Arial" panose="020B0604020202020204" pitchFamily="34" charset="0"/>
              <a:buChar char="•"/>
            </a:pPr>
            <a:r>
              <a:rPr lang="en-GB" sz="1000" dirty="0"/>
              <a:t>A UE with multiple established PDU sessions may be served by different instances of SMF. </a:t>
            </a:r>
          </a:p>
          <a:p>
            <a:pPr marL="175805" indent="-175805">
              <a:buFont typeface="Arial" panose="020B0604020202020204" pitchFamily="34" charset="0"/>
              <a:buChar char="•"/>
            </a:pPr>
            <a:r>
              <a:rPr lang="en-GB" sz="1000" dirty="0"/>
              <a:t>The AMF selects the SMFs for the PDU sessions.</a:t>
            </a:r>
          </a:p>
          <a:p>
            <a:pPr marL="644618" lvl="1" indent="-175805">
              <a:buFont typeface="Arial" panose="020B0604020202020204" pitchFamily="34" charset="0"/>
              <a:buChar char="•"/>
            </a:pPr>
            <a:r>
              <a:rPr lang="en-GB" sz="1000" dirty="0"/>
              <a:t>AMF may select different SMF functions for different PDU sessions.</a:t>
            </a:r>
          </a:p>
          <a:p>
            <a:pPr marL="1113431" lvl="2" indent="-175805">
              <a:buFont typeface="Arial" panose="020B0604020202020204" pitchFamily="34" charset="0"/>
              <a:buChar char="•"/>
            </a:pPr>
            <a:r>
              <a:rPr lang="en-GB" sz="1000" dirty="0"/>
              <a:t>In particular, in case of a UE connected to multiple slices there can be different instances of SMF serving the UE in the different slices</a:t>
            </a:r>
            <a:endParaRPr lang="en-US" sz="1000" dirty="0"/>
          </a:p>
          <a:p>
            <a:pPr marL="644618" lvl="1" indent="-175805">
              <a:buFont typeface="Arial" panose="020B0604020202020204" pitchFamily="34" charset="0"/>
              <a:buChar char="•"/>
            </a:pPr>
            <a:r>
              <a:rPr lang="en-US" sz="1000" dirty="0"/>
              <a:t>AMF selects SMF based on Data Network Name, slice information, subscription data etc.</a:t>
            </a:r>
          </a:p>
          <a:p>
            <a:pPr marL="644618" lvl="1" indent="-175805">
              <a:buFont typeface="Arial" panose="020B0604020202020204" pitchFamily="34" charset="0"/>
              <a:buChar char="•"/>
            </a:pPr>
            <a:r>
              <a:rPr lang="en-US" sz="1000" dirty="0"/>
              <a:t>In case of home-routed roaming, AMF selects a </a:t>
            </a:r>
            <a:r>
              <a:rPr lang="en-US" sz="1000" dirty="0" err="1"/>
              <a:t>vSMF</a:t>
            </a:r>
            <a:r>
              <a:rPr lang="en-US" sz="1000" dirty="0"/>
              <a:t> in VPLMN and a </a:t>
            </a:r>
            <a:r>
              <a:rPr lang="en-US" sz="1000" dirty="0" err="1"/>
              <a:t>hSMF</a:t>
            </a:r>
            <a:r>
              <a:rPr lang="en-US" sz="1000" dirty="0"/>
              <a:t> in HPLMN to serve the PDU Session</a:t>
            </a:r>
          </a:p>
          <a:p>
            <a:endParaRPr lang="en-US" sz="1000" dirty="0"/>
          </a:p>
        </p:txBody>
      </p:sp>
      <p:sp>
        <p:nvSpPr>
          <p:cNvPr id="4" name="Slide Number Placeholder 3"/>
          <p:cNvSpPr>
            <a:spLocks noGrp="1"/>
          </p:cNvSpPr>
          <p:nvPr>
            <p:ph type="sldNum" sz="quarter" idx="10"/>
          </p:nvPr>
        </p:nvSpPr>
        <p:spPr/>
        <p:txBody>
          <a:bodyPr/>
          <a:lstStyle/>
          <a:p>
            <a:fld id="{5C86D8F9-EFE5-41BD-A521-A414A12B546C}" type="slidenum">
              <a:rPr lang="en-US" smtClean="0"/>
              <a:t>6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4106252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533400" y="842963"/>
            <a:ext cx="6229350" cy="3503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1000" dirty="0"/>
              <a:t>The overall operator challenges of enabling new types of business, e.g. involving other industries, can roughly be divided up into three:</a:t>
            </a:r>
          </a:p>
          <a:p>
            <a:pPr marL="175805" indent="-175805">
              <a:buFont typeface="Arial" panose="020B0604020202020204" pitchFamily="34" charset="0"/>
              <a:buChar char="•"/>
            </a:pPr>
            <a:r>
              <a:rPr lang="en-US" altLang="en-US" sz="1000" dirty="0"/>
              <a:t>Becoming relevant,  i.e. being able to offer end customers what they need, in terms of functionality, characteristics, interfaces/integration points. It may be many things like: latency requirements, scaling properties, reliability/availability, support for 3</a:t>
            </a:r>
            <a:r>
              <a:rPr lang="en-US" altLang="en-US" sz="1000" baseline="30000" dirty="0"/>
              <a:t>rd</a:t>
            </a:r>
            <a:r>
              <a:rPr lang="en-US" altLang="en-US" sz="1000" dirty="0"/>
              <a:t> party (even non-SIM) identities, supervision of connections and so on. This requires a more modular approach to the overall system, allowing such services/offerings to be easily composed.</a:t>
            </a:r>
          </a:p>
          <a:p>
            <a:pPr marL="175805" indent="-175805">
              <a:buFont typeface="Arial" panose="020B0604020202020204" pitchFamily="34" charset="0"/>
              <a:buChar char="•"/>
            </a:pPr>
            <a:r>
              <a:rPr lang="en-US" altLang="en-US" sz="1000" dirty="0"/>
              <a:t>Agility, i.e. the ability to respond to customer requests and requirements in time. This means cutting lead times for developing a targeted service (Time To Market/TTM) as well as the time to process an order and activate a service (Time to Customer/TTC). This agility includes all parts of the supply chain and all process steps.</a:t>
            </a:r>
          </a:p>
          <a:p>
            <a:pPr marL="175805" indent="-175805">
              <a:buFont typeface="Arial" panose="020B0604020202020204" pitchFamily="34" charset="0"/>
              <a:buChar char="•"/>
            </a:pPr>
            <a:r>
              <a:rPr lang="en-US" altLang="en-US" sz="1000" dirty="0"/>
              <a:t>Cost/Complexity. Cost and complexity must be kept in control to make the new business profitable</a:t>
            </a:r>
          </a:p>
          <a:p>
            <a:r>
              <a:rPr lang="en-US" altLang="en-US" sz="1000" dirty="0"/>
              <a:t>It shall also be noted that conflicts between these may need to be managed. It might be preferable to accept a higher initial cost to become more agile (thus to win the business/market share), while allowing for optimization long term (maximizing profitability). Sometimes, it is more important for the customer to get “something", perhaps  non-perfect (less “relevant” ), quickly while migration to the complete solution can happen later</a:t>
            </a:r>
          </a:p>
          <a:p>
            <a:r>
              <a:rPr lang="en-US" altLang="en-US" sz="1000" dirty="0"/>
              <a:t>These challenges all require a higher degree of automation and programmability of the network. To be able to more easily and timely be able to deliver what is needed, modularity and the associated ability to “compose” becomes essential.  Network slicing comes in as a way of being able to more easily and efficiently build these customized solutions/offerings, as well as contributing a level of isolation that allows these solutions to be built and deployed without impacting other network functions and services.</a:t>
            </a:r>
          </a:p>
          <a:p>
            <a:endParaRPr lang="en-US" altLang="en-US" sz="1000" i="1" dirty="0"/>
          </a:p>
        </p:txBody>
      </p:sp>
      <p:sp>
        <p:nvSpPr>
          <p:cNvPr id="4" name="Date Placeholder 3"/>
          <p:cNvSpPr>
            <a:spLocks noGrp="1"/>
          </p:cNvSpPr>
          <p:nvPr>
            <p:ph type="dt" sz="quarter" idx="1"/>
          </p:nvPr>
        </p:nvSpPr>
        <p:spPr/>
        <p:txBody>
          <a:bodyPr/>
          <a:lstStyle/>
          <a:p>
            <a:pPr>
              <a:defRPr/>
            </a:pPr>
            <a:r>
              <a:rPr lang="en-US"/>
              <a:t> </a:t>
            </a:r>
            <a:endParaRPr lang="en-US" dirty="0"/>
          </a:p>
        </p:txBody>
      </p:sp>
      <p:sp>
        <p:nvSpPr>
          <p:cNvPr id="3994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EEEAF02-011B-4E6C-A023-8B66CB74421F}" type="slidenum">
              <a:rPr lang="en-US" altLang="en-US" smtClean="0">
                <a:latin typeface="Arial" charset="0"/>
                <a:ea typeface="MS PGothic" pitchFamily="34" charset="-128"/>
                <a:cs typeface="Arial" charset="0"/>
              </a:rPr>
              <a:t>7</a:t>
            </a:fld>
            <a:endParaRPr lang="en-US" altLang="en-US">
              <a:latin typeface="Arial" charset="0"/>
              <a:ea typeface="MS PGothic" pitchFamily="34" charset="-128"/>
              <a:cs typeface="Arial" charset="0"/>
            </a:endParaRPr>
          </a:p>
        </p:txBody>
      </p:sp>
      <p:sp>
        <p:nvSpPr>
          <p:cNvPr id="6" name="Header Placeholder 5"/>
          <p:cNvSpPr>
            <a:spLocks noGrp="1"/>
          </p:cNvSpPr>
          <p:nvPr>
            <p:ph type="hdr" sz="quarter"/>
          </p:nvPr>
        </p:nvSpPr>
        <p:spPr/>
        <p:txBody>
          <a:bodyPr/>
          <a:lstStyle/>
          <a:p>
            <a:pPr>
              <a:defRPr/>
            </a:pPr>
            <a:r>
              <a:rPr lang="en-US"/>
              <a:t>5G Core Concepts</a:t>
            </a:r>
            <a:endParaRPr lang="en-US" dirty="0"/>
          </a:p>
        </p:txBody>
      </p:sp>
      <p:sp>
        <p:nvSpPr>
          <p:cNvPr id="3994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latin typeface="Arial" charset="0"/>
                <a:ea typeface="MS PGothic" pitchFamily="34" charset="-128"/>
              </a:rPr>
              <a:t>© Ericsson AB 2017  |  LZU1421223 PA2</a:t>
            </a:r>
            <a:endParaRPr lang="en-US" altLang="en-US">
              <a:latin typeface="Arial" charset="0"/>
              <a:ea typeface="MS PGothic" pitchFamily="34" charset="-128"/>
            </a:endParaRPr>
          </a:p>
        </p:txBody>
      </p:sp>
    </p:spTree>
    <p:extLst>
      <p:ext uri="{BB962C8B-B14F-4D97-AF65-F5344CB8AC3E}">
        <p14:creationId xmlns:p14="http://schemas.microsoft.com/office/powerpoint/2010/main" val="24407767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842963"/>
            <a:ext cx="6227763" cy="3503612"/>
          </a:xfrm>
        </p:spPr>
      </p:sp>
      <p:sp>
        <p:nvSpPr>
          <p:cNvPr id="3" name="Notes Placeholder 2"/>
          <p:cNvSpPr>
            <a:spLocks noGrp="1"/>
          </p:cNvSpPr>
          <p:nvPr>
            <p:ph type="body" idx="1"/>
          </p:nvPr>
        </p:nvSpPr>
        <p:spPr/>
        <p:txBody>
          <a:bodyPr/>
          <a:lstStyle/>
          <a:p>
            <a:r>
              <a:rPr lang="en-US" sz="1000" dirty="0"/>
              <a:t>The figure shows the protocol stack related to procedures related with N2 Interface Management and that are not related to an individual UE, such as for Configuration or Reset of the N2 interface. These procedures are intended to be applicable to any access but may correspond to messages that carry some information only on some access (such as information on the default Paging DRX used only for 3GPP access).</a:t>
            </a:r>
          </a:p>
          <a:p>
            <a:r>
              <a:rPr lang="en-GB" sz="1000" dirty="0"/>
              <a:t>The Control Plane interface between the AN and the 5G Core supports:</a:t>
            </a:r>
          </a:p>
          <a:p>
            <a:pPr marL="175805" indent="-175805">
              <a:buFont typeface="Arial" panose="020B0604020202020204" pitchFamily="34" charset="0"/>
              <a:buChar char="•"/>
            </a:pPr>
            <a:r>
              <a:rPr lang="en-US" sz="1000" dirty="0"/>
              <a:t>The connection of multiple different kinds of AN (e.g. 3GPP RAN, N3IWF for Un-trusted access to 5GC) to the 5CG via an unique Control Plane protocol: A single NGAP protocol is used for both the 3GPP access and non-3GPP access.</a:t>
            </a:r>
          </a:p>
          <a:p>
            <a:pPr marL="175805" indent="-175805">
              <a:buFont typeface="Arial" panose="020B0604020202020204" pitchFamily="34" charset="0"/>
              <a:buChar char="•"/>
            </a:pPr>
            <a:r>
              <a:rPr lang="en-GB" sz="1000" dirty="0"/>
              <a:t>The decoupling between AMF and other functions such as SMF that may need to control the services supported by AN(s) (e.g. control of the UP resources in the AN for a PDU session).</a:t>
            </a:r>
          </a:p>
          <a:p>
            <a:pPr marL="644618" lvl="1" indent="-175805">
              <a:buFont typeface="Arial" panose="020B0604020202020204" pitchFamily="34" charset="0"/>
              <a:buChar char="•"/>
            </a:pPr>
            <a:r>
              <a:rPr lang="en-US" sz="1000" dirty="0"/>
              <a:t>For this purpose, NGAP may support a subset of messages and information that the AMF is just responsible to relay between AN and the SMF. This subset of NGAP is called NGAP-SM for the SMF. The information can be referred as N2 SM information in this specification.</a:t>
            </a:r>
          </a:p>
          <a:p>
            <a:r>
              <a:rPr lang="en-US" sz="1000" dirty="0"/>
              <a:t>Protocols:</a:t>
            </a:r>
          </a:p>
          <a:p>
            <a:pPr marL="175805" indent="-175805">
              <a:buFont typeface="Arial" panose="020B0604020202020204" pitchFamily="34" charset="0"/>
              <a:buChar char="•"/>
            </a:pPr>
            <a:r>
              <a:rPr lang="en-GB" sz="1000" b="1" dirty="0"/>
              <a:t>NG Application Protocol (NG-AP):</a:t>
            </a:r>
            <a:r>
              <a:rPr lang="en-GB" sz="1000" dirty="0"/>
              <a:t> Application Layer Protocol between the NG-RAN node and the AMF. NG-AP is defined in TS 38.413.</a:t>
            </a:r>
          </a:p>
          <a:p>
            <a:pPr marL="175805" indent="-175805">
              <a:buFont typeface="Arial" panose="020B0604020202020204" pitchFamily="34" charset="0"/>
              <a:buChar char="•"/>
            </a:pPr>
            <a:r>
              <a:rPr lang="en-US" sz="1000" b="1" dirty="0"/>
              <a:t>Stream Control Transmission Protocol (SCTP):</a:t>
            </a:r>
            <a:r>
              <a:rPr lang="en-US" sz="1000" dirty="0"/>
              <a:t> This protocol guarantees delivery of signaling messages between AMF and AN node (N2). SCTP is defined in RFC 4960.</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06569E92-E4FA-40E9-8551-301BAC30EBD8}" type="slidenum">
              <a:rPr lang="en-US" smtClean="0"/>
              <a:t>7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49632594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842963"/>
            <a:ext cx="6229350" cy="3503612"/>
          </a:xfrm>
        </p:spPr>
      </p:sp>
      <p:sp>
        <p:nvSpPr>
          <p:cNvPr id="3" name="Notes Placeholder 2"/>
          <p:cNvSpPr>
            <a:spLocks noGrp="1"/>
          </p:cNvSpPr>
          <p:nvPr>
            <p:ph type="body" idx="1"/>
          </p:nvPr>
        </p:nvSpPr>
        <p:spPr/>
        <p:txBody>
          <a:bodyPr/>
          <a:lstStyle/>
          <a:p>
            <a:r>
              <a:rPr lang="en-US" sz="1000" dirty="0"/>
              <a:t>The NAS protocol on N1 comprises a NAS-MM and a NAS-SM components.</a:t>
            </a:r>
          </a:p>
          <a:p>
            <a:r>
              <a:rPr lang="en-US" sz="1000" dirty="0"/>
              <a:t>There are multiple cases of protocols between the UE and a core network function (excluding the AMF) that need to be transported over N1. Such cases include:</a:t>
            </a:r>
          </a:p>
          <a:p>
            <a:pPr marL="175805" indent="-175805">
              <a:buFont typeface="Arial" panose="020B0604020202020204" pitchFamily="34" charset="0"/>
              <a:buChar char="•"/>
            </a:pPr>
            <a:r>
              <a:rPr lang="en-US" sz="1000" dirty="0"/>
              <a:t>Session Management Signaling.</a:t>
            </a:r>
          </a:p>
          <a:p>
            <a:pPr marL="175805" indent="-175805">
              <a:buFont typeface="Arial" panose="020B0604020202020204" pitchFamily="34" charset="0"/>
              <a:buChar char="•"/>
            </a:pPr>
            <a:r>
              <a:rPr lang="en-US" sz="1000" dirty="0"/>
              <a:t>SMS.</a:t>
            </a:r>
          </a:p>
          <a:p>
            <a:r>
              <a:rPr lang="en-US" sz="1000" dirty="0"/>
              <a:t>The NAS-MM supports generic capabilities:</a:t>
            </a:r>
          </a:p>
          <a:p>
            <a:pPr marL="175805" indent="-175805">
              <a:buFont typeface="Arial" panose="020B0604020202020204" pitchFamily="34" charset="0"/>
              <a:buChar char="•"/>
            </a:pPr>
            <a:r>
              <a:rPr lang="en-US" sz="1000" dirty="0"/>
              <a:t>NAS procedures that terminate at the AMF. This includes:</a:t>
            </a:r>
          </a:p>
          <a:p>
            <a:pPr marL="644618" lvl="1" indent="-175805">
              <a:buFont typeface="Arial" panose="020B0604020202020204" pitchFamily="34" charset="0"/>
              <a:buChar char="•"/>
            </a:pPr>
            <a:r>
              <a:rPr lang="en-US" sz="1000" dirty="0"/>
              <a:t>Handles Registration Management and Connection Management state machines and procedures, including NAS transport;</a:t>
            </a:r>
          </a:p>
          <a:p>
            <a:pPr marL="644618" lvl="1" indent="-175805">
              <a:buFont typeface="Arial" panose="020B0604020202020204" pitchFamily="34" charset="0"/>
              <a:buChar char="•"/>
            </a:pPr>
            <a:r>
              <a:rPr lang="en-US" sz="1000" dirty="0"/>
              <a:t>Provide a secure NAS connection (integrity protection, ciphering) between the UE and the AMF, including for the transport of payload;</a:t>
            </a:r>
          </a:p>
          <a:p>
            <a:pPr marL="644618" lvl="1" indent="-175805">
              <a:buFont typeface="Arial" panose="020B0604020202020204" pitchFamily="34" charset="0"/>
              <a:buChar char="•"/>
            </a:pPr>
            <a:r>
              <a:rPr lang="en-US" sz="1000" dirty="0"/>
              <a:t>Provide access control if it applies;</a:t>
            </a:r>
          </a:p>
          <a:p>
            <a:pPr marL="175805" indent="-175805">
              <a:buFont typeface="Arial" panose="020B0604020202020204" pitchFamily="34" charset="0"/>
              <a:buChar char="•"/>
            </a:pPr>
            <a:r>
              <a:rPr lang="en-US" sz="1000" dirty="0"/>
              <a:t>NAS transport of different types of payload or messages that do not terminate at the AMF, e.g. NAS-SM, SMS, between the UE and the AMF. This includes:</a:t>
            </a:r>
          </a:p>
          <a:p>
            <a:pPr marL="644618" lvl="1" indent="-175805">
              <a:buFont typeface="Arial" panose="020B0604020202020204" pitchFamily="34" charset="0"/>
              <a:buChar char="•"/>
            </a:pPr>
            <a:r>
              <a:rPr lang="en-US" sz="1000" dirty="0"/>
              <a:t>Information about the Payload type</a:t>
            </a:r>
          </a:p>
          <a:p>
            <a:pPr marL="644618" lvl="1" indent="-175805">
              <a:buFont typeface="Arial" panose="020B0604020202020204" pitchFamily="34" charset="0"/>
              <a:buChar char="•"/>
            </a:pPr>
            <a:r>
              <a:rPr lang="en-US" sz="1000" dirty="0"/>
              <a:t>Additional Information for forwarding purposes</a:t>
            </a:r>
          </a:p>
          <a:p>
            <a:pPr marL="644618" lvl="1" indent="-175805">
              <a:buFont typeface="Arial" panose="020B0604020202020204" pitchFamily="34" charset="0"/>
              <a:buChar char="•"/>
            </a:pPr>
            <a:r>
              <a:rPr lang="en-US" sz="1000" dirty="0"/>
              <a:t>The Payload (e.g. the SM message in case of SM signaling)</a:t>
            </a:r>
          </a:p>
          <a:p>
            <a:pPr marL="175805" indent="-175805">
              <a:buFont typeface="Arial" panose="020B0604020202020204" pitchFamily="34" charset="0"/>
              <a:buChar char="•"/>
            </a:pPr>
            <a:r>
              <a:rPr lang="en-US" sz="1000" dirty="0"/>
              <a:t>There is a Single NAS protocol that applies on both 3GPP and non-3GPP access.</a:t>
            </a:r>
          </a:p>
          <a:p>
            <a:r>
              <a:rPr lang="en-US" sz="1000" dirty="0"/>
              <a:t>Security of the NAS messages is provided based on the security context established between the UE and the AMF.</a:t>
            </a:r>
          </a:p>
          <a:p>
            <a:r>
              <a:rPr lang="en-US" sz="1000" dirty="0"/>
              <a:t>The figure shows NAS transport of SM signaling and SMS as example.</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B17003D8-7CC5-4206-A71D-C675CD60E1AD}" type="slidenum">
              <a:rPr lang="en-US" smtClean="0"/>
              <a:t>7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9036524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8800" y="842963"/>
            <a:ext cx="6227763" cy="3503612"/>
          </a:xfrm>
        </p:spPr>
      </p:sp>
      <p:sp>
        <p:nvSpPr>
          <p:cNvPr id="3" name="Notes Placeholder 2"/>
          <p:cNvSpPr>
            <a:spLocks noGrp="1"/>
          </p:cNvSpPr>
          <p:nvPr>
            <p:ph type="body" idx="1"/>
          </p:nvPr>
        </p:nvSpPr>
        <p:spPr/>
        <p:txBody>
          <a:bodyPr/>
          <a:lstStyle/>
          <a:p>
            <a:pPr marL="175805" indent="-175805">
              <a:buFont typeface="Arial" panose="020B0604020202020204" pitchFamily="34" charset="0"/>
              <a:buChar char="•"/>
            </a:pPr>
            <a:r>
              <a:rPr lang="en-US" sz="1000" b="1" dirty="0"/>
              <a:t>NAS-MM</a:t>
            </a:r>
            <a:r>
              <a:rPr lang="en-US" sz="1000" dirty="0"/>
              <a:t>: The NAS protocol for MM functionality supports registration management functionality, connection management functionality and user plane connection activation and deactivation. It is also responsible of ciphering and integrity protection of NAS signaling. </a:t>
            </a:r>
          </a:p>
          <a:p>
            <a:pPr marL="175805" indent="-175805">
              <a:buFont typeface="Arial" panose="020B0604020202020204" pitchFamily="34" charset="0"/>
              <a:buChar char="•"/>
            </a:pPr>
            <a:r>
              <a:rPr lang="en-US" sz="1000" b="1" dirty="0"/>
              <a:t>AN Protocol layer</a:t>
            </a:r>
            <a:r>
              <a:rPr lang="en-US" sz="1000" dirty="0"/>
              <a:t>: This set of protocols/layers depends on the AN. In case of 3GPP RAN, the radio protocol between the UE and the AN node (</a:t>
            </a:r>
            <a:r>
              <a:rPr lang="en-US" sz="1000" dirty="0" err="1"/>
              <a:t>eNodeB</a:t>
            </a:r>
            <a:r>
              <a:rPr lang="en-US" sz="1000" dirty="0"/>
              <a:t> or </a:t>
            </a:r>
            <a:r>
              <a:rPr lang="en-US" sz="1000" dirty="0" err="1"/>
              <a:t>gNodeB</a:t>
            </a:r>
            <a:r>
              <a:rPr lang="en-US" sz="1000" dirty="0"/>
              <a:t>) is specified in TS 36.300 and TS 38.300. </a:t>
            </a:r>
          </a:p>
          <a:p>
            <a:endParaRPr lang="en-US" sz="1000" dirty="0"/>
          </a:p>
        </p:txBody>
      </p:sp>
      <p:sp>
        <p:nvSpPr>
          <p:cNvPr id="4" name="Slide Number Placeholder 3"/>
          <p:cNvSpPr>
            <a:spLocks noGrp="1"/>
          </p:cNvSpPr>
          <p:nvPr>
            <p:ph type="sldNum" sz="quarter" idx="10"/>
          </p:nvPr>
        </p:nvSpPr>
        <p:spPr/>
        <p:txBody>
          <a:bodyPr/>
          <a:lstStyle/>
          <a:p>
            <a:fld id="{14638FD2-A665-4C19-9D1E-224C707326AB}" type="slidenum">
              <a:rPr lang="en-US" smtClean="0"/>
              <a:t>7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264611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3400" y="842963"/>
            <a:ext cx="6227763" cy="35036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810C315-C0B4-43F6-912D-031257DC9782}" type="slidenum">
              <a:rPr lang="en-US" smtClean="0"/>
              <a:t>7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5249460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842963"/>
            <a:ext cx="6229350" cy="3503612"/>
          </a:xfrm>
        </p:spPr>
      </p:sp>
      <p:sp>
        <p:nvSpPr>
          <p:cNvPr id="3" name="Notes Placeholder 2"/>
          <p:cNvSpPr>
            <a:spLocks noGrp="1"/>
          </p:cNvSpPr>
          <p:nvPr>
            <p:ph type="body" idx="1"/>
          </p:nvPr>
        </p:nvSpPr>
        <p:spPr/>
        <p:txBody>
          <a:bodyPr/>
          <a:lstStyle/>
          <a:p>
            <a:r>
              <a:rPr lang="en-GB" sz="1000" dirty="0"/>
              <a:t>The Registration Management is used to register or de-register a UE/user with the network, and establish the user context in the network.</a:t>
            </a:r>
          </a:p>
          <a:p>
            <a:r>
              <a:rPr lang="en-GB" sz="1000" dirty="0"/>
              <a:t>A UE/user needs to register with the network to receive services that requires registration. Once registered and if applicable the UE updates its registration with the network (see TS 23.502):</a:t>
            </a:r>
            <a:endParaRPr lang="en-US" sz="1000" dirty="0"/>
          </a:p>
          <a:p>
            <a:pPr marL="175805" indent="-175805">
              <a:buFont typeface="Arial" panose="020B0604020202020204" pitchFamily="34" charset="0"/>
              <a:buChar char="•"/>
            </a:pPr>
            <a:r>
              <a:rPr lang="sv-SE" sz="1000" dirty="0"/>
              <a:t>P</a:t>
            </a:r>
            <a:r>
              <a:rPr lang="x-none" sz="1000" dirty="0"/>
              <a:t>eriodically </a:t>
            </a:r>
            <a:r>
              <a:rPr lang="en-US" sz="1000" dirty="0"/>
              <a:t>in order </a:t>
            </a:r>
            <a:r>
              <a:rPr lang="x-none" sz="1000" dirty="0"/>
              <a:t>to remain reachable (periodic registration update)</a:t>
            </a:r>
            <a:r>
              <a:rPr lang="en-US" sz="1000" dirty="0"/>
              <a:t>; or</a:t>
            </a:r>
          </a:p>
          <a:p>
            <a:pPr marL="175805" indent="-175805">
              <a:buFont typeface="Arial" panose="020B0604020202020204" pitchFamily="34" charset="0"/>
              <a:buChar char="•"/>
            </a:pPr>
            <a:r>
              <a:rPr lang="sv-SE" sz="1000" dirty="0"/>
              <a:t>U</a:t>
            </a:r>
            <a:r>
              <a:rPr lang="x-none" sz="1000" dirty="0"/>
              <a:t>pon mobility (mobility registration update)</a:t>
            </a:r>
            <a:r>
              <a:rPr lang="en-US" sz="1000" dirty="0"/>
              <a:t>; or</a:t>
            </a:r>
          </a:p>
          <a:p>
            <a:pPr marL="175805" indent="-175805">
              <a:buFont typeface="Arial" panose="020B0604020202020204" pitchFamily="34" charset="0"/>
              <a:buChar char="•"/>
            </a:pPr>
            <a:r>
              <a:rPr lang="sv-SE" sz="1000" dirty="0"/>
              <a:t>T</a:t>
            </a:r>
            <a:r>
              <a:rPr lang="x-none" sz="1000" dirty="0"/>
              <a:t>o update its capabilities or re-negotiate protocol parameter</a:t>
            </a:r>
            <a:r>
              <a:rPr lang="en-US" sz="1000" dirty="0"/>
              <a:t>s</a:t>
            </a:r>
            <a:r>
              <a:rPr lang="x-none" sz="1000" dirty="0"/>
              <a:t>.</a:t>
            </a:r>
            <a:endParaRPr lang="en-US" sz="1000" dirty="0"/>
          </a:p>
          <a:p>
            <a:r>
              <a:rPr lang="en-GB" sz="1000" dirty="0"/>
              <a:t>The initial Registration procedure involves execution of Network Access Control functions (i.e. user authentication and access authorization based on subscription profiles in UDM). As result of the Registration procedure, the identity of the serving AMF will be registered in UDM.</a:t>
            </a:r>
            <a:endParaRPr lang="en-US" sz="1000" dirty="0"/>
          </a:p>
          <a:p>
            <a:r>
              <a:rPr lang="en-GB" sz="1000" dirty="0"/>
              <a:t>The registration management procedures are applicable over both 3GPP access and non 3GPP access.</a:t>
            </a:r>
            <a:endParaRPr lang="en-US" sz="1000" dirty="0"/>
          </a:p>
          <a:p>
            <a:endParaRPr lang="en-US" sz="1000" dirty="0"/>
          </a:p>
        </p:txBody>
      </p:sp>
      <p:sp>
        <p:nvSpPr>
          <p:cNvPr id="4" name="Slide Number Placeholder 3"/>
          <p:cNvSpPr>
            <a:spLocks noGrp="1"/>
          </p:cNvSpPr>
          <p:nvPr>
            <p:ph type="sldNum" sz="quarter" idx="10"/>
          </p:nvPr>
        </p:nvSpPr>
        <p:spPr/>
        <p:txBody>
          <a:bodyPr/>
          <a:lstStyle/>
          <a:p>
            <a:fld id="{66C8064D-5583-4480-958D-8D573DCF9362}" type="slidenum">
              <a:rPr lang="en-US" smtClean="0"/>
              <a:t>7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6851021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842963"/>
            <a:ext cx="6229350" cy="3503612"/>
          </a:xfrm>
        </p:spPr>
      </p:sp>
      <p:sp>
        <p:nvSpPr>
          <p:cNvPr id="3" name="Notes Placeholder 2"/>
          <p:cNvSpPr>
            <a:spLocks noGrp="1"/>
          </p:cNvSpPr>
          <p:nvPr>
            <p:ph type="body" idx="1"/>
          </p:nvPr>
        </p:nvSpPr>
        <p:spPr>
          <a:xfrm>
            <a:off x="1309532" y="4605657"/>
            <a:ext cx="4714315" cy="5105143"/>
          </a:xfrm>
        </p:spPr>
        <p:txBody>
          <a:bodyPr/>
          <a:lstStyle/>
          <a:p>
            <a:r>
              <a:rPr lang="en-US" sz="1000" dirty="0"/>
              <a:t>The figure illustrates the RM state models in UE and AMF.</a:t>
            </a:r>
          </a:p>
          <a:p>
            <a:r>
              <a:rPr lang="en-GB" sz="1000" dirty="0"/>
              <a:t>In the RM‑DEREGISTERED state, the UE is not registered with the network. The UE context in AMF holds no valid location or routing information for the UE so the UE is not reachable by the AMF. However some UE context may still be stored in the UE and the AMF e.g. to avoid running an authentication procedure during every Registration procedure.</a:t>
            </a:r>
            <a:endParaRPr lang="en-US" sz="1000" dirty="0"/>
          </a:p>
          <a:p>
            <a:r>
              <a:rPr lang="en-GB" sz="1000" dirty="0"/>
              <a:t>In the RM-DEREGISTERED state, the UE shall:</a:t>
            </a:r>
          </a:p>
          <a:p>
            <a:pPr marL="175805" indent="-175805">
              <a:buFont typeface="Arial" panose="020B0604020202020204" pitchFamily="34" charset="0"/>
              <a:buChar char="•"/>
            </a:pPr>
            <a:r>
              <a:rPr lang="sv-SE" sz="1000" dirty="0"/>
              <a:t>A</a:t>
            </a:r>
            <a:r>
              <a:rPr lang="x-none" sz="1000" dirty="0"/>
              <a:t>ttempt to register </a:t>
            </a:r>
            <a:r>
              <a:rPr lang="en-US" sz="1000" dirty="0"/>
              <a:t>with the selected </a:t>
            </a:r>
            <a:r>
              <a:rPr lang="x-none" sz="1000" dirty="0"/>
              <a:t>PLMN </a:t>
            </a:r>
            <a:r>
              <a:rPr lang="en-US" sz="1000" dirty="0"/>
              <a:t>using the initial r</a:t>
            </a:r>
            <a:r>
              <a:rPr lang="x-none" sz="1000" dirty="0"/>
              <a:t>registration procedure if it needs to receive service tha</a:t>
            </a:r>
            <a:r>
              <a:rPr lang="en-US" sz="1000" dirty="0"/>
              <a:t>t</a:t>
            </a:r>
            <a:r>
              <a:rPr lang="x-none" sz="1000" dirty="0"/>
              <a:t> requires registration</a:t>
            </a:r>
            <a:endParaRPr lang="en-US" sz="1000" dirty="0"/>
          </a:p>
          <a:p>
            <a:pPr marL="175805" indent="-175805">
              <a:buFont typeface="Arial" panose="020B0604020202020204" pitchFamily="34" charset="0"/>
              <a:buChar char="•"/>
            </a:pPr>
            <a:r>
              <a:rPr lang="en-US" sz="1000" dirty="0"/>
              <a:t>Remain in RM-DEREGISTERED state if receiving a Registration Reject upon initial registration</a:t>
            </a:r>
          </a:p>
          <a:p>
            <a:pPr marL="175805" indent="-175805">
              <a:buFont typeface="Arial" panose="020B0604020202020204" pitchFamily="34" charset="0"/>
              <a:buChar char="•"/>
            </a:pPr>
            <a:r>
              <a:rPr lang="en-US" sz="1000" dirty="0"/>
              <a:t>Enter RM-REGISTERED state upon receiving a Registration Accept</a:t>
            </a:r>
          </a:p>
          <a:p>
            <a:r>
              <a:rPr lang="en-GB" sz="1000" dirty="0"/>
              <a:t>In the RM-DEREGISTERED state, the AMF shall:</a:t>
            </a:r>
            <a:endParaRPr lang="en-US" sz="1000" dirty="0"/>
          </a:p>
          <a:p>
            <a:pPr marL="175805" indent="-175805">
              <a:buFont typeface="Arial" panose="020B0604020202020204" pitchFamily="34" charset="0"/>
              <a:buChar char="•"/>
            </a:pPr>
            <a:r>
              <a:rPr lang="sv-SE" sz="1000" dirty="0"/>
              <a:t>W</a:t>
            </a:r>
            <a:r>
              <a:rPr lang="x-none" sz="1000" dirty="0"/>
              <a:t>hen applicable, accept the initial registration of a UE by sending a Registration Accept to this UE and enter RM-REGISTERED state</a:t>
            </a:r>
            <a:endParaRPr lang="en-US" sz="1000" dirty="0"/>
          </a:p>
          <a:p>
            <a:pPr marL="175805" indent="-175805">
              <a:buFont typeface="Arial" panose="020B0604020202020204" pitchFamily="34" charset="0"/>
              <a:buChar char="•"/>
            </a:pPr>
            <a:r>
              <a:rPr lang="sv-SE" sz="1000" dirty="0"/>
              <a:t>W</a:t>
            </a:r>
            <a:r>
              <a:rPr lang="x-none" sz="1000" dirty="0"/>
              <a:t>hen applicable, reject the initial registration of a UE by sending a Registration Reject to this UE</a:t>
            </a:r>
            <a:endParaRPr lang="sv-SE" sz="1000" dirty="0"/>
          </a:p>
          <a:p>
            <a:r>
              <a:rPr lang="en-GB" sz="1000" dirty="0"/>
              <a:t>In the RM‑REGISTERED state, the UE is registered with the network. In the RM-REGISTERED state, the UE can receive services that require registration with the network.</a:t>
            </a:r>
            <a:endParaRPr lang="en-US" sz="1000" dirty="0"/>
          </a:p>
          <a:p>
            <a:r>
              <a:rPr lang="en-GB" sz="1000" dirty="0"/>
              <a:t>In the RM-REGISTERED state, the UE shall:</a:t>
            </a:r>
          </a:p>
          <a:p>
            <a:pPr marL="175805" indent="-175805">
              <a:buFont typeface="Arial" panose="020B0604020202020204" pitchFamily="34" charset="0"/>
              <a:buChar char="•"/>
            </a:pPr>
            <a:r>
              <a:rPr lang="sv-SE" sz="1000" dirty="0"/>
              <a:t>P</a:t>
            </a:r>
            <a:r>
              <a:rPr lang="x-none" sz="1000" dirty="0"/>
              <a:t>erform </a:t>
            </a:r>
            <a:r>
              <a:rPr lang="en-US" sz="1000" dirty="0"/>
              <a:t>mobility </a:t>
            </a:r>
            <a:r>
              <a:rPr lang="x-none" sz="1000" dirty="0"/>
              <a:t>Registration </a:t>
            </a:r>
            <a:r>
              <a:rPr lang="en-US" sz="1000" dirty="0"/>
              <a:t>Update </a:t>
            </a:r>
            <a:r>
              <a:rPr lang="x-none" sz="1000" dirty="0"/>
              <a:t>procedure if the current TA </a:t>
            </a:r>
            <a:r>
              <a:rPr lang="en-US" sz="1000" dirty="0"/>
              <a:t>I of the serving cell </a:t>
            </a:r>
            <a:r>
              <a:rPr lang="x-none" sz="1000" dirty="0"/>
              <a:t>is not in the list of TA</a:t>
            </a:r>
            <a:r>
              <a:rPr lang="en-US" sz="1000" dirty="0"/>
              <a:t>I</a:t>
            </a:r>
            <a:r>
              <a:rPr lang="x-none" sz="1000" dirty="0"/>
              <a:t>s that the UE has received from the network in order to maintain the registration and enable the AMF to page the U</a:t>
            </a:r>
            <a:r>
              <a:rPr lang="sv-SE" sz="1000" dirty="0"/>
              <a:t>E.</a:t>
            </a:r>
            <a:endParaRPr lang="en-US" sz="1000" dirty="0"/>
          </a:p>
          <a:p>
            <a:pPr marL="175805" indent="-175805">
              <a:buFont typeface="Arial" panose="020B0604020202020204" pitchFamily="34" charset="0"/>
              <a:buChar char="•"/>
            </a:pPr>
            <a:r>
              <a:rPr lang="en-US" sz="1000" dirty="0"/>
              <a:t>Perform periodic Registration Update procedure triggered by expiration of the periodic update timer to notify the network that the UE is still active.</a:t>
            </a:r>
          </a:p>
          <a:p>
            <a:pPr marL="175805" indent="-175805">
              <a:buFont typeface="Arial" panose="020B0604020202020204" pitchFamily="34" charset="0"/>
              <a:buChar char="•"/>
            </a:pPr>
            <a:r>
              <a:rPr lang="en-US" sz="1000" dirty="0"/>
              <a:t>Perform a Registration Update procedure to update its capability information or to re-negotiate protocol parameters with the network.</a:t>
            </a:r>
          </a:p>
          <a:p>
            <a:endParaRPr lang="en-US" sz="1000" dirty="0"/>
          </a:p>
        </p:txBody>
      </p:sp>
      <p:sp>
        <p:nvSpPr>
          <p:cNvPr id="4" name="Slide Number Placeholder 3"/>
          <p:cNvSpPr>
            <a:spLocks noGrp="1"/>
          </p:cNvSpPr>
          <p:nvPr>
            <p:ph type="sldNum" sz="quarter" idx="10"/>
          </p:nvPr>
        </p:nvSpPr>
        <p:spPr/>
        <p:txBody>
          <a:bodyPr/>
          <a:lstStyle/>
          <a:p>
            <a:fld id="{76312525-A863-42A8-B2F9-771FF7F01E7A}" type="slidenum">
              <a:rPr lang="en-US" smtClean="0"/>
              <a:t>7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531921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pPr marL="175805" indent="-175805">
              <a:buFont typeface="Arial" panose="020B0604020202020204" pitchFamily="34" charset="0"/>
              <a:buChar char="•"/>
            </a:pPr>
            <a:r>
              <a:rPr lang="en-US" sz="1000" dirty="0"/>
              <a:t>Perform Deregistration procedure, and enter RM-DEREGISTERED state,, when the UE needs to be no longer registered with the PLMN. The UE may decide to deregister from the network at any time.</a:t>
            </a:r>
          </a:p>
          <a:p>
            <a:pPr marL="175805" indent="-175805">
              <a:buFont typeface="Arial" panose="020B0604020202020204" pitchFamily="34" charset="0"/>
              <a:buChar char="•"/>
            </a:pPr>
            <a:r>
              <a:rPr lang="en-US" sz="1000" dirty="0"/>
              <a:t>enter RM-DEREGISTERED state when receiving a Registration Reject message. The actions of the UE depend upon the </a:t>
            </a:r>
            <a:r>
              <a:rPr lang="en-US" sz="1000" dirty="0" err="1"/>
              <a:t>'cause</a:t>
            </a:r>
            <a:r>
              <a:rPr lang="en-US" sz="1000" dirty="0"/>
              <a:t> value' in the Registration Reject message.</a:t>
            </a:r>
          </a:p>
          <a:p>
            <a:r>
              <a:rPr lang="en-GB" sz="1000" dirty="0"/>
              <a:t>In the RM-REGISTERED state, the AMF shall:</a:t>
            </a:r>
            <a:endParaRPr lang="en-US" sz="1000" dirty="0"/>
          </a:p>
          <a:p>
            <a:pPr marL="175805" indent="-175805">
              <a:buFont typeface="Arial" panose="020B0604020202020204" pitchFamily="34" charset="0"/>
              <a:buChar char="•"/>
            </a:pPr>
            <a:r>
              <a:rPr lang="en-US" sz="1000" dirty="0"/>
              <a:t>Perform Deregistration procedure, and enter RM-DEREGISTERED state, when the UE needs to be no longer registered with the PLMN. The network may decide to deregister the UE at any time.</a:t>
            </a:r>
          </a:p>
          <a:p>
            <a:pPr marL="175805" indent="-175805">
              <a:buFont typeface="Arial" panose="020B0604020202020204" pitchFamily="34" charset="0"/>
              <a:buChar char="•"/>
            </a:pPr>
            <a:r>
              <a:rPr lang="en-US" sz="1000" dirty="0"/>
              <a:t>Perform Implicit Deregistration at any time after the Implicit Deregistration timer expires. The AMF shall enter RM-DEREGISTERED state after Implicit Deregistration.</a:t>
            </a:r>
          </a:p>
          <a:p>
            <a:pPr marL="175805" indent="-175805">
              <a:buFont typeface="Arial" panose="020B0604020202020204" pitchFamily="34" charset="0"/>
              <a:buChar char="•"/>
            </a:pPr>
            <a:r>
              <a:rPr lang="en-US" sz="1000" dirty="0"/>
              <a:t>When applicable, accept or reject Registration Updates from the UE. The AMF may reject a UE registration upon rejecting a Registration Update from the UE.</a:t>
            </a:r>
          </a:p>
          <a:p>
            <a:endParaRPr lang="en-US" sz="1000" dirty="0"/>
          </a:p>
        </p:txBody>
      </p:sp>
      <p:sp>
        <p:nvSpPr>
          <p:cNvPr id="4" name="Slide Number Placeholder 3"/>
          <p:cNvSpPr>
            <a:spLocks noGrp="1"/>
          </p:cNvSpPr>
          <p:nvPr>
            <p:ph type="sldNum" sz="quarter" idx="10"/>
          </p:nvPr>
        </p:nvSpPr>
        <p:spPr/>
        <p:txBody>
          <a:bodyPr/>
          <a:lstStyle/>
          <a:p>
            <a:fld id="{8563B57B-8192-4FD7-B686-28127356A63B}" type="slidenum">
              <a:rPr lang="en-US" smtClean="0"/>
              <a:t>7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22915365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842963"/>
            <a:ext cx="6229350" cy="3503612"/>
          </a:xfrm>
        </p:spPr>
      </p:sp>
      <p:sp>
        <p:nvSpPr>
          <p:cNvPr id="3" name="Notes Placeholder 2"/>
          <p:cNvSpPr>
            <a:spLocks noGrp="1"/>
          </p:cNvSpPr>
          <p:nvPr>
            <p:ph type="body" idx="1"/>
          </p:nvPr>
        </p:nvSpPr>
        <p:spPr/>
        <p:txBody>
          <a:bodyPr/>
          <a:lstStyle/>
          <a:p>
            <a:r>
              <a:rPr lang="en-GB" sz="1000" dirty="0"/>
              <a:t>For a given serving PLMN there is one RM context for a UE for each access, e.g. when the UE is consecutively or simultaneously served by a 3GPP access and a Non3GPP access (N3IWF) of this PLMN.</a:t>
            </a:r>
          </a:p>
          <a:p>
            <a:r>
              <a:rPr lang="en-GB" sz="1000" dirty="0"/>
              <a:t>An AMF associates multiple access-specific RM context for an UE with:</a:t>
            </a:r>
            <a:endParaRPr lang="en-US" sz="1000" dirty="0"/>
          </a:p>
          <a:p>
            <a:pPr marL="175805" indent="-175805">
              <a:buFont typeface="Arial" panose="020B0604020202020204" pitchFamily="34" charset="0"/>
              <a:buChar char="•"/>
            </a:pPr>
            <a:r>
              <a:rPr lang="sv-SE" sz="1000" dirty="0"/>
              <a:t>A</a:t>
            </a:r>
            <a:r>
              <a:rPr lang="x-none" sz="1000" dirty="0"/>
              <a:t> Temporary Identifier that is common between 3GPP and Non3GPP. This Temporary Identifier is globally unique.</a:t>
            </a:r>
            <a:endParaRPr lang="en-US" sz="1000" dirty="0"/>
          </a:p>
          <a:p>
            <a:pPr marL="175805" indent="-175805">
              <a:buFont typeface="Arial" panose="020B0604020202020204" pitchFamily="34" charset="0"/>
              <a:buChar char="•"/>
            </a:pPr>
            <a:r>
              <a:rPr lang="sv-SE" sz="1000" dirty="0"/>
              <a:t>A</a:t>
            </a:r>
            <a:r>
              <a:rPr lang="x-none" sz="1000" dirty="0"/>
              <a:t> registration state per access type (3GPP / Non</a:t>
            </a:r>
            <a:r>
              <a:rPr lang="en-US" sz="1000" dirty="0"/>
              <a:t>-</a:t>
            </a:r>
            <a:r>
              <a:rPr lang="x-none" sz="1000" dirty="0"/>
              <a:t>3GPP)</a:t>
            </a:r>
            <a:endParaRPr lang="en-US" sz="1000" dirty="0"/>
          </a:p>
          <a:p>
            <a:pPr marL="175805" indent="-175805">
              <a:buFont typeface="Arial" panose="020B0604020202020204" pitchFamily="34" charset="0"/>
              <a:buChar char="•"/>
            </a:pPr>
            <a:r>
              <a:rPr lang="sv-SE" sz="1000" dirty="0"/>
              <a:t>A</a:t>
            </a:r>
            <a:r>
              <a:rPr lang="x-none" sz="1000" dirty="0"/>
              <a:t> registration areas per access type: one registration area for 3GPP access and another registration areas for non 3GPP access.</a:t>
            </a:r>
            <a:endParaRPr lang="en-US" sz="1000" dirty="0"/>
          </a:p>
          <a:p>
            <a:pPr marL="175805" indent="-175805">
              <a:buFont typeface="Arial" panose="020B0604020202020204" pitchFamily="34" charset="0"/>
              <a:buChar char="•"/>
            </a:pPr>
            <a:r>
              <a:rPr lang="x-none" sz="1000" dirty="0"/>
              <a:t>A </a:t>
            </a:r>
            <a:r>
              <a:rPr lang="en-US" sz="1000" dirty="0"/>
              <a:t>periodic </a:t>
            </a:r>
            <a:r>
              <a:rPr lang="x-none" sz="1000" dirty="0"/>
              <a:t>registration timer for 3GPP access.</a:t>
            </a:r>
            <a:endParaRPr lang="sv-SE" sz="1000" dirty="0"/>
          </a:p>
          <a:p>
            <a:r>
              <a:rPr lang="en-GB" sz="1000" dirty="0"/>
              <a:t>Registration areas for the 3GPP access and the non-3GPP access are independent. A UE shall not perform periodic registration update over a non-3GPP access.</a:t>
            </a:r>
          </a:p>
          <a:p>
            <a:r>
              <a:rPr lang="en-GB" sz="1000" dirty="0"/>
              <a:t>The AMF assigns to the UE a single Temporary Identifier that is used over 3GPP and Non-3GPP access. The Temporary Identifier is assigned upon the first successful registration of the UE, and is valid over any of both 3GPP and Non-3GPP access for the UE. Upon performing any initial access over the non-3GPP access or over the 3GPP access, the UE provides the temporary ID it has received in earlier successful registration over any access. This enables the AN to select an AMF that maintains the UE context created at the previous registration procedure, and enables the AMF to correlate the UE request to the existing UE context. The temporary identifier may be assigned or re-assigned over any of the 3GPP and Non-3GPP access.</a:t>
            </a:r>
          </a:p>
          <a:p>
            <a:r>
              <a:rPr lang="en-GB" sz="1000" dirty="0"/>
              <a:t>The deregistration request may be associated with an indication of whether it applies only to the access on which the de-registration procedure is run or to all accesses of the UE (3GPP and Non-3GPP access).</a:t>
            </a:r>
            <a:endParaRPr lang="en-US" sz="1000" dirty="0"/>
          </a:p>
          <a:p>
            <a:endParaRPr lang="en-US" sz="1000" dirty="0"/>
          </a:p>
          <a:p>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45B86C7A-60A1-4CCA-BD59-4215F14138E9}" type="slidenum">
              <a:rPr lang="en-US" smtClean="0"/>
              <a:t>7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55344596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842963"/>
            <a:ext cx="6229350" cy="3503612"/>
          </a:xfrm>
        </p:spPr>
      </p:sp>
      <p:sp>
        <p:nvSpPr>
          <p:cNvPr id="3" name="Notes Placeholder 2"/>
          <p:cNvSpPr>
            <a:spLocks noGrp="1"/>
          </p:cNvSpPr>
          <p:nvPr>
            <p:ph type="body" idx="1"/>
          </p:nvPr>
        </p:nvSpPr>
        <p:spPr>
          <a:xfrm>
            <a:off x="1309532" y="4462946"/>
            <a:ext cx="4714315" cy="4917025"/>
          </a:xfrm>
        </p:spPr>
        <p:txBody>
          <a:bodyPr/>
          <a:lstStyle/>
          <a:p>
            <a:r>
              <a:rPr lang="en-GB" sz="1000" dirty="0"/>
              <a:t>Connection management comprises the functions of establishing and releasing a signalling connection between a UE and the AMF over N1. This signalling connection is used to enable NAS signalling exchange between the UE and the core network. It comprises both the AN signalling connection between the UE and the AN (e.g. RRC connection over 3GPP access) and the N2 connection for this UE between the AN and the AMF.</a:t>
            </a:r>
          </a:p>
          <a:p>
            <a:endParaRPr lang="en-US" sz="1000" dirty="0"/>
          </a:p>
          <a:p>
            <a:endParaRPr lang="en-US" sz="1000" dirty="0"/>
          </a:p>
        </p:txBody>
      </p:sp>
      <p:sp>
        <p:nvSpPr>
          <p:cNvPr id="4" name="Slide Number Placeholder 3"/>
          <p:cNvSpPr>
            <a:spLocks noGrp="1"/>
          </p:cNvSpPr>
          <p:nvPr>
            <p:ph type="sldNum" sz="quarter" idx="10"/>
          </p:nvPr>
        </p:nvSpPr>
        <p:spPr/>
        <p:txBody>
          <a:bodyPr/>
          <a:lstStyle/>
          <a:p>
            <a:fld id="{83554347-BD21-43D5-ADE9-0A5ABD5F4042}" type="slidenum">
              <a:rPr lang="en-US" smtClean="0"/>
              <a:t>7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072311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3088" y="842963"/>
            <a:ext cx="6227762" cy="3503612"/>
          </a:xfrm>
        </p:spPr>
      </p:sp>
      <p:sp>
        <p:nvSpPr>
          <p:cNvPr id="3" name="Notes Placeholder 2"/>
          <p:cNvSpPr>
            <a:spLocks noGrp="1"/>
          </p:cNvSpPr>
          <p:nvPr>
            <p:ph type="body" idx="1"/>
          </p:nvPr>
        </p:nvSpPr>
        <p:spPr/>
        <p:txBody>
          <a:bodyPr/>
          <a:lstStyle/>
          <a:p>
            <a:r>
              <a:rPr lang="en-US" sz="1000" dirty="0"/>
              <a:t>The figure illustrates the CM state models in UE and AMF.</a:t>
            </a:r>
          </a:p>
          <a:p>
            <a:r>
              <a:rPr lang="en-GB" sz="1000" dirty="0"/>
              <a:t>When a UE gets CM-IDLE over an access, the UP connection of the PDU sessions that were active on this access gets inactive.</a:t>
            </a:r>
          </a:p>
          <a:p>
            <a:r>
              <a:rPr lang="en-GB" sz="1000" dirty="0"/>
              <a:t>Two CM states are used that reflect the NAS signalling connectivity of the UE with the AMF:</a:t>
            </a:r>
            <a:endParaRPr lang="en-US" sz="1000" dirty="0"/>
          </a:p>
          <a:p>
            <a:pPr marL="175805" indent="-175805">
              <a:buFont typeface="Arial" panose="020B0604020202020204" pitchFamily="34" charset="0"/>
              <a:buChar char="•"/>
            </a:pPr>
            <a:r>
              <a:rPr lang="en-US" sz="1000" dirty="0"/>
              <a:t>CM-IDLE</a:t>
            </a:r>
          </a:p>
          <a:p>
            <a:pPr marL="175805" indent="-175805">
              <a:buFont typeface="Arial" panose="020B0604020202020204" pitchFamily="34" charset="0"/>
              <a:buChar char="•"/>
            </a:pPr>
            <a:r>
              <a:rPr lang="en-US" sz="1000" dirty="0"/>
              <a:t>CM-CONNECTED</a:t>
            </a:r>
          </a:p>
          <a:p>
            <a:r>
              <a:rPr lang="en-GB" sz="1000" dirty="0"/>
              <a:t>A UE in CM-IDLE state is in RM-REGISTERED state and has no NAS signalling connection established with the AMF over N1. The UE performs cell selection, cell reselection and PLMN selection.</a:t>
            </a:r>
            <a:endParaRPr lang="en-US" sz="1000" dirty="0"/>
          </a:p>
          <a:p>
            <a:r>
              <a:rPr lang="en-GB" sz="1000" dirty="0"/>
              <a:t>There are no N2 and N3 connections for the UE in the CM-IDLE state.</a:t>
            </a:r>
            <a:endParaRPr lang="en-US" sz="1000" dirty="0"/>
          </a:p>
          <a:p>
            <a:r>
              <a:rPr lang="en-GB" sz="1000" dirty="0"/>
              <a:t>In the CM-IDLE state, the UE shall :</a:t>
            </a:r>
            <a:endParaRPr lang="en-US" sz="1000" dirty="0"/>
          </a:p>
          <a:p>
            <a:pPr marL="175805" indent="-175805">
              <a:buFont typeface="Arial" panose="020B0604020202020204" pitchFamily="34" charset="0"/>
              <a:buChar char="•"/>
            </a:pPr>
            <a:r>
              <a:rPr lang="en-US" sz="1000" dirty="0"/>
              <a:t>If not in Mobile Originating (MO)-only mode, </a:t>
            </a:r>
            <a:r>
              <a:rPr lang="x-none" sz="1000" dirty="0"/>
              <a:t>respond to paging</a:t>
            </a:r>
            <a:r>
              <a:rPr lang="en-US" sz="1000" dirty="0"/>
              <a:t>, if received,</a:t>
            </a:r>
            <a:r>
              <a:rPr lang="x-none" sz="1000" dirty="0"/>
              <a:t> by performing a service request procedure</a:t>
            </a:r>
            <a:r>
              <a:rPr lang="sv-SE" sz="1000" dirty="0"/>
              <a:t>.</a:t>
            </a:r>
            <a:endParaRPr lang="en-US" sz="1000" dirty="0"/>
          </a:p>
          <a:p>
            <a:pPr marL="175805" indent="-175805">
              <a:buFont typeface="Arial" panose="020B0604020202020204" pitchFamily="34" charset="0"/>
              <a:buChar char="•"/>
            </a:pPr>
            <a:r>
              <a:rPr lang="sv-SE" sz="1000" dirty="0"/>
              <a:t>P</a:t>
            </a:r>
            <a:r>
              <a:rPr lang="x-none" sz="1000" dirty="0"/>
              <a:t>erform a service request procedure when the UE has uplink signalling or user data to be sent.</a:t>
            </a:r>
            <a:endParaRPr lang="en-US" sz="1000" dirty="0"/>
          </a:p>
          <a:p>
            <a:pPr marL="175805" indent="-175805">
              <a:buFont typeface="Arial" panose="020B0604020202020204" pitchFamily="34" charset="0"/>
              <a:buChar char="•"/>
            </a:pPr>
            <a:r>
              <a:rPr lang="sv-SE" sz="1000" dirty="0"/>
              <a:t>E</a:t>
            </a:r>
            <a:r>
              <a:rPr lang="x-none" sz="1000" dirty="0"/>
              <a:t>nter CM-CONNECTED state whenever an AN signalling connection is established between the UE and the AN (e.g. entering RRC Connected state over 3GPP access). The transmission of an Initial NAS message (Registration Request, Service Request or Deregistration Request) initiates the transition from CM-IDLE to CM-CONNECTED state.</a:t>
            </a:r>
            <a:endParaRPr lang="en-US" sz="1000" dirty="0"/>
          </a:p>
          <a:p>
            <a:r>
              <a:rPr lang="en-GB" sz="1000" dirty="0"/>
              <a:t>In the CM-IDLE state, the AMF shall:</a:t>
            </a:r>
            <a:endParaRPr lang="en-US" sz="1000" dirty="0"/>
          </a:p>
          <a:p>
            <a:pPr marL="175805" indent="-175805">
              <a:buFont typeface="Arial" panose="020B0604020202020204" pitchFamily="34" charset="0"/>
              <a:buChar char="•"/>
            </a:pPr>
            <a:r>
              <a:rPr lang="en-US" sz="1000" dirty="0"/>
              <a:t>If a UE is not in MO-only mode, perform a network triggered service request procedure when it has signaling or mobile-terminated data to be sent to this UE, by sending a Paging Request to this UE.</a:t>
            </a:r>
          </a:p>
          <a:p>
            <a:pPr marL="175805" indent="-175805">
              <a:buFont typeface="Arial" panose="020B0604020202020204" pitchFamily="34" charset="0"/>
              <a:buChar char="•"/>
            </a:pPr>
            <a:r>
              <a:rPr lang="en-US" sz="1000" dirty="0"/>
              <a:t>Enter CM-CONNECTED whenever an N2 connection is established for this UE between the AN and the AMF.</a:t>
            </a:r>
          </a:p>
          <a:p>
            <a:endParaRPr lang="en-US" sz="1000" dirty="0"/>
          </a:p>
        </p:txBody>
      </p:sp>
      <p:sp>
        <p:nvSpPr>
          <p:cNvPr id="4" name="Slide Number Placeholder 3"/>
          <p:cNvSpPr>
            <a:spLocks noGrp="1"/>
          </p:cNvSpPr>
          <p:nvPr>
            <p:ph type="sldNum" sz="quarter" idx="10"/>
          </p:nvPr>
        </p:nvSpPr>
        <p:spPr/>
        <p:txBody>
          <a:bodyPr/>
          <a:lstStyle/>
          <a:p>
            <a:fld id="{9FFA9E4B-C7F2-4E88-8454-722FD7CF3D3A}" type="slidenum">
              <a:rPr lang="en-US" smtClean="0"/>
              <a:t>7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26557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842963"/>
            <a:ext cx="6229350" cy="3503612"/>
          </a:xfrm>
        </p:spPr>
      </p:sp>
      <p:sp>
        <p:nvSpPr>
          <p:cNvPr id="3" name="Notes Placeholder 2"/>
          <p:cNvSpPr>
            <a:spLocks noGrp="1"/>
          </p:cNvSpPr>
          <p:nvPr>
            <p:ph type="body" idx="1"/>
          </p:nvPr>
        </p:nvSpPr>
        <p:spPr/>
        <p:txBody>
          <a:bodyPr/>
          <a:lstStyle/>
          <a:p>
            <a:r>
              <a:rPr lang="en-US" sz="1000" dirty="0"/>
              <a:t>The figure shows the total addressable revenues for the operators including the current service revenues (MBB). </a:t>
            </a:r>
          </a:p>
          <a:p>
            <a:r>
              <a:rPr lang="en-US" sz="1000" dirty="0"/>
              <a:t>It shows the potential add 34% in growth to the total revenues in 2026 enabled by the new 5G revenues from </a:t>
            </a:r>
            <a:r>
              <a:rPr lang="en-US" sz="1000" dirty="0" err="1"/>
              <a:t>IoT</a:t>
            </a:r>
            <a:r>
              <a:rPr lang="en-US" sz="1000" dirty="0"/>
              <a:t> and digitalization. </a:t>
            </a:r>
          </a:p>
        </p:txBody>
      </p:sp>
      <p:sp>
        <p:nvSpPr>
          <p:cNvPr id="4" name="Slide Number Placeholder 3"/>
          <p:cNvSpPr>
            <a:spLocks noGrp="1"/>
          </p:cNvSpPr>
          <p:nvPr>
            <p:ph type="sldNum" sz="quarter" idx="10"/>
          </p:nvPr>
        </p:nvSpPr>
        <p:spPr/>
        <p:txBody>
          <a:bodyPr/>
          <a:lstStyle/>
          <a:p>
            <a:fld id="{A563620B-94EB-4BDD-92BE-A38D0E484D78}" type="slidenum">
              <a:rPr lang="en-US" smtClean="0"/>
              <a:t>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4131256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309532" y="778420"/>
            <a:ext cx="4714315" cy="7784209"/>
          </a:xfrm>
        </p:spPr>
        <p:txBody>
          <a:bodyPr/>
          <a:lstStyle/>
          <a:p>
            <a:r>
              <a:rPr lang="en-GB" sz="1000" dirty="0"/>
              <a:t>A UE in CM-CONNECTED state has a NAS signalling connection with the AMF over N1.</a:t>
            </a:r>
            <a:endParaRPr lang="en-US" sz="1000" dirty="0"/>
          </a:p>
          <a:p>
            <a:r>
              <a:rPr lang="en-GB" sz="1000" dirty="0"/>
              <a:t>In the CM-CONNECTED state, the UE shall:</a:t>
            </a:r>
          </a:p>
          <a:p>
            <a:pPr marL="175805" indent="-175805">
              <a:buFont typeface="Arial" panose="020B0604020202020204" pitchFamily="34" charset="0"/>
              <a:buChar char="•"/>
            </a:pPr>
            <a:r>
              <a:rPr lang="en-US" sz="1000" dirty="0"/>
              <a:t>Enter CM-IDLE state whenever the AN signaling connection is released (e.g. entering RRC Idle state over 3GPP access).</a:t>
            </a:r>
          </a:p>
          <a:p>
            <a:r>
              <a:rPr lang="en-GB" sz="1000" dirty="0"/>
              <a:t>In the CM-CONNECTED state, the AMF shall:</a:t>
            </a:r>
            <a:endParaRPr lang="en-US" sz="1000" dirty="0"/>
          </a:p>
          <a:p>
            <a:pPr marL="175805" indent="-175805">
              <a:buFont typeface="Arial" panose="020B0604020202020204" pitchFamily="34" charset="0"/>
              <a:buChar char="•"/>
            </a:pPr>
            <a:r>
              <a:rPr lang="en-US" sz="1000" dirty="0"/>
              <a:t>Enter CM-IDLE state whenever the N2 signaling connection for this UE is released.</a:t>
            </a:r>
          </a:p>
          <a:p>
            <a:r>
              <a:rPr lang="en-GB" sz="1000" dirty="0"/>
              <a:t>Upon completion of a NAS signalling procedure, the AMF may decide to release the NAS signalling connection with the UE, after which the state at both the UE and the AMF is changed to CM-IDLE.</a:t>
            </a:r>
            <a:endParaRPr lang="en-US" sz="1000" dirty="0"/>
          </a:p>
          <a:p>
            <a:r>
              <a:rPr lang="en-GB" sz="1000" dirty="0"/>
              <a:t>The AMF may keep a UE in CM-CONNECTED state until the UE de-registers from the core network.</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F03B88C8-F602-48A1-9861-A9B26E418350}" type="slidenum">
              <a:rPr lang="en-US" smtClean="0"/>
              <a:t>8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2" name="Date Placeholder 1"/>
          <p:cNvSpPr>
            <a:spLocks noGrp="1"/>
          </p:cNvSpPr>
          <p:nvPr>
            <p:ph type="dt" idx="1"/>
          </p:nvPr>
        </p:nvSpPr>
        <p:spPr/>
        <p:txBody>
          <a:bodyPr/>
          <a:lstStyle/>
          <a:p>
            <a:r>
              <a:rPr lang="en-US"/>
              <a:t> </a:t>
            </a:r>
          </a:p>
        </p:txBody>
      </p:sp>
    </p:spTree>
    <p:extLst>
      <p:ext uri="{BB962C8B-B14F-4D97-AF65-F5344CB8AC3E}">
        <p14:creationId xmlns:p14="http://schemas.microsoft.com/office/powerpoint/2010/main" val="24907280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2913" y="842963"/>
            <a:ext cx="6229350" cy="3503612"/>
          </a:xfrm>
        </p:spPr>
      </p:sp>
      <p:sp>
        <p:nvSpPr>
          <p:cNvPr id="3" name="Notes Placeholder 2"/>
          <p:cNvSpPr>
            <a:spLocks noGrp="1"/>
          </p:cNvSpPr>
          <p:nvPr>
            <p:ph type="body" idx="1"/>
          </p:nvPr>
        </p:nvSpPr>
        <p:spPr/>
        <p:txBody>
          <a:bodyPr/>
          <a:lstStyle/>
          <a:p>
            <a:r>
              <a:rPr lang="en-GB" sz="1000" dirty="0"/>
              <a:t>The AMF manages two CM states for an UE: a CM state for 3GPP access and a CM state for Non-3GPP access. </a:t>
            </a:r>
          </a:p>
          <a:p>
            <a:r>
              <a:rPr lang="en-GB" sz="1000" dirty="0"/>
              <a:t>An N2 interface can serve the UE for either 3GPP access or for Non 3GPP access. UE connected over both 3GPP and Non-3GPP has got two N2 interfaces, one for each access. A UE may be in any combination of the CM states between 3GPP and Non-3GPP access, e.g. a UE may be CM-IDLE for one access and CM-CONNECTED for the other access, CM-IDLE for both accesses or CM-CONNECTED for both accesses.</a:t>
            </a:r>
            <a:endParaRPr lang="en-US" sz="1000" dirty="0"/>
          </a:p>
          <a:p>
            <a:endParaRPr lang="en-US" sz="1000" dirty="0"/>
          </a:p>
        </p:txBody>
      </p:sp>
      <p:sp>
        <p:nvSpPr>
          <p:cNvPr id="4" name="Slide Number Placeholder 3"/>
          <p:cNvSpPr>
            <a:spLocks noGrp="1"/>
          </p:cNvSpPr>
          <p:nvPr>
            <p:ph type="sldNum" sz="quarter" idx="10"/>
          </p:nvPr>
        </p:nvSpPr>
        <p:spPr/>
        <p:txBody>
          <a:bodyPr/>
          <a:lstStyle/>
          <a:p>
            <a:fld id="{AE5F5842-E7FB-4022-8F4E-2DD2D0D71B4D}" type="slidenum">
              <a:rPr lang="en-US" smtClean="0"/>
              <a:t>8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35534892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842963"/>
            <a:ext cx="6229350" cy="3503612"/>
          </a:xfrm>
        </p:spPr>
      </p:sp>
      <p:sp>
        <p:nvSpPr>
          <p:cNvPr id="3" name="Notes Placeholder 2"/>
          <p:cNvSpPr>
            <a:spLocks noGrp="1"/>
          </p:cNvSpPr>
          <p:nvPr>
            <p:ph type="body" idx="1"/>
          </p:nvPr>
        </p:nvSpPr>
        <p:spPr>
          <a:xfrm>
            <a:off x="1309532" y="4553243"/>
            <a:ext cx="4714315" cy="4915404"/>
          </a:xfrm>
        </p:spPr>
        <p:txBody>
          <a:bodyPr/>
          <a:lstStyle/>
          <a:p>
            <a:r>
              <a:rPr lang="en-GB" sz="1000" dirty="0"/>
              <a:t>The AMF shall allocate a 5G Globally Unique Temporary Identity (5G-GUTI) to the UE that is common to both 3GPP and non-3GPP access. It shall be possible to use the same 5G-GUTI for accessing 3GPP access and non-3GPP access security context within the AMF for the given UE. An AMF may re-assign a new 5G-GUTI to the UE at any time. The AMF may delay updating the UE with its new 5G-GUTI until the next NAS transaction.</a:t>
            </a:r>
          </a:p>
          <a:p>
            <a:r>
              <a:rPr lang="en-GB" sz="1000" dirty="0"/>
              <a:t>The 5G-GUTI shall be structured as:</a:t>
            </a:r>
            <a:endParaRPr lang="en-US" sz="1000" dirty="0"/>
          </a:p>
          <a:p>
            <a:pPr marL="175805" indent="-175805">
              <a:buFont typeface="Arial" panose="020B0604020202020204" pitchFamily="34" charset="0"/>
              <a:buChar char="•"/>
            </a:pPr>
            <a:r>
              <a:rPr lang="en-GB" sz="1000" i="1" dirty="0"/>
              <a:t>&lt;5G-GUTI&gt; := &lt;GUAMI&gt; &lt;5G-TMSI&gt;</a:t>
            </a:r>
            <a:endParaRPr lang="en-US" sz="1000" i="1" dirty="0"/>
          </a:p>
          <a:p>
            <a:r>
              <a:rPr lang="x-none" sz="1000" dirty="0"/>
              <a:t>where GUAMI identifies the assigned AMF and 5G-TMSI identifies the UE uniquely within the AMF.</a:t>
            </a:r>
            <a:endParaRPr lang="en-US" sz="1000" dirty="0"/>
          </a:p>
          <a:p>
            <a:r>
              <a:rPr lang="en-GB" sz="1000" dirty="0"/>
              <a:t>The Globally Unique AMF ID (GUAMI) shall be structured as:</a:t>
            </a:r>
            <a:endParaRPr lang="en-US" sz="1000" dirty="0"/>
          </a:p>
          <a:p>
            <a:pPr marL="175805" indent="-175805">
              <a:buFont typeface="Arial" panose="020B0604020202020204" pitchFamily="34" charset="0"/>
              <a:buChar char="•"/>
            </a:pPr>
            <a:r>
              <a:rPr lang="en-GB" sz="1000" i="1" dirty="0"/>
              <a:t>&lt;GUAMI&gt; :=  &lt;MCC&gt; &lt;MNC&gt; &lt;AMF Region ID&gt; &lt;AMF Set ID&gt; &lt;AMF Pointer&gt;</a:t>
            </a:r>
            <a:endParaRPr lang="en-US" sz="1000" i="1" dirty="0"/>
          </a:p>
          <a:p>
            <a:r>
              <a:rPr lang="x-none" sz="1000" dirty="0"/>
              <a:t>where AMF Region ID identifies the region, AMF Set ID uniquely identifies the AMF Set within the AMF Region and AMF Pointer uniquely identifies the AMF within the AMF Set.</a:t>
            </a:r>
            <a:endParaRPr lang="en-US" sz="1000" dirty="0"/>
          </a:p>
          <a:p>
            <a:r>
              <a:rPr lang="en-GB" sz="1000" dirty="0"/>
              <a:t>The AMF Region ID addresses the case that there are more AMFs in the network than the number of AMFs that can be supported by AMF Set ID and AMF Pointer by enabling operators to re-use the same AMF Set IDs and AMF Pointers in different regions.</a:t>
            </a:r>
            <a:endParaRPr lang="en-US" sz="1000" dirty="0"/>
          </a:p>
          <a:p>
            <a:r>
              <a:rPr lang="en-GB" sz="1000" dirty="0"/>
              <a:t>The 5G-S-TMSI is the shortened form of the GUTI to enable more efficient radio signalling procedures (e.g. during Paging and Service Request) and is defined as:</a:t>
            </a:r>
            <a:endParaRPr lang="en-US" sz="1000" dirty="0"/>
          </a:p>
          <a:p>
            <a:pPr marL="175805" indent="-175805">
              <a:buFont typeface="Arial" panose="020B0604020202020204" pitchFamily="34" charset="0"/>
              <a:buChar char="•"/>
            </a:pPr>
            <a:r>
              <a:rPr lang="x-none" sz="1000" i="1" dirty="0"/>
              <a:t>&lt;5G-S-TMSI&gt; :=  &lt;AMF Set ID&gt; &lt;AMF Pointer&gt; &lt;5G-TMSI&gt;</a:t>
            </a:r>
            <a:endParaRPr lang="en-US" sz="1000" i="1" dirty="0"/>
          </a:p>
          <a:p>
            <a:endParaRPr lang="en-US" sz="1000" dirty="0"/>
          </a:p>
        </p:txBody>
      </p:sp>
      <p:sp>
        <p:nvSpPr>
          <p:cNvPr id="4" name="Slide Number Placeholder 3"/>
          <p:cNvSpPr>
            <a:spLocks noGrp="1"/>
          </p:cNvSpPr>
          <p:nvPr>
            <p:ph type="sldNum" sz="quarter" idx="10"/>
          </p:nvPr>
        </p:nvSpPr>
        <p:spPr/>
        <p:txBody>
          <a:bodyPr/>
          <a:lstStyle/>
          <a:p>
            <a:fld id="{2734056F-BFD3-49FA-A076-BF16759AF964}" type="slidenum">
              <a:rPr lang="en-US" smtClean="0"/>
              <a:t>82</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44621158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842963"/>
            <a:ext cx="6227763" cy="3503612"/>
          </a:xfrm>
        </p:spPr>
      </p:sp>
      <p:sp>
        <p:nvSpPr>
          <p:cNvPr id="3" name="Notes Placeholder 2"/>
          <p:cNvSpPr>
            <a:spLocks noGrp="1"/>
          </p:cNvSpPr>
          <p:nvPr>
            <p:ph type="body" idx="1"/>
          </p:nvPr>
        </p:nvSpPr>
        <p:spPr/>
        <p:txBody>
          <a:bodyPr/>
          <a:lstStyle/>
          <a:p>
            <a:r>
              <a:rPr lang="en-US" sz="1000" dirty="0"/>
              <a:t>The Session Management function (SMF) includes the following functionality. </a:t>
            </a:r>
          </a:p>
          <a:p>
            <a:r>
              <a:rPr lang="en-US" sz="1000" dirty="0"/>
              <a:t>Some or all of the SMF functionalities may be supported in a single instance of a SMF:</a:t>
            </a:r>
          </a:p>
          <a:p>
            <a:pPr marL="175805" indent="-175805">
              <a:buFont typeface="Arial" panose="020B0604020202020204" pitchFamily="34" charset="0"/>
              <a:buChar char="•"/>
            </a:pPr>
            <a:r>
              <a:rPr lang="en-US" sz="1000" dirty="0"/>
              <a:t>Session Management e.g. Session establishment, modify and release, including tunnel maintain between UPF and AN node.</a:t>
            </a:r>
          </a:p>
          <a:p>
            <a:pPr marL="175805" indent="-175805">
              <a:buFont typeface="Arial" panose="020B0604020202020204" pitchFamily="34" charset="0"/>
              <a:buChar char="•"/>
            </a:pPr>
            <a:r>
              <a:rPr lang="en-US" sz="1000" dirty="0"/>
              <a:t>UE IP address allocation &amp; management (</a:t>
            </a:r>
            <a:r>
              <a:rPr lang="en-US" sz="1000" dirty="0" err="1"/>
              <a:t>incl</a:t>
            </a:r>
            <a:r>
              <a:rPr lang="en-US" sz="1000" dirty="0"/>
              <a:t> optional Authorization).</a:t>
            </a:r>
          </a:p>
          <a:p>
            <a:pPr marL="175805" indent="-175805">
              <a:buFont typeface="Arial" panose="020B0604020202020204" pitchFamily="34" charset="0"/>
              <a:buChar char="•"/>
            </a:pPr>
            <a:r>
              <a:rPr lang="en-US" sz="1000" dirty="0"/>
              <a:t>Selection and control of UP function.</a:t>
            </a:r>
          </a:p>
          <a:p>
            <a:pPr marL="175805" indent="-175805">
              <a:buFont typeface="Arial" panose="020B0604020202020204" pitchFamily="34" charset="0"/>
              <a:buChar char="•"/>
            </a:pPr>
            <a:r>
              <a:rPr lang="en-US" sz="1000" dirty="0"/>
              <a:t>Configures traffic steering at UPF to route traffic to proper destination.</a:t>
            </a:r>
          </a:p>
          <a:p>
            <a:pPr marL="175805" indent="-175805">
              <a:buFont typeface="Arial" panose="020B0604020202020204" pitchFamily="34" charset="0"/>
              <a:buChar char="•"/>
            </a:pPr>
            <a:r>
              <a:rPr lang="en-US" sz="1000" dirty="0"/>
              <a:t>Termination of interfaces towards Policy control functions.</a:t>
            </a:r>
          </a:p>
          <a:p>
            <a:pPr marL="175805" indent="-175805">
              <a:buFont typeface="Arial" panose="020B0604020202020204" pitchFamily="34" charset="0"/>
              <a:buChar char="•"/>
            </a:pPr>
            <a:r>
              <a:rPr lang="en-US" sz="1000" dirty="0"/>
              <a:t>Control part of policy enforcement and </a:t>
            </a:r>
            <a:r>
              <a:rPr lang="en-US" sz="1000" dirty="0" err="1"/>
              <a:t>QoS</a:t>
            </a:r>
            <a:r>
              <a:rPr lang="en-US" sz="1000" dirty="0"/>
              <a:t>.</a:t>
            </a:r>
          </a:p>
          <a:p>
            <a:pPr marL="175805" indent="-175805">
              <a:buFont typeface="Arial" panose="020B0604020202020204" pitchFamily="34" charset="0"/>
              <a:buChar char="•"/>
            </a:pPr>
            <a:r>
              <a:rPr lang="en-US" sz="1000" dirty="0"/>
              <a:t>Lawful intercept (for SM events and interface to LI System).</a:t>
            </a:r>
          </a:p>
          <a:p>
            <a:pPr marL="175805" indent="-175805">
              <a:buFont typeface="Arial" panose="020B0604020202020204" pitchFamily="34" charset="0"/>
              <a:buChar char="•"/>
            </a:pPr>
            <a:r>
              <a:rPr lang="en-US" sz="1000" dirty="0"/>
              <a:t>Termination of SM parts of NAS messages.</a:t>
            </a:r>
          </a:p>
          <a:p>
            <a:pPr marL="175805" indent="-175805">
              <a:buFont typeface="Arial" panose="020B0604020202020204" pitchFamily="34" charset="0"/>
              <a:buChar char="•"/>
            </a:pPr>
            <a:r>
              <a:rPr lang="en-US" sz="1000" dirty="0"/>
              <a:t>Downlink Data Notification.</a:t>
            </a:r>
          </a:p>
          <a:p>
            <a:pPr marL="175805" indent="-175805">
              <a:buFont typeface="Arial" panose="020B0604020202020204" pitchFamily="34" charset="0"/>
              <a:buChar char="•"/>
            </a:pPr>
            <a:r>
              <a:rPr lang="en-US" sz="1000" dirty="0"/>
              <a:t>Initiator of AN specific SM information, sent via AMF over N2 to AN.</a:t>
            </a:r>
          </a:p>
          <a:p>
            <a:pPr marL="175805" indent="-175805">
              <a:buFont typeface="Arial" panose="020B0604020202020204" pitchFamily="34" charset="0"/>
              <a:buChar char="•"/>
            </a:pPr>
            <a:r>
              <a:rPr lang="en-US" sz="1000" dirty="0"/>
              <a:t>Determine Session and Service Continuity (SSC) mode of a session.</a:t>
            </a:r>
          </a:p>
          <a:p>
            <a:pPr marL="175805" indent="-175805">
              <a:buFont typeface="Arial" panose="020B0604020202020204" pitchFamily="34" charset="0"/>
              <a:buChar char="•"/>
            </a:pPr>
            <a:r>
              <a:rPr lang="en-US" sz="1000" dirty="0"/>
              <a:t>Roaming functionality:</a:t>
            </a:r>
          </a:p>
          <a:p>
            <a:pPr marL="644618" lvl="1" indent="-175805">
              <a:buFont typeface="Arial" panose="020B0604020202020204" pitchFamily="34" charset="0"/>
              <a:buChar char="•"/>
            </a:pPr>
            <a:r>
              <a:rPr lang="en-US" sz="1000" dirty="0"/>
              <a:t>Handle local enforcement to apply </a:t>
            </a:r>
            <a:r>
              <a:rPr lang="en-US" sz="1000" dirty="0" err="1"/>
              <a:t>QoS</a:t>
            </a:r>
            <a:r>
              <a:rPr lang="en-US" sz="1000" dirty="0"/>
              <a:t> SLAs (VPLMN).</a:t>
            </a:r>
          </a:p>
          <a:p>
            <a:pPr marL="644618" lvl="1" indent="-175805">
              <a:buFont typeface="Arial" panose="020B0604020202020204" pitchFamily="34" charset="0"/>
              <a:buChar char="•"/>
            </a:pPr>
            <a:r>
              <a:rPr lang="en-US" sz="1000" dirty="0"/>
              <a:t>Charging data collection and charging interface (VPLMN)</a:t>
            </a:r>
          </a:p>
          <a:p>
            <a:pPr marL="644618" lvl="1" indent="-175805">
              <a:buFont typeface="Arial" panose="020B0604020202020204" pitchFamily="34" charset="0"/>
              <a:buChar char="•"/>
            </a:pPr>
            <a:r>
              <a:rPr lang="en-US" sz="1000" dirty="0"/>
              <a:t>Lawful intercept (in VPLMN for SM events and interface to LI System).</a:t>
            </a:r>
          </a:p>
          <a:p>
            <a:pPr marL="644618" lvl="1" indent="-175805">
              <a:buFont typeface="Arial" panose="020B0604020202020204" pitchFamily="34" charset="0"/>
              <a:buChar char="•"/>
            </a:pPr>
            <a:r>
              <a:rPr lang="en-US" sz="1000" dirty="0"/>
              <a:t>Support for interaction with external DN for transport of </a:t>
            </a:r>
            <a:r>
              <a:rPr lang="en-US" sz="1000" dirty="0" err="1"/>
              <a:t>signalling</a:t>
            </a:r>
            <a:r>
              <a:rPr lang="en-US" sz="1000" dirty="0"/>
              <a:t> for PDU session authorization/authentication by external DN.</a:t>
            </a:r>
          </a:p>
          <a:p>
            <a:endParaRPr lang="en-US" sz="1000" i="1" dirty="0"/>
          </a:p>
          <a:p>
            <a:r>
              <a:rPr lang="en-US" sz="1000" i="1" dirty="0"/>
              <a:t>Note: Not all of the functionalities are required to be supported in a instance of a network slice.</a:t>
            </a:r>
          </a:p>
          <a:p>
            <a:endParaRPr lang="en-US" sz="1000" dirty="0"/>
          </a:p>
        </p:txBody>
      </p:sp>
      <p:sp>
        <p:nvSpPr>
          <p:cNvPr id="4" name="Slide Number Placeholder 3"/>
          <p:cNvSpPr>
            <a:spLocks noGrp="1"/>
          </p:cNvSpPr>
          <p:nvPr>
            <p:ph type="sldNum" sz="quarter" idx="10"/>
          </p:nvPr>
        </p:nvSpPr>
        <p:spPr/>
        <p:txBody>
          <a:bodyPr/>
          <a:lstStyle/>
          <a:p>
            <a:fld id="{5C0731CD-4615-4253-A0F1-4D5987BEC82E}" type="slidenum">
              <a:rPr lang="en-US" smtClean="0"/>
              <a:t>8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14955066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842963"/>
            <a:ext cx="6227762" cy="3503612"/>
          </a:xfrm>
        </p:spPr>
      </p:sp>
      <p:sp>
        <p:nvSpPr>
          <p:cNvPr id="3" name="Notes Placeholder 2"/>
          <p:cNvSpPr>
            <a:spLocks noGrp="1"/>
          </p:cNvSpPr>
          <p:nvPr>
            <p:ph type="body" idx="1"/>
          </p:nvPr>
        </p:nvSpPr>
        <p:spPr/>
        <p:txBody>
          <a:bodyPr/>
          <a:lstStyle/>
          <a:p>
            <a:pPr marL="175805" indent="-175805">
              <a:buFont typeface="Arial" panose="020B0604020202020204" pitchFamily="34" charset="0"/>
              <a:buChar char="•"/>
            </a:pPr>
            <a:r>
              <a:rPr lang="en-GB" sz="1000" b="1" dirty="0"/>
              <a:t>NG Application Protocol information for Session Management (NG-AP-SM):</a:t>
            </a:r>
            <a:r>
              <a:rPr lang="en-GB" sz="1000" dirty="0"/>
              <a:t> This is the subset of NG-AP information that the AMF transparently relays between the AN and the SMF. NG-AP-SM corresponds to a subset of NG-AP defined in TS 38.413.</a:t>
            </a:r>
            <a:endParaRPr lang="en-US" sz="1000" dirty="0"/>
          </a:p>
        </p:txBody>
      </p:sp>
      <p:sp>
        <p:nvSpPr>
          <p:cNvPr id="4" name="Slide Number Placeholder 3"/>
          <p:cNvSpPr>
            <a:spLocks noGrp="1"/>
          </p:cNvSpPr>
          <p:nvPr>
            <p:ph type="sldNum" sz="quarter" idx="10"/>
          </p:nvPr>
        </p:nvSpPr>
        <p:spPr/>
        <p:txBody>
          <a:bodyPr/>
          <a:lstStyle/>
          <a:p>
            <a:fld id="{3B96B66B-28CB-4F74-A863-6F74B80C2C44}" type="slidenum">
              <a:rPr lang="en-US" smtClean="0"/>
              <a:t>8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0775896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842963"/>
            <a:ext cx="6229350" cy="3503612"/>
          </a:xfrm>
        </p:spPr>
      </p:sp>
      <p:sp>
        <p:nvSpPr>
          <p:cNvPr id="3" name="Notes Placeholder 2"/>
          <p:cNvSpPr>
            <a:spLocks noGrp="1"/>
          </p:cNvSpPr>
          <p:nvPr>
            <p:ph type="body" idx="1"/>
          </p:nvPr>
        </p:nvSpPr>
        <p:spPr/>
        <p:txBody>
          <a:bodyPr/>
          <a:lstStyle/>
          <a:p>
            <a:r>
              <a:rPr lang="en-US" sz="1000" dirty="0"/>
              <a:t>The NAS-SM supports the handling of Session Management between the UE and the SMF.</a:t>
            </a:r>
          </a:p>
          <a:p>
            <a:r>
              <a:rPr lang="en-US" sz="1000" dirty="0"/>
              <a:t>The SM signaling message is handled, i.e. created and processed, in the SM layer of UE and the SMF. The content of the SM signaling message is not interpreted by the AMF.</a:t>
            </a:r>
          </a:p>
          <a:p>
            <a:r>
              <a:rPr lang="en-US" sz="1000" dirty="0"/>
              <a:t>The NAS-MM layer handles the SM signaling is as follows:</a:t>
            </a:r>
          </a:p>
          <a:p>
            <a:pPr marL="175805" indent="-175805">
              <a:buFont typeface="Arial" panose="020B0604020202020204" pitchFamily="34" charset="0"/>
              <a:buChar char="•"/>
            </a:pPr>
            <a:r>
              <a:rPr lang="en-US" sz="1000" dirty="0"/>
              <a:t>For transmission of SM signaling:</a:t>
            </a:r>
          </a:p>
          <a:p>
            <a:pPr marL="644618" lvl="1" indent="-175805">
              <a:buFont typeface="Arial" panose="020B0604020202020204" pitchFamily="34" charset="0"/>
              <a:buChar char="•"/>
            </a:pPr>
            <a:r>
              <a:rPr lang="en-US" sz="1000" dirty="0"/>
              <a:t>The NAS-MM layer creates a NAS-MM message, including security header, indicating NAS transport of SM signaling, additional information for the receiving NAS-MM to derive how and where to forward the SM signaling message.</a:t>
            </a:r>
          </a:p>
          <a:p>
            <a:pPr marL="175805" indent="-175805">
              <a:buFont typeface="Arial" panose="020B0604020202020204" pitchFamily="34" charset="0"/>
              <a:buChar char="•"/>
            </a:pPr>
            <a:r>
              <a:rPr lang="en-US" sz="1000" dirty="0"/>
              <a:t>For reception of SM signaling:</a:t>
            </a:r>
          </a:p>
          <a:p>
            <a:pPr marL="644618" lvl="1" indent="-175805">
              <a:buFont typeface="Arial" panose="020B0604020202020204" pitchFamily="34" charset="0"/>
              <a:buChar char="•"/>
            </a:pPr>
            <a:r>
              <a:rPr lang="en-US" sz="1000" dirty="0"/>
              <a:t>The receiving NAS-MM processes the NAS-MM part of the message, i.e. performs integrity check, interprets the additional information to derive how and where to derive the SM signaling message.</a:t>
            </a:r>
          </a:p>
          <a:p>
            <a:r>
              <a:rPr lang="en-US" sz="1000" dirty="0"/>
              <a:t>The SM message part shall include the PDU session ID.</a:t>
            </a:r>
          </a:p>
          <a:p>
            <a:pPr marL="175805" indent="-175805">
              <a:buFont typeface="Arial" panose="020B0604020202020204" pitchFamily="34" charset="0"/>
              <a:buChar char="•"/>
            </a:pPr>
            <a:r>
              <a:rPr lang="en-US" sz="1000" b="1" dirty="0"/>
              <a:t>NAS-SM:</a:t>
            </a:r>
            <a:r>
              <a:rPr lang="en-US" sz="1000" dirty="0"/>
              <a:t> The NAS protocol for SM functionality supports user plane PDU session establishment, modification and release. It is transferred via the AMF, and transparent to the AMF. </a:t>
            </a:r>
          </a:p>
          <a:p>
            <a:endParaRPr lang="en-US" sz="1000" dirty="0"/>
          </a:p>
        </p:txBody>
      </p:sp>
      <p:sp>
        <p:nvSpPr>
          <p:cNvPr id="4" name="Slide Number Placeholder 3"/>
          <p:cNvSpPr>
            <a:spLocks noGrp="1"/>
          </p:cNvSpPr>
          <p:nvPr>
            <p:ph type="sldNum" sz="quarter" idx="10"/>
          </p:nvPr>
        </p:nvSpPr>
        <p:spPr/>
        <p:txBody>
          <a:bodyPr/>
          <a:lstStyle/>
          <a:p>
            <a:fld id="{CE605FB1-5C11-4E21-9759-0250A1CE8BA1}" type="slidenum">
              <a:rPr lang="en-US" smtClean="0"/>
              <a:t>8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95510503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7050" y="842963"/>
            <a:ext cx="6227763" cy="3503612"/>
          </a:xfrm>
        </p:spPr>
      </p:sp>
      <p:sp>
        <p:nvSpPr>
          <p:cNvPr id="3" name="Notes Placeholder 2"/>
          <p:cNvSpPr>
            <a:spLocks noGrp="1"/>
          </p:cNvSpPr>
          <p:nvPr>
            <p:ph type="body" idx="1"/>
          </p:nvPr>
        </p:nvSpPr>
        <p:spPr/>
        <p:txBody>
          <a:bodyPr/>
          <a:lstStyle/>
          <a:p>
            <a:r>
              <a:rPr lang="en-GB" sz="1000" dirty="0"/>
              <a:t>N1 related interaction is as follows:</a:t>
            </a:r>
          </a:p>
          <a:p>
            <a:pPr marL="175805" indent="-175805">
              <a:buFont typeface="Arial" panose="020B0604020202020204" pitchFamily="34" charset="0"/>
              <a:buChar char="•"/>
            </a:pPr>
            <a:r>
              <a:rPr lang="x-none" sz="1000" dirty="0"/>
              <a:t>A single N1 NAS connection is used for each access to which the UE is connected</a:t>
            </a:r>
            <a:r>
              <a:rPr lang="en-US" sz="1000" dirty="0"/>
              <a:t>.</a:t>
            </a:r>
          </a:p>
          <a:p>
            <a:pPr marL="175805" indent="-175805">
              <a:buFont typeface="Arial" panose="020B0604020202020204" pitchFamily="34" charset="0"/>
              <a:buChar char="•"/>
            </a:pPr>
            <a:r>
              <a:rPr lang="x-none" sz="1000" dirty="0"/>
              <a:t>A single N1 NAS connection is used for both Registration </a:t>
            </a:r>
            <a:r>
              <a:rPr lang="en-US" sz="1000" dirty="0"/>
              <a:t>Management and</a:t>
            </a:r>
            <a:r>
              <a:rPr lang="x-none" sz="1000" dirty="0"/>
              <a:t> Connection Management (RM/CM) and </a:t>
            </a:r>
            <a:r>
              <a:rPr lang="en-US" sz="1000" dirty="0"/>
              <a:t>for </a:t>
            </a:r>
            <a:r>
              <a:rPr lang="x-none" sz="1000" dirty="0"/>
              <a:t>SM-related messages and procedures for a UE. The single N1 termination point is located in AMF. The AMF forwards SM related NAS information to the SMF. </a:t>
            </a:r>
            <a:endParaRPr lang="sv-SE" sz="1000" dirty="0"/>
          </a:p>
          <a:p>
            <a:pPr marL="175805" indent="-175805">
              <a:buFont typeface="Arial" panose="020B0604020202020204" pitchFamily="34" charset="0"/>
              <a:buChar char="•"/>
            </a:pPr>
            <a:r>
              <a:rPr lang="en-GB" sz="1000" dirty="0"/>
              <a:t>When an UE is served by a single AMF while the UE is connected over multiple (3GPP/Non 3GPP) accesses, there is a N1 NAS connection per access.</a:t>
            </a:r>
            <a:endParaRPr lang="en-US" sz="1000" dirty="0"/>
          </a:p>
          <a:p>
            <a:pPr marL="175805" indent="-175805">
              <a:buFont typeface="Arial" panose="020B0604020202020204" pitchFamily="34" charset="0"/>
              <a:buChar char="•"/>
            </a:pPr>
            <a:r>
              <a:rPr lang="en-GB" sz="1000" dirty="0"/>
              <a:t>AMF handles the Registration </a:t>
            </a:r>
            <a:r>
              <a:rPr lang="en-US" sz="1000" dirty="0"/>
              <a:t>Management and </a:t>
            </a:r>
            <a:r>
              <a:rPr lang="en-GB" sz="1000" dirty="0"/>
              <a:t>Connection Management part of NAS signalling exchanged with the UE. SMF handles the Session management part of NAS signalling exchanged with the UE.</a:t>
            </a:r>
          </a:p>
          <a:p>
            <a:pPr marL="175805" indent="-175805">
              <a:buFont typeface="Arial" panose="020B0604020202020204" pitchFamily="34" charset="0"/>
              <a:buChar char="•"/>
            </a:pPr>
            <a:r>
              <a:rPr lang="x-none" sz="1000" dirty="0"/>
              <a:t>When a SMF has been selected to serve a specific </a:t>
            </a:r>
            <a:r>
              <a:rPr lang="sv-SE" sz="1000" dirty="0" err="1"/>
              <a:t>User</a:t>
            </a:r>
            <a:r>
              <a:rPr lang="sv-SE" sz="1000" dirty="0"/>
              <a:t> Plane</a:t>
            </a:r>
            <a:r>
              <a:rPr lang="x-none" sz="1000" dirty="0"/>
              <a:t> session, AMF has to ensure that all NAS signaling related with this </a:t>
            </a:r>
            <a:r>
              <a:rPr lang="sv-SE" sz="1000" dirty="0" err="1"/>
              <a:t>User</a:t>
            </a:r>
            <a:r>
              <a:rPr lang="sv-SE" sz="1000" dirty="0"/>
              <a:t> Plane</a:t>
            </a:r>
            <a:r>
              <a:rPr lang="x-none" sz="1000" dirty="0"/>
              <a:t> session is handled by the same SMF instance.</a:t>
            </a:r>
            <a:endParaRPr lang="en-US" sz="1000" dirty="0"/>
          </a:p>
          <a:p>
            <a:pPr marL="175805" indent="-175805">
              <a:buFont typeface="Arial" panose="020B0604020202020204" pitchFamily="34" charset="0"/>
              <a:buChar char="•"/>
            </a:pPr>
            <a:r>
              <a:rPr lang="en-GB" sz="1000" dirty="0"/>
              <a:t>The SMF indicates to AMF when a User Plane session has been released.</a:t>
            </a:r>
          </a:p>
          <a:p>
            <a:pPr marL="175805" indent="-175805">
              <a:buFont typeface="Arial" panose="020B0604020202020204" pitchFamily="34" charset="0"/>
              <a:buChar char="•"/>
            </a:pPr>
            <a:r>
              <a:rPr lang="en-GB" sz="1000" dirty="0"/>
              <a:t>Upon successful PDU session establishment, AMF stores the identification of serving SMF of UE and SMF stores the identification of serving AMF of UE.</a:t>
            </a:r>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9BAEB28F-39C9-40B0-B1E4-F88B3C066B35}" type="slidenum">
              <a:rPr lang="en-US" smtClean="0"/>
              <a:t>8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0711704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5463" y="842963"/>
            <a:ext cx="6227762" cy="3503612"/>
          </a:xfrm>
        </p:spPr>
      </p:sp>
      <p:sp>
        <p:nvSpPr>
          <p:cNvPr id="3" name="Notes Placeholder 2"/>
          <p:cNvSpPr>
            <a:spLocks noGrp="1"/>
          </p:cNvSpPr>
          <p:nvPr>
            <p:ph type="body" idx="1"/>
          </p:nvPr>
        </p:nvSpPr>
        <p:spPr/>
        <p:txBody>
          <a:bodyPr/>
          <a:lstStyle/>
          <a:p>
            <a:r>
              <a:rPr lang="en-GB" sz="1000" dirty="0"/>
              <a:t>The User plane function (UPF) includes the following functionality. Some or all of the UPF functionalities may be supported in a single instance of a UPF:</a:t>
            </a:r>
            <a:endParaRPr lang="en-US" sz="1000" dirty="0"/>
          </a:p>
          <a:p>
            <a:pPr marL="175805" indent="-175805">
              <a:buFont typeface="Arial" panose="020B0604020202020204" pitchFamily="34" charset="0"/>
              <a:buChar char="•"/>
            </a:pPr>
            <a:r>
              <a:rPr lang="x-none" sz="1000" dirty="0"/>
              <a:t>Anchor point for Intra-/Inter-RAT mobility (when applicable).</a:t>
            </a:r>
            <a:endParaRPr lang="en-US" sz="1000" dirty="0"/>
          </a:p>
          <a:p>
            <a:pPr marL="175805" indent="-175805">
              <a:buFont typeface="Arial" panose="020B0604020202020204" pitchFamily="34" charset="0"/>
              <a:buChar char="•"/>
            </a:pPr>
            <a:r>
              <a:rPr lang="x-none" sz="1000" dirty="0"/>
              <a:t>External PDU session point of interconnect to Data Network.</a:t>
            </a:r>
            <a:endParaRPr lang="en-US" sz="1000" dirty="0"/>
          </a:p>
          <a:p>
            <a:pPr marL="175805" indent="-175805">
              <a:buFont typeface="Arial" panose="020B0604020202020204" pitchFamily="34" charset="0"/>
              <a:buChar char="•"/>
            </a:pPr>
            <a:r>
              <a:rPr lang="x-none" sz="1000" dirty="0"/>
              <a:t>Packet routing &amp; forwarding.</a:t>
            </a:r>
            <a:endParaRPr lang="en-US" sz="1000" dirty="0"/>
          </a:p>
          <a:p>
            <a:pPr marL="175805" indent="-175805">
              <a:buFont typeface="Arial" panose="020B0604020202020204" pitchFamily="34" charset="0"/>
              <a:buChar char="•"/>
            </a:pPr>
            <a:r>
              <a:rPr lang="x-none" sz="1000" dirty="0"/>
              <a:t>Packet inspection and User plane part of Policy rule enforcement.</a:t>
            </a:r>
            <a:endParaRPr lang="en-US" sz="1000" dirty="0"/>
          </a:p>
          <a:p>
            <a:pPr marL="175805" indent="-175805">
              <a:buFont typeface="Arial" panose="020B0604020202020204" pitchFamily="34" charset="0"/>
              <a:buChar char="•"/>
            </a:pPr>
            <a:r>
              <a:rPr lang="x-none" sz="1000" dirty="0"/>
              <a:t>Lawful intercept (UP collection).</a:t>
            </a:r>
            <a:endParaRPr lang="en-US" sz="1000" dirty="0"/>
          </a:p>
          <a:p>
            <a:pPr marL="175805" indent="-175805">
              <a:buFont typeface="Arial" panose="020B0604020202020204" pitchFamily="34" charset="0"/>
              <a:buChar char="•"/>
            </a:pPr>
            <a:r>
              <a:rPr lang="x-none" sz="1000" dirty="0"/>
              <a:t>Traffic usage reporting.</a:t>
            </a:r>
            <a:endParaRPr lang="en-US" sz="1000" dirty="0"/>
          </a:p>
          <a:p>
            <a:pPr marL="175805" indent="-175805">
              <a:buFont typeface="Arial" panose="020B0604020202020204" pitchFamily="34" charset="0"/>
              <a:buChar char="•"/>
            </a:pPr>
            <a:r>
              <a:rPr lang="x-none" sz="1000" dirty="0"/>
              <a:t>Uplink classifier to support routing traffic flows to a data network.</a:t>
            </a:r>
            <a:endParaRPr lang="en-US" sz="1000" dirty="0"/>
          </a:p>
          <a:p>
            <a:pPr marL="175805" indent="-175805">
              <a:buFont typeface="Arial" panose="020B0604020202020204" pitchFamily="34" charset="0"/>
              <a:buChar char="•"/>
            </a:pPr>
            <a:r>
              <a:rPr lang="x-none" sz="1000" dirty="0"/>
              <a:t>Branching point to support multi-homed PDU session.</a:t>
            </a:r>
            <a:endParaRPr lang="en-US" sz="1000" dirty="0"/>
          </a:p>
          <a:p>
            <a:pPr marL="175805" indent="-175805">
              <a:buFont typeface="Arial" panose="020B0604020202020204" pitchFamily="34" charset="0"/>
              <a:buChar char="•"/>
            </a:pPr>
            <a:r>
              <a:rPr lang="x-none" sz="1000" dirty="0"/>
              <a:t>QoS handling for user plane, e.g. packet filtering, gating, UL/DL rate enforcement</a:t>
            </a:r>
            <a:endParaRPr lang="en-US" sz="1000" dirty="0"/>
          </a:p>
          <a:p>
            <a:pPr marL="175805" indent="-175805">
              <a:buFont typeface="Arial" panose="020B0604020202020204" pitchFamily="34" charset="0"/>
              <a:buChar char="•"/>
            </a:pPr>
            <a:r>
              <a:rPr lang="x-none" sz="1000" dirty="0"/>
              <a:t>Uplink Traffic verification (SDF to QoS flow mapping).</a:t>
            </a:r>
            <a:endParaRPr lang="en-US" sz="1000" dirty="0"/>
          </a:p>
          <a:p>
            <a:pPr marL="175805" indent="-175805">
              <a:buFont typeface="Arial" panose="020B0604020202020204" pitchFamily="34" charset="0"/>
              <a:buChar char="•"/>
            </a:pPr>
            <a:r>
              <a:rPr lang="x-none" sz="1000" dirty="0"/>
              <a:t>Transport level packet marking in the uplink and downlink.</a:t>
            </a:r>
            <a:endParaRPr lang="en-US" sz="1000" dirty="0"/>
          </a:p>
          <a:p>
            <a:pPr marL="175805" indent="-175805">
              <a:buFont typeface="Arial" panose="020B0604020202020204" pitchFamily="34" charset="0"/>
              <a:buChar char="•"/>
            </a:pPr>
            <a:r>
              <a:rPr lang="x-none" sz="1000" dirty="0"/>
              <a:t>Downlink packet buffering and downlink data notification triggering.</a:t>
            </a:r>
            <a:endParaRPr lang="en-US" sz="1000" dirty="0"/>
          </a:p>
          <a:p>
            <a:endParaRPr lang="en-US" sz="1000" dirty="0"/>
          </a:p>
          <a:p>
            <a:r>
              <a:rPr lang="en-US" sz="1000" i="1" dirty="0"/>
              <a:t>Note: Not all of the UPF functionalities are required to be supported in an instance of user plane function of a network slice.</a:t>
            </a:r>
          </a:p>
          <a:p>
            <a:endParaRPr lang="en-US" sz="1000" dirty="0"/>
          </a:p>
        </p:txBody>
      </p:sp>
      <p:sp>
        <p:nvSpPr>
          <p:cNvPr id="4" name="Slide Number Placeholder 3"/>
          <p:cNvSpPr>
            <a:spLocks noGrp="1"/>
          </p:cNvSpPr>
          <p:nvPr>
            <p:ph type="sldNum" sz="quarter" idx="10"/>
          </p:nvPr>
        </p:nvSpPr>
        <p:spPr/>
        <p:txBody>
          <a:bodyPr/>
          <a:lstStyle/>
          <a:p>
            <a:fld id="{98D57F10-BB91-421D-9992-D78E32F7A75F}" type="slidenum">
              <a:rPr lang="en-US" smtClean="0"/>
              <a:t>8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578403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842963"/>
            <a:ext cx="6229350" cy="3503612"/>
          </a:xfrm>
        </p:spPr>
      </p:sp>
      <p:sp>
        <p:nvSpPr>
          <p:cNvPr id="3" name="Notes Placeholder 2"/>
          <p:cNvSpPr>
            <a:spLocks noGrp="1"/>
          </p:cNvSpPr>
          <p:nvPr>
            <p:ph type="body" idx="1"/>
          </p:nvPr>
        </p:nvSpPr>
        <p:spPr/>
        <p:txBody>
          <a:bodyPr/>
          <a:lstStyle/>
          <a:p>
            <a:r>
              <a:rPr lang="en-GB" sz="1000" dirty="0"/>
              <a:t>The figure illustrates the protocol stack for the User plane transport related with a PDU session.</a:t>
            </a:r>
            <a:endParaRPr lang="en-US" sz="1000" dirty="0"/>
          </a:p>
          <a:p>
            <a:r>
              <a:rPr lang="en-US" sz="1000" b="1" dirty="0"/>
              <a:t>PDU layer</a:t>
            </a:r>
            <a:r>
              <a:rPr lang="en-US" sz="1000" dirty="0"/>
              <a:t>: </a:t>
            </a:r>
            <a:r>
              <a:rPr lang="en-GB" sz="1000" dirty="0"/>
              <a:t>This layer corresponds to the PDU carried between the UE and the DN over the PDU session. When the PDU session Type is IPV6, it corresponds to IPv6 packets ; When the PDU session Type is Ethernet, it corresponds to Ethernet frames; etc.</a:t>
            </a:r>
          </a:p>
          <a:p>
            <a:r>
              <a:rPr lang="en-US" sz="1000" b="1" dirty="0"/>
              <a:t>GPRS </a:t>
            </a:r>
            <a:r>
              <a:rPr lang="en-US" sz="1000" b="1" dirty="0" err="1"/>
              <a:t>Tunnelling</a:t>
            </a:r>
            <a:r>
              <a:rPr lang="en-US" sz="1000" b="1" dirty="0"/>
              <a:t> Protocol for the user plane (GTP U):</a:t>
            </a:r>
            <a:r>
              <a:rPr lang="en-US" sz="1000" dirty="0"/>
              <a:t> This protocol supports multiplexing traffic of different PDU sessions (possibly corresponding to different PDU session Types) by tunneling user data over N3 (i.e. between the AN node and the UPF) in the backbone network. GTP shall encapsulate all end user PDUs. It provides encapsulation on a per PDU session level. This layer carries also the marking associated with a </a:t>
            </a:r>
            <a:r>
              <a:rPr lang="en-US" sz="1000" dirty="0" err="1"/>
              <a:t>QoS</a:t>
            </a:r>
            <a:r>
              <a:rPr lang="en-US" sz="1000" dirty="0"/>
              <a:t> Flow.</a:t>
            </a:r>
          </a:p>
          <a:p>
            <a:r>
              <a:rPr lang="en-US" sz="1000" b="1" dirty="0"/>
              <a:t>5G Encapsulation</a:t>
            </a:r>
            <a:r>
              <a:rPr lang="en-US" sz="1000" dirty="0"/>
              <a:t>: </a:t>
            </a:r>
            <a:r>
              <a:rPr lang="en-GB" sz="1000" dirty="0"/>
              <a:t>This layer supports multiplexing traffic of different PDU sessions (possibly corresponding to different PDU session Types) over N9 (i.e. between different UPF of the 5G</a:t>
            </a:r>
            <a:r>
              <a:rPr lang="en-US" sz="1000" dirty="0"/>
              <a:t>C</a:t>
            </a:r>
            <a:r>
              <a:rPr lang="en-GB" sz="1000" dirty="0"/>
              <a:t>). It provides encapsulation on a per PDU session level. This layer carries also the marking associated with a </a:t>
            </a:r>
            <a:r>
              <a:rPr lang="en-GB" sz="1000" dirty="0" err="1"/>
              <a:t>QoS</a:t>
            </a:r>
            <a:r>
              <a:rPr lang="en-GB" sz="1000" dirty="0"/>
              <a:t> Flow.</a:t>
            </a:r>
          </a:p>
          <a:p>
            <a:r>
              <a:rPr lang="en-GB" sz="1000" b="1" dirty="0"/>
              <a:t>AN protocol stack</a:t>
            </a:r>
            <a:r>
              <a:rPr lang="en-GB" sz="1000" dirty="0"/>
              <a:t>: This set of protocols/layers depends on the AN:</a:t>
            </a:r>
          </a:p>
          <a:p>
            <a:pPr marL="175805" indent="-175805">
              <a:buFont typeface="Arial" panose="020B0604020202020204" pitchFamily="34" charset="0"/>
              <a:buChar char="•"/>
            </a:pPr>
            <a:r>
              <a:rPr lang="en-GB" sz="1000" dirty="0"/>
              <a:t>When the AN is a 3GPP RAN, these protocols/layers are defined by the 3GPP RAN</a:t>
            </a:r>
          </a:p>
          <a:p>
            <a:pPr marL="175805" indent="-175805">
              <a:buFont typeface="Arial" panose="020B0604020202020204" pitchFamily="34" charset="0"/>
              <a:buChar char="•"/>
            </a:pPr>
            <a:r>
              <a:rPr lang="en-GB" sz="1000" dirty="0"/>
              <a:t>When the AN is an Untrusted non 3GPP access to 5GC the 5G AN interfaces with the 5GC at a N3IWF</a:t>
            </a:r>
          </a:p>
          <a:p>
            <a:r>
              <a:rPr lang="en-GB" sz="1000" b="1" dirty="0"/>
              <a:t>UDP/IP:</a:t>
            </a:r>
            <a:r>
              <a:rPr lang="en-GB" sz="1000" dirty="0"/>
              <a:t> These are the backbone network protocols.</a:t>
            </a:r>
          </a:p>
          <a:p>
            <a:r>
              <a:rPr lang="en-GB" sz="1000" dirty="0"/>
              <a:t>In case there is an UL CL (Uplink Classifier) or a Branching Point in the data path of a PDU session, the UL CL or Branching Point acts as the non PDU session anchor UPF in the figure. In that case there are multiple N9 interfaces branching out of the UL CL / Branching Point each leading to different PDU session anchors.</a:t>
            </a:r>
          </a:p>
          <a:p>
            <a:r>
              <a:rPr lang="en-GB" sz="1000" dirty="0"/>
              <a:t>Co-location of the UL CL or Branching Point with a PDU session anchor is a deployment option.</a:t>
            </a:r>
            <a:endParaRPr lang="en-US" sz="1000" dirty="0"/>
          </a:p>
          <a:p>
            <a:endParaRPr lang="en-US" sz="1000" dirty="0"/>
          </a:p>
        </p:txBody>
      </p:sp>
      <p:sp>
        <p:nvSpPr>
          <p:cNvPr id="4" name="Slide Number Placeholder 3"/>
          <p:cNvSpPr>
            <a:spLocks noGrp="1"/>
          </p:cNvSpPr>
          <p:nvPr>
            <p:ph type="sldNum" sz="quarter" idx="10"/>
          </p:nvPr>
        </p:nvSpPr>
        <p:spPr/>
        <p:txBody>
          <a:bodyPr/>
          <a:lstStyle/>
          <a:p>
            <a:fld id="{7A959ECE-121F-4625-91D9-DBBC5FD85A2A}" type="slidenum">
              <a:rPr lang="en-US" smtClean="0"/>
              <a:t>8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064086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0700" y="842963"/>
            <a:ext cx="6227763" cy="3503612"/>
          </a:xfrm>
        </p:spPr>
      </p:sp>
      <p:sp>
        <p:nvSpPr>
          <p:cNvPr id="3" name="Notes Placeholder 2"/>
          <p:cNvSpPr>
            <a:spLocks noGrp="1"/>
          </p:cNvSpPr>
          <p:nvPr>
            <p:ph type="body" idx="1"/>
          </p:nvPr>
        </p:nvSpPr>
        <p:spPr/>
        <p:txBody>
          <a:bodyPr/>
          <a:lstStyle/>
          <a:p>
            <a:r>
              <a:rPr lang="en-US" sz="1000" dirty="0"/>
              <a:t>User Plane tunneling will be used between RAN and UPF however the UP tunneling protocol is not fully decided, but the 3GPP RAN3 group assumes that GTP-U will be used on N3 also for 5G.</a:t>
            </a:r>
          </a:p>
        </p:txBody>
      </p:sp>
      <p:sp>
        <p:nvSpPr>
          <p:cNvPr id="4" name="Slide Number Placeholder 3"/>
          <p:cNvSpPr>
            <a:spLocks noGrp="1"/>
          </p:cNvSpPr>
          <p:nvPr>
            <p:ph type="sldNum" sz="quarter" idx="10"/>
          </p:nvPr>
        </p:nvSpPr>
        <p:spPr/>
        <p:txBody>
          <a:bodyPr/>
          <a:lstStyle/>
          <a:p>
            <a:fld id="{DCF9C82C-2C1D-44A0-98A3-AAFA1DEA21B4}" type="slidenum">
              <a:rPr lang="en-US" smtClean="0"/>
              <a:t>8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57585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4513" y="842963"/>
            <a:ext cx="6229350" cy="3503612"/>
          </a:xfrm>
        </p:spPr>
      </p:sp>
      <p:sp>
        <p:nvSpPr>
          <p:cNvPr id="3" name="Notes Placeholder 2"/>
          <p:cNvSpPr>
            <a:spLocks noGrp="1"/>
          </p:cNvSpPr>
          <p:nvPr>
            <p:ph type="body" idx="1"/>
          </p:nvPr>
        </p:nvSpPr>
        <p:spPr/>
        <p:txBody>
          <a:bodyPr/>
          <a:lstStyle/>
          <a:p>
            <a:pPr lvl="0">
              <a:defRPr/>
            </a:pPr>
            <a:r>
              <a:rPr lang="en-US" sz="1000" dirty="0">
                <a:cs typeface="Times New Roman" panose="02020603050405020304" pitchFamily="18" charset="0"/>
              </a:rPr>
              <a:t>Eight industries are identified to benefit the most of digital technologies and </a:t>
            </a:r>
            <a:r>
              <a:rPr lang="en-US" sz="1000" dirty="0" err="1">
                <a:cs typeface="Times New Roman" panose="02020603050405020304" pitchFamily="18" charset="0"/>
              </a:rPr>
              <a:t>IoT</a:t>
            </a:r>
            <a:r>
              <a:rPr lang="en-US" sz="1000" dirty="0">
                <a:cs typeface="Times New Roman" panose="02020603050405020304" pitchFamily="18" charset="0"/>
              </a:rPr>
              <a:t>, they are:</a:t>
            </a:r>
          </a:p>
          <a:p>
            <a:pPr marL="175805" indent="-175805">
              <a:buFont typeface="Arial" panose="020B0604020202020204" pitchFamily="34" charset="0"/>
              <a:buChar char="•"/>
              <a:defRPr/>
            </a:pPr>
            <a:r>
              <a:rPr lang="en-US" sz="1000" dirty="0">
                <a:cs typeface="Times New Roman" panose="02020603050405020304" pitchFamily="18" charset="0"/>
              </a:rPr>
              <a:t>Automotive</a:t>
            </a:r>
          </a:p>
          <a:p>
            <a:pPr marL="175805" indent="-175805">
              <a:buFont typeface="Arial" panose="020B0604020202020204" pitchFamily="34" charset="0"/>
              <a:buChar char="•"/>
              <a:defRPr/>
            </a:pPr>
            <a:r>
              <a:rPr lang="en-US" sz="1000" dirty="0">
                <a:cs typeface="Times New Roman" panose="02020603050405020304" pitchFamily="18" charset="0"/>
              </a:rPr>
              <a:t>Media &amp; Entertainment</a:t>
            </a:r>
          </a:p>
          <a:p>
            <a:pPr marL="175805" indent="-175805">
              <a:buFont typeface="Arial" panose="020B0604020202020204" pitchFamily="34" charset="0"/>
              <a:buChar char="•"/>
              <a:defRPr/>
            </a:pPr>
            <a:r>
              <a:rPr lang="en-US" sz="1000" dirty="0">
                <a:cs typeface="Times New Roman" panose="02020603050405020304" pitchFamily="18" charset="0"/>
              </a:rPr>
              <a:t>Public Transport</a:t>
            </a:r>
          </a:p>
          <a:p>
            <a:pPr marL="175805" indent="-175805">
              <a:buFont typeface="Arial" panose="020B0604020202020204" pitchFamily="34" charset="0"/>
              <a:buChar char="•"/>
              <a:defRPr/>
            </a:pPr>
            <a:r>
              <a:rPr lang="en-US" sz="1000" dirty="0">
                <a:cs typeface="Times New Roman" panose="02020603050405020304" pitchFamily="18" charset="0"/>
              </a:rPr>
              <a:t>Healthcare</a:t>
            </a:r>
          </a:p>
          <a:p>
            <a:pPr marL="175805" indent="-175805">
              <a:buFont typeface="Arial" panose="020B0604020202020204" pitchFamily="34" charset="0"/>
              <a:buChar char="•"/>
              <a:defRPr/>
            </a:pPr>
            <a:r>
              <a:rPr lang="en-US" sz="1000" dirty="0">
                <a:cs typeface="Times New Roman" panose="02020603050405020304" pitchFamily="18" charset="0"/>
              </a:rPr>
              <a:t>Financial Services</a:t>
            </a:r>
          </a:p>
          <a:p>
            <a:pPr marL="175805" indent="-175805">
              <a:buFont typeface="Arial" panose="020B0604020202020204" pitchFamily="34" charset="0"/>
              <a:buChar char="•"/>
              <a:defRPr/>
            </a:pPr>
            <a:r>
              <a:rPr lang="en-US" sz="1000" dirty="0">
                <a:cs typeface="Times New Roman" panose="02020603050405020304" pitchFamily="18" charset="0"/>
              </a:rPr>
              <a:t>Manufacturing</a:t>
            </a:r>
          </a:p>
          <a:p>
            <a:pPr marL="175805" indent="-175805">
              <a:buFont typeface="Arial" panose="020B0604020202020204" pitchFamily="34" charset="0"/>
              <a:buChar char="•"/>
              <a:defRPr/>
            </a:pPr>
            <a:r>
              <a:rPr lang="en-US" sz="1000" dirty="0">
                <a:cs typeface="Times New Roman" panose="02020603050405020304" pitchFamily="18" charset="0"/>
              </a:rPr>
              <a:t>Public Safety</a:t>
            </a:r>
          </a:p>
          <a:p>
            <a:pPr marL="175805" indent="-175805">
              <a:buFont typeface="Arial" panose="020B0604020202020204" pitchFamily="34" charset="0"/>
              <a:buChar char="•"/>
              <a:defRPr/>
            </a:pPr>
            <a:r>
              <a:rPr lang="en-US" sz="1000" dirty="0">
                <a:cs typeface="Times New Roman" panose="02020603050405020304" pitchFamily="18" charset="0"/>
              </a:rPr>
              <a:t>Utilities</a:t>
            </a:r>
          </a:p>
          <a:p>
            <a:pPr lvl="0">
              <a:defRPr/>
            </a:pPr>
            <a:r>
              <a:rPr lang="en-US" sz="1000" dirty="0">
                <a:cs typeface="Times New Roman" panose="02020603050405020304" pitchFamily="18" charset="0"/>
              </a:rPr>
              <a:t>The figure shows revenues obtained from the adoption and integration of digital technologies and </a:t>
            </a:r>
            <a:r>
              <a:rPr lang="en-US" sz="1000" dirty="0" err="1">
                <a:cs typeface="Times New Roman" panose="02020603050405020304" pitchFamily="18" charset="0"/>
              </a:rPr>
              <a:t>IoT</a:t>
            </a:r>
            <a:r>
              <a:rPr lang="en-US" sz="1000" dirty="0">
                <a:cs typeface="Times New Roman" panose="02020603050405020304" pitchFamily="18" charset="0"/>
              </a:rPr>
              <a:t> into a specific industry which lead to new value-producing opportunities and revenue streams. Industry digitalization  revenues exclude the revenues obtained from sales of the ‘smart object’ (i.e. the object in which the digital technologies have been integrated), but encompass all other revenues obtained going from the </a:t>
            </a:r>
            <a:r>
              <a:rPr lang="en-US" sz="1000" dirty="0" err="1">
                <a:cs typeface="Times New Roman" panose="02020603050405020304" pitchFamily="18" charset="0"/>
              </a:rPr>
              <a:t>IoT</a:t>
            </a:r>
            <a:r>
              <a:rPr lang="en-US" sz="1000" dirty="0">
                <a:cs typeface="Times New Roman" panose="02020603050405020304" pitchFamily="18" charset="0"/>
              </a:rPr>
              <a:t> connectivity to service enablement and application &amp; service provisioning.</a:t>
            </a:r>
          </a:p>
          <a:p>
            <a:pPr lvl="0">
              <a:defRPr/>
            </a:pPr>
            <a:r>
              <a:rPr lang="en-US" sz="1000" i="1" dirty="0">
                <a:cs typeface="Times New Roman" panose="02020603050405020304" pitchFamily="18" charset="0"/>
              </a:rPr>
              <a:t>Values are based on a combination of a large number of market reports, interview insights and Arthur D. Little</a:t>
            </a: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D89A53F-8480-4267-B5B8-D22A89C6E664}" type="slidenum">
              <a:rPr lang="en-US" smtClean="0"/>
              <a:t>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32115859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1975" y="842963"/>
            <a:ext cx="6227763"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Policy Control functions </a:t>
            </a:r>
            <a:r>
              <a:rPr lang="en-GB" sz="1000" dirty="0">
                <a:cs typeface="Times New Roman" panose="02020603050405020304" pitchFamily="18" charset="0"/>
              </a:rPr>
              <a:t>is expected to have similarities with the existing Policy framework in 4G with addition of standardized Mobility based policies and a standardised interface t</a:t>
            </a:r>
            <a:r>
              <a:rPr lang="en-US" sz="1000" dirty="0">
                <a:cs typeface="Times New Roman" panose="02020603050405020304" pitchFamily="18" charset="0"/>
              </a:rPr>
              <a:t>o AMF.</a:t>
            </a:r>
          </a:p>
          <a:p>
            <a:r>
              <a:rPr lang="en-GB" sz="1000" dirty="0"/>
              <a:t>The Policy function (PCF) includes the following functionality:</a:t>
            </a:r>
          </a:p>
          <a:p>
            <a:pPr marL="175805" indent="-175805">
              <a:buFont typeface="Arial" panose="020B0604020202020204" pitchFamily="34" charset="0"/>
              <a:buChar char="•"/>
            </a:pPr>
            <a:r>
              <a:rPr lang="x-none" sz="1000" dirty="0"/>
              <a:t>Supports unified policy framework to govern network behaviour.</a:t>
            </a:r>
            <a:endParaRPr lang="en-US" sz="1000" dirty="0"/>
          </a:p>
          <a:p>
            <a:pPr marL="175805" indent="-175805">
              <a:buFont typeface="Arial" panose="020B0604020202020204" pitchFamily="34" charset="0"/>
              <a:buChar char="•"/>
            </a:pPr>
            <a:r>
              <a:rPr lang="x-none" sz="1000" dirty="0"/>
              <a:t>Provides policy rules to </a:t>
            </a:r>
            <a:r>
              <a:rPr lang="en-US" sz="1000" dirty="0"/>
              <a:t>C</a:t>
            </a:r>
            <a:r>
              <a:rPr lang="x-none" sz="1000" dirty="0"/>
              <a:t>ontrol </a:t>
            </a:r>
            <a:r>
              <a:rPr lang="en-US" sz="1000" dirty="0"/>
              <a:t>P</a:t>
            </a:r>
            <a:r>
              <a:rPr lang="x-none" sz="1000" dirty="0"/>
              <a:t>lane function(s) to enforce them.</a:t>
            </a:r>
            <a:endParaRPr lang="en-US" sz="1000" dirty="0"/>
          </a:p>
          <a:p>
            <a:pPr marL="175805" indent="-175805">
              <a:buFont typeface="Arial" panose="020B0604020202020204" pitchFamily="34" charset="0"/>
              <a:buChar char="•"/>
            </a:pPr>
            <a:r>
              <a:rPr lang="en-GB" sz="1000" dirty="0"/>
              <a:t>Implements a Front End to access subscription information relevant for policy decisions in a User Data Repository (UDR).</a:t>
            </a:r>
            <a:endParaRPr 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DBC5E23-4138-4559-A958-5D139DF19EC2}" type="slidenum">
              <a:rPr lang="en-US" smtClean="0"/>
              <a:t>90</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06180553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0700" y="842963"/>
            <a:ext cx="6227763" cy="3503612"/>
          </a:xfrm>
        </p:spPr>
      </p:sp>
      <p:sp>
        <p:nvSpPr>
          <p:cNvPr id="3" name="Notes Placeholder 2"/>
          <p:cNvSpPr>
            <a:spLocks noGrp="1"/>
          </p:cNvSpPr>
          <p:nvPr>
            <p:ph type="body" idx="1"/>
          </p:nvPr>
        </p:nvSpPr>
        <p:spPr>
          <a:xfrm>
            <a:off x="1309532" y="4540788"/>
            <a:ext cx="4714315" cy="5136540"/>
          </a:xfrm>
        </p:spPr>
        <p:txBody>
          <a:bodyPr/>
          <a:lstStyle/>
          <a:p>
            <a:r>
              <a:rPr lang="en-GB" sz="1000" dirty="0"/>
              <a:t>The N15 reference point enables the PCF to provide Access and Mobility Management related policies to the AMF and it supports the following functions:</a:t>
            </a:r>
          </a:p>
          <a:p>
            <a:pPr marL="175805" indent="-175805">
              <a:buFont typeface="Arial" panose="020B0604020202020204" pitchFamily="34" charset="0"/>
              <a:buChar char="•"/>
            </a:pPr>
            <a:r>
              <a:rPr lang="en-GB" sz="1000" dirty="0"/>
              <a:t>Handling of UE Context Establishment request sent by the AMF to the PCF as part of UE Registration procedure(s);</a:t>
            </a:r>
            <a:endParaRPr lang="en-US" sz="1000" dirty="0"/>
          </a:p>
          <a:p>
            <a:pPr marL="175805" indent="-175805">
              <a:buFont typeface="Arial" panose="020B0604020202020204" pitchFamily="34" charset="0"/>
              <a:buChar char="•"/>
            </a:pPr>
            <a:r>
              <a:rPr lang="en-GB" sz="1000" dirty="0"/>
              <a:t>Provision of access and mobility management decision from the PCF to the AMF;</a:t>
            </a:r>
            <a:endParaRPr lang="en-US" sz="1000" dirty="0"/>
          </a:p>
          <a:p>
            <a:pPr marL="175805" indent="-175805">
              <a:buFont typeface="Arial" panose="020B0604020202020204" pitchFamily="34" charset="0"/>
              <a:buChar char="•"/>
            </a:pPr>
            <a:r>
              <a:rPr lang="en-GB" sz="1000" dirty="0"/>
              <a:t>Delivery of network events from the AMF to the PCF;</a:t>
            </a:r>
            <a:endParaRPr lang="en-US" sz="1000" dirty="0"/>
          </a:p>
          <a:p>
            <a:pPr marL="175805" indent="-175805">
              <a:buFont typeface="Arial" panose="020B0604020202020204" pitchFamily="34" charset="0"/>
              <a:buChar char="•"/>
            </a:pPr>
            <a:r>
              <a:rPr lang="en-GB" sz="1000" dirty="0"/>
              <a:t>Handling of UE Context Termination request sent by the AMF to the PCF as part of UE De-Registration procedure.</a:t>
            </a:r>
            <a:endParaRPr lang="en-US" sz="1000" dirty="0"/>
          </a:p>
          <a:p>
            <a:r>
              <a:rPr lang="en-GB" sz="1000" dirty="0"/>
              <a:t>There are two cases considered for UE Context Establishment:</a:t>
            </a:r>
            <a:endParaRPr lang="en-US" sz="1000" dirty="0"/>
          </a:p>
          <a:p>
            <a:pPr marL="234406" indent="-234406">
              <a:buFont typeface="+mj-lt"/>
              <a:buAutoNum type="arabicPeriod"/>
            </a:pPr>
            <a:r>
              <a:rPr lang="x-none" sz="1000" dirty="0"/>
              <a:t>UE registration with the network.</a:t>
            </a:r>
            <a:endParaRPr lang="en-US" sz="1000" dirty="0"/>
          </a:p>
          <a:p>
            <a:pPr marL="234406" indent="-234406">
              <a:buFont typeface="+mj-lt"/>
              <a:buAutoNum type="arabicPeriod"/>
            </a:pPr>
            <a:r>
              <a:rPr lang="x-none" sz="1000" dirty="0"/>
              <a:t>The AMF relocation in handover procedure.</a:t>
            </a:r>
            <a:endParaRPr lang="en-US" sz="1000" dirty="0"/>
          </a:p>
          <a:p>
            <a:r>
              <a:rPr lang="en-GB" sz="1000" dirty="0"/>
              <a:t>This procedure concerns both roaming and non-roaming scenarios. In the non-roaming case the V-PCF is not involved.</a:t>
            </a:r>
          </a:p>
          <a:p>
            <a:pPr marL="234406" indent="-234406">
              <a:buFont typeface="+mj-lt"/>
              <a:buAutoNum type="arabicPeriod"/>
            </a:pPr>
            <a:r>
              <a:rPr lang="x-none" sz="1000" dirty="0"/>
              <a:t>The AMF decides to establish UE Context with the PCF during registration procedure.</a:t>
            </a:r>
            <a:endParaRPr lang="en-US" sz="1000" dirty="0"/>
          </a:p>
          <a:p>
            <a:pPr marL="234406" indent="-234406">
              <a:buFont typeface="+mj-lt"/>
              <a:buAutoNum type="arabicPeriod"/>
            </a:pPr>
            <a:r>
              <a:rPr lang="x-none" sz="1000" dirty="0"/>
              <a:t>The AMF sends UE Context Establishment Request to the PCF to retrieve the access and mobility control policy. The request includes the following information: UE Identity and, if available, Service Area Restrictions which is retrieved from the UDM during the update location procedure.</a:t>
            </a:r>
            <a:endParaRPr lang="en-US" sz="1000" dirty="0"/>
          </a:p>
          <a:p>
            <a:pPr marL="234406" indent="-234406">
              <a:buFont typeface="+mj-lt"/>
              <a:buAutoNum type="arabicPeriod"/>
            </a:pPr>
            <a:r>
              <a:rPr lang="x-none" sz="1000" dirty="0"/>
              <a:t>The PCF gets policy subscription related information from the UDR and makes the authorization and policy decision. Then the PCF acknowledges the UE Context Establishment. The acknowledgement includes the following information: Service </a:t>
            </a:r>
            <a:r>
              <a:rPr lang="en-US" sz="1000" dirty="0"/>
              <a:t>Area Restrictions, RFSP Index and UE Policies.</a:t>
            </a:r>
            <a:br>
              <a:rPr lang="en-US" sz="1000" dirty="0"/>
            </a:br>
            <a:r>
              <a:rPr lang="en-US" sz="1000" dirty="0"/>
              <a:t>(RFSP: RAT Frequency Selection Priority)</a:t>
            </a:r>
          </a:p>
          <a:p>
            <a:pPr marL="234406" indent="-234406">
              <a:buFont typeface="+mj-lt"/>
              <a:buAutoNum type="arabicPeriod"/>
            </a:pPr>
            <a:r>
              <a:rPr lang="x-none" sz="1000" dirty="0"/>
              <a:t>The AMF deploys the access and mobility control policy, which includes storing the Service Area Restrictions, provisioning the UE Policy and Service Area Restrictions to the UE and provisioning the RFSP index and Service Area Restrictions to the RAN.</a:t>
            </a:r>
            <a:br>
              <a:rPr lang="sv-SE" sz="1000" dirty="0"/>
            </a:br>
            <a:endParaRPr lang="en-US" sz="1000" dirty="0"/>
          </a:p>
        </p:txBody>
      </p:sp>
      <p:sp>
        <p:nvSpPr>
          <p:cNvPr id="4" name="Slide Number Placeholder 3"/>
          <p:cNvSpPr>
            <a:spLocks noGrp="1"/>
          </p:cNvSpPr>
          <p:nvPr>
            <p:ph type="sldNum" sz="quarter" idx="10"/>
          </p:nvPr>
        </p:nvSpPr>
        <p:spPr/>
        <p:txBody>
          <a:bodyPr/>
          <a:lstStyle/>
          <a:p>
            <a:fld id="{C2BA2E30-E6D4-4FB6-AF24-9E2D0A1A1AAC}" type="slidenum">
              <a:rPr lang="en-US" smtClean="0"/>
              <a:t>91</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73687583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2963"/>
            <a:ext cx="6227763" cy="3503612"/>
          </a:xfrm>
        </p:spPr>
      </p:sp>
      <p:sp>
        <p:nvSpPr>
          <p:cNvPr id="3" name="Notes Placeholder 2"/>
          <p:cNvSpPr>
            <a:spLocks noGrp="1"/>
          </p:cNvSpPr>
          <p:nvPr>
            <p:ph type="body" idx="1"/>
          </p:nvPr>
        </p:nvSpPr>
        <p:spPr/>
        <p:txBody>
          <a:bodyPr/>
          <a:lstStyle/>
          <a:p>
            <a:r>
              <a:rPr lang="en-GB" sz="1000" dirty="0"/>
              <a:t>The following case is considered for UE Context Termination:</a:t>
            </a:r>
            <a:endParaRPr lang="en-US" sz="1000" dirty="0"/>
          </a:p>
          <a:p>
            <a:pPr marL="175805" indent="-175805">
              <a:buFont typeface="Arial" panose="020B0604020202020204" pitchFamily="34" charset="0"/>
              <a:buChar char="•"/>
            </a:pPr>
            <a:r>
              <a:rPr lang="en-GB" sz="1000" dirty="0"/>
              <a:t>UE de-registration from the network.</a:t>
            </a:r>
          </a:p>
          <a:p>
            <a:r>
              <a:rPr lang="en-GB" sz="1000" dirty="0"/>
              <a:t>This procedure concerns both roaming and non-roaming scenarios. In the non-roaming case the V-PCF is not involved.</a:t>
            </a:r>
            <a:endParaRPr lang="en-US" sz="1000" dirty="0"/>
          </a:p>
          <a:p>
            <a:pPr marL="234406" indent="-234406">
              <a:buFont typeface="+mj-lt"/>
              <a:buAutoNum type="arabicPeriod"/>
            </a:pPr>
            <a:r>
              <a:rPr lang="x-none" sz="1000" dirty="0"/>
              <a:t>The AMF decides to terminate the UE Context during de-registration procedure.</a:t>
            </a:r>
            <a:endParaRPr lang="en-US" sz="1000" dirty="0"/>
          </a:p>
          <a:p>
            <a:pPr marL="234406" indent="-234406">
              <a:buFont typeface="+mj-lt"/>
              <a:buAutoNum type="arabicPeriod"/>
            </a:pPr>
            <a:r>
              <a:rPr lang="x-none" sz="1000" dirty="0"/>
              <a:t>The AMF sends the UE Context Termination Request to the PCF.</a:t>
            </a:r>
            <a:endParaRPr lang="en-US" sz="1000" dirty="0"/>
          </a:p>
          <a:p>
            <a:pPr marL="234406" indent="-234406">
              <a:buFont typeface="+mj-lt"/>
              <a:buAutoNum type="arabicPeriod"/>
            </a:pPr>
            <a:r>
              <a:rPr lang="x-none" sz="1000" dirty="0"/>
              <a:t>The PCF replies to the AMF with an Ack UE Context Termination.</a:t>
            </a:r>
            <a:endParaRPr lang="en-US" sz="1000" dirty="0"/>
          </a:p>
          <a:p>
            <a:pPr marL="234406" indent="-234406">
              <a:buFont typeface="+mj-lt"/>
              <a:buAutoNum type="arabicPeriod"/>
            </a:pPr>
            <a:r>
              <a:rPr lang="en-GB" sz="1000" dirty="0"/>
              <a:t>The AMF removes the Access and Mobility Control Policy related the UE.</a:t>
            </a:r>
            <a:endParaRPr lang="en-US" sz="1000" dirty="0"/>
          </a:p>
        </p:txBody>
      </p:sp>
      <p:sp>
        <p:nvSpPr>
          <p:cNvPr id="4" name="Slide Number Placeholder 3"/>
          <p:cNvSpPr>
            <a:spLocks noGrp="1"/>
          </p:cNvSpPr>
          <p:nvPr>
            <p:ph type="sldNum" sz="quarter" idx="10"/>
          </p:nvPr>
        </p:nvSpPr>
        <p:spPr/>
        <p:txBody>
          <a:bodyPr/>
          <a:lstStyle/>
          <a:p>
            <a:fld id="{9B702334-3ADE-41F9-8A88-6E5B4BCA6411}" type="slidenum">
              <a:rPr lang="en-US" smtClean="0"/>
              <a:t>92</a:t>
            </a:fld>
            <a:endParaRPr lang="en-US" dirty="0"/>
          </a:p>
        </p:txBody>
      </p:sp>
      <p:sp>
        <p:nvSpPr>
          <p:cNvPr id="5" name="Header Placeholder 4"/>
          <p:cNvSpPr>
            <a:spLocks noGrp="1"/>
          </p:cNvSpPr>
          <p:nvPr>
            <p:ph type="hdr" sz="quarter" idx="11"/>
          </p:nvPr>
        </p:nvSpPr>
        <p:spPr/>
        <p:txBody>
          <a:bodyPr/>
          <a:lstStyle/>
          <a:p>
            <a:r>
              <a:rPr lang="en-US" sz="1000"/>
              <a:t>5G Core Concepts</a:t>
            </a:r>
            <a:endParaRPr lang="en-US" sz="1000"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7266357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842963"/>
            <a:ext cx="6229350" cy="3503612"/>
          </a:xfrm>
        </p:spPr>
      </p:sp>
      <p:sp>
        <p:nvSpPr>
          <p:cNvPr id="3" name="Notes Placeholder 2"/>
          <p:cNvSpPr>
            <a:spLocks noGrp="1"/>
          </p:cNvSpPr>
          <p:nvPr>
            <p:ph type="body" idx="1"/>
          </p:nvPr>
        </p:nvSpPr>
        <p:spPr/>
        <p:txBody>
          <a:bodyPr/>
          <a:lstStyle/>
          <a:p>
            <a:r>
              <a:rPr lang="en-US" sz="1000" dirty="0"/>
              <a:t>The Unified Data Management (UDM) includes two parts, i.e. the application front end (FE) and the User Data Repository (UDR).</a:t>
            </a:r>
          </a:p>
          <a:p>
            <a:r>
              <a:rPr lang="en-US" sz="1000" dirty="0"/>
              <a:t>As shown in the in the figure, the following front ends are included:</a:t>
            </a:r>
          </a:p>
          <a:p>
            <a:pPr marL="175805" indent="-175805">
              <a:buFont typeface="Arial" panose="020B0604020202020204" pitchFamily="34" charset="0"/>
              <a:buChar char="•"/>
            </a:pPr>
            <a:r>
              <a:rPr lang="en-US" sz="1000" dirty="0"/>
              <a:t>UDM FE: In charge of processing of credentials, location management, subscription management and so on.</a:t>
            </a:r>
          </a:p>
          <a:p>
            <a:pPr marL="175805" indent="-175805">
              <a:buFont typeface="Arial" panose="020B0604020202020204" pitchFamily="34" charset="0"/>
              <a:buChar char="•"/>
            </a:pPr>
            <a:r>
              <a:rPr lang="en-US" sz="1000" dirty="0"/>
              <a:t>PCF FE: In charge of Policy Control</a:t>
            </a:r>
          </a:p>
          <a:p>
            <a:pPr marL="175805" indent="-175805">
              <a:buFont typeface="Arial" panose="020B0604020202020204" pitchFamily="34" charset="0"/>
              <a:buChar char="•"/>
            </a:pPr>
            <a:r>
              <a:rPr lang="en-US" sz="1000" dirty="0"/>
              <a:t>NEF FE: In charge of Service Exposure </a:t>
            </a:r>
          </a:p>
          <a:p>
            <a:r>
              <a:rPr lang="en-US" sz="1000" dirty="0"/>
              <a:t>The PCF is a standalone network function in the overall 5GC architecture and thus it is not part of UDM. However, the PCF may request and provide policy subscription information to UDR, and for this reason it is shown in the UDM architecture.</a:t>
            </a:r>
          </a:p>
          <a:p>
            <a:r>
              <a:rPr lang="en-US" sz="1000" dirty="0"/>
              <a:t>The 5G system architecture allows the UDM, PCF and NEF to store data in the UDR, including subscription data and policy data by UDM and PCF, and location data and application data (including Packet Flow Descriptions (PFDs) for application detection, application request information for multiple UEs) by the NEF. </a:t>
            </a:r>
          </a:p>
          <a:p>
            <a:r>
              <a:rPr lang="en-US" sz="1000" dirty="0"/>
              <a:t>The UDM-FE accesses subscription information stored in a User Data Repository (UDR) and supports the following functionality:</a:t>
            </a:r>
          </a:p>
          <a:p>
            <a:pPr marL="175805" indent="-175805">
              <a:buFont typeface="Arial" panose="020B0604020202020204" pitchFamily="34" charset="0"/>
              <a:buChar char="•"/>
            </a:pPr>
            <a:r>
              <a:rPr lang="en-US" sz="1000" dirty="0"/>
              <a:t>Authentication Credential Processing.</a:t>
            </a:r>
          </a:p>
          <a:p>
            <a:pPr marL="175805" indent="-175805">
              <a:buFont typeface="Arial" panose="020B0604020202020204" pitchFamily="34" charset="0"/>
              <a:buChar char="•"/>
            </a:pPr>
            <a:r>
              <a:rPr lang="en-US" sz="1000" dirty="0"/>
              <a:t>User Identification Handling.</a:t>
            </a:r>
          </a:p>
          <a:p>
            <a:pPr marL="175805" indent="-175805">
              <a:buFont typeface="Arial" panose="020B0604020202020204" pitchFamily="34" charset="0"/>
              <a:buChar char="•"/>
            </a:pPr>
            <a:r>
              <a:rPr lang="en-US" sz="1000" dirty="0"/>
              <a:t>Access Authorization.</a:t>
            </a:r>
          </a:p>
          <a:p>
            <a:pPr marL="175805" indent="-175805">
              <a:buFont typeface="Arial" panose="020B0604020202020204" pitchFamily="34" charset="0"/>
              <a:buChar char="•"/>
            </a:pPr>
            <a:r>
              <a:rPr lang="en-US" sz="1000" dirty="0"/>
              <a:t>Registration/Mobility management.</a:t>
            </a:r>
          </a:p>
          <a:p>
            <a:pPr marL="175805" indent="-175805">
              <a:buFont typeface="Arial" panose="020B0604020202020204" pitchFamily="34" charset="0"/>
              <a:buChar char="•"/>
            </a:pPr>
            <a:r>
              <a:rPr lang="en-US" sz="1000" dirty="0"/>
              <a:t>Subscription management.</a:t>
            </a:r>
          </a:p>
          <a:p>
            <a:pPr marL="175805" indent="-175805">
              <a:buFont typeface="Arial" panose="020B0604020202020204" pitchFamily="34" charset="0"/>
              <a:buChar char="•"/>
            </a:pPr>
            <a:r>
              <a:rPr lang="en-US" sz="1000" dirty="0"/>
              <a:t>SMS management</a:t>
            </a:r>
          </a:p>
          <a:p>
            <a:r>
              <a:rPr lang="en-US" sz="1000" dirty="0"/>
              <a:t>The </a:t>
            </a:r>
            <a:r>
              <a:rPr lang="en-US" sz="1000" dirty="0" err="1"/>
              <a:t>Nudr</a:t>
            </a:r>
            <a:r>
              <a:rPr lang="en-US" sz="1000" dirty="0"/>
              <a:t> interface is defined for the front ends to read, update (including add, modify), delete, subscribe to notification of data changes and notify the data changes from the UDR. </a:t>
            </a:r>
          </a:p>
        </p:txBody>
      </p:sp>
      <p:sp>
        <p:nvSpPr>
          <p:cNvPr id="4" name="Slide Number Placeholder 3"/>
          <p:cNvSpPr>
            <a:spLocks noGrp="1"/>
          </p:cNvSpPr>
          <p:nvPr>
            <p:ph type="sldNum" sz="quarter" idx="10"/>
          </p:nvPr>
        </p:nvSpPr>
        <p:spPr/>
        <p:txBody>
          <a:bodyPr/>
          <a:lstStyle/>
          <a:p>
            <a:fld id="{8C35F7EB-200F-47BF-B837-95EB409293E8}" type="slidenum">
              <a:rPr lang="en-US" smtClean="0"/>
              <a:t>93</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400105634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842963"/>
            <a:ext cx="6229350" cy="3503612"/>
          </a:xfrm>
        </p:spPr>
      </p:sp>
      <p:sp>
        <p:nvSpPr>
          <p:cNvPr id="3" name="Notes Placeholder 2"/>
          <p:cNvSpPr>
            <a:spLocks noGrp="1"/>
          </p:cNvSpPr>
          <p:nvPr>
            <p:ph type="body" idx="1"/>
          </p:nvPr>
        </p:nvSpPr>
        <p:spPr/>
        <p:txBody>
          <a:bodyPr/>
          <a:lstStyle/>
          <a:p>
            <a:r>
              <a:rPr lang="en-GB" sz="1000" dirty="0"/>
              <a:t>A globally unique 5G Subscriber Permanent Identifier (SUPI) shall be allocated to each subscriber in the 5G system.</a:t>
            </a:r>
            <a:endParaRPr lang="en-US" sz="1000" dirty="0"/>
          </a:p>
          <a:p>
            <a:r>
              <a:rPr lang="en-GB" sz="1000" dirty="0"/>
              <a:t>The following have been identified as valid SUPI types for this Release:</a:t>
            </a:r>
            <a:endParaRPr lang="en-US" sz="1000" dirty="0"/>
          </a:p>
          <a:p>
            <a:pPr marL="175805" indent="-175805">
              <a:buFont typeface="Arial" panose="020B0604020202020204" pitchFamily="34" charset="0"/>
              <a:buChar char="•"/>
            </a:pPr>
            <a:r>
              <a:rPr lang="x-none" sz="1000" dirty="0"/>
              <a:t>IMSI </a:t>
            </a:r>
            <a:r>
              <a:rPr lang="en-US" sz="1000" dirty="0"/>
              <a:t>as defined in TS 23.003.</a:t>
            </a:r>
          </a:p>
          <a:p>
            <a:pPr marL="175805" indent="-175805">
              <a:buFont typeface="Arial" panose="020B0604020202020204" pitchFamily="34" charset="0"/>
              <a:buChar char="•"/>
            </a:pPr>
            <a:r>
              <a:rPr lang="en-GB" sz="1000" dirty="0"/>
              <a:t>Network Access Identifier (NAI) using the NAI RFC 4282  based user identification as defined in TS 23.003.</a:t>
            </a:r>
            <a:endParaRPr lang="en-US" sz="1000" dirty="0"/>
          </a:p>
          <a:p>
            <a:r>
              <a:rPr lang="x-none" sz="1000" dirty="0"/>
              <a:t>By using the NAI, it will be possible to also use non-IMSI based SUPIs.</a:t>
            </a:r>
            <a:endParaRPr lang="en-US" sz="1000" dirty="0"/>
          </a:p>
          <a:p>
            <a:r>
              <a:rPr lang="en-GB" sz="1000" dirty="0"/>
              <a:t>It is possible for a representation of the IMSI to be contained within the NAI for the SUPI e.g. when used over a non-3GPP Access Technology.</a:t>
            </a:r>
            <a:endParaRPr lang="en-US" sz="1000" dirty="0"/>
          </a:p>
          <a:p>
            <a:r>
              <a:rPr lang="en-US" sz="1000" dirty="0"/>
              <a:t>In order to enable roaming scenarios, the </a:t>
            </a:r>
            <a:r>
              <a:rPr lang="en-GB" sz="1000" dirty="0"/>
              <a:t>SUPI shall </a:t>
            </a:r>
            <a:r>
              <a:rPr lang="en-US" sz="1000" dirty="0"/>
              <a:t>contains the address of the home network (e.g. the MCC and MNC in the case of an IMSI based SUPI).</a:t>
            </a:r>
          </a:p>
          <a:p>
            <a:r>
              <a:rPr lang="en-US" sz="1000" dirty="0"/>
              <a:t>For interworking with the EPC, the SUPI allocated to the 3GPP UE shall always be based on an IMSI to enable the UE to present an IMSI to the EPC.</a:t>
            </a:r>
          </a:p>
          <a:p>
            <a:endParaRPr lang="en-US" sz="1000" dirty="0"/>
          </a:p>
        </p:txBody>
      </p:sp>
      <p:sp>
        <p:nvSpPr>
          <p:cNvPr id="4" name="Slide Number Placeholder 3"/>
          <p:cNvSpPr>
            <a:spLocks noGrp="1"/>
          </p:cNvSpPr>
          <p:nvPr>
            <p:ph type="sldNum" sz="quarter" idx="10"/>
          </p:nvPr>
        </p:nvSpPr>
        <p:spPr/>
        <p:txBody>
          <a:bodyPr/>
          <a:lstStyle/>
          <a:p>
            <a:fld id="{39F1481F-010C-4131-896F-9208DF3897C9}" type="slidenum">
              <a:rPr lang="en-US" smtClean="0"/>
              <a:t>94</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01665000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5300" y="842963"/>
            <a:ext cx="6229350" cy="3503612"/>
          </a:xfrm>
        </p:spPr>
      </p:sp>
      <p:sp>
        <p:nvSpPr>
          <p:cNvPr id="3" name="Notes Placeholder 2"/>
          <p:cNvSpPr>
            <a:spLocks noGrp="1"/>
          </p:cNvSpPr>
          <p:nvPr>
            <p:ph type="body" idx="1"/>
          </p:nvPr>
        </p:nvSpPr>
        <p:spPr/>
        <p:txBody>
          <a:bodyPr/>
          <a:lstStyle/>
          <a:p>
            <a:r>
              <a:rPr lang="en-US" sz="1000" dirty="0"/>
              <a:t>A Permanent Equipment Identifier (PEI) is defined for the 3GPP UE accessing the 5G system.</a:t>
            </a:r>
          </a:p>
          <a:p>
            <a:r>
              <a:rPr lang="en-US" sz="1000" dirty="0"/>
              <a:t>The PEI can assume different formats for different UE types and use cases. The UE shall present the PEI to the network together with an indication of the PEI format being used.</a:t>
            </a:r>
          </a:p>
          <a:p>
            <a:r>
              <a:rPr lang="en-US" sz="1000" dirty="0"/>
              <a:t>If the UE supports at least one 3GPP access technology, the UE must be allocated a PEI in the IMEI format.</a:t>
            </a:r>
          </a:p>
          <a:p>
            <a:r>
              <a:rPr lang="en-US" sz="1000" dirty="0"/>
              <a:t>In the scope of this release, the only format supported for the PEI parameter is an IMEI, as defined in TS 23.003.</a:t>
            </a:r>
          </a:p>
          <a:p>
            <a:endParaRPr lang="en-US" sz="1000" dirty="0"/>
          </a:p>
        </p:txBody>
      </p:sp>
      <p:sp>
        <p:nvSpPr>
          <p:cNvPr id="4" name="Slide Number Placeholder 3"/>
          <p:cNvSpPr>
            <a:spLocks noGrp="1"/>
          </p:cNvSpPr>
          <p:nvPr>
            <p:ph type="sldNum" sz="quarter" idx="10"/>
          </p:nvPr>
        </p:nvSpPr>
        <p:spPr/>
        <p:txBody>
          <a:bodyPr/>
          <a:lstStyle/>
          <a:p>
            <a:fld id="{B47B1C3F-7A40-49A3-A338-8C5F9F3ACAC5}" type="slidenum">
              <a:rPr lang="en-US" smtClean="0"/>
              <a:t>95</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38878576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3088" y="842963"/>
            <a:ext cx="6227762" cy="3503612"/>
          </a:xfrm>
        </p:spPr>
      </p:sp>
      <p:sp>
        <p:nvSpPr>
          <p:cNvPr id="3" name="Notes Placeholder 2"/>
          <p:cNvSpPr>
            <a:spLocks noGrp="1"/>
          </p:cNvSpPr>
          <p:nvPr>
            <p:ph type="body" idx="1"/>
          </p:nvPr>
        </p:nvSpPr>
        <p:spPr/>
        <p:txBody>
          <a:bodyPr/>
          <a:lstStyle/>
          <a:p>
            <a:r>
              <a:rPr lang="en-GB" sz="1000" dirty="0">
                <a:cs typeface="Times New Roman" panose="02020603050405020304" pitchFamily="18" charset="0"/>
              </a:rPr>
              <a:t>AUSF contains mainly the EAP Authentication server functionality.</a:t>
            </a:r>
          </a:p>
          <a:p>
            <a:r>
              <a:rPr lang="en-GB" sz="1000" dirty="0"/>
              <a:t>The AUSF operates as an EAP server and shall choose an EAP method to authenticate the UE, e.g. based on UE subscription information and information included in the SUPI of UE. The AUSF may retrieve UE subscription information from UDM.</a:t>
            </a:r>
          </a:p>
          <a:p>
            <a:r>
              <a:rPr lang="en-GB" sz="1000" dirty="0"/>
              <a:t>The following have been identified as valid SUPI types so far:</a:t>
            </a:r>
          </a:p>
          <a:p>
            <a:pPr marL="175805" indent="-175805">
              <a:buFont typeface="Arial" panose="020B0604020202020204" pitchFamily="34" charset="0"/>
              <a:buChar char="•"/>
            </a:pPr>
            <a:r>
              <a:rPr lang="en-GB" sz="1000" dirty="0"/>
              <a:t>IMSI </a:t>
            </a:r>
            <a:r>
              <a:rPr lang="en-US" sz="1000" dirty="0"/>
              <a:t>as defined in TS 23.003 </a:t>
            </a:r>
            <a:endParaRPr lang="en-GB" sz="1000" dirty="0"/>
          </a:p>
          <a:p>
            <a:pPr marL="175805" indent="-175805">
              <a:buFont typeface="Arial" panose="020B0604020202020204" pitchFamily="34" charset="0"/>
              <a:buChar char="•"/>
            </a:pPr>
            <a:r>
              <a:rPr lang="en-GB" sz="1000" dirty="0"/>
              <a:t>Network Access Identifier (NAI) using the NAI RFC 4282 based user identification as defined in TS 23.003</a:t>
            </a:r>
          </a:p>
          <a:p>
            <a:r>
              <a:rPr lang="en-GB" sz="1000" dirty="0"/>
              <a:t>By using the NAI, it will be possible to also use non-IMSI based SUPIs and It is possible for a representation of the IMSI to be contained within the NAI for the SUPI e.g. when used over a non-3GPP Access Technology.</a:t>
            </a:r>
            <a:endParaRPr lang="en-US" sz="1000" dirty="0"/>
          </a:p>
          <a:p>
            <a:endParaRPr lang="en-US"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1A1E76A-DF67-47F3-89D0-D439700730CE}" type="slidenum">
              <a:rPr lang="en-US" smtClean="0"/>
              <a:t>96</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116425896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3413" y="842963"/>
            <a:ext cx="6229350" cy="3503612"/>
          </a:xfrm>
        </p:spPr>
      </p:sp>
      <p:sp>
        <p:nvSpPr>
          <p:cNvPr id="3" name="Notes Placeholder 2"/>
          <p:cNvSpPr>
            <a:spLocks noGrp="1"/>
          </p:cNvSpPr>
          <p:nvPr>
            <p:ph type="body" idx="1"/>
          </p:nvPr>
        </p:nvSpPr>
        <p:spPr/>
        <p:txBody>
          <a:bodyPr/>
          <a:lstStyle/>
          <a:p>
            <a:r>
              <a:rPr lang="en-US" sz="1000" dirty="0">
                <a:cs typeface="Times New Roman" panose="02020603050405020304" pitchFamily="18" charset="0"/>
              </a:rPr>
              <a:t>The use of alternative subscriber credentials requires that the 5G Core Network supports the corresponding alternative authentication methods (other than AKA based authentication). </a:t>
            </a:r>
          </a:p>
          <a:p>
            <a:r>
              <a:rPr lang="en-US" sz="1000" dirty="0">
                <a:cs typeface="Times New Roman" panose="02020603050405020304" pitchFamily="18" charset="0"/>
              </a:rPr>
              <a:t>In order to integrate the support for AKA based authentication with the support of alternative authentication methods in a unified and access agnostic manner, the authentication architecture in the 5G Core Network will be based on the Extensible Authentication Protocol (EAP) Framework. </a:t>
            </a:r>
          </a:p>
          <a:p>
            <a:r>
              <a:rPr lang="en-US" sz="1000" dirty="0">
                <a:cs typeface="Times New Roman" panose="02020603050405020304" pitchFamily="18" charset="0"/>
              </a:rPr>
              <a:t>Authentication signaling is triggered due to mobility events and thus generated from Mobility Management Function within the 5G Core Control plane. Authentication Requests will be sent from the AMF (acting as EAP authenticator) to the Authentication Server Function AUSF (acting as EAP Server) which decides the corresponding authentication method for the user (e.g. based on indication by the UE and/or the subscription information available at the UDM function).</a:t>
            </a:r>
          </a:p>
          <a:p>
            <a:r>
              <a:rPr lang="en-US" sz="1000" dirty="0">
                <a:cs typeface="Times New Roman" panose="02020603050405020304" pitchFamily="18" charset="0"/>
              </a:rPr>
              <a:t>When existing 3GPP subscriber credentials are available, user authentication will be based on/enhanced from EAP-AKA’ making use of authentication vectors generated by the UDM function (acting as authentication credential repository).</a:t>
            </a:r>
          </a:p>
          <a:p>
            <a:r>
              <a:rPr lang="en-US" sz="1000" dirty="0">
                <a:cs typeface="Times New Roman" panose="02020603050405020304" pitchFamily="18" charset="0"/>
              </a:rPr>
              <a:t>When alternative subscriber credentials are available, user authentication will be according to the corresponding EAP method e.g. EAP-TLS. The UDM function may also act as authentication credential repository depending on the type of alternative key in use. </a:t>
            </a:r>
            <a:endParaRPr lang="en-GB" sz="1000" dirty="0">
              <a:cs typeface="Times New Roman" panose="02020603050405020304" pitchFamily="18" charset="0"/>
            </a:endParaRPr>
          </a:p>
          <a:p>
            <a:r>
              <a:rPr lang="en-US" sz="1000" dirty="0">
                <a:cs typeface="Times New Roman" panose="02020603050405020304" pitchFamily="18" charset="0"/>
              </a:rPr>
              <a:t>Authentication Requests corresponding to subscribers for which (alternative) subscriber credentials are managed by an external Identity provider will be sent towards the external Identity provider (acting as EAP server) via the 5G-AUSF (acting as a AAA proxy server). </a:t>
            </a:r>
            <a:endParaRPr lang="en-GB" sz="1000" dirty="0">
              <a:cs typeface="Times New Roman" panose="02020603050405020304" pitchFamily="18" charset="0"/>
            </a:endParaRPr>
          </a:p>
          <a:p>
            <a:r>
              <a:rPr lang="en-US" sz="1000" dirty="0">
                <a:cs typeface="Times New Roman" panose="02020603050405020304" pitchFamily="18" charset="0"/>
              </a:rPr>
              <a:t> </a:t>
            </a:r>
            <a:endParaRPr lang="en-GB" sz="1000" dirty="0">
              <a:cs typeface="Times New Roman" panose="02020603050405020304" pitchFamily="18" charset="0"/>
            </a:endParaRPr>
          </a:p>
          <a:p>
            <a:endParaRPr lang="en-US" sz="1000" dirty="0">
              <a:cs typeface="Times New Roman" panose="02020603050405020304" pitchFamily="18" charset="0"/>
            </a:endParaRPr>
          </a:p>
          <a:p>
            <a:r>
              <a:rPr lang="en-US" sz="1000" dirty="0">
                <a:cs typeface="Times New Roman" panose="02020603050405020304" pitchFamily="18" charset="0"/>
              </a:rPr>
              <a:t> </a:t>
            </a:r>
          </a:p>
          <a:p>
            <a:endParaRPr lang="en-GB" sz="1000" dirty="0">
              <a:cs typeface="Times New Roman" panose="02020603050405020304" pitchFamily="18" charset="0"/>
            </a:endParaRPr>
          </a:p>
          <a:p>
            <a:endParaRPr lang="en-US" sz="1000" dirty="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B258133-DC5B-4A95-89CD-C2F69599B1B8}" type="slidenum">
              <a:rPr lang="en-US" smtClean="0"/>
              <a:t>97</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89618277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1975" y="842963"/>
            <a:ext cx="6227763" cy="3503612"/>
          </a:xfrm>
        </p:spPr>
      </p:sp>
      <p:sp>
        <p:nvSpPr>
          <p:cNvPr id="3" name="Notes Placeholder 2"/>
          <p:cNvSpPr>
            <a:spLocks noGrp="1"/>
          </p:cNvSpPr>
          <p:nvPr>
            <p:ph type="body" idx="1"/>
          </p:nvPr>
        </p:nvSpPr>
        <p:spPr/>
        <p:txBody>
          <a:bodyPr/>
          <a:lstStyle/>
          <a:p>
            <a:r>
              <a:rPr lang="en-US" sz="1000" dirty="0"/>
              <a:t>The Network Slice Selection Function (NSSF) supports the following functionality:</a:t>
            </a:r>
          </a:p>
          <a:p>
            <a:pPr marL="175805" indent="-175805">
              <a:buFont typeface="Arial" panose="020B0604020202020204" pitchFamily="34" charset="0"/>
              <a:buChar char="•"/>
            </a:pPr>
            <a:r>
              <a:rPr lang="en-US" sz="1000" dirty="0"/>
              <a:t>Selecting the set of network slice instances serving the UE</a:t>
            </a:r>
          </a:p>
          <a:p>
            <a:pPr marL="175805" indent="-175805">
              <a:buFont typeface="Arial" panose="020B0604020202020204" pitchFamily="34" charset="0"/>
              <a:buChar char="•"/>
            </a:pPr>
            <a:r>
              <a:rPr lang="x-none" sz="1000" dirty="0"/>
              <a:t>Determining the Allowed NSSAI,</a:t>
            </a:r>
            <a:endParaRPr lang="en-US" sz="1000" dirty="0"/>
          </a:p>
          <a:p>
            <a:pPr marL="175805" indent="-175805">
              <a:buFont typeface="Arial" panose="020B0604020202020204" pitchFamily="34" charset="0"/>
              <a:buChar char="•"/>
            </a:pPr>
            <a:r>
              <a:rPr lang="x-none" sz="1000" dirty="0"/>
              <a:t>Determining the AMF Set to be used to serve the UE, or, based on configuration, a list of candidate AMF(s), possibly by querying the NRF.</a:t>
            </a:r>
            <a:endParaRPr lang="en-US" sz="1000" dirty="0"/>
          </a:p>
          <a:p>
            <a:endParaRPr lang="en-US" sz="1000" dirty="0"/>
          </a:p>
        </p:txBody>
      </p:sp>
      <p:sp>
        <p:nvSpPr>
          <p:cNvPr id="4" name="Slide Number Placeholder 3"/>
          <p:cNvSpPr>
            <a:spLocks noGrp="1"/>
          </p:cNvSpPr>
          <p:nvPr>
            <p:ph type="sldNum" sz="quarter" idx="10"/>
          </p:nvPr>
        </p:nvSpPr>
        <p:spPr/>
        <p:txBody>
          <a:bodyPr/>
          <a:lstStyle/>
          <a:p>
            <a:fld id="{C8AEC5BD-69F2-4219-8DBA-AB75F8700E5E}" type="slidenum">
              <a:rPr lang="en-US" smtClean="0"/>
              <a:t>98</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58216336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842963"/>
            <a:ext cx="6227762" cy="3503612"/>
          </a:xfrm>
        </p:spPr>
      </p:sp>
      <p:sp>
        <p:nvSpPr>
          <p:cNvPr id="3" name="Notes Placeholder 2"/>
          <p:cNvSpPr>
            <a:spLocks noGrp="1"/>
          </p:cNvSpPr>
          <p:nvPr>
            <p:ph type="body" idx="1"/>
          </p:nvPr>
        </p:nvSpPr>
        <p:spPr/>
        <p:txBody>
          <a:bodyPr/>
          <a:lstStyle/>
          <a:p>
            <a:r>
              <a:rPr lang="en-GB" sz="1000" dirty="0"/>
              <a:t>The Network Exposure Function (NEF) supports the following functionality:</a:t>
            </a:r>
            <a:endParaRPr lang="en-US" sz="1000" dirty="0"/>
          </a:p>
          <a:p>
            <a:pPr marL="175805" indent="-175805">
              <a:buFont typeface="Arial" panose="020B0604020202020204" pitchFamily="34" charset="0"/>
              <a:buChar char="•"/>
            </a:pPr>
            <a:r>
              <a:rPr lang="en-GB" sz="1000" dirty="0"/>
              <a:t>It provides a means to securely expose the services and capabilities provided by 3GPP network functions for </a:t>
            </a:r>
            <a:r>
              <a:rPr lang="en-GB" sz="1000" dirty="0" err="1"/>
              <a:t>e.g</a:t>
            </a:r>
            <a:r>
              <a:rPr lang="en-GB" sz="1000" dirty="0"/>
              <a:t> 3rd party, internal exposure/re-exposure and Application Functions. In that case the NEF may authenticate, authorize and throttle the Application Functions.</a:t>
            </a:r>
            <a:endParaRPr lang="en-US" sz="1000" dirty="0"/>
          </a:p>
          <a:p>
            <a:pPr marL="175805" indent="-175805">
              <a:buFont typeface="Arial" panose="020B0604020202020204" pitchFamily="34" charset="0"/>
              <a:buChar char="•"/>
            </a:pPr>
            <a:r>
              <a:rPr lang="en-GB" sz="1000" dirty="0"/>
              <a:t>It translates between information exchanged with the AF and information exchanged with the internal network function. For example, it translates between an AF-Service-Identifier and internal 5G Core information such as DNN, S-NSSAI, etc.</a:t>
            </a:r>
            <a:endParaRPr lang="en-US" sz="1000" dirty="0"/>
          </a:p>
          <a:p>
            <a:pPr marL="175805" indent="-175805">
              <a:buFont typeface="Arial" panose="020B0604020202020204" pitchFamily="34" charset="0"/>
              <a:buChar char="•"/>
            </a:pPr>
            <a:r>
              <a:rPr lang="en-GB" sz="1000" dirty="0"/>
              <a:t>The Network Exposure Function receives information from other network functions (based on exposed capabilities of other network functions). It may store the received information as structured data using a standardized interface to a data storage network function (interface to be defined by 3GPP). The stored information can be "re-exposed" by the NEF to other network functions and Application Functions, and used for other purposes such as analytics.</a:t>
            </a:r>
            <a:endParaRPr lang="en-US" sz="1000" dirty="0"/>
          </a:p>
        </p:txBody>
      </p:sp>
      <p:sp>
        <p:nvSpPr>
          <p:cNvPr id="4" name="Slide Number Placeholder 3"/>
          <p:cNvSpPr>
            <a:spLocks noGrp="1"/>
          </p:cNvSpPr>
          <p:nvPr>
            <p:ph type="sldNum" sz="quarter" idx="10"/>
          </p:nvPr>
        </p:nvSpPr>
        <p:spPr/>
        <p:txBody>
          <a:bodyPr/>
          <a:lstStyle/>
          <a:p>
            <a:fld id="{DFDDC7E6-9F3D-40E0-A77F-90F7C4F764CD}" type="slidenum">
              <a:rPr lang="en-US" smtClean="0"/>
              <a:t>99</a:t>
            </a:fld>
            <a:endParaRPr lang="en-US" dirty="0"/>
          </a:p>
        </p:txBody>
      </p:sp>
      <p:sp>
        <p:nvSpPr>
          <p:cNvPr id="5" name="Header Placeholder 4"/>
          <p:cNvSpPr>
            <a:spLocks noGrp="1"/>
          </p:cNvSpPr>
          <p:nvPr>
            <p:ph type="hdr" sz="quarter" idx="11"/>
          </p:nvPr>
        </p:nvSpPr>
        <p:spPr/>
        <p:txBody>
          <a:bodyPr/>
          <a:lstStyle/>
          <a:p>
            <a:r>
              <a:rPr lang="en-US"/>
              <a:t>5G Core Concepts</a:t>
            </a:r>
            <a:endParaRPr lang="en-US" dirty="0"/>
          </a:p>
        </p:txBody>
      </p:sp>
      <p:sp>
        <p:nvSpPr>
          <p:cNvPr id="6" name="Footer Placeholder 5"/>
          <p:cNvSpPr>
            <a:spLocks noGrp="1"/>
          </p:cNvSpPr>
          <p:nvPr>
            <p:ph type="ftr" sz="quarter" idx="12"/>
          </p:nvPr>
        </p:nvSpPr>
        <p:spPr/>
        <p:txBody>
          <a:bodyPr/>
          <a:lstStyle/>
          <a:p>
            <a:r>
              <a:rPr lang="de-DE"/>
              <a:t>© Ericsson AB 2017  |  LZU1421223 PA2</a:t>
            </a:r>
            <a:endParaRPr lang="en-US" dirty="0"/>
          </a:p>
        </p:txBody>
      </p:sp>
      <p:sp>
        <p:nvSpPr>
          <p:cNvPr id="7" name="Date Placeholder 6"/>
          <p:cNvSpPr>
            <a:spLocks noGrp="1"/>
          </p:cNvSpPr>
          <p:nvPr>
            <p:ph type="dt" idx="1"/>
          </p:nvPr>
        </p:nvSpPr>
        <p:spPr/>
        <p:txBody>
          <a:bodyPr/>
          <a:lstStyle/>
          <a:p>
            <a:r>
              <a:rPr lang="en-US"/>
              <a:t> </a:t>
            </a:r>
          </a:p>
        </p:txBody>
      </p:sp>
    </p:spTree>
    <p:extLst>
      <p:ext uri="{BB962C8B-B14F-4D97-AF65-F5344CB8AC3E}">
        <p14:creationId xmlns:p14="http://schemas.microsoft.com/office/powerpoint/2010/main" val="2516581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sp>
        <p:nvSpPr>
          <p:cNvPr id="22532" name="LeftInfo"/>
          <p:cNvSpPr txBox="1">
            <a:spLocks noChangeArrowheads="1"/>
          </p:cNvSpPr>
          <p:nvPr/>
        </p:nvSpPr>
        <p:spPr bwMode="auto">
          <a:xfrm>
            <a:off x="-2019299" y="2828876"/>
            <a:ext cx="1968500"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pic>
        <p:nvPicPr>
          <p:cNvPr id="6" name="Logo2011" descr="ERI_UF_rgb"/>
          <p:cNvPicPr>
            <a:picLocks noChangeArrowheads="1"/>
          </p:cNvPicPr>
          <p:nvPr/>
        </p:nvPicPr>
        <p:blipFill>
          <a:blip r:embed="rId2" cstate="print"/>
          <a:srcRect/>
          <a:stretch>
            <a:fillRect/>
          </a:stretch>
        </p:blipFill>
        <p:spPr bwMode="auto">
          <a:xfrm>
            <a:off x="10628483" y="432000"/>
            <a:ext cx="1027112" cy="900113"/>
          </a:xfrm>
          <a:prstGeom prst="rect">
            <a:avLst/>
          </a:prstGeom>
          <a:noFill/>
        </p:spPr>
      </p:pic>
      <p:sp>
        <p:nvSpPr>
          <p:cNvPr id="22530" name="SubTitle_TM"/>
          <p:cNvSpPr>
            <a:spLocks noGrp="1" noChangeArrowheads="1"/>
          </p:cNvSpPr>
          <p:nvPr>
            <p:ph type="subTitle" idx="1" hasCustomPrompt="1"/>
          </p:nvPr>
        </p:nvSpPr>
        <p:spPr>
          <a:xfrm>
            <a:off x="524932" y="5137201"/>
            <a:ext cx="11140019" cy="1386001"/>
          </a:xfrm>
        </p:spPr>
        <p:txBody>
          <a:bodyPr anchor="b" anchorCtr="0"/>
          <a:lstStyle>
            <a:lvl1pPr marL="0" indent="0">
              <a:lnSpc>
                <a:spcPct val="75000"/>
              </a:lnSpc>
              <a:spcBef>
                <a:spcPts val="0"/>
              </a:spcBef>
              <a:buFont typeface="Arial" charset="0"/>
              <a:buNone/>
              <a:defRPr sz="3000" baseline="0">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524934" y="1808709"/>
            <a:ext cx="11135785" cy="2839491"/>
          </a:xfrm>
        </p:spPr>
        <p:txBody>
          <a:bodyPr anchor="ctr">
            <a:normAutofit/>
          </a:bodyPr>
          <a:lstStyle>
            <a:lvl1pPr>
              <a:lnSpc>
                <a:spcPct val="75000"/>
              </a:lnSpc>
              <a:defRPr sz="7000">
                <a:latin typeface="Ericsson Capital TT"/>
              </a:defRPr>
            </a:lvl1pPr>
          </a:lstStyle>
          <a:p>
            <a:r>
              <a:rPr lang="en-US" dirty="0"/>
              <a:t>Click to add title</a:t>
            </a: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524935" y="1795463"/>
            <a:ext cx="11140016"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193367" y="4010025"/>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524934" y="4010025"/>
            <a:ext cx="54737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111357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6193367" y="1795463"/>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6" y="1795463"/>
            <a:ext cx="546946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4013201"/>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3367" y="1795464"/>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25423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6197600" y="1795463"/>
            <a:ext cx="5467351"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529167" y="4013201"/>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795464"/>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426727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197600" y="4022725"/>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529167" y="4022725"/>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7600" y="1804989"/>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804989"/>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688111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130335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037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2679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sp>
        <p:nvSpPr>
          <p:cNvPr id="22532" name="LeftInfo"/>
          <p:cNvSpPr txBox="1">
            <a:spLocks noChangeArrowheads="1"/>
          </p:cNvSpPr>
          <p:nvPr/>
        </p:nvSpPr>
        <p:spPr bwMode="auto">
          <a:xfrm>
            <a:off x="-2019299" y="2828876"/>
            <a:ext cx="1968500"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pic>
        <p:nvPicPr>
          <p:cNvPr id="6" name="Logo2011" descr="ERI_UF_rgb"/>
          <p:cNvPicPr>
            <a:picLocks noChangeArrowheads="1"/>
          </p:cNvPicPr>
          <p:nvPr/>
        </p:nvPicPr>
        <p:blipFill>
          <a:blip r:embed="rId2" cstate="print"/>
          <a:srcRect/>
          <a:stretch>
            <a:fillRect/>
          </a:stretch>
        </p:blipFill>
        <p:spPr bwMode="auto">
          <a:xfrm>
            <a:off x="10628483" y="432000"/>
            <a:ext cx="1027112" cy="900113"/>
          </a:xfrm>
          <a:prstGeom prst="rect">
            <a:avLst/>
          </a:prstGeom>
          <a:noFill/>
        </p:spPr>
      </p:pic>
      <p:sp>
        <p:nvSpPr>
          <p:cNvPr id="22530" name="SubTitle_TM"/>
          <p:cNvSpPr>
            <a:spLocks noGrp="1" noChangeArrowheads="1"/>
          </p:cNvSpPr>
          <p:nvPr>
            <p:ph type="subTitle" idx="1" hasCustomPrompt="1"/>
          </p:nvPr>
        </p:nvSpPr>
        <p:spPr>
          <a:xfrm>
            <a:off x="524932" y="5137201"/>
            <a:ext cx="11140019" cy="1386001"/>
          </a:xfrm>
        </p:spPr>
        <p:txBody>
          <a:bodyPr anchor="b" anchorCtr="0"/>
          <a:lstStyle>
            <a:lvl1pPr marL="0" indent="0">
              <a:lnSpc>
                <a:spcPct val="75000"/>
              </a:lnSpc>
              <a:spcBef>
                <a:spcPts val="0"/>
              </a:spcBef>
              <a:buFont typeface="Arial" charset="0"/>
              <a:buNone/>
              <a:defRPr sz="3000" baseline="0">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524934" y="1808709"/>
            <a:ext cx="11135785" cy="2839491"/>
          </a:xfrm>
        </p:spPr>
        <p:txBody>
          <a:bodyPr anchor="ctr">
            <a:normAutofit/>
          </a:bodyPr>
          <a:lstStyle>
            <a:lvl1pPr>
              <a:lnSpc>
                <a:spcPct val="75000"/>
              </a:lnSpc>
              <a:defRPr sz="7000">
                <a:latin typeface="Ericsson Capital TT"/>
              </a:defRPr>
            </a:lvl1pPr>
          </a:lstStyle>
          <a:p>
            <a:r>
              <a:rPr lang="en-US" dirty="0"/>
              <a:t>Click to add title</a:t>
            </a:r>
          </a:p>
        </p:txBody>
      </p:sp>
    </p:spTree>
    <p:extLst>
      <p:ext uri="{BB962C8B-B14F-4D97-AF65-F5344CB8AC3E}">
        <p14:creationId xmlns:p14="http://schemas.microsoft.com/office/powerpoint/2010/main" val="163593160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67" y="1800000"/>
            <a:ext cx="11135785" cy="38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334322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67" y="1800000"/>
            <a:ext cx="11135785" cy="38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448030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1795464"/>
            <a:ext cx="5467351" cy="42846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5113562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0814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4305300"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5249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28671239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3" cy="1085371"/>
          </a:xfrm>
        </p:spPr>
        <p:txBody>
          <a:bodyPr/>
          <a:lstStyle/>
          <a:p>
            <a:r>
              <a:rPr lang="en-US" dirty="0"/>
              <a:t>Click to edit Master title style</a:t>
            </a:r>
          </a:p>
        </p:txBody>
      </p:sp>
    </p:spTree>
    <p:extLst>
      <p:ext uri="{BB962C8B-B14F-4D97-AF65-F5344CB8AC3E}">
        <p14:creationId xmlns:p14="http://schemas.microsoft.com/office/powerpoint/2010/main" val="33513942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5139265" cy="1085371"/>
          </a:xfrm>
        </p:spPr>
        <p:txBody>
          <a:bodyPr/>
          <a:lstStyle/>
          <a:p>
            <a:r>
              <a:rPr lang="en-US"/>
              <a:t>Click to edit Master title style</a:t>
            </a:r>
          </a:p>
        </p:txBody>
      </p:sp>
    </p:spTree>
    <p:extLst>
      <p:ext uri="{BB962C8B-B14F-4D97-AF65-F5344CB8AC3E}">
        <p14:creationId xmlns:p14="http://schemas.microsoft.com/office/powerpoint/2010/main" val="41232962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1938174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67" y="239714"/>
            <a:ext cx="4324351" cy="1085371"/>
          </a:xfrm>
        </p:spPr>
        <p:txBody>
          <a:bodyPr/>
          <a:lstStyle/>
          <a:p>
            <a:r>
              <a:rPr lang="en-US" dirty="0"/>
              <a:t>Click to edit Master title style</a:t>
            </a:r>
          </a:p>
        </p:txBody>
      </p:sp>
    </p:spTree>
    <p:extLst>
      <p:ext uri="{BB962C8B-B14F-4D97-AF65-F5344CB8AC3E}">
        <p14:creationId xmlns:p14="http://schemas.microsoft.com/office/powerpoint/2010/main" val="2186398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41"/>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25"/>
            <a:ext cx="5473700" cy="1085371"/>
          </a:xfrm>
        </p:spPr>
        <p:txBody>
          <a:bodyPr/>
          <a:lstStyle/>
          <a:p>
            <a:r>
              <a:rPr lang="en-US" dirty="0"/>
              <a:t>Click to edit Master title style</a:t>
            </a:r>
          </a:p>
        </p:txBody>
      </p:sp>
    </p:spTree>
    <p:extLst>
      <p:ext uri="{BB962C8B-B14F-4D97-AF65-F5344CB8AC3E}">
        <p14:creationId xmlns:p14="http://schemas.microsoft.com/office/powerpoint/2010/main" val="2783639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524935" y="1795463"/>
            <a:ext cx="11140016"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2177109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193367" y="4010025"/>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524934" y="4010025"/>
            <a:ext cx="54737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111357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3797901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1795464"/>
            <a:ext cx="5467351" cy="42846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36747264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6193367" y="1795463"/>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6" y="1795463"/>
            <a:ext cx="546946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3132497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4013201"/>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3367" y="1795464"/>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23890527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6197600" y="1795463"/>
            <a:ext cx="5467351"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529167" y="4013201"/>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795464"/>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9024455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06889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197600" y="4022725"/>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529167" y="4022725"/>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7600" y="1804989"/>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804989"/>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8313542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13933290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6054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Tree>
    <p:extLst>
      <p:ext uri="{BB962C8B-B14F-4D97-AF65-F5344CB8AC3E}">
        <p14:creationId xmlns:p14="http://schemas.microsoft.com/office/powerpoint/2010/main" val="1161891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054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0814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4305300"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5249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3" cy="1085371"/>
          </a:xfrm>
        </p:spPr>
        <p:txBody>
          <a:bodyPr/>
          <a:lstStyle/>
          <a:p>
            <a:r>
              <a:rPr lang="en-US" dirty="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5139265" cy="1085371"/>
          </a:xfrm>
        </p:spPr>
        <p:txBody>
          <a:bodyPr/>
          <a:lstStyle/>
          <a:p>
            <a:r>
              <a:rPr lang="en-US"/>
              <a:t>Click to edit Master title style</a:t>
            </a:r>
          </a:p>
        </p:txBody>
      </p:sp>
    </p:spTree>
    <p:extLst>
      <p:ext uri="{BB962C8B-B14F-4D97-AF65-F5344CB8AC3E}">
        <p14:creationId xmlns:p14="http://schemas.microsoft.com/office/powerpoint/2010/main" val="2283548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262973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67" y="239714"/>
            <a:ext cx="4324351" cy="1085371"/>
          </a:xfrm>
        </p:spPr>
        <p:txBody>
          <a:bodyPr/>
          <a:lstStyle/>
          <a:p>
            <a:r>
              <a:rPr lang="en-US" dirty="0"/>
              <a:t>Click to edit Master title style</a:t>
            </a:r>
          </a:p>
        </p:txBody>
      </p:sp>
    </p:spTree>
    <p:extLst>
      <p:ext uri="{BB962C8B-B14F-4D97-AF65-F5344CB8AC3E}">
        <p14:creationId xmlns:p14="http://schemas.microsoft.com/office/powerpoint/2010/main" val="525909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41"/>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25"/>
            <a:ext cx="5473700" cy="1085371"/>
          </a:xfrm>
        </p:spPr>
        <p:txBody>
          <a:bodyPr/>
          <a:lstStyle/>
          <a:p>
            <a:r>
              <a:rPr lang="en-US" dirty="0"/>
              <a:t>Click to edit Master title style</a:t>
            </a:r>
          </a:p>
        </p:txBody>
      </p:sp>
    </p:spTree>
    <p:extLst>
      <p:ext uri="{BB962C8B-B14F-4D97-AF65-F5344CB8AC3E}">
        <p14:creationId xmlns:p14="http://schemas.microsoft.com/office/powerpoint/2010/main" val="4071865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8" name="LeftInfo"/>
          <p:cNvSpPr txBox="1">
            <a:spLocks noChangeArrowheads="1"/>
          </p:cNvSpPr>
          <p:nvPr/>
        </p:nvSpPr>
        <p:spPr bwMode="auto">
          <a:xfrm>
            <a:off x="-2515809" y="438151"/>
            <a:ext cx="2352392" cy="5970865"/>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rrowheads="1"/>
          </p:cNvPicPr>
          <p:nvPr/>
        </p:nvPicPr>
        <p:blipFill>
          <a:blip r:embed="rId20" cstate="print"/>
          <a:srcRect/>
          <a:stretch>
            <a:fillRect/>
          </a:stretch>
        </p:blipFill>
        <p:spPr bwMode="auto">
          <a:xfrm>
            <a:off x="11209564" y="360000"/>
            <a:ext cx="444500" cy="588962"/>
          </a:xfrm>
          <a:prstGeom prst="rect">
            <a:avLst/>
          </a:prstGeom>
          <a:noFill/>
        </p:spPr>
      </p:pic>
      <p:sp>
        <p:nvSpPr>
          <p:cNvPr id="21523" name="txtfooterCopy"/>
          <p:cNvSpPr txBox="1">
            <a:spLocks noChangeArrowheads="1"/>
          </p:cNvSpPr>
          <p:nvPr/>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87888A"/>
                </a:solidFill>
              </a:rPr>
              <a:t>© Ericsson AB 2017  |  LZU1081421223 PA2  |  Figure  1-</a:t>
            </a:r>
            <a:fld id="{87766308-0F4C-4B24-B640-88A1C3682A36}" type="slidenum">
              <a:rPr lang="en-US" sz="800" b="0" i="0" u="none" smtClean="0">
                <a:solidFill>
                  <a:srgbClr val="87888A"/>
                </a:solidFill>
              </a:rPr>
              <a:t>‹#›</a:t>
            </a:fld>
            <a:endParaRPr lang="en-US" sz="800" b="0" i="0" u="none" dirty="0">
              <a:solidFill>
                <a:srgbClr val="87888A"/>
              </a:solidFill>
            </a:endParaRPr>
          </a:p>
        </p:txBody>
      </p:sp>
      <p:sp>
        <p:nvSpPr>
          <p:cNvPr id="21507" name="Content_SM"/>
          <p:cNvSpPr>
            <a:spLocks noGrp="1" noChangeArrowheads="1"/>
          </p:cNvSpPr>
          <p:nvPr>
            <p:ph type="body" idx="1"/>
          </p:nvPr>
        </p:nvSpPr>
        <p:spPr bwMode="auto">
          <a:xfrm>
            <a:off x="529167"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700" r:id="rId3"/>
    <p:sldLayoutId id="2147483681" r:id="rId4"/>
    <p:sldLayoutId id="2147483680" r:id="rId5"/>
    <p:sldLayoutId id="2147483699" r:id="rId6"/>
    <p:sldLayoutId id="2147483696" r:id="rId7"/>
    <p:sldLayoutId id="2147483698" r:id="rId8"/>
    <p:sldLayoutId id="2147483697" r:id="rId9"/>
    <p:sldLayoutId id="2147483685" r:id="rId10"/>
    <p:sldLayoutId id="2147483686" r:id="rId11"/>
    <p:sldLayoutId id="2147483687" r:id="rId12"/>
    <p:sldLayoutId id="2147483682" r:id="rId13"/>
    <p:sldLayoutId id="2147483683" r:id="rId14"/>
    <p:sldLayoutId id="2147483684" r:id="rId15"/>
    <p:sldLayoutId id="2147483688" r:id="rId16"/>
    <p:sldLayoutId id="2147483695" r:id="rId17"/>
    <p:sldLayoutId id="2147483701" r:id="rId18"/>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8" name="LeftInfo"/>
          <p:cNvSpPr txBox="1">
            <a:spLocks noChangeArrowheads="1"/>
          </p:cNvSpPr>
          <p:nvPr/>
        </p:nvSpPr>
        <p:spPr bwMode="auto">
          <a:xfrm>
            <a:off x="-2515809" y="438151"/>
            <a:ext cx="2352392" cy="5970865"/>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rrowheads="1"/>
          </p:cNvPicPr>
          <p:nvPr/>
        </p:nvPicPr>
        <p:blipFill>
          <a:blip r:embed="rId22" cstate="print"/>
          <a:srcRect/>
          <a:stretch>
            <a:fillRect/>
          </a:stretch>
        </p:blipFill>
        <p:spPr bwMode="auto">
          <a:xfrm>
            <a:off x="11209564" y="360000"/>
            <a:ext cx="444500" cy="588962"/>
          </a:xfrm>
          <a:prstGeom prst="rect">
            <a:avLst/>
          </a:prstGeom>
          <a:noFill/>
        </p:spPr>
      </p:pic>
      <p:sp>
        <p:nvSpPr>
          <p:cNvPr id="21523" name="txtfooterCopy"/>
          <p:cNvSpPr txBox="1">
            <a:spLocks noChangeArrowheads="1"/>
          </p:cNvSpPr>
          <p:nvPr/>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87888A"/>
                </a:solidFill>
              </a:rPr>
              <a:t>Orchestration &amp; Management - 5G Network Slicing  |  Ericsson Internal  |  BICP-16:000192 Uen, Rev B  |  2016-12-12  |  Page </a:t>
            </a:r>
            <a:fld id="{A260CAB3-0A58-4198-85E6-50EBB4C7616A}" type="slidenum">
              <a:rPr lang="en-US" sz="800" b="0" i="0" u="none" smtClean="0">
                <a:solidFill>
                  <a:srgbClr val="87888A"/>
                </a:solidFill>
              </a:rPr>
              <a:t>‹#›</a:t>
            </a:fld>
            <a:endParaRPr lang="en-US" sz="800" b="0" i="0" u="none" dirty="0">
              <a:solidFill>
                <a:srgbClr val="87888A"/>
              </a:solidFill>
            </a:endParaRPr>
          </a:p>
        </p:txBody>
      </p:sp>
      <p:sp>
        <p:nvSpPr>
          <p:cNvPr id="21507" name="Content_SM"/>
          <p:cNvSpPr>
            <a:spLocks noGrp="1" noChangeArrowheads="1"/>
          </p:cNvSpPr>
          <p:nvPr>
            <p:ph type="body" idx="1"/>
          </p:nvPr>
        </p:nvSpPr>
        <p:spPr bwMode="auto">
          <a:xfrm>
            <a:off x="529167"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extLst>
      <p:ext uri="{BB962C8B-B14F-4D97-AF65-F5344CB8AC3E}">
        <p14:creationId xmlns:p14="http://schemas.microsoft.com/office/powerpoint/2010/main" val="340532970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60" r:id="rId20"/>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9" Type="http://schemas.openxmlformats.org/officeDocument/2006/relationships/tags" Target="../tags/tag124.xml"/><Relationship Id="rId3" Type="http://schemas.openxmlformats.org/officeDocument/2006/relationships/tags" Target="../tags/tag88.xml"/><Relationship Id="rId21" Type="http://schemas.openxmlformats.org/officeDocument/2006/relationships/tags" Target="../tags/tag106.xml"/><Relationship Id="rId34" Type="http://schemas.openxmlformats.org/officeDocument/2006/relationships/tags" Target="../tags/tag119.xml"/><Relationship Id="rId42" Type="http://schemas.openxmlformats.org/officeDocument/2006/relationships/notesSlide" Target="../notesSlides/notesSlide10.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tags" Target="../tags/tag110.xml"/><Relationship Id="rId33" Type="http://schemas.openxmlformats.org/officeDocument/2006/relationships/tags" Target="../tags/tag118.xml"/><Relationship Id="rId38" Type="http://schemas.openxmlformats.org/officeDocument/2006/relationships/tags" Target="../tags/tag123.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tags" Target="../tags/tag114.xml"/><Relationship Id="rId41" Type="http://schemas.openxmlformats.org/officeDocument/2006/relationships/slideLayout" Target="../slideLayouts/slideLayout18.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tags" Target="../tags/tag117.xml"/><Relationship Id="rId37" Type="http://schemas.openxmlformats.org/officeDocument/2006/relationships/tags" Target="../tags/tag122.xml"/><Relationship Id="rId40" Type="http://schemas.openxmlformats.org/officeDocument/2006/relationships/tags" Target="../tags/tag125.xml"/><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36" Type="http://schemas.openxmlformats.org/officeDocument/2006/relationships/tags" Target="../tags/tag121.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tags" Target="../tags/tag116.xml"/><Relationship Id="rId44" Type="http://schemas.openxmlformats.org/officeDocument/2006/relationships/chart" Target="../charts/chart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tags" Target="../tags/tag115.xml"/><Relationship Id="rId35" Type="http://schemas.openxmlformats.org/officeDocument/2006/relationships/tags" Target="../tags/tag120.xml"/><Relationship Id="rId43" Type="http://schemas.openxmlformats.org/officeDocument/2006/relationships/image" Target="../media/image7.png"/></Relationships>
</file>

<file path=ppt/slides/_rels/slide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5.xml"/><Relationship Id="rId1" Type="http://schemas.openxmlformats.org/officeDocument/2006/relationships/slideLayout" Target="../slideLayouts/slideLayout16.xml"/><Relationship Id="rId5" Type="http://schemas.openxmlformats.org/officeDocument/2006/relationships/image" Target="../media/image33.png"/><Relationship Id="rId4" Type="http://schemas.openxmlformats.org/officeDocument/2006/relationships/image" Target="../media/image6.emf"/></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7.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8.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35.xml"/><Relationship Id="rId5" Type="http://schemas.openxmlformats.org/officeDocument/2006/relationships/image" Target="../media/image8.png"/><Relationship Id="rId4" Type="http://schemas.openxmlformats.org/officeDocument/2006/relationships/image" Target="../media/image6.emf"/></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2.xml"/><Relationship Id="rId1" Type="http://schemas.openxmlformats.org/officeDocument/2006/relationships/slideLayout" Target="../slideLayouts/slideLayout16.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tags" Target="../tags/tag126.xml"/><Relationship Id="rId5" Type="http://schemas.openxmlformats.org/officeDocument/2006/relationships/image" Target="../media/image6.emf"/><Relationship Id="rId4" Type="http://schemas.openxmlformats.org/officeDocument/2006/relationships/image" Target="../media/image5.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1.xml"/><Relationship Id="rId1" Type="http://schemas.openxmlformats.org/officeDocument/2006/relationships/tags" Target="../tags/tag186.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9.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0.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2.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3.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1.xml"/><Relationship Id="rId1" Type="http://schemas.openxmlformats.org/officeDocument/2006/relationships/tags" Target="../tags/tag187.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2.xml"/><Relationship Id="rId1" Type="http://schemas.openxmlformats.org/officeDocument/2006/relationships/tags" Target="../tags/tag188.xml"/><Relationship Id="rId5" Type="http://schemas.openxmlformats.org/officeDocument/2006/relationships/image" Target="../media/image6.emf"/><Relationship Id="rId4" Type="http://schemas.openxmlformats.org/officeDocument/2006/relationships/image" Target="../media/image5.png"/></Relationships>
</file>

<file path=ppt/slides/_rels/slide1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8.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notesSlide" Target="../notesSlides/notesSlide15.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slideLayout" Target="../slideLayouts/slideLayout16.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image" Target="../media/image6.emf"/><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image" Target="../media/image5.png"/></Relationships>
</file>

<file path=ppt/slides/_rels/slide1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0.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1.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2.xml"/><Relationship Id="rId1" Type="http://schemas.openxmlformats.org/officeDocument/2006/relationships/slideLayout" Target="../slideLayouts/slideLayout18.xml"/><Relationship Id="rId5" Type="http://schemas.openxmlformats.org/officeDocument/2006/relationships/image" Target="../media/image40.png"/><Relationship Id="rId4" Type="http://schemas.openxmlformats.org/officeDocument/2006/relationships/image" Target="../media/image6.emf"/></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6.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7.xml"/></Relationships>
</file>

<file path=ppt/slides/_rels/slide1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6.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7.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image" Target="../media/image6.emf"/><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image" Target="../media/image5.png"/><Relationship Id="rId2" Type="http://schemas.openxmlformats.org/officeDocument/2006/relationships/tags" Target="../tags/tag155.xml"/><Relationship Id="rId16" Type="http://schemas.openxmlformats.org/officeDocument/2006/relationships/notesSlide" Target="../notesSlides/notesSlide16.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5" Type="http://schemas.openxmlformats.org/officeDocument/2006/relationships/slideLayout" Target="../slideLayouts/slideLayout16.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18.xml"/><Relationship Id="rId1" Type="http://schemas.openxmlformats.org/officeDocument/2006/relationships/tags" Target="../tags/tag189.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18.xml"/><Relationship Id="rId1" Type="http://schemas.openxmlformats.org/officeDocument/2006/relationships/tags" Target="../tags/tag190.xml"/></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18.xml"/><Relationship Id="rId1" Type="http://schemas.openxmlformats.org/officeDocument/2006/relationships/tags" Target="../tags/tag191.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8.xml"/><Relationship Id="rId1" Type="http://schemas.openxmlformats.org/officeDocument/2006/relationships/tags" Target="../tags/tag192.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18.xml"/><Relationship Id="rId1" Type="http://schemas.openxmlformats.org/officeDocument/2006/relationships/tags" Target="../tags/tag193.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8.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1.xml"/><Relationship Id="rId1" Type="http://schemas.openxmlformats.org/officeDocument/2006/relationships/tags" Target="../tags/tag19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8.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18.xml"/><Relationship Id="rId1" Type="http://schemas.openxmlformats.org/officeDocument/2006/relationships/tags" Target="../tags/tag195.xml"/></Relationships>
</file>

<file path=ppt/slides/_rels/slide1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image" Target="../media/image5.png"/><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notesSlide" Target="../notesSlides/notesSlide17.xml"/><Relationship Id="rId2" Type="http://schemas.openxmlformats.org/officeDocument/2006/relationships/tags" Target="../tags/tag169.xml"/><Relationship Id="rId16" Type="http://schemas.openxmlformats.org/officeDocument/2006/relationships/slideLayout" Target="../slideLayouts/slideLayout18.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5" Type="http://schemas.openxmlformats.org/officeDocument/2006/relationships/tags" Target="../tags/tag172.xml"/><Relationship Id="rId15" Type="http://schemas.openxmlformats.org/officeDocument/2006/relationships/tags" Target="../tags/tag182.xml"/><Relationship Id="rId10" Type="http://schemas.openxmlformats.org/officeDocument/2006/relationships/tags" Target="../tags/tag177.xml"/><Relationship Id="rId19" Type="http://schemas.openxmlformats.org/officeDocument/2006/relationships/image" Target="../media/image6.emf"/><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18.xml"/></Relationships>
</file>

<file path=ppt/slides/_rels/slide1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2.xml"/><Relationship Id="rId1" Type="http://schemas.openxmlformats.org/officeDocument/2006/relationships/slideLayout" Target="../slideLayouts/slideLayout18.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8.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18.xml"/></Relationships>
</file>

<file path=ppt/slides/_rels/slide1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5.xml"/><Relationship Id="rId1" Type="http://schemas.openxmlformats.org/officeDocument/2006/relationships/slideLayout" Target="../slideLayouts/slideLayout18.xml"/></Relationships>
</file>

<file path=ppt/slides/_rels/slide1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6.xml"/><Relationship Id="rId1" Type="http://schemas.openxmlformats.org/officeDocument/2006/relationships/slideLayout" Target="../slideLayouts/slideLayout18.xml"/></Relationships>
</file>

<file path=ppt/slides/_rels/slide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7.xml"/><Relationship Id="rId1" Type="http://schemas.openxmlformats.org/officeDocument/2006/relationships/slideLayout" Target="../slideLayouts/slideLayout18.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18.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183.xml"/></Relationships>
</file>

<file path=ppt/slides/_rels/slide18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0.xml"/><Relationship Id="rId1" Type="http://schemas.openxmlformats.org/officeDocument/2006/relationships/slideLayout" Target="../slideLayouts/slideLayout18.xml"/><Relationship Id="rId4" Type="http://schemas.openxmlformats.org/officeDocument/2006/relationships/image" Target="../media/image46.png"/></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196.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8.xml"/></Relationships>
</file>

<file path=ppt/slides/_rels/slide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4.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8.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8.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9.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0.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18.xml"/></Relationships>
</file>

<file path=ppt/slides/_rels/slide1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2.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3.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4.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5.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6.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7.xml"/><Relationship Id="rId1" Type="http://schemas.openxmlformats.org/officeDocument/2006/relationships/slideLayout" Target="../slideLayouts/slideLayout18.xml"/><Relationship Id="rId4" Type="http://schemas.openxmlformats.org/officeDocument/2006/relationships/image" Target="../media/image6.emf"/></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18.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18.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18.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www.3gpp.org/ftp/tsg_sa/WG2_Arch/TSGS2_118_Reno/Docs/S2-167232.zip" TargetMode="External"/><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xml"/><Relationship Id="rId1" Type="http://schemas.openxmlformats.org/officeDocument/2006/relationships/tags" Target="../tags/tag1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ags" Target="../tags/tag18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3.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7.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6.xml"/><Relationship Id="rId1" Type="http://schemas.openxmlformats.org/officeDocument/2006/relationships/slideLayout" Target="../slideLayouts/slideLayout18.xml"/><Relationship Id="rId5" Type="http://schemas.openxmlformats.org/officeDocument/2006/relationships/image" Target="../media/image22.png"/><Relationship Id="rId4" Type="http://schemas.openxmlformats.org/officeDocument/2006/relationships/image" Target="../media/image12.png"/></Relationships>
</file>

<file path=ppt/slides/_rels/slide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7.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chart" Target="../charts/chart2.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chart" Target="../charts/chart1.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notesSlide" Target="../notesSlides/notesSlide8.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tags" Target="../tags/tag79.xml"/><Relationship Id="rId50" Type="http://schemas.openxmlformats.org/officeDocument/2006/relationships/tags" Target="../tags/tag82.xml"/><Relationship Id="rId55" Type="http://schemas.openxmlformats.org/officeDocument/2006/relationships/notesSlide" Target="../notesSlides/notesSlide9.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tags" Target="../tags/tag78.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41" Type="http://schemas.openxmlformats.org/officeDocument/2006/relationships/tags" Target="../tags/tag73.xml"/><Relationship Id="rId54" Type="http://schemas.openxmlformats.org/officeDocument/2006/relationships/slideLayout" Target="../slideLayouts/slideLayout18.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3" Type="http://schemas.openxmlformats.org/officeDocument/2006/relationships/tags" Target="../tags/tag85.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tags" Target="../tags/tag81.xml"/><Relationship Id="rId57" Type="http://schemas.openxmlformats.org/officeDocument/2006/relationships/image" Target="../media/image7.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4" Type="http://schemas.openxmlformats.org/officeDocument/2006/relationships/tags" Target="../tags/tag76.xml"/><Relationship Id="rId52" Type="http://schemas.openxmlformats.org/officeDocument/2006/relationships/tags" Target="../tags/tag84.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tags" Target="../tags/tag80.xml"/><Relationship Id="rId56" Type="http://schemas.openxmlformats.org/officeDocument/2006/relationships/chart" Target="../charts/chart3.xml"/><Relationship Id="rId8" Type="http://schemas.openxmlformats.org/officeDocument/2006/relationships/tags" Target="../tags/tag40.xml"/><Relationship Id="rId51" Type="http://schemas.openxmlformats.org/officeDocument/2006/relationships/tags" Target="../tags/tag83.xml"/><Relationship Id="rId3" Type="http://schemas.openxmlformats.org/officeDocument/2006/relationships/tags" Target="../tags/tag35.xml"/></Relationships>
</file>

<file path=ppt/slides/_rels/slide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1.xml"/><Relationship Id="rId1" Type="http://schemas.openxmlformats.org/officeDocument/2006/relationships/slideLayout" Target="../slideLayouts/slideLayout18.xml"/><Relationship Id="rId4" Type="http://schemas.openxmlformats.org/officeDocument/2006/relationships/image" Target="../media/image12.png"/></Relationships>
</file>

<file path=ppt/slides/_rels/slide9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2.xml"/><Relationship Id="rId1" Type="http://schemas.openxmlformats.org/officeDocument/2006/relationships/slideLayout" Target="../slideLayouts/slideLayout18.xml"/><Relationship Id="rId4" Type="http://schemas.openxmlformats.org/officeDocument/2006/relationships/image" Target="../media/image12.png"/></Relationships>
</file>

<file path=ppt/slides/_rels/slide9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3.xml"/><Relationship Id="rId1" Type="http://schemas.openxmlformats.org/officeDocument/2006/relationships/slideLayout" Target="../slideLayouts/slideLayout18.xml"/><Relationship Id="rId4" Type="http://schemas.openxmlformats.org/officeDocument/2006/relationships/image" Target="../media/image32.png"/></Relationships>
</file>

<file path=ppt/slides/_rels/slide9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5G Core Concepts</a:t>
            </a:r>
            <a:endParaRPr lang="en-US" dirty="0"/>
          </a:p>
        </p:txBody>
      </p:sp>
    </p:spTree>
    <p:custDataLst>
      <p:tags r:id="rId1"/>
    </p:custDataLst>
    <p:extLst>
      <p:ext uri="{BB962C8B-B14F-4D97-AF65-F5344CB8AC3E}">
        <p14:creationId xmlns:p14="http://schemas.microsoft.com/office/powerpoint/2010/main" val="1446366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enabled digitalization revenues</a:t>
            </a:r>
          </a:p>
        </p:txBody>
      </p:sp>
      <p:sp>
        <p:nvSpPr>
          <p:cNvPr id="4" name="Rectangle 3"/>
          <p:cNvSpPr>
            <a:spLocks noChangeArrowheads="1"/>
          </p:cNvSpPr>
          <p:nvPr/>
        </p:nvSpPr>
        <p:spPr bwMode="auto">
          <a:xfrm>
            <a:off x="1254849" y="5489065"/>
            <a:ext cx="9682303" cy="924435"/>
          </a:xfrm>
          <a:prstGeom prst="roundRect">
            <a:avLst>
              <a:gd name="adj" fmla="val 5620"/>
            </a:avLst>
          </a:prstGeom>
          <a:blipFill>
            <a:blip r:embed="rId43"/>
            <a:stretch>
              <a:fillRect/>
            </a:stretch>
          </a:blipFill>
          <a:ln w="12700">
            <a:noFill/>
            <a:miter lim="800000"/>
            <a:headEnd/>
            <a:tailEnd/>
          </a:ln>
          <a:effectLst/>
          <a:extLst/>
        </p:spPr>
        <p:txBody>
          <a:bodyPr lIns="90000" tIns="91440" bIns="91440" anchor="ctr">
            <a:noAutofit/>
          </a:bodyPr>
          <a:lstStyle/>
          <a:p>
            <a:pPr marL="914400">
              <a:spcBef>
                <a:spcPts val="0"/>
              </a:spcBef>
            </a:pPr>
            <a:r>
              <a:rPr lang="en-US" sz="1600" b="1" dirty="0">
                <a:solidFill>
                  <a:srgbClr val="FFFFFF"/>
                </a:solidFill>
              </a:rPr>
              <a:t>5G enabled digitalization revenues for ICT players</a:t>
            </a:r>
          </a:p>
          <a:p>
            <a:pPr marL="914400">
              <a:spcBef>
                <a:spcPts val="0"/>
              </a:spcBef>
            </a:pPr>
            <a:r>
              <a:rPr lang="en-US" sz="1400" dirty="0">
                <a:solidFill>
                  <a:srgbClr val="FFFFFF"/>
                </a:solidFill>
              </a:rPr>
              <a:t>Revenues generated by new industry digitalization value-producing opportunities that are created or enhanced by the introduction of 5G networks</a:t>
            </a:r>
          </a:p>
        </p:txBody>
      </p:sp>
      <p:sp>
        <p:nvSpPr>
          <p:cNvPr id="5" name="Freeform 3"/>
          <p:cNvSpPr>
            <a:spLocks noChangeAspect="1" noEditPoints="1"/>
          </p:cNvSpPr>
          <p:nvPr/>
        </p:nvSpPr>
        <p:spPr bwMode="auto">
          <a:xfrm>
            <a:off x="1456282" y="5710745"/>
            <a:ext cx="672012" cy="541192"/>
          </a:xfrm>
          <a:custGeom>
            <a:avLst/>
            <a:gdLst>
              <a:gd name="T0" fmla="*/ 2147483646 w 524"/>
              <a:gd name="T1" fmla="*/ 2147483646 h 422"/>
              <a:gd name="T2" fmla="*/ 2147483646 w 524"/>
              <a:gd name="T3" fmla="*/ 2147483646 h 422"/>
              <a:gd name="T4" fmla="*/ 2147483646 w 524"/>
              <a:gd name="T5" fmla="*/ 2147483646 h 422"/>
              <a:gd name="T6" fmla="*/ 2147483646 w 524"/>
              <a:gd name="T7" fmla="*/ 2147483646 h 422"/>
              <a:gd name="T8" fmla="*/ 2147483646 w 524"/>
              <a:gd name="T9" fmla="*/ 2147483646 h 422"/>
              <a:gd name="T10" fmla="*/ 2147483646 w 524"/>
              <a:gd name="T11" fmla="*/ 2147483646 h 422"/>
              <a:gd name="T12" fmla="*/ 2147483646 w 524"/>
              <a:gd name="T13" fmla="*/ 2147483646 h 422"/>
              <a:gd name="T14" fmla="*/ 2147483646 w 524"/>
              <a:gd name="T15" fmla="*/ 2147483646 h 422"/>
              <a:gd name="T16" fmla="*/ 2147483646 w 524"/>
              <a:gd name="T17" fmla="*/ 2147483646 h 422"/>
              <a:gd name="T18" fmla="*/ 2147483646 w 524"/>
              <a:gd name="T19" fmla="*/ 2147483646 h 422"/>
              <a:gd name="T20" fmla="*/ 2147483646 w 524"/>
              <a:gd name="T21" fmla="*/ 2147483646 h 422"/>
              <a:gd name="T22" fmla="*/ 2147483646 w 524"/>
              <a:gd name="T23" fmla="*/ 2147483646 h 422"/>
              <a:gd name="T24" fmla="*/ 2147483646 w 524"/>
              <a:gd name="T25" fmla="*/ 2147483646 h 422"/>
              <a:gd name="T26" fmla="*/ 2147483646 w 524"/>
              <a:gd name="T27" fmla="*/ 2147483646 h 422"/>
              <a:gd name="T28" fmla="*/ 2147483646 w 524"/>
              <a:gd name="T29" fmla="*/ 2147483646 h 422"/>
              <a:gd name="T30" fmla="*/ 2147483646 w 524"/>
              <a:gd name="T31" fmla="*/ 2147483646 h 422"/>
              <a:gd name="T32" fmla="*/ 2147483646 w 524"/>
              <a:gd name="T33" fmla="*/ 2147483646 h 422"/>
              <a:gd name="T34" fmla="*/ 2147483646 w 524"/>
              <a:gd name="T35" fmla="*/ 2147483646 h 422"/>
              <a:gd name="T36" fmla="*/ 2147483646 w 524"/>
              <a:gd name="T37" fmla="*/ 2147483646 h 422"/>
              <a:gd name="T38" fmla="*/ 2147483646 w 524"/>
              <a:gd name="T39" fmla="*/ 2147483646 h 422"/>
              <a:gd name="T40" fmla="*/ 2147483646 w 524"/>
              <a:gd name="T41" fmla="*/ 2147483646 h 422"/>
              <a:gd name="T42" fmla="*/ 2147483646 w 524"/>
              <a:gd name="T43" fmla="*/ 2147483646 h 422"/>
              <a:gd name="T44" fmla="*/ 2147483646 w 524"/>
              <a:gd name="T45" fmla="*/ 2147483646 h 422"/>
              <a:gd name="T46" fmla="*/ 2147483646 w 524"/>
              <a:gd name="T47" fmla="*/ 2147483646 h 422"/>
              <a:gd name="T48" fmla="*/ 2147483646 w 524"/>
              <a:gd name="T49" fmla="*/ 2147483646 h 422"/>
              <a:gd name="T50" fmla="*/ 2147483646 w 524"/>
              <a:gd name="T51" fmla="*/ 2147483646 h 422"/>
              <a:gd name="T52" fmla="*/ 2147483646 w 524"/>
              <a:gd name="T53" fmla="*/ 2147483646 h 422"/>
              <a:gd name="T54" fmla="*/ 2147483646 w 524"/>
              <a:gd name="T55" fmla="*/ 2147483646 h 422"/>
              <a:gd name="T56" fmla="*/ 2147483646 w 524"/>
              <a:gd name="T57" fmla="*/ 2147483646 h 422"/>
              <a:gd name="T58" fmla="*/ 2147483646 w 524"/>
              <a:gd name="T59" fmla="*/ 2147483646 h 422"/>
              <a:gd name="T60" fmla="*/ 2147483646 w 524"/>
              <a:gd name="T61" fmla="*/ 2147483646 h 422"/>
              <a:gd name="T62" fmla="*/ 2147483646 w 524"/>
              <a:gd name="T63" fmla="*/ 2147483646 h 422"/>
              <a:gd name="T64" fmla="*/ 2147483646 w 524"/>
              <a:gd name="T65" fmla="*/ 2147483646 h 422"/>
              <a:gd name="T66" fmla="*/ 2147483646 w 524"/>
              <a:gd name="T67" fmla="*/ 2147483646 h 422"/>
              <a:gd name="T68" fmla="*/ 2147483646 w 524"/>
              <a:gd name="T69" fmla="*/ 2147483646 h 422"/>
              <a:gd name="T70" fmla="*/ 2147483646 w 524"/>
              <a:gd name="T71" fmla="*/ 2147483646 h 422"/>
              <a:gd name="T72" fmla="*/ 2147483646 w 524"/>
              <a:gd name="T73" fmla="*/ 2147483646 h 422"/>
              <a:gd name="T74" fmla="*/ 2147483646 w 524"/>
              <a:gd name="T75" fmla="*/ 2147483646 h 422"/>
              <a:gd name="T76" fmla="*/ 2147483646 w 524"/>
              <a:gd name="T77" fmla="*/ 2147483646 h 422"/>
              <a:gd name="T78" fmla="*/ 2147483646 w 524"/>
              <a:gd name="T79" fmla="*/ 2147483646 h 422"/>
              <a:gd name="T80" fmla="*/ 2147483646 w 524"/>
              <a:gd name="T81" fmla="*/ 2147483646 h 422"/>
              <a:gd name="T82" fmla="*/ 2147483646 w 524"/>
              <a:gd name="T83" fmla="*/ 2147483646 h 422"/>
              <a:gd name="T84" fmla="*/ 2147483646 w 524"/>
              <a:gd name="T85" fmla="*/ 2147483646 h 422"/>
              <a:gd name="T86" fmla="*/ 2147483646 w 524"/>
              <a:gd name="T87" fmla="*/ 2147483646 h 422"/>
              <a:gd name="T88" fmla="*/ 2147483646 w 524"/>
              <a:gd name="T89" fmla="*/ 2147483646 h 422"/>
              <a:gd name="T90" fmla="*/ 2147483646 w 524"/>
              <a:gd name="T91" fmla="*/ 2147483646 h 422"/>
              <a:gd name="T92" fmla="*/ 2147483646 w 524"/>
              <a:gd name="T93" fmla="*/ 2147483646 h 422"/>
              <a:gd name="T94" fmla="*/ 2147483646 w 524"/>
              <a:gd name="T95" fmla="*/ 2147483646 h 422"/>
              <a:gd name="T96" fmla="*/ 2147483646 w 524"/>
              <a:gd name="T97" fmla="*/ 2147483646 h 422"/>
              <a:gd name="T98" fmla="*/ 2147483646 w 524"/>
              <a:gd name="T99" fmla="*/ 2147483646 h 422"/>
              <a:gd name="T100" fmla="*/ 2147483646 w 524"/>
              <a:gd name="T101" fmla="*/ 2147483646 h 422"/>
              <a:gd name="T102" fmla="*/ 2147483646 w 524"/>
              <a:gd name="T103" fmla="*/ 2147483646 h 422"/>
              <a:gd name="T104" fmla="*/ 2147483646 w 524"/>
              <a:gd name="T105" fmla="*/ 2147483646 h 422"/>
              <a:gd name="T106" fmla="*/ 2147483646 w 524"/>
              <a:gd name="T107" fmla="*/ 2147483646 h 422"/>
              <a:gd name="T108" fmla="*/ 2147483646 w 524"/>
              <a:gd name="T109" fmla="*/ 2147483646 h 422"/>
              <a:gd name="T110" fmla="*/ 2147483646 w 524"/>
              <a:gd name="T111" fmla="*/ 2147483646 h 422"/>
              <a:gd name="T112" fmla="*/ 2147483646 w 524"/>
              <a:gd name="T113" fmla="*/ 2147483646 h 422"/>
              <a:gd name="T114" fmla="*/ 2147483646 w 524"/>
              <a:gd name="T115" fmla="*/ 2147483646 h 422"/>
              <a:gd name="T116" fmla="*/ 2147483646 w 524"/>
              <a:gd name="T117" fmla="*/ 2147483646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6" y="191"/>
                  <a:pt x="441" y="189"/>
                </a:cubicBezTo>
                <a:cubicBezTo>
                  <a:pt x="435" y="186"/>
                  <a:pt x="435" y="186"/>
                  <a:pt x="435" y="186"/>
                </a:cubicBezTo>
                <a:cubicBezTo>
                  <a:pt x="446" y="173"/>
                  <a:pt x="446" y="173"/>
                  <a:pt x="446" y="173"/>
                </a:cubicBezTo>
                <a:cubicBezTo>
                  <a:pt x="448" y="171"/>
                  <a:pt x="449" y="168"/>
                  <a:pt x="449" y="165"/>
                </a:cubicBezTo>
                <a:cubicBezTo>
                  <a:pt x="449" y="160"/>
                  <a:pt x="446" y="156"/>
                  <a:pt x="441" y="154"/>
                </a:cubicBezTo>
                <a:cubicBezTo>
                  <a:pt x="435" y="151"/>
                  <a:pt x="435" y="151"/>
                  <a:pt x="435" y="151"/>
                </a:cubicBezTo>
                <a:cubicBezTo>
                  <a:pt x="446" y="138"/>
                  <a:pt x="446" y="138"/>
                  <a:pt x="446" y="138"/>
                </a:cubicBezTo>
                <a:cubicBezTo>
                  <a:pt x="448" y="136"/>
                  <a:pt x="449" y="133"/>
                  <a:pt x="449" y="130"/>
                </a:cubicBezTo>
                <a:cubicBezTo>
                  <a:pt x="449" y="125"/>
                  <a:pt x="445" y="120"/>
                  <a:pt x="441" y="119"/>
                </a:cubicBezTo>
                <a:cubicBezTo>
                  <a:pt x="340" y="80"/>
                  <a:pt x="340" y="80"/>
                  <a:pt x="340" y="80"/>
                </a:cubicBezTo>
                <a:cubicBezTo>
                  <a:pt x="338" y="80"/>
                  <a:pt x="336" y="79"/>
                  <a:pt x="334" y="79"/>
                </a:cubicBezTo>
                <a:cubicBezTo>
                  <a:pt x="330" y="80"/>
                  <a:pt x="325" y="81"/>
                  <a:pt x="322" y="85"/>
                </a:cubicBezTo>
                <a:cubicBezTo>
                  <a:pt x="290" y="122"/>
                  <a:pt x="290" y="122"/>
                  <a:pt x="290" y="122"/>
                </a:cubicBezTo>
                <a:cubicBezTo>
                  <a:pt x="288" y="124"/>
                  <a:pt x="287" y="127"/>
                  <a:pt x="287" y="130"/>
                </a:cubicBezTo>
                <a:cubicBezTo>
                  <a:pt x="287" y="135"/>
                  <a:pt x="291" y="140"/>
                  <a:pt x="295" y="141"/>
                </a:cubicBezTo>
                <a:cubicBezTo>
                  <a:pt x="303" y="144"/>
                  <a:pt x="303" y="144"/>
                  <a:pt x="303" y="144"/>
                </a:cubicBezTo>
                <a:cubicBezTo>
                  <a:pt x="290" y="157"/>
                  <a:pt x="290" y="157"/>
                  <a:pt x="290" y="157"/>
                </a:cubicBezTo>
                <a:cubicBezTo>
                  <a:pt x="290" y="157"/>
                  <a:pt x="290" y="157"/>
                  <a:pt x="290" y="157"/>
                </a:cubicBezTo>
                <a:cubicBezTo>
                  <a:pt x="288" y="159"/>
                  <a:pt x="287" y="162"/>
                  <a:pt x="287" y="165"/>
                </a:cubicBezTo>
                <a:cubicBezTo>
                  <a:pt x="287" y="170"/>
                  <a:pt x="291" y="175"/>
                  <a:pt x="295" y="176"/>
                </a:cubicBezTo>
                <a:cubicBezTo>
                  <a:pt x="303" y="179"/>
                  <a:pt x="303" y="179"/>
                  <a:pt x="303" y="179"/>
                </a:cubicBezTo>
                <a:cubicBezTo>
                  <a:pt x="290" y="192"/>
                  <a:pt x="290" y="192"/>
                  <a:pt x="290" y="192"/>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235"/>
                </a:moveTo>
                <a:cubicBezTo>
                  <a:pt x="402" y="235"/>
                  <a:pt x="402" y="235"/>
                  <a:pt x="402" y="235"/>
                </a:cubicBezTo>
                <a:cubicBezTo>
                  <a:pt x="306" y="199"/>
                  <a:pt x="306" y="199"/>
                  <a:pt x="306" y="199"/>
                </a:cubicBezTo>
                <a:cubicBezTo>
                  <a:pt x="319" y="186"/>
                  <a:pt x="319" y="186"/>
                  <a:pt x="319" y="186"/>
                </a:cubicBezTo>
                <a:cubicBezTo>
                  <a:pt x="396" y="215"/>
                  <a:pt x="396" y="215"/>
                  <a:pt x="396" y="215"/>
                </a:cubicBezTo>
                <a:cubicBezTo>
                  <a:pt x="398" y="215"/>
                  <a:pt x="400" y="216"/>
                  <a:pt x="401" y="216"/>
                </a:cubicBezTo>
                <a:cubicBezTo>
                  <a:pt x="406" y="216"/>
                  <a:pt x="411" y="214"/>
                  <a:pt x="414" y="210"/>
                </a:cubicBezTo>
                <a:cubicBezTo>
                  <a:pt x="424" y="198"/>
                  <a:pt x="424" y="198"/>
                  <a:pt x="424" y="198"/>
                </a:cubicBezTo>
                <a:cubicBezTo>
                  <a:pt x="430" y="202"/>
                  <a:pt x="430" y="202"/>
                  <a:pt x="430" y="202"/>
                </a:cubicBezTo>
                <a:lnTo>
                  <a:pt x="402" y="235"/>
                </a:lnTo>
                <a:close/>
                <a:moveTo>
                  <a:pt x="430" y="237"/>
                </a:moveTo>
                <a:cubicBezTo>
                  <a:pt x="402" y="270"/>
                  <a:pt x="402" y="270"/>
                  <a:pt x="402" y="270"/>
                </a:cubicBez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24" y="234"/>
                  <a:pt x="424" y="234"/>
                  <a:pt x="424" y="234"/>
                </a:cubicBezTo>
                <a:lnTo>
                  <a:pt x="430" y="237"/>
                </a:lnTo>
                <a:close/>
                <a:moveTo>
                  <a:pt x="402" y="199"/>
                </a:moveTo>
                <a:cubicBezTo>
                  <a:pt x="402" y="199"/>
                  <a:pt x="402" y="200"/>
                  <a:pt x="402" y="200"/>
                </a:cubicBezTo>
                <a:cubicBezTo>
                  <a:pt x="306" y="164"/>
                  <a:pt x="306" y="164"/>
                  <a:pt x="306" y="164"/>
                </a:cubicBezTo>
                <a:cubicBezTo>
                  <a:pt x="319" y="150"/>
                  <a:pt x="319" y="150"/>
                  <a:pt x="319" y="150"/>
                </a:cubicBezTo>
                <a:cubicBezTo>
                  <a:pt x="396" y="179"/>
                  <a:pt x="396" y="179"/>
                  <a:pt x="396" y="179"/>
                </a:cubicBezTo>
                <a:cubicBezTo>
                  <a:pt x="398" y="180"/>
                  <a:pt x="400" y="180"/>
                  <a:pt x="401" y="180"/>
                </a:cubicBezTo>
                <a:cubicBezTo>
                  <a:pt x="406" y="180"/>
                  <a:pt x="411" y="179"/>
                  <a:pt x="414" y="175"/>
                </a:cubicBezTo>
                <a:cubicBezTo>
                  <a:pt x="408" y="169"/>
                  <a:pt x="408" y="169"/>
                  <a:pt x="408" y="169"/>
                </a:cubicBezTo>
                <a:cubicBezTo>
                  <a:pt x="414" y="175"/>
                  <a:pt x="414" y="175"/>
                  <a:pt x="414" y="175"/>
                </a:cubicBezTo>
                <a:cubicBezTo>
                  <a:pt x="424" y="163"/>
                  <a:pt x="424" y="163"/>
                  <a:pt x="424" y="163"/>
                </a:cubicBezTo>
                <a:cubicBezTo>
                  <a:pt x="430" y="166"/>
                  <a:pt x="430" y="166"/>
                  <a:pt x="430" y="166"/>
                </a:cubicBezTo>
                <a:lnTo>
                  <a:pt x="402" y="199"/>
                </a:lnTo>
                <a:close/>
                <a:moveTo>
                  <a:pt x="334" y="96"/>
                </a:moveTo>
                <a:cubicBezTo>
                  <a:pt x="334" y="96"/>
                  <a:pt x="334" y="96"/>
                  <a:pt x="334" y="95"/>
                </a:cubicBezTo>
                <a:cubicBezTo>
                  <a:pt x="430" y="132"/>
                  <a:pt x="430" y="132"/>
                  <a:pt x="430" y="132"/>
                </a:cubicBezTo>
                <a:cubicBezTo>
                  <a:pt x="402" y="164"/>
                  <a:pt x="402" y="164"/>
                  <a:pt x="402" y="164"/>
                </a:cubicBezTo>
                <a:cubicBezTo>
                  <a:pt x="402" y="164"/>
                  <a:pt x="402" y="164"/>
                  <a:pt x="402" y="164"/>
                </a:cubicBezTo>
                <a:cubicBezTo>
                  <a:pt x="306" y="128"/>
                  <a:pt x="306" y="128"/>
                  <a:pt x="306" y="128"/>
                </a:cubicBezTo>
                <a:lnTo>
                  <a:pt x="334" y="96"/>
                </a:lnTo>
                <a:close/>
                <a:moveTo>
                  <a:pt x="319" y="256"/>
                </a:move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306" y="269"/>
                  <a:pt x="306" y="269"/>
                  <a:pt x="306" y="269"/>
                </a:cubicBezTo>
                <a:lnTo>
                  <a:pt x="319" y="25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101" y="111"/>
                </a:moveTo>
                <a:cubicBezTo>
                  <a:pt x="101" y="111"/>
                  <a:pt x="102" y="111"/>
                  <a:pt x="103" y="111"/>
                </a:cubicBezTo>
                <a:cubicBezTo>
                  <a:pt x="414" y="37"/>
                  <a:pt x="414" y="37"/>
                  <a:pt x="414" y="37"/>
                </a:cubicBezTo>
                <a:cubicBezTo>
                  <a:pt x="416" y="46"/>
                  <a:pt x="416" y="46"/>
                  <a:pt x="416" y="46"/>
                </a:cubicBezTo>
                <a:cubicBezTo>
                  <a:pt x="417" y="48"/>
                  <a:pt x="419" y="51"/>
                  <a:pt x="421" y="51"/>
                </a:cubicBezTo>
                <a:cubicBezTo>
                  <a:pt x="422" y="52"/>
                  <a:pt x="423" y="52"/>
                  <a:pt x="424" y="52"/>
                </a:cubicBezTo>
                <a:cubicBezTo>
                  <a:pt x="426" y="52"/>
                  <a:pt x="427" y="52"/>
                  <a:pt x="428" y="51"/>
                </a:cubicBezTo>
                <a:cubicBezTo>
                  <a:pt x="472" y="22"/>
                  <a:pt x="472" y="22"/>
                  <a:pt x="472" y="22"/>
                </a:cubicBezTo>
                <a:cubicBezTo>
                  <a:pt x="475" y="20"/>
                  <a:pt x="477" y="17"/>
                  <a:pt x="476" y="14"/>
                </a:cubicBezTo>
                <a:cubicBezTo>
                  <a:pt x="475" y="10"/>
                  <a:pt x="472" y="8"/>
                  <a:pt x="469" y="7"/>
                </a:cubicBezTo>
                <a:cubicBezTo>
                  <a:pt x="417" y="2"/>
                  <a:pt x="417" y="2"/>
                  <a:pt x="417" y="2"/>
                </a:cubicBezTo>
                <a:cubicBezTo>
                  <a:pt x="414" y="2"/>
                  <a:pt x="412" y="3"/>
                  <a:pt x="410" y="5"/>
                </a:cubicBezTo>
                <a:cubicBezTo>
                  <a:pt x="408" y="7"/>
                  <a:pt x="408" y="10"/>
                  <a:pt x="408" y="12"/>
                </a:cubicBezTo>
                <a:cubicBezTo>
                  <a:pt x="410" y="21"/>
                  <a:pt x="410" y="21"/>
                  <a:pt x="410" y="21"/>
                </a:cubicBezTo>
                <a:cubicBezTo>
                  <a:pt x="99" y="95"/>
                  <a:pt x="99" y="95"/>
                  <a:pt x="99" y="95"/>
                </a:cubicBezTo>
                <a:cubicBezTo>
                  <a:pt x="95" y="96"/>
                  <a:pt x="92" y="101"/>
                  <a:pt x="93" y="105"/>
                </a:cubicBezTo>
                <a:cubicBezTo>
                  <a:pt x="94" y="109"/>
                  <a:pt x="97" y="111"/>
                  <a:pt x="101" y="111"/>
                </a:cubicBezTo>
                <a:close/>
                <a:moveTo>
                  <a:pt x="379" y="125"/>
                </a:moveTo>
                <a:cubicBezTo>
                  <a:pt x="379" y="125"/>
                  <a:pt x="379" y="124"/>
                  <a:pt x="377" y="123"/>
                </a:cubicBezTo>
                <a:cubicBezTo>
                  <a:pt x="378" y="122"/>
                  <a:pt x="378" y="120"/>
                  <a:pt x="377" y="119"/>
                </a:cubicBezTo>
                <a:cubicBezTo>
                  <a:pt x="376" y="118"/>
                  <a:pt x="375" y="118"/>
                  <a:pt x="374" y="119"/>
                </a:cubicBezTo>
                <a:cubicBezTo>
                  <a:pt x="373" y="120"/>
                  <a:pt x="373" y="120"/>
                  <a:pt x="373" y="120"/>
                </a:cubicBezTo>
                <a:cubicBezTo>
                  <a:pt x="372" y="120"/>
                  <a:pt x="371" y="120"/>
                  <a:pt x="370" y="120"/>
                </a:cubicBezTo>
                <a:cubicBezTo>
                  <a:pt x="369" y="120"/>
                  <a:pt x="366" y="121"/>
                  <a:pt x="364" y="123"/>
                </a:cubicBezTo>
                <a:cubicBezTo>
                  <a:pt x="363" y="124"/>
                  <a:pt x="363" y="125"/>
                  <a:pt x="363" y="126"/>
                </a:cubicBezTo>
                <a:cubicBezTo>
                  <a:pt x="363" y="128"/>
                  <a:pt x="364" y="130"/>
                  <a:pt x="365" y="130"/>
                </a:cubicBezTo>
                <a:cubicBezTo>
                  <a:pt x="366" y="131"/>
                  <a:pt x="366" y="132"/>
                  <a:pt x="367" y="132"/>
                </a:cubicBezTo>
                <a:cubicBezTo>
                  <a:pt x="367" y="132"/>
                  <a:pt x="368" y="133"/>
                  <a:pt x="368" y="133"/>
                </a:cubicBezTo>
                <a:cubicBezTo>
                  <a:pt x="369" y="133"/>
                  <a:pt x="369" y="133"/>
                  <a:pt x="369" y="133"/>
                </a:cubicBezTo>
                <a:cubicBezTo>
                  <a:pt x="369" y="133"/>
                  <a:pt x="369" y="133"/>
                  <a:pt x="369" y="133"/>
                </a:cubicBezTo>
                <a:cubicBezTo>
                  <a:pt x="369" y="133"/>
                  <a:pt x="369" y="133"/>
                  <a:pt x="369" y="133"/>
                </a:cubicBezTo>
                <a:cubicBezTo>
                  <a:pt x="369" y="133"/>
                  <a:pt x="369" y="134"/>
                  <a:pt x="368" y="134"/>
                </a:cubicBezTo>
                <a:cubicBezTo>
                  <a:pt x="368" y="135"/>
                  <a:pt x="367" y="135"/>
                  <a:pt x="366" y="135"/>
                </a:cubicBezTo>
                <a:cubicBezTo>
                  <a:pt x="365" y="135"/>
                  <a:pt x="364" y="135"/>
                  <a:pt x="364" y="135"/>
                </a:cubicBezTo>
                <a:cubicBezTo>
                  <a:pt x="363" y="135"/>
                  <a:pt x="363" y="135"/>
                  <a:pt x="363" y="134"/>
                </a:cubicBezTo>
                <a:cubicBezTo>
                  <a:pt x="363" y="134"/>
                  <a:pt x="363" y="134"/>
                  <a:pt x="363" y="134"/>
                </a:cubicBezTo>
                <a:cubicBezTo>
                  <a:pt x="363" y="134"/>
                  <a:pt x="363" y="134"/>
                  <a:pt x="363" y="134"/>
                </a:cubicBezTo>
                <a:cubicBezTo>
                  <a:pt x="362" y="134"/>
                  <a:pt x="362" y="134"/>
                  <a:pt x="361" y="133"/>
                </a:cubicBezTo>
                <a:cubicBezTo>
                  <a:pt x="361" y="133"/>
                  <a:pt x="361" y="132"/>
                  <a:pt x="361" y="132"/>
                </a:cubicBezTo>
                <a:cubicBezTo>
                  <a:pt x="361" y="132"/>
                  <a:pt x="361" y="132"/>
                  <a:pt x="361" y="132"/>
                </a:cubicBezTo>
                <a:cubicBezTo>
                  <a:pt x="360" y="131"/>
                  <a:pt x="359" y="130"/>
                  <a:pt x="357" y="131"/>
                </a:cubicBezTo>
                <a:cubicBezTo>
                  <a:pt x="356" y="131"/>
                  <a:pt x="356" y="133"/>
                  <a:pt x="356" y="134"/>
                </a:cubicBezTo>
                <a:cubicBezTo>
                  <a:pt x="356" y="134"/>
                  <a:pt x="357" y="136"/>
                  <a:pt x="358" y="137"/>
                </a:cubicBezTo>
                <a:cubicBezTo>
                  <a:pt x="358" y="137"/>
                  <a:pt x="358" y="137"/>
                  <a:pt x="358" y="137"/>
                </a:cubicBezTo>
                <a:cubicBezTo>
                  <a:pt x="357" y="138"/>
                  <a:pt x="358" y="140"/>
                  <a:pt x="359" y="141"/>
                </a:cubicBezTo>
                <a:cubicBezTo>
                  <a:pt x="359" y="141"/>
                  <a:pt x="360" y="141"/>
                  <a:pt x="360" y="141"/>
                </a:cubicBezTo>
                <a:cubicBezTo>
                  <a:pt x="361" y="141"/>
                  <a:pt x="362" y="141"/>
                  <a:pt x="362" y="141"/>
                </a:cubicBezTo>
                <a:cubicBezTo>
                  <a:pt x="363" y="139"/>
                  <a:pt x="363" y="139"/>
                  <a:pt x="363" y="139"/>
                </a:cubicBezTo>
                <a:cubicBezTo>
                  <a:pt x="364" y="140"/>
                  <a:pt x="365" y="140"/>
                  <a:pt x="366" y="140"/>
                </a:cubicBezTo>
                <a:cubicBezTo>
                  <a:pt x="366" y="140"/>
                  <a:pt x="366" y="140"/>
                  <a:pt x="366" y="140"/>
                </a:cubicBezTo>
                <a:cubicBezTo>
                  <a:pt x="368" y="140"/>
                  <a:pt x="370" y="139"/>
                  <a:pt x="372" y="137"/>
                </a:cubicBezTo>
                <a:cubicBezTo>
                  <a:pt x="373" y="136"/>
                  <a:pt x="373" y="136"/>
                  <a:pt x="373" y="135"/>
                </a:cubicBezTo>
                <a:cubicBezTo>
                  <a:pt x="373" y="134"/>
                  <a:pt x="374" y="134"/>
                  <a:pt x="374" y="133"/>
                </a:cubicBezTo>
                <a:cubicBezTo>
                  <a:pt x="374" y="132"/>
                  <a:pt x="373" y="130"/>
                  <a:pt x="372" y="129"/>
                </a:cubicBezTo>
                <a:cubicBezTo>
                  <a:pt x="371" y="129"/>
                  <a:pt x="370" y="128"/>
                  <a:pt x="370" y="128"/>
                </a:cubicBezTo>
                <a:cubicBezTo>
                  <a:pt x="369" y="127"/>
                  <a:pt x="368" y="127"/>
                  <a:pt x="368" y="127"/>
                </a:cubicBezTo>
                <a:cubicBezTo>
                  <a:pt x="368" y="127"/>
                  <a:pt x="368" y="126"/>
                  <a:pt x="368" y="126"/>
                </a:cubicBezTo>
                <a:cubicBezTo>
                  <a:pt x="368" y="126"/>
                  <a:pt x="368" y="126"/>
                  <a:pt x="368" y="126"/>
                </a:cubicBezTo>
                <a:cubicBezTo>
                  <a:pt x="368" y="125"/>
                  <a:pt x="369" y="125"/>
                  <a:pt x="370" y="125"/>
                </a:cubicBezTo>
                <a:cubicBezTo>
                  <a:pt x="371" y="125"/>
                  <a:pt x="372" y="125"/>
                  <a:pt x="372" y="125"/>
                </a:cubicBezTo>
                <a:cubicBezTo>
                  <a:pt x="372" y="125"/>
                  <a:pt x="372" y="125"/>
                  <a:pt x="373" y="125"/>
                </a:cubicBezTo>
                <a:cubicBezTo>
                  <a:pt x="373" y="125"/>
                  <a:pt x="373" y="125"/>
                  <a:pt x="373" y="125"/>
                </a:cubicBezTo>
                <a:cubicBezTo>
                  <a:pt x="373" y="125"/>
                  <a:pt x="373" y="125"/>
                  <a:pt x="373" y="125"/>
                </a:cubicBezTo>
                <a:cubicBezTo>
                  <a:pt x="374" y="126"/>
                  <a:pt x="374" y="126"/>
                  <a:pt x="375" y="126"/>
                </a:cubicBezTo>
                <a:cubicBezTo>
                  <a:pt x="375" y="127"/>
                  <a:pt x="375" y="127"/>
                  <a:pt x="375" y="127"/>
                </a:cubicBezTo>
                <a:cubicBezTo>
                  <a:pt x="375" y="128"/>
                  <a:pt x="376" y="128"/>
                  <a:pt x="378" y="128"/>
                </a:cubicBezTo>
                <a:cubicBezTo>
                  <a:pt x="379" y="128"/>
                  <a:pt x="380" y="126"/>
                  <a:pt x="379" y="125"/>
                </a:cubicBezTo>
                <a:close/>
                <a:moveTo>
                  <a:pt x="185" y="196"/>
                </a:moveTo>
                <a:cubicBezTo>
                  <a:pt x="185" y="195"/>
                  <a:pt x="184" y="194"/>
                  <a:pt x="183" y="193"/>
                </a:cubicBezTo>
                <a:cubicBezTo>
                  <a:pt x="184" y="192"/>
                  <a:pt x="184" y="191"/>
                  <a:pt x="183" y="190"/>
                </a:cubicBezTo>
                <a:cubicBezTo>
                  <a:pt x="182" y="189"/>
                  <a:pt x="180" y="189"/>
                  <a:pt x="179" y="190"/>
                </a:cubicBezTo>
                <a:cubicBezTo>
                  <a:pt x="179" y="191"/>
                  <a:pt x="179" y="191"/>
                  <a:pt x="179" y="191"/>
                </a:cubicBezTo>
                <a:cubicBezTo>
                  <a:pt x="178" y="191"/>
                  <a:pt x="177" y="191"/>
                  <a:pt x="176" y="191"/>
                </a:cubicBezTo>
                <a:cubicBezTo>
                  <a:pt x="174" y="191"/>
                  <a:pt x="172" y="191"/>
                  <a:pt x="170" y="193"/>
                </a:cubicBezTo>
                <a:cubicBezTo>
                  <a:pt x="169" y="194"/>
                  <a:pt x="168" y="196"/>
                  <a:pt x="168" y="197"/>
                </a:cubicBezTo>
                <a:cubicBezTo>
                  <a:pt x="168" y="199"/>
                  <a:pt x="170" y="200"/>
                  <a:pt x="170" y="201"/>
                </a:cubicBezTo>
                <a:cubicBezTo>
                  <a:pt x="171" y="202"/>
                  <a:pt x="172" y="202"/>
                  <a:pt x="173" y="202"/>
                </a:cubicBezTo>
                <a:cubicBezTo>
                  <a:pt x="173" y="203"/>
                  <a:pt x="174" y="203"/>
                  <a:pt x="174" y="203"/>
                </a:cubicBezTo>
                <a:cubicBezTo>
                  <a:pt x="174" y="204"/>
                  <a:pt x="174" y="204"/>
                  <a:pt x="174" y="204"/>
                </a:cubicBezTo>
                <a:cubicBezTo>
                  <a:pt x="174" y="204"/>
                  <a:pt x="174" y="204"/>
                  <a:pt x="174" y="204"/>
                </a:cubicBezTo>
                <a:cubicBezTo>
                  <a:pt x="174" y="204"/>
                  <a:pt x="174" y="204"/>
                  <a:pt x="174" y="204"/>
                </a:cubicBezTo>
                <a:cubicBezTo>
                  <a:pt x="174" y="204"/>
                  <a:pt x="174" y="204"/>
                  <a:pt x="174" y="204"/>
                </a:cubicBezTo>
                <a:cubicBezTo>
                  <a:pt x="173" y="205"/>
                  <a:pt x="173" y="205"/>
                  <a:pt x="171" y="205"/>
                </a:cubicBezTo>
                <a:cubicBezTo>
                  <a:pt x="171" y="205"/>
                  <a:pt x="170" y="205"/>
                  <a:pt x="170" y="205"/>
                </a:cubicBezTo>
                <a:cubicBezTo>
                  <a:pt x="169" y="205"/>
                  <a:pt x="169" y="205"/>
                  <a:pt x="169" y="205"/>
                </a:cubicBezTo>
                <a:cubicBezTo>
                  <a:pt x="169" y="205"/>
                  <a:pt x="169" y="205"/>
                  <a:pt x="169" y="205"/>
                </a:cubicBezTo>
                <a:cubicBezTo>
                  <a:pt x="169" y="205"/>
                  <a:pt x="169" y="205"/>
                  <a:pt x="169" y="205"/>
                </a:cubicBezTo>
                <a:cubicBezTo>
                  <a:pt x="168" y="205"/>
                  <a:pt x="167" y="204"/>
                  <a:pt x="167" y="203"/>
                </a:cubicBezTo>
                <a:cubicBezTo>
                  <a:pt x="167" y="203"/>
                  <a:pt x="167" y="203"/>
                  <a:pt x="166" y="203"/>
                </a:cubicBezTo>
                <a:cubicBezTo>
                  <a:pt x="166" y="203"/>
                  <a:pt x="166" y="203"/>
                  <a:pt x="166" y="203"/>
                </a:cubicBezTo>
                <a:cubicBezTo>
                  <a:pt x="166" y="201"/>
                  <a:pt x="164" y="201"/>
                  <a:pt x="163" y="201"/>
                </a:cubicBezTo>
                <a:cubicBezTo>
                  <a:pt x="162" y="202"/>
                  <a:pt x="161" y="203"/>
                  <a:pt x="162" y="204"/>
                </a:cubicBezTo>
                <a:cubicBezTo>
                  <a:pt x="162" y="204"/>
                  <a:pt x="162" y="206"/>
                  <a:pt x="164" y="208"/>
                </a:cubicBezTo>
                <a:cubicBezTo>
                  <a:pt x="164" y="208"/>
                  <a:pt x="164" y="208"/>
                  <a:pt x="164" y="208"/>
                </a:cubicBezTo>
                <a:cubicBezTo>
                  <a:pt x="163" y="209"/>
                  <a:pt x="163" y="210"/>
                  <a:pt x="164" y="211"/>
                </a:cubicBezTo>
                <a:cubicBezTo>
                  <a:pt x="165" y="212"/>
                  <a:pt x="165" y="212"/>
                  <a:pt x="166" y="212"/>
                </a:cubicBezTo>
                <a:cubicBezTo>
                  <a:pt x="167" y="212"/>
                  <a:pt x="167" y="212"/>
                  <a:pt x="168" y="211"/>
                </a:cubicBezTo>
                <a:cubicBezTo>
                  <a:pt x="169" y="210"/>
                  <a:pt x="169" y="210"/>
                  <a:pt x="169" y="210"/>
                </a:cubicBezTo>
                <a:cubicBezTo>
                  <a:pt x="169" y="210"/>
                  <a:pt x="170" y="210"/>
                  <a:pt x="171" y="210"/>
                </a:cubicBezTo>
                <a:cubicBezTo>
                  <a:pt x="172" y="210"/>
                  <a:pt x="172" y="210"/>
                  <a:pt x="172" y="210"/>
                </a:cubicBezTo>
                <a:cubicBezTo>
                  <a:pt x="173" y="210"/>
                  <a:pt x="176" y="210"/>
                  <a:pt x="178" y="208"/>
                </a:cubicBezTo>
                <a:cubicBezTo>
                  <a:pt x="178" y="207"/>
                  <a:pt x="179" y="206"/>
                  <a:pt x="179" y="205"/>
                </a:cubicBezTo>
                <a:cubicBezTo>
                  <a:pt x="179" y="205"/>
                  <a:pt x="179" y="204"/>
                  <a:pt x="179" y="204"/>
                </a:cubicBezTo>
                <a:cubicBezTo>
                  <a:pt x="179" y="202"/>
                  <a:pt x="178" y="201"/>
                  <a:pt x="178" y="200"/>
                </a:cubicBezTo>
                <a:cubicBezTo>
                  <a:pt x="177" y="199"/>
                  <a:pt x="176" y="199"/>
                  <a:pt x="175" y="198"/>
                </a:cubicBezTo>
                <a:cubicBezTo>
                  <a:pt x="175" y="198"/>
                  <a:pt x="174" y="197"/>
                  <a:pt x="174" y="197"/>
                </a:cubicBezTo>
                <a:cubicBezTo>
                  <a:pt x="174" y="197"/>
                  <a:pt x="173" y="197"/>
                  <a:pt x="173" y="197"/>
                </a:cubicBezTo>
                <a:cubicBezTo>
                  <a:pt x="173" y="197"/>
                  <a:pt x="174" y="197"/>
                  <a:pt x="174" y="196"/>
                </a:cubicBezTo>
                <a:cubicBezTo>
                  <a:pt x="174" y="196"/>
                  <a:pt x="175" y="196"/>
                  <a:pt x="176" y="196"/>
                </a:cubicBezTo>
                <a:cubicBezTo>
                  <a:pt x="177" y="196"/>
                  <a:pt x="177" y="196"/>
                  <a:pt x="178" y="196"/>
                </a:cubicBezTo>
                <a:cubicBezTo>
                  <a:pt x="178" y="196"/>
                  <a:pt x="178" y="196"/>
                  <a:pt x="178" y="196"/>
                </a:cubicBezTo>
                <a:cubicBezTo>
                  <a:pt x="178" y="196"/>
                  <a:pt x="178" y="196"/>
                  <a:pt x="178" y="196"/>
                </a:cubicBezTo>
                <a:cubicBezTo>
                  <a:pt x="178" y="196"/>
                  <a:pt x="178" y="196"/>
                  <a:pt x="178" y="196"/>
                </a:cubicBezTo>
                <a:cubicBezTo>
                  <a:pt x="180" y="196"/>
                  <a:pt x="180" y="197"/>
                  <a:pt x="180" y="197"/>
                </a:cubicBezTo>
                <a:cubicBezTo>
                  <a:pt x="180" y="197"/>
                  <a:pt x="180" y="197"/>
                  <a:pt x="180" y="197"/>
                </a:cubicBezTo>
                <a:cubicBezTo>
                  <a:pt x="181" y="198"/>
                  <a:pt x="182" y="199"/>
                  <a:pt x="183" y="199"/>
                </a:cubicBezTo>
                <a:cubicBezTo>
                  <a:pt x="185" y="198"/>
                  <a:pt x="185" y="197"/>
                  <a:pt x="185" y="196"/>
                </a:cubicBezTo>
                <a:close/>
                <a:moveTo>
                  <a:pt x="101" y="212"/>
                </a:move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1"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1"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1" y="317"/>
                </a:cubicBezTo>
                <a:cubicBezTo>
                  <a:pt x="202" y="356"/>
                  <a:pt x="202" y="356"/>
                  <a:pt x="202" y="356"/>
                </a:cubicBezTo>
                <a:cubicBezTo>
                  <a:pt x="204" y="356"/>
                  <a:pt x="206"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145" y="151"/>
                  <a:pt x="145" y="151"/>
                  <a:pt x="145" y="151"/>
                </a:cubicBezTo>
                <a:cubicBezTo>
                  <a:pt x="144" y="150"/>
                  <a:pt x="142" y="150"/>
                  <a:pt x="140" y="150"/>
                </a:cubicBezTo>
                <a:cubicBezTo>
                  <a:pt x="135" y="150"/>
                  <a:pt x="131" y="152"/>
                  <a:pt x="127" y="156"/>
                </a:cubicBezTo>
                <a:cubicBezTo>
                  <a:pt x="96" y="192"/>
                  <a:pt x="96" y="192"/>
                  <a:pt x="96" y="192"/>
                </a:cubicBezTo>
                <a:cubicBezTo>
                  <a:pt x="94" y="195"/>
                  <a:pt x="93" y="197"/>
                  <a:pt x="93" y="201"/>
                </a:cubicBezTo>
                <a:cubicBezTo>
                  <a:pt x="93" y="206"/>
                  <a:pt x="96" y="210"/>
                  <a:pt x="101" y="212"/>
                </a:cubicBezTo>
                <a:close/>
                <a:moveTo>
                  <a:pt x="208" y="340"/>
                </a:moveTo>
                <a:cubicBezTo>
                  <a:pt x="208" y="340"/>
                  <a:pt x="208" y="340"/>
                  <a:pt x="208" y="340"/>
                </a:cubicBezTo>
                <a:cubicBezTo>
                  <a:pt x="208" y="340"/>
                  <a:pt x="208" y="341"/>
                  <a:pt x="207" y="341"/>
                </a:cubicBezTo>
                <a:cubicBezTo>
                  <a:pt x="112" y="305"/>
                  <a:pt x="112" y="305"/>
                  <a:pt x="112" y="305"/>
                </a:cubicBezTo>
                <a:cubicBezTo>
                  <a:pt x="125" y="291"/>
                  <a:pt x="125" y="291"/>
                  <a:pt x="125" y="291"/>
                </a:cubicBezTo>
                <a:cubicBezTo>
                  <a:pt x="202" y="320"/>
                  <a:pt x="202" y="320"/>
                  <a:pt x="202" y="320"/>
                </a:cubicBezTo>
                <a:cubicBezTo>
                  <a:pt x="204" y="321"/>
                  <a:pt x="206"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8" y="305"/>
                  <a:pt x="207" y="305"/>
                </a:cubicBezTo>
                <a:cubicBezTo>
                  <a:pt x="112" y="269"/>
                  <a:pt x="112" y="269"/>
                  <a:pt x="112" y="269"/>
                </a:cubicBezTo>
                <a:cubicBezTo>
                  <a:pt x="125" y="256"/>
                  <a:pt x="125" y="256"/>
                  <a:pt x="125" y="256"/>
                </a:cubicBezTo>
                <a:cubicBezTo>
                  <a:pt x="202" y="285"/>
                  <a:pt x="202" y="285"/>
                  <a:pt x="202" y="285"/>
                </a:cubicBezTo>
                <a:cubicBezTo>
                  <a:pt x="204" y="286"/>
                  <a:pt x="206"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7" y="270"/>
                </a:cubicBezTo>
                <a:cubicBezTo>
                  <a:pt x="112" y="234"/>
                  <a:pt x="112" y="234"/>
                  <a:pt x="112" y="234"/>
                </a:cubicBezTo>
                <a:cubicBezTo>
                  <a:pt x="125" y="221"/>
                  <a:pt x="125" y="221"/>
                  <a:pt x="125" y="221"/>
                </a:cubicBezTo>
                <a:cubicBezTo>
                  <a:pt x="202" y="250"/>
                  <a:pt x="202" y="250"/>
                  <a:pt x="202" y="250"/>
                </a:cubicBezTo>
                <a:cubicBezTo>
                  <a:pt x="204" y="251"/>
                  <a:pt x="206" y="251"/>
                  <a:pt x="207" y="251"/>
                </a:cubicBezTo>
                <a:cubicBezTo>
                  <a:pt x="212" y="251"/>
                  <a:pt x="216" y="249"/>
                  <a:pt x="220" y="245"/>
                </a:cubicBezTo>
                <a:cubicBezTo>
                  <a:pt x="214" y="240"/>
                  <a:pt x="214" y="240"/>
                  <a:pt x="214" y="240"/>
                </a:cubicBezTo>
                <a:cubicBezTo>
                  <a:pt x="220" y="245"/>
                  <a:pt x="220" y="245"/>
                  <a:pt x="220" y="245"/>
                </a:cubicBezTo>
                <a:cubicBezTo>
                  <a:pt x="230" y="234"/>
                  <a:pt x="230" y="234"/>
                  <a:pt x="230" y="234"/>
                </a:cubicBezTo>
                <a:cubicBezTo>
                  <a:pt x="236" y="237"/>
                  <a:pt x="236" y="237"/>
                  <a:pt x="236" y="237"/>
                </a:cubicBezTo>
                <a:lnTo>
                  <a:pt x="208" y="270"/>
                </a:lnTo>
                <a:close/>
                <a:moveTo>
                  <a:pt x="139" y="166"/>
                </a:moveTo>
                <a:cubicBezTo>
                  <a:pt x="139" y="166"/>
                  <a:pt x="139" y="166"/>
                  <a:pt x="139" y="166"/>
                </a:cubicBezTo>
                <a:cubicBezTo>
                  <a:pt x="140" y="166"/>
                  <a:pt x="140" y="166"/>
                  <a:pt x="140" y="166"/>
                </a:cubicBezTo>
                <a:cubicBezTo>
                  <a:pt x="236" y="202"/>
                  <a:pt x="236" y="202"/>
                  <a:pt x="236" y="202"/>
                </a:cubicBezTo>
                <a:cubicBezTo>
                  <a:pt x="208" y="235"/>
                  <a:pt x="208" y="235"/>
                  <a:pt x="208" y="235"/>
                </a:cubicBezTo>
                <a:cubicBezTo>
                  <a:pt x="208" y="235"/>
                  <a:pt x="208" y="235"/>
                  <a:pt x="208" y="235"/>
                </a:cubicBezTo>
                <a:cubicBezTo>
                  <a:pt x="208" y="235"/>
                  <a:pt x="208" y="235"/>
                  <a:pt x="207" y="235"/>
                </a:cubicBezTo>
                <a:cubicBezTo>
                  <a:pt x="112" y="199"/>
                  <a:pt x="112" y="199"/>
                  <a:pt x="112" y="199"/>
                </a:cubicBezTo>
                <a:lnTo>
                  <a:pt x="139" y="166"/>
                </a:lnTo>
                <a:close/>
                <a:moveTo>
                  <a:pt x="386" y="388"/>
                </a:moveTo>
                <a:cubicBezTo>
                  <a:pt x="37" y="388"/>
                  <a:pt x="37" y="388"/>
                  <a:pt x="37" y="388"/>
                </a:cubicBez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9" y="65"/>
                  <a:pt x="9" y="65"/>
                  <a:pt x="9" y="65"/>
                </a:cubicBezTo>
                <a:cubicBezTo>
                  <a:pt x="18" y="65"/>
                  <a:pt x="18" y="65"/>
                  <a:pt x="18" y="65"/>
                </a:cubicBezTo>
                <a:cubicBezTo>
                  <a:pt x="18" y="385"/>
                  <a:pt x="18" y="385"/>
                  <a:pt x="18" y="385"/>
                </a:cubicBezTo>
                <a:cubicBezTo>
                  <a:pt x="18" y="396"/>
                  <a:pt x="27" y="404"/>
                  <a:pt x="37" y="404"/>
                </a:cubicBezTo>
                <a:cubicBezTo>
                  <a:pt x="37" y="404"/>
                  <a:pt x="37" y="404"/>
                  <a:pt x="37" y="404"/>
                </a:cubicBezTo>
                <a:cubicBezTo>
                  <a:pt x="386" y="404"/>
                  <a:pt x="386" y="404"/>
                  <a:pt x="386" y="404"/>
                </a:cubicBezTo>
                <a:cubicBezTo>
                  <a:pt x="391" y="404"/>
                  <a:pt x="394" y="401"/>
                  <a:pt x="394" y="396"/>
                </a:cubicBezTo>
                <a:cubicBezTo>
                  <a:pt x="394" y="392"/>
                  <a:pt x="391" y="388"/>
                  <a:pt x="386" y="3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aphicFrame>
        <p:nvGraphicFramePr>
          <p:cNvPr id="6" name="Object 1"/>
          <p:cNvGraphicFramePr>
            <a:graphicFrameLocks/>
          </p:cNvGraphicFramePr>
          <p:nvPr>
            <p:custDataLst>
              <p:tags r:id="rId1"/>
            </p:custDataLst>
            <p:extLst>
              <p:ext uri="{D42A27DB-BD31-4B8C-83A1-F6EECF244321}">
                <p14:modId xmlns:p14="http://schemas.microsoft.com/office/powerpoint/2010/main" val="892028739"/>
              </p:ext>
            </p:extLst>
          </p:nvPr>
        </p:nvGraphicFramePr>
        <p:xfrm>
          <a:off x="1270002" y="2045713"/>
          <a:ext cx="6032381" cy="3087989"/>
        </p:xfrm>
        <a:graphic>
          <a:graphicData uri="http://schemas.openxmlformats.org/drawingml/2006/chart">
            <c:chart xmlns:c="http://schemas.openxmlformats.org/drawingml/2006/chart" xmlns:r="http://schemas.openxmlformats.org/officeDocument/2006/relationships" r:id="rId44"/>
          </a:graphicData>
        </a:graphic>
      </p:graphicFrame>
      <p:cxnSp>
        <p:nvCxnSpPr>
          <p:cNvPr id="7" name="Straight Connector 6"/>
          <p:cNvCxnSpPr/>
          <p:nvPr>
            <p:custDataLst>
              <p:tags r:id="rId2"/>
            </p:custDataLst>
          </p:nvPr>
        </p:nvCxnSpPr>
        <p:spPr bwMode="auto">
          <a:xfrm flipH="1" flipV="1">
            <a:off x="4067176" y="4555563"/>
            <a:ext cx="129743" cy="2382"/>
          </a:xfrm>
          <a:prstGeom prst="line">
            <a:avLst/>
          </a:prstGeom>
          <a:solidFill>
            <a:schemeClr val="accent1"/>
          </a:solidFill>
          <a:ln w="6350" cap="rnd" cmpd="sng" algn="ctr">
            <a:solidFill>
              <a:srgbClr val="CCCCFE"/>
            </a:solidFill>
            <a:prstDash val="solid"/>
            <a:round/>
            <a:headEnd type="none" w="med" len="med"/>
            <a:tailEnd type="none" w="med" len="med"/>
          </a:ln>
          <a:effectLst/>
        </p:spPr>
      </p:cxnSp>
      <p:cxnSp>
        <p:nvCxnSpPr>
          <p:cNvPr id="8" name="Straight Connector 7"/>
          <p:cNvCxnSpPr/>
          <p:nvPr>
            <p:custDataLst>
              <p:tags r:id="rId3"/>
            </p:custDataLst>
          </p:nvPr>
        </p:nvCxnSpPr>
        <p:spPr bwMode="auto">
          <a:xfrm flipV="1">
            <a:off x="5395914" y="1621851"/>
            <a:ext cx="1482725" cy="958850"/>
          </a:xfrm>
          <a:prstGeom prst="line">
            <a:avLst/>
          </a:prstGeom>
          <a:solidFill>
            <a:schemeClr val="accent1"/>
          </a:solidFill>
          <a:ln w="25400" cap="rnd" cmpd="sng" algn="ctr">
            <a:solidFill>
              <a:srgbClr val="B1B3B4"/>
            </a:solidFill>
            <a:prstDash val="solid"/>
            <a:round/>
            <a:headEnd type="none" w="med" len="med"/>
            <a:tailEnd type="triangle" w="med" len="med"/>
          </a:ln>
          <a:effectLst/>
        </p:spPr>
      </p:cxnSp>
      <p:cxnSp>
        <p:nvCxnSpPr>
          <p:cNvPr id="9" name="Straight Connector 8"/>
          <p:cNvCxnSpPr/>
          <p:nvPr>
            <p:custDataLst>
              <p:tags r:id="rId4"/>
            </p:custDataLst>
          </p:nvPr>
        </p:nvCxnSpPr>
        <p:spPr bwMode="auto">
          <a:xfrm flipV="1">
            <a:off x="1685926" y="2580701"/>
            <a:ext cx="3709988" cy="1992313"/>
          </a:xfrm>
          <a:prstGeom prst="line">
            <a:avLst/>
          </a:prstGeom>
          <a:solidFill>
            <a:schemeClr val="accent1"/>
          </a:solidFill>
          <a:ln w="25400" cap="rnd" cmpd="sng" algn="ctr">
            <a:solidFill>
              <a:srgbClr val="B1B3B4"/>
            </a:solidFill>
            <a:prstDash val="solid"/>
            <a:round/>
            <a:headEnd type="none" w="med" len="med"/>
            <a:tailEnd type="triangle" w="med" len="med"/>
          </a:ln>
          <a:effectLst/>
        </p:spPr>
      </p:cxnSp>
      <p:cxnSp>
        <p:nvCxnSpPr>
          <p:cNvPr id="10" name="Straight Connector 9"/>
          <p:cNvCxnSpPr/>
          <p:nvPr>
            <p:custDataLst>
              <p:tags r:id="rId5"/>
            </p:custDataLst>
          </p:nvPr>
        </p:nvCxnSpPr>
        <p:spPr bwMode="auto">
          <a:xfrm flipH="1">
            <a:off x="4114801" y="4458878"/>
            <a:ext cx="82118" cy="45874"/>
          </a:xfrm>
          <a:prstGeom prst="line">
            <a:avLst/>
          </a:prstGeom>
          <a:solidFill>
            <a:schemeClr val="accent1"/>
          </a:solidFill>
          <a:ln w="6350" cap="rnd" cmpd="sng" algn="ctr">
            <a:solidFill>
              <a:srgbClr val="00625F"/>
            </a:solidFill>
            <a:prstDash val="solid"/>
            <a:round/>
            <a:headEnd type="none" w="med" len="med"/>
            <a:tailEnd type="none" w="med" len="med"/>
          </a:ln>
          <a:effectLst/>
        </p:spPr>
      </p:cxnSp>
      <p:cxnSp>
        <p:nvCxnSpPr>
          <p:cNvPr id="11" name="Straight Connector 10"/>
          <p:cNvCxnSpPr/>
          <p:nvPr/>
        </p:nvCxnSpPr>
        <p:spPr bwMode="auto">
          <a:xfrm flipH="1" flipV="1">
            <a:off x="4067178" y="4595239"/>
            <a:ext cx="129741" cy="50800"/>
          </a:xfrm>
          <a:prstGeom prst="line">
            <a:avLst/>
          </a:prstGeom>
          <a:solidFill>
            <a:schemeClr val="accent1"/>
          </a:solidFill>
          <a:ln w="6350" cap="rnd" cmpd="sng" algn="ctr">
            <a:solidFill>
              <a:srgbClr val="0066CB"/>
            </a:solidFill>
            <a:prstDash val="solid"/>
            <a:round/>
            <a:headEnd type="none" w="med" len="med"/>
            <a:tailEnd type="none" w="med" len="med"/>
          </a:ln>
          <a:effectLst/>
        </p:spPr>
      </p:cxnSp>
      <p:sp>
        <p:nvSpPr>
          <p:cNvPr id="12" name="Content_SM"/>
          <p:cNvSpPr>
            <a:spLocks noGrp="1" noChangeArrowheads="1"/>
          </p:cNvSpPr>
          <p:nvPr>
            <p:custDataLst>
              <p:tags r:id="rId6"/>
            </p:custDataLst>
          </p:nvPr>
        </p:nvSpPr>
        <p:spPr bwMode="auto">
          <a:xfrm>
            <a:off x="7517652" y="4658738"/>
            <a:ext cx="5730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63835DDA-4CF3-4AB8-BAB4-E03ACCB861DD}" type="datetime'''''U''t''i''''''''''li''''''''''''''''''''''''t''ie''''s'''">
              <a:rPr lang="en-GB" altLang="en-US" sz="1400">
                <a:sym typeface="+mn-lt"/>
              </a:rPr>
              <a:pPr marL="0" indent="0">
                <a:spcBef>
                  <a:spcPct val="0"/>
                </a:spcBef>
                <a:buNone/>
              </a:pPr>
              <a:t>Utilities</a:t>
            </a:fld>
            <a:endParaRPr lang="en-GB" sz="1400" dirty="0">
              <a:sym typeface="+mn-lt"/>
            </a:endParaRPr>
          </a:p>
        </p:txBody>
      </p:sp>
      <p:sp>
        <p:nvSpPr>
          <p:cNvPr id="13" name="Content_SM"/>
          <p:cNvSpPr>
            <a:spLocks noGrp="1" noChangeArrowheads="1"/>
          </p:cNvSpPr>
          <p:nvPr>
            <p:custDataLst>
              <p:tags r:id="rId7"/>
            </p:custDataLst>
          </p:nvPr>
        </p:nvSpPr>
        <p:spPr bwMode="auto">
          <a:xfrm>
            <a:off x="7517652" y="3587358"/>
            <a:ext cx="10858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A32F82D7-9E07-4A68-99D8-0A087D45781E}" type="datetime'P''''''u''''b''l''i''c'''' ''''S''a''''f''''ety'''' '''">
              <a:rPr lang="en-GB" altLang="en-US" sz="1400">
                <a:sym typeface="+mn-lt"/>
              </a:rPr>
              <a:pPr marL="0" indent="0">
                <a:spcBef>
                  <a:spcPct val="0"/>
                </a:spcBef>
                <a:buNone/>
              </a:pPr>
              <a:t>Public Safety </a:t>
            </a:fld>
            <a:endParaRPr lang="en-GB" sz="1400" dirty="0">
              <a:sym typeface="+mn-lt"/>
            </a:endParaRPr>
          </a:p>
        </p:txBody>
      </p:sp>
      <p:sp>
        <p:nvSpPr>
          <p:cNvPr id="14" name="Content_SM"/>
          <p:cNvSpPr>
            <a:spLocks noGrp="1" noChangeArrowheads="1"/>
          </p:cNvSpPr>
          <p:nvPr>
            <p:custDataLst>
              <p:tags r:id="rId8"/>
            </p:custDataLst>
          </p:nvPr>
        </p:nvSpPr>
        <p:spPr bwMode="auto">
          <a:xfrm>
            <a:off x="5976209" y="1699923"/>
            <a:ext cx="608121" cy="602982"/>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p>
            <a:pPr algn="ctr">
              <a:spcBef>
                <a:spcPct val="0"/>
              </a:spcBef>
              <a:buClr>
                <a:srgbClr val="00A9D4"/>
              </a:buClr>
              <a:buFont typeface="Arial" charset="0"/>
              <a:buNone/>
            </a:pPr>
            <a:fld id="{7CC8D075-D401-4F8E-9CFD-BDE354BE05FB}" type="datetime'''''''+''''2''''''''2''''''''''''''''''''%'''''''''''''''">
              <a:rPr lang="en-GB" altLang="en-US" sz="1200" b="1">
                <a:latin typeface="+mn-lt"/>
              </a:rPr>
              <a:pPr algn="ctr">
                <a:spcBef>
                  <a:spcPct val="0"/>
                </a:spcBef>
                <a:buClr>
                  <a:srgbClr val="00A9D4"/>
                </a:buClr>
                <a:buFont typeface="Arial" charset="0"/>
                <a:buNone/>
              </a:pPr>
              <a:t>+22%</a:t>
            </a:fld>
            <a:endParaRPr lang="en-GB" sz="1200" b="1" dirty="0">
              <a:latin typeface="+mn-lt"/>
              <a:sym typeface="+mn-lt"/>
            </a:endParaRPr>
          </a:p>
        </p:txBody>
      </p:sp>
      <p:sp>
        <p:nvSpPr>
          <p:cNvPr id="15" name="Content_SM"/>
          <p:cNvSpPr>
            <a:spLocks noGrp="1" noChangeArrowheads="1"/>
          </p:cNvSpPr>
          <p:nvPr>
            <p:custDataLst>
              <p:tags r:id="rId9"/>
            </p:custDataLst>
          </p:nvPr>
        </p:nvSpPr>
        <p:spPr bwMode="auto">
          <a:xfrm>
            <a:off x="7517652" y="3226861"/>
            <a:ext cx="8572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784F5B11-7D6A-4D71-B13E-C649A80F3F64}" type="datetime'He''''''''''''''''''''''a''lt''hc''''''''''''''''''''''are'''">
              <a:rPr lang="en-GB" altLang="en-US" sz="1400">
                <a:sym typeface="+mn-lt"/>
              </a:rPr>
              <a:pPr marL="0" indent="0">
                <a:spcBef>
                  <a:spcPct val="0"/>
                </a:spcBef>
                <a:buNone/>
              </a:pPr>
              <a:t>Healthcare</a:t>
            </a:fld>
            <a:endParaRPr lang="en-GB" sz="1400" dirty="0">
              <a:sym typeface="+mn-lt"/>
            </a:endParaRPr>
          </a:p>
        </p:txBody>
      </p:sp>
      <p:sp>
        <p:nvSpPr>
          <p:cNvPr id="16" name="Content_SM"/>
          <p:cNvSpPr>
            <a:spLocks noGrp="1" noChangeArrowheads="1"/>
          </p:cNvSpPr>
          <p:nvPr>
            <p:custDataLst>
              <p:tags r:id="rId10"/>
            </p:custDataLst>
          </p:nvPr>
        </p:nvSpPr>
        <p:spPr bwMode="auto">
          <a:xfrm>
            <a:off x="7517652" y="2872731"/>
            <a:ext cx="12319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0D4994D8-735B-45DA-A596-05C959252D4E}" type="datetime'''''''P''''''''''ubl''''i''''c'''''''' ''t''r''anspo''''''rt'">
              <a:rPr lang="en-GB" altLang="en-US" sz="1400">
                <a:sym typeface="+mn-lt"/>
              </a:rPr>
              <a:pPr marL="0" indent="0">
                <a:spcBef>
                  <a:spcPct val="0"/>
                </a:spcBef>
                <a:buNone/>
              </a:pPr>
              <a:t>Public transport</a:t>
            </a:fld>
            <a:endParaRPr lang="en-GB" sz="1400" dirty="0">
              <a:sym typeface="+mn-lt"/>
            </a:endParaRPr>
          </a:p>
        </p:txBody>
      </p:sp>
      <p:sp>
        <p:nvSpPr>
          <p:cNvPr id="17" name="Content_SM"/>
          <p:cNvSpPr>
            <a:spLocks noGrp="1" noChangeArrowheads="1"/>
          </p:cNvSpPr>
          <p:nvPr>
            <p:custDataLst>
              <p:tags r:id="rId11"/>
            </p:custDataLst>
          </p:nvPr>
        </p:nvSpPr>
        <p:spPr bwMode="auto">
          <a:xfrm>
            <a:off x="7531940" y="2580030"/>
            <a:ext cx="18319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CD7D1941-374C-4BED-A6BE-3E3CC8683325}" type="datetime'M''''e''di''''''a &amp;'' ent''e''''r''''''''tai''n''ment'' '''">
              <a:rPr lang="en-GB" altLang="en-US" sz="1400">
                <a:sym typeface="+mn-lt"/>
              </a:rPr>
              <a:pPr marL="0" indent="0">
                <a:spcBef>
                  <a:spcPct val="0"/>
                </a:spcBef>
                <a:buNone/>
              </a:pPr>
              <a:t>Media &amp; entertainment </a:t>
            </a:fld>
            <a:endParaRPr lang="en-GB" sz="1400" dirty="0">
              <a:sym typeface="+mn-lt"/>
            </a:endParaRPr>
          </a:p>
        </p:txBody>
      </p:sp>
      <p:sp>
        <p:nvSpPr>
          <p:cNvPr id="18" name="Content_SM"/>
          <p:cNvSpPr>
            <a:spLocks noGrp="1" noChangeArrowheads="1"/>
          </p:cNvSpPr>
          <p:nvPr>
            <p:custDataLst>
              <p:tags r:id="rId12"/>
            </p:custDataLst>
          </p:nvPr>
        </p:nvSpPr>
        <p:spPr bwMode="auto">
          <a:xfrm>
            <a:off x="7517652" y="2335978"/>
            <a:ext cx="8874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B83D29CB-3AE1-4799-A9BB-B896E6222DD6}" type="datetime'A''''''''''''''''''ut''om''''''o''''t''iv''''e'''''''''''''">
              <a:rPr lang="en-GB" altLang="en-US" sz="1400"/>
              <a:pPr marL="0" indent="0">
                <a:spcBef>
                  <a:spcPct val="0"/>
                </a:spcBef>
                <a:buNone/>
              </a:pPr>
              <a:t>Automotive</a:t>
            </a:fld>
            <a:endParaRPr lang="en-GB" sz="1400" dirty="0">
              <a:sym typeface="+mn-lt"/>
            </a:endParaRPr>
          </a:p>
        </p:txBody>
      </p:sp>
      <p:sp>
        <p:nvSpPr>
          <p:cNvPr id="19" name="Content_SM"/>
          <p:cNvSpPr>
            <a:spLocks noGrp="1" noChangeArrowheads="1"/>
          </p:cNvSpPr>
          <p:nvPr>
            <p:custDataLst>
              <p:tags r:id="rId13"/>
            </p:custDataLst>
          </p:nvPr>
        </p:nvSpPr>
        <p:spPr bwMode="auto">
          <a:xfrm>
            <a:off x="3164899" y="3232328"/>
            <a:ext cx="788988" cy="782828"/>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p>
            <a:pPr algn="ctr">
              <a:spcBef>
                <a:spcPct val="0"/>
              </a:spcBef>
              <a:buClr>
                <a:srgbClr val="00A9D4"/>
              </a:buClr>
              <a:buFont typeface="Arial" charset="0"/>
              <a:buNone/>
            </a:pPr>
            <a:r>
              <a:rPr lang="en-GB" altLang="en-US" sz="1200" b="1" dirty="0">
                <a:latin typeface="+mn-lt"/>
              </a:rPr>
              <a:t>+180%</a:t>
            </a:r>
            <a:endParaRPr lang="en-GB" sz="1200" b="1" dirty="0">
              <a:latin typeface="+mn-lt"/>
              <a:sym typeface="+mn-lt"/>
            </a:endParaRPr>
          </a:p>
        </p:txBody>
      </p:sp>
      <p:sp>
        <p:nvSpPr>
          <p:cNvPr id="20" name="Content_SM"/>
          <p:cNvSpPr>
            <a:spLocks noGrp="1" noChangeArrowheads="1"/>
          </p:cNvSpPr>
          <p:nvPr>
            <p:custDataLst>
              <p:tags r:id="rId14"/>
            </p:custDataLst>
          </p:nvPr>
        </p:nvSpPr>
        <p:spPr bwMode="auto">
          <a:xfrm>
            <a:off x="7517652" y="4108572"/>
            <a:ext cx="11223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57FF0046-8D18-4612-B32C-033BA9297B68}" type="datetime'''''''M''''a''n''''u''''''f''''''a''ct''u''''ring'''''''''''">
              <a:rPr lang="en-GB" altLang="en-US" sz="1400">
                <a:sym typeface="+mn-lt"/>
              </a:rPr>
              <a:pPr marL="0" indent="0">
                <a:spcBef>
                  <a:spcPct val="0"/>
                </a:spcBef>
                <a:buNone/>
              </a:pPr>
              <a:t>Manufacturing</a:t>
            </a:fld>
            <a:endParaRPr lang="en-GB" sz="1400" dirty="0">
              <a:sym typeface="+mn-lt"/>
            </a:endParaRPr>
          </a:p>
        </p:txBody>
      </p:sp>
      <p:sp>
        <p:nvSpPr>
          <p:cNvPr id="21" name="Content_SM"/>
          <p:cNvSpPr>
            <a:spLocks noGrp="1" noChangeArrowheads="1"/>
          </p:cNvSpPr>
          <p:nvPr>
            <p:custDataLst>
              <p:tags r:id="rId15"/>
            </p:custDataLst>
          </p:nvPr>
        </p:nvSpPr>
        <p:spPr bwMode="auto">
          <a:xfrm>
            <a:off x="7517652" y="2107421"/>
            <a:ext cx="14589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spcBef>
                <a:spcPct val="0"/>
              </a:spcBef>
              <a:buNone/>
            </a:pPr>
            <a:fld id="{2A3AB038-A3E4-4123-BC6A-32EF91C93C98}" type="datetime'''''''F''ina''ncial s''e''rvi''ce''''''''''''''''''''''''s '''">
              <a:rPr lang="en-GB" altLang="en-US" sz="1400">
                <a:sym typeface="+mn-lt"/>
              </a:rPr>
              <a:pPr marL="0" indent="0">
                <a:spcBef>
                  <a:spcPct val="0"/>
                </a:spcBef>
                <a:buNone/>
              </a:pPr>
              <a:t>Financial services </a:t>
            </a:fld>
            <a:endParaRPr lang="en-GB" sz="1400" dirty="0">
              <a:sym typeface="+mn-lt"/>
            </a:endParaRPr>
          </a:p>
        </p:txBody>
      </p:sp>
      <p:sp>
        <p:nvSpPr>
          <p:cNvPr id="22" name="Content_SM"/>
          <p:cNvSpPr>
            <a:spLocks noGrp="1" noChangeArrowheads="1"/>
          </p:cNvSpPr>
          <p:nvPr>
            <p:custDataLst>
              <p:tags r:id="rId16"/>
            </p:custDataLst>
          </p:nvPr>
        </p:nvSpPr>
        <p:spPr bwMode="auto">
          <a:xfrm>
            <a:off x="6675439"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2B4EF56C-AF8F-4E23-8459-438CA500D504}" type="datetime'''''2''''''''''''''''0''''''''''''''''''''2''''6'''''''''''''">
              <a:rPr lang="en-GB" altLang="en-US" sz="1400"/>
              <a:pPr/>
              <a:t>2026</a:t>
            </a:fld>
            <a:endParaRPr lang="en-GB" sz="1400" dirty="0">
              <a:sym typeface="+mn-lt"/>
            </a:endParaRPr>
          </a:p>
        </p:txBody>
      </p:sp>
      <p:sp>
        <p:nvSpPr>
          <p:cNvPr id="23" name="Content_SM"/>
          <p:cNvSpPr>
            <a:spLocks noGrp="1" noChangeArrowheads="1"/>
          </p:cNvSpPr>
          <p:nvPr>
            <p:custDataLst>
              <p:tags r:id="rId17"/>
            </p:custDataLst>
          </p:nvPr>
        </p:nvSpPr>
        <p:spPr bwMode="gray">
          <a:xfrm>
            <a:off x="6704014" y="194093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altLang="en-US" sz="1000" b="1" dirty="0"/>
              <a:t>1,233</a:t>
            </a:r>
            <a:endParaRPr lang="en-GB" sz="1000" b="1" dirty="0">
              <a:sym typeface="+mn-lt"/>
            </a:endParaRPr>
          </a:p>
        </p:txBody>
      </p:sp>
      <p:sp>
        <p:nvSpPr>
          <p:cNvPr id="24" name="Content_SM"/>
          <p:cNvSpPr>
            <a:spLocks noGrp="1" noChangeArrowheads="1"/>
          </p:cNvSpPr>
          <p:nvPr>
            <p:custDataLst>
              <p:tags r:id="rId18"/>
            </p:custDataLst>
          </p:nvPr>
        </p:nvSpPr>
        <p:spPr bwMode="auto">
          <a:xfrm>
            <a:off x="5935664"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9D8C378-1A49-4A1B-885C-AD12EFBFE0E7}" type="datetime'''''''''''''''2''''''''''0''25'''''''''''''''''''''">
              <a:rPr lang="en-GB" altLang="en-US" sz="1400"/>
              <a:pPr/>
              <a:t>2025</a:t>
            </a:fld>
            <a:endParaRPr lang="en-GB" sz="1400" dirty="0">
              <a:sym typeface="+mn-lt"/>
            </a:endParaRPr>
          </a:p>
        </p:txBody>
      </p:sp>
      <p:sp>
        <p:nvSpPr>
          <p:cNvPr id="25" name="Content_SM"/>
          <p:cNvSpPr>
            <a:spLocks noGrp="1" noChangeArrowheads="1"/>
          </p:cNvSpPr>
          <p:nvPr>
            <p:custDataLst>
              <p:tags r:id="rId19"/>
            </p:custDataLst>
          </p:nvPr>
        </p:nvSpPr>
        <p:spPr bwMode="gray">
          <a:xfrm>
            <a:off x="5964239" y="2339401"/>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sz="1000" b="1" dirty="0">
                <a:sym typeface="+mn-lt"/>
              </a:rPr>
              <a:t>1,068</a:t>
            </a:r>
          </a:p>
        </p:txBody>
      </p:sp>
      <p:sp>
        <p:nvSpPr>
          <p:cNvPr id="26" name="Content_SM"/>
          <p:cNvSpPr>
            <a:spLocks noGrp="1" noChangeArrowheads="1"/>
          </p:cNvSpPr>
          <p:nvPr>
            <p:custDataLst>
              <p:tags r:id="rId20"/>
            </p:custDataLst>
          </p:nvPr>
        </p:nvSpPr>
        <p:spPr bwMode="auto">
          <a:xfrm>
            <a:off x="5192714"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72C74F92-E09B-4184-8B68-2EC2EF29AFA5}" type="datetime'''''''''''''''''''2''0''''''''2''4'''''''''''''''''">
              <a:rPr lang="en-GB" altLang="en-US" sz="1400"/>
              <a:pPr/>
              <a:t>2024</a:t>
            </a:fld>
            <a:endParaRPr lang="en-GB" sz="1400" dirty="0">
              <a:sym typeface="+mn-lt"/>
            </a:endParaRPr>
          </a:p>
        </p:txBody>
      </p:sp>
      <p:sp>
        <p:nvSpPr>
          <p:cNvPr id="27" name="Content_SM"/>
          <p:cNvSpPr>
            <a:spLocks noGrp="1" noChangeArrowheads="1"/>
          </p:cNvSpPr>
          <p:nvPr>
            <p:custDataLst>
              <p:tags r:id="rId21"/>
            </p:custDataLst>
          </p:nvPr>
        </p:nvSpPr>
        <p:spPr bwMode="gray">
          <a:xfrm>
            <a:off x="5273676" y="2899788"/>
            <a:ext cx="244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altLang="en-US" sz="1000" b="1" dirty="0"/>
              <a:t>834</a:t>
            </a:r>
            <a:endParaRPr lang="en-GB" sz="1000" b="1" dirty="0">
              <a:sym typeface="+mn-lt"/>
            </a:endParaRPr>
          </a:p>
        </p:txBody>
      </p:sp>
      <p:sp>
        <p:nvSpPr>
          <p:cNvPr id="28" name="Content_SM"/>
          <p:cNvSpPr>
            <a:spLocks noGrp="1" noChangeArrowheads="1"/>
          </p:cNvSpPr>
          <p:nvPr>
            <p:custDataLst>
              <p:tags r:id="rId22"/>
            </p:custDataLst>
          </p:nvPr>
        </p:nvSpPr>
        <p:spPr bwMode="gray">
          <a:xfrm>
            <a:off x="4577356" y="3902787"/>
            <a:ext cx="174625" cy="152400"/>
          </a:xfrm>
          <a:prstGeom prst="rect">
            <a:avLst/>
          </a:prstGeom>
          <a:noFill/>
          <a:ln w="9525">
            <a:noFill/>
            <a:miter lim="800000"/>
            <a:headEnd/>
            <a:tailEnd/>
          </a:ln>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9A63ABF-7043-4F23-815E-2E454B65DCCD}" type="datetime'5''''''''''''''''''''''''''''''''''''''''1'''''''''">
              <a:rPr lang="en-GB" altLang="en-US" sz="900">
                <a:solidFill>
                  <a:schemeClr val="bg1"/>
                </a:solidFill>
                <a:sym typeface="+mn-lt"/>
              </a:rPr>
              <a:pPr marL="0" indent="0" algn="ctr">
                <a:spcBef>
                  <a:spcPct val="0"/>
                </a:spcBef>
                <a:buNone/>
              </a:pPr>
              <a:t>51</a:t>
            </a:fld>
            <a:endParaRPr lang="en-GB" sz="900" dirty="0">
              <a:solidFill>
                <a:schemeClr val="bg1"/>
              </a:solidFill>
              <a:sym typeface="+mn-lt"/>
            </a:endParaRPr>
          </a:p>
        </p:txBody>
      </p:sp>
      <p:sp>
        <p:nvSpPr>
          <p:cNvPr id="29" name="Content_SM"/>
          <p:cNvSpPr>
            <a:spLocks noGrp="1" noChangeArrowheads="1"/>
          </p:cNvSpPr>
          <p:nvPr>
            <p:custDataLst>
              <p:tags r:id="rId23"/>
            </p:custDataLst>
          </p:nvPr>
        </p:nvSpPr>
        <p:spPr bwMode="auto">
          <a:xfrm>
            <a:off x="3708401"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AD8A3998-4111-4E24-B271-8A662F68206A}" type="datetime'2''''''''''''0''''''''''''''''''''''''''''''''22'''">
              <a:rPr lang="en-GB" altLang="en-US" sz="1400"/>
              <a:pPr/>
              <a:t>2022</a:t>
            </a:fld>
            <a:endParaRPr lang="en-GB" sz="1400" dirty="0">
              <a:sym typeface="+mn-lt"/>
            </a:endParaRPr>
          </a:p>
        </p:txBody>
      </p:sp>
      <p:sp>
        <p:nvSpPr>
          <p:cNvPr id="30" name="Content_SM"/>
          <p:cNvSpPr>
            <a:spLocks noGrp="1" noChangeArrowheads="1"/>
          </p:cNvSpPr>
          <p:nvPr>
            <p:custDataLst>
              <p:tags r:id="rId24"/>
            </p:custDataLst>
          </p:nvPr>
        </p:nvSpPr>
        <p:spPr bwMode="auto">
          <a:xfrm>
            <a:off x="2968626"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154BB62C-45E7-45EE-922D-1F361491A4CD}" type="datetime'''2''0''''''''''''''''''2''''1'''''''''''''''''''">
              <a:rPr lang="en-GB" altLang="en-US" sz="1400"/>
              <a:pPr/>
              <a:t>2021</a:t>
            </a:fld>
            <a:endParaRPr lang="en-GB" sz="1400" dirty="0">
              <a:sym typeface="+mn-lt"/>
            </a:endParaRPr>
          </a:p>
        </p:txBody>
      </p:sp>
      <p:sp>
        <p:nvSpPr>
          <p:cNvPr id="31" name="Content_SM"/>
          <p:cNvSpPr>
            <a:spLocks noGrp="1" noChangeArrowheads="1"/>
          </p:cNvSpPr>
          <p:nvPr>
            <p:custDataLst>
              <p:tags r:id="rId25"/>
            </p:custDataLst>
          </p:nvPr>
        </p:nvSpPr>
        <p:spPr bwMode="auto">
          <a:xfrm>
            <a:off x="4449764"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0555E51D-C29C-4E55-931E-AA99B4F32261}" type="datetime'''''2''''''''023'">
              <a:rPr lang="en-GB" altLang="en-US" sz="1400"/>
              <a:pPr/>
              <a:t>2023</a:t>
            </a:fld>
            <a:endParaRPr lang="en-GB" sz="1400" dirty="0">
              <a:sym typeface="+mn-lt"/>
            </a:endParaRPr>
          </a:p>
        </p:txBody>
      </p:sp>
      <p:sp>
        <p:nvSpPr>
          <p:cNvPr id="32" name="Content_SM"/>
          <p:cNvSpPr>
            <a:spLocks noGrp="1" noChangeArrowheads="1"/>
          </p:cNvSpPr>
          <p:nvPr>
            <p:custDataLst>
              <p:tags r:id="rId26"/>
            </p:custDataLst>
          </p:nvPr>
        </p:nvSpPr>
        <p:spPr bwMode="auto">
          <a:xfrm>
            <a:off x="2225676"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DB3AB272-1402-4954-984A-8D7D2E288FE3}" type="datetime'''''''''''''''2''''''''''''''''''''''0''20'''''''''''">
              <a:rPr lang="en-GB" altLang="en-US" sz="1400"/>
              <a:pPr/>
              <a:t>2020</a:t>
            </a:fld>
            <a:endParaRPr lang="en-GB" sz="1400" dirty="0">
              <a:sym typeface="+mn-lt"/>
            </a:endParaRPr>
          </a:p>
        </p:txBody>
      </p:sp>
      <p:sp>
        <p:nvSpPr>
          <p:cNvPr id="33" name="Content_SM"/>
          <p:cNvSpPr>
            <a:spLocks noGrp="1" noChangeArrowheads="1"/>
          </p:cNvSpPr>
          <p:nvPr>
            <p:custDataLst>
              <p:tags r:id="rId27"/>
            </p:custDataLst>
          </p:nvPr>
        </p:nvSpPr>
        <p:spPr bwMode="gray">
          <a:xfrm>
            <a:off x="5308601" y="3076643"/>
            <a:ext cx="174625" cy="152400"/>
          </a:xfrm>
          <a:prstGeom prst="rect">
            <a:avLst/>
          </a:prstGeom>
          <a:noFill/>
          <a:ln w="9525">
            <a:noFill/>
            <a:miter lim="800000"/>
            <a:headEnd/>
            <a:tailEnd/>
          </a:ln>
          <a:extLst>
            <a:ext uri="{909E8E84-426E-40DD-AFC4-6F175D3DCCD1}">
              <a14:hiddenFill xmlns:a14="http://schemas.microsoft.com/office/drawing/2010/main">
                <a:solidFill>
                  <a:srgbClr val="C0C0C0"/>
                </a:solidFill>
              </a14:hiddenFill>
            </a:ext>
          </a:extLst>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A5D60FFB-1D8E-4B0F-9A9A-802050C7268E}" type="datetime'''''''''''''''''''''5''''3'''''''''''''''''''''">
              <a:rPr lang="en-GB" altLang="en-US" sz="900">
                <a:solidFill>
                  <a:srgbClr val="FFFFFF"/>
                </a:solidFill>
                <a:sym typeface="+mn-lt"/>
              </a:rPr>
              <a:pPr marL="0" indent="0" algn="ctr">
                <a:spcBef>
                  <a:spcPct val="0"/>
                </a:spcBef>
                <a:buNone/>
              </a:pPr>
              <a:t>53</a:t>
            </a:fld>
            <a:endParaRPr lang="en-GB" sz="900" dirty="0">
              <a:solidFill>
                <a:srgbClr val="FFFFFF"/>
              </a:solidFill>
              <a:sym typeface="+mn-lt"/>
            </a:endParaRPr>
          </a:p>
        </p:txBody>
      </p:sp>
      <p:sp>
        <p:nvSpPr>
          <p:cNvPr id="34" name="Content_SM"/>
          <p:cNvSpPr>
            <a:spLocks noGrp="1" noChangeArrowheads="1"/>
          </p:cNvSpPr>
          <p:nvPr>
            <p:custDataLst>
              <p:tags r:id="rId28"/>
            </p:custDataLst>
          </p:nvPr>
        </p:nvSpPr>
        <p:spPr bwMode="gray">
          <a:xfrm>
            <a:off x="4577356" y="3792606"/>
            <a:ext cx="174625" cy="152400"/>
          </a:xfrm>
          <a:prstGeom prst="rect">
            <a:avLst/>
          </a:prstGeom>
          <a:noFill/>
          <a:ln w="9525">
            <a:noFill/>
            <a:miter lim="800000"/>
            <a:headEnd/>
            <a:tailEnd/>
          </a:ln>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D6C6033-EC59-49E4-8D27-FDA36886FD7E}" type="datetime'''''4''''''''''''''''''2'''''''''''''''''''''''''''''''">
              <a:rPr lang="en-GB" altLang="en-US" sz="800">
                <a:solidFill>
                  <a:srgbClr val="FFFFFF"/>
                </a:solidFill>
              </a:rPr>
              <a:pPr/>
              <a:t>42</a:t>
            </a:fld>
            <a:endParaRPr lang="en-GB" sz="800" dirty="0">
              <a:solidFill>
                <a:srgbClr val="FFFFFF"/>
              </a:solidFill>
              <a:sym typeface="+mn-lt"/>
            </a:endParaRPr>
          </a:p>
        </p:txBody>
      </p:sp>
      <p:sp>
        <p:nvSpPr>
          <p:cNvPr id="35" name="Content_SM"/>
          <p:cNvSpPr>
            <a:spLocks noGrp="1" noChangeArrowheads="1"/>
          </p:cNvSpPr>
          <p:nvPr>
            <p:custDataLst>
              <p:tags r:id="rId29"/>
            </p:custDataLst>
          </p:nvPr>
        </p:nvSpPr>
        <p:spPr bwMode="gray">
          <a:xfrm>
            <a:off x="3084514" y="4679376"/>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altLang="en-US" sz="1000" b="1" dirty="0"/>
              <a:t>92</a:t>
            </a:r>
            <a:endParaRPr lang="en-GB" sz="1000" b="1" dirty="0">
              <a:sym typeface="+mn-lt"/>
            </a:endParaRPr>
          </a:p>
        </p:txBody>
      </p:sp>
      <p:sp>
        <p:nvSpPr>
          <p:cNvPr id="36" name="Content_SM"/>
          <p:cNvSpPr>
            <a:spLocks noGrp="1" noChangeArrowheads="1"/>
          </p:cNvSpPr>
          <p:nvPr>
            <p:custDataLst>
              <p:tags r:id="rId30"/>
            </p:custDataLst>
          </p:nvPr>
        </p:nvSpPr>
        <p:spPr bwMode="gray">
          <a:xfrm>
            <a:off x="4530726" y="3539551"/>
            <a:ext cx="244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altLang="en-US" sz="1000" b="1" dirty="0"/>
              <a:t>566</a:t>
            </a:r>
            <a:endParaRPr lang="en-GB" sz="1000" b="1" dirty="0">
              <a:sym typeface="+mn-lt"/>
            </a:endParaRPr>
          </a:p>
        </p:txBody>
      </p:sp>
      <p:sp>
        <p:nvSpPr>
          <p:cNvPr id="37" name="Content_SM"/>
          <p:cNvSpPr>
            <a:spLocks noGrp="1" noChangeArrowheads="1"/>
          </p:cNvSpPr>
          <p:nvPr>
            <p:custDataLst>
              <p:tags r:id="rId31"/>
            </p:custDataLst>
          </p:nvPr>
        </p:nvSpPr>
        <p:spPr bwMode="gray">
          <a:xfrm>
            <a:off x="3857934" y="4736526"/>
            <a:ext cx="142875" cy="12223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14288" tIns="0" rIns="14288"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3D9FA368-B43D-4EE0-ADA6-7B92634E82B1}" type="datetime'''''''''''''''''33'''''''''''''''''''''''''''''''''">
              <a:rPr lang="en-GB" altLang="en-US" sz="800">
                <a:solidFill>
                  <a:schemeClr val="bg1"/>
                </a:solidFill>
              </a:rPr>
              <a:pPr marL="0" indent="0" algn="ctr">
                <a:spcBef>
                  <a:spcPct val="0"/>
                </a:spcBef>
                <a:buNone/>
              </a:pPr>
              <a:t>33</a:t>
            </a:fld>
            <a:endParaRPr lang="en-GB" sz="800" dirty="0">
              <a:solidFill>
                <a:schemeClr val="bg1"/>
              </a:solidFill>
              <a:sym typeface="+mn-lt"/>
            </a:endParaRPr>
          </a:p>
        </p:txBody>
      </p:sp>
      <p:sp>
        <p:nvSpPr>
          <p:cNvPr id="38" name="Content_SM"/>
          <p:cNvSpPr>
            <a:spLocks noGrp="1" noChangeArrowheads="1"/>
          </p:cNvSpPr>
          <p:nvPr>
            <p:custDataLst>
              <p:tags r:id="rId32"/>
            </p:custDataLst>
          </p:nvPr>
        </p:nvSpPr>
        <p:spPr bwMode="gray">
          <a:xfrm>
            <a:off x="4190266" y="4688750"/>
            <a:ext cx="142875" cy="122238"/>
          </a:xfrm>
          <a:prstGeom prst="rect">
            <a:avLst/>
          </a:prstGeom>
          <a:noFill/>
          <a:ln w="9525">
            <a:noFill/>
            <a:miter lim="800000"/>
            <a:headEnd/>
            <a:tailEnd/>
          </a:ln>
          <a:extLst>
            <a:ext uri="{909E8E84-426E-40DD-AFC4-6F175D3DCCD1}">
              <a14:hiddenFill xmlns:a14="http://schemas.microsoft.com/office/drawing/2010/main">
                <a:solidFill>
                  <a:schemeClr val="hlink"/>
                </a:solidFill>
              </a14:hiddenFill>
            </a:ext>
          </a:extLst>
        </p:spPr>
        <p:txBody>
          <a:bodyPr vert="horz" wrap="none" lIns="14288" tIns="0" rIns="14288"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1C5BF916-CBB1-4313-A33D-6FDF67F6D105}" type="datetime'''''''2''''''''2'''''''''''''''''">
              <a:rPr lang="en-GB" altLang="en-US" sz="700">
                <a:solidFill>
                  <a:srgbClr val="00285F"/>
                </a:solidFill>
                <a:sym typeface="+mn-lt"/>
              </a:rPr>
              <a:pPr marL="0" indent="0" algn="ctr">
                <a:spcBef>
                  <a:spcPct val="0"/>
                </a:spcBef>
                <a:buNone/>
              </a:pPr>
              <a:t>22</a:t>
            </a:fld>
            <a:endParaRPr lang="en-GB" sz="700" dirty="0">
              <a:solidFill>
                <a:srgbClr val="00285F"/>
              </a:solidFill>
              <a:sym typeface="+mn-lt"/>
            </a:endParaRPr>
          </a:p>
        </p:txBody>
      </p:sp>
      <p:sp>
        <p:nvSpPr>
          <p:cNvPr id="39" name="Content_SM"/>
          <p:cNvSpPr>
            <a:spLocks noGrp="1" noChangeArrowheads="1"/>
          </p:cNvSpPr>
          <p:nvPr>
            <p:custDataLst>
              <p:tags r:id="rId33"/>
            </p:custDataLst>
          </p:nvPr>
        </p:nvSpPr>
        <p:spPr bwMode="gray">
          <a:xfrm>
            <a:off x="4577357" y="3699888"/>
            <a:ext cx="174625" cy="152400"/>
          </a:xfrm>
          <a:prstGeom prst="rect">
            <a:avLst/>
          </a:prstGeom>
          <a:noFill/>
          <a:ln w="9525">
            <a:noFill/>
            <a:miter lim="800000"/>
            <a:headEnd/>
            <a:tailEnd/>
          </a:ln>
          <a:extLst>
            <a:ext uri="{909E8E84-426E-40DD-AFC4-6F175D3DCCD1}">
              <a14:hiddenFill xmlns:a14="http://schemas.microsoft.com/office/drawing/2010/main">
                <a:solidFill>
                  <a:srgbClr val="C0C0C0"/>
                </a:solidFill>
              </a14:hiddenFill>
            </a:ext>
          </a:extLst>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C3209B14-2AA6-408E-8E36-AC2DD7F76B96}" type="datetime'''''''3''''''''''''''7'''''''''''''''''''''''''">
              <a:rPr lang="en-GB" altLang="en-US" sz="800">
                <a:solidFill>
                  <a:srgbClr val="FFFFFF"/>
                </a:solidFill>
              </a:rPr>
              <a:pPr/>
              <a:t>37</a:t>
            </a:fld>
            <a:endParaRPr lang="en-GB" sz="800" dirty="0">
              <a:solidFill>
                <a:srgbClr val="FFFFFF"/>
              </a:solidFill>
              <a:sym typeface="+mn-lt"/>
            </a:endParaRPr>
          </a:p>
        </p:txBody>
      </p:sp>
      <p:sp>
        <p:nvSpPr>
          <p:cNvPr id="40" name="Content_SM"/>
          <p:cNvSpPr>
            <a:spLocks noGrp="1" noChangeArrowheads="1"/>
          </p:cNvSpPr>
          <p:nvPr>
            <p:custDataLst>
              <p:tags r:id="rId34"/>
            </p:custDataLst>
          </p:nvPr>
        </p:nvSpPr>
        <p:spPr bwMode="gray">
          <a:xfrm>
            <a:off x="2341564" y="4836538"/>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7601151-38DD-47CC-B281-2219B7698101}" type="datetime'''2''''''''''''''''''''''''''''''''''''7'''''''''''">
              <a:rPr lang="en-GB" altLang="en-US" sz="1000" b="1"/>
              <a:pPr/>
              <a:t>27</a:t>
            </a:fld>
            <a:endParaRPr lang="en-GB" sz="1000" b="1" dirty="0">
              <a:sym typeface="+mn-lt"/>
            </a:endParaRPr>
          </a:p>
        </p:txBody>
      </p:sp>
      <p:sp>
        <p:nvSpPr>
          <p:cNvPr id="41" name="Content_SM"/>
          <p:cNvSpPr>
            <a:spLocks noGrp="1" noChangeArrowheads="1"/>
          </p:cNvSpPr>
          <p:nvPr>
            <p:custDataLst>
              <p:tags r:id="rId35"/>
            </p:custDataLst>
          </p:nvPr>
        </p:nvSpPr>
        <p:spPr bwMode="auto">
          <a:xfrm>
            <a:off x="1482726" y="5184201"/>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8F5E9F7F-6EE0-4E14-98FB-8B591CB89816}" type="datetime'''''''''2''''''''''''''''''''0''''''19'''''''''''''''''''''">
              <a:rPr lang="en-GB" altLang="en-US" sz="1400"/>
              <a:pPr/>
              <a:t>2019</a:t>
            </a:fld>
            <a:endParaRPr lang="en-GB" sz="1400" dirty="0">
              <a:sym typeface="+mn-lt"/>
            </a:endParaRPr>
          </a:p>
        </p:txBody>
      </p:sp>
      <p:sp>
        <p:nvSpPr>
          <p:cNvPr id="42" name="Content_SM"/>
          <p:cNvSpPr>
            <a:spLocks noGrp="1" noChangeArrowheads="1"/>
          </p:cNvSpPr>
          <p:nvPr>
            <p:custDataLst>
              <p:tags r:id="rId36"/>
            </p:custDataLst>
          </p:nvPr>
        </p:nvSpPr>
        <p:spPr bwMode="gray">
          <a:xfrm>
            <a:off x="1633539" y="4892101"/>
            <a:ext cx="1047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28003F1-DE5E-4428-AB1A-D8F4361B54A6}" type="datetime'''''''''''''''''''''5'''''''''''''''''''''''''''''''''''">
              <a:rPr lang="en-GB" altLang="en-US" sz="1000" b="1"/>
              <a:pPr/>
              <a:t>5</a:t>
            </a:fld>
            <a:endParaRPr lang="en-GB" sz="1000" b="1" dirty="0">
              <a:sym typeface="+mn-lt"/>
            </a:endParaRPr>
          </a:p>
        </p:txBody>
      </p:sp>
      <p:sp>
        <p:nvSpPr>
          <p:cNvPr id="43" name="Content_SM"/>
          <p:cNvSpPr>
            <a:spLocks noGrp="1" noChangeArrowheads="1"/>
          </p:cNvSpPr>
          <p:nvPr>
            <p:custDataLst>
              <p:tags r:id="rId37"/>
            </p:custDataLst>
          </p:nvPr>
        </p:nvSpPr>
        <p:spPr bwMode="gray">
          <a:xfrm>
            <a:off x="3789364" y="4309488"/>
            <a:ext cx="244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GB" altLang="en-US" sz="1000" b="1" dirty="0"/>
              <a:t>247</a:t>
            </a:r>
            <a:endParaRPr lang="en-GB" sz="1000" b="1" dirty="0">
              <a:sym typeface="+mn-lt"/>
            </a:endParaRPr>
          </a:p>
        </p:txBody>
      </p:sp>
      <p:sp>
        <p:nvSpPr>
          <p:cNvPr id="44" name="Content_SM"/>
          <p:cNvSpPr>
            <a:spLocks noGrp="1" noChangeArrowheads="1"/>
          </p:cNvSpPr>
          <p:nvPr>
            <p:custDataLst>
              <p:tags r:id="rId38"/>
            </p:custDataLst>
          </p:nvPr>
        </p:nvSpPr>
        <p:spPr bwMode="gray">
          <a:xfrm>
            <a:off x="4565650" y="4020563"/>
            <a:ext cx="174625" cy="152400"/>
          </a:xfrm>
          <a:prstGeom prst="rect">
            <a:avLst/>
          </a:prstGeom>
          <a:noFill/>
          <a:ln w="9525">
            <a:noFill/>
            <a:miter lim="800000"/>
            <a:headEnd/>
            <a:tailEnd/>
          </a:ln>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BD6FDFC-9D95-49A5-A871-B692668D29FE}" type="datetime'''5''''''''''''2'''''''''''''''''''''''''''''''''''''''''''''">
              <a:rPr lang="en-GB" altLang="en-US" sz="1000">
                <a:solidFill>
                  <a:schemeClr val="bg1"/>
                </a:solidFill>
                <a:sym typeface="+mn-lt"/>
              </a:rPr>
              <a:pPr marL="0" indent="0" algn="ctr">
                <a:spcBef>
                  <a:spcPct val="0"/>
                </a:spcBef>
                <a:buNone/>
              </a:pPr>
              <a:t>52</a:t>
            </a:fld>
            <a:endParaRPr lang="en-GB" sz="1000" dirty="0">
              <a:solidFill>
                <a:schemeClr val="bg1"/>
              </a:solidFill>
              <a:sym typeface="+mn-lt"/>
            </a:endParaRPr>
          </a:p>
        </p:txBody>
      </p:sp>
      <p:sp>
        <p:nvSpPr>
          <p:cNvPr id="45" name="Content_SM"/>
          <p:cNvSpPr>
            <a:spLocks noGrp="1" noChangeArrowheads="1"/>
          </p:cNvSpPr>
          <p:nvPr>
            <p:custDataLst>
              <p:tags r:id="rId39"/>
            </p:custDataLst>
          </p:nvPr>
        </p:nvSpPr>
        <p:spPr bwMode="gray">
          <a:xfrm>
            <a:off x="3856128" y="4658738"/>
            <a:ext cx="142875" cy="122238"/>
          </a:xfrm>
          <a:prstGeom prst="rect">
            <a:avLst/>
          </a:prstGeom>
          <a:noFill/>
          <a:ln w="9525">
            <a:noFill/>
            <a:miter lim="800000"/>
            <a:headEnd/>
            <a:tailEnd/>
          </a:ln>
          <a:extLst>
            <a:ext uri="{909E8E84-426E-40DD-AFC4-6F175D3DCCD1}">
              <a14:hiddenFill xmlns:a14="http://schemas.microsoft.com/office/drawing/2010/main">
                <a:solidFill>
                  <a:srgbClr val="007770"/>
                </a:solidFill>
              </a14:hiddenFill>
            </a:ext>
          </a:extLst>
        </p:spPr>
        <p:txBody>
          <a:bodyPr vert="horz" wrap="none" lIns="14288" tIns="0" rIns="14288"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C737631-0711-47F3-995E-7ACD2D772186}" type="datetime'''''''''''3''''''''''''''''''''''''5'''''">
              <a:rPr lang="en-GB" altLang="en-US" sz="700">
                <a:solidFill>
                  <a:schemeClr val="bg1"/>
                </a:solidFill>
              </a:rPr>
              <a:pPr/>
              <a:t>35</a:t>
            </a:fld>
            <a:endParaRPr lang="en-GB" sz="700" dirty="0">
              <a:solidFill>
                <a:schemeClr val="bg1"/>
              </a:solidFill>
              <a:sym typeface="+mn-lt"/>
            </a:endParaRPr>
          </a:p>
        </p:txBody>
      </p:sp>
      <p:sp>
        <p:nvSpPr>
          <p:cNvPr id="46" name="TextBox 45"/>
          <p:cNvSpPr txBox="1"/>
          <p:nvPr/>
        </p:nvSpPr>
        <p:spPr>
          <a:xfrm>
            <a:off x="1325035" y="1473398"/>
            <a:ext cx="763351" cy="307777"/>
          </a:xfrm>
          <a:prstGeom prst="rect">
            <a:avLst/>
          </a:prstGeom>
          <a:noFill/>
        </p:spPr>
        <p:txBody>
          <a:bodyPr wrap="none" rtlCol="0">
            <a:spAutoFit/>
          </a:bodyPr>
          <a:lstStyle/>
          <a:p>
            <a:r>
              <a:rPr lang="sv-SE" sz="1400" dirty="0" err="1"/>
              <a:t>USDbn</a:t>
            </a:r>
            <a:endParaRPr lang="sv-SE" sz="1400" dirty="0"/>
          </a:p>
        </p:txBody>
      </p:sp>
      <p:cxnSp>
        <p:nvCxnSpPr>
          <p:cNvPr id="47" name="Straight Connector 46"/>
          <p:cNvCxnSpPr/>
          <p:nvPr>
            <p:custDataLst>
              <p:tags r:id="rId40"/>
            </p:custDataLst>
          </p:nvPr>
        </p:nvCxnSpPr>
        <p:spPr bwMode="auto">
          <a:xfrm flipH="1" flipV="1">
            <a:off x="4077497" y="4646042"/>
            <a:ext cx="119423" cy="62959"/>
          </a:xfrm>
          <a:prstGeom prst="line">
            <a:avLst/>
          </a:prstGeom>
          <a:solidFill>
            <a:schemeClr val="accent1"/>
          </a:solidFill>
          <a:ln w="6350" cap="rnd" cmpd="sng" algn="ctr">
            <a:solidFill>
              <a:srgbClr val="00285F"/>
            </a:solidFill>
            <a:prstDash val="solid"/>
            <a:round/>
            <a:headEnd type="none" w="med" len="med"/>
            <a:tailEnd type="none" w="med" len="med"/>
          </a:ln>
          <a:effectLst/>
        </p:spPr>
      </p:cxnSp>
      <p:sp>
        <p:nvSpPr>
          <p:cNvPr id="48" name="Oval 47"/>
          <p:cNvSpPr/>
          <p:nvPr/>
        </p:nvSpPr>
        <p:spPr bwMode="auto">
          <a:xfrm>
            <a:off x="7357543" y="4715418"/>
            <a:ext cx="87516" cy="87516"/>
          </a:xfrm>
          <a:prstGeom prst="ellipse">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49" name="Oval 48"/>
          <p:cNvSpPr/>
          <p:nvPr/>
        </p:nvSpPr>
        <p:spPr bwMode="auto">
          <a:xfrm>
            <a:off x="7357543" y="4168889"/>
            <a:ext cx="87516" cy="87516"/>
          </a:xfrm>
          <a:prstGeom prst="ellipse">
            <a:avLst/>
          </a:prstGeom>
          <a:solidFill>
            <a:srgbClr val="00A9D4"/>
          </a:solidFill>
          <a:ln w="12700" cap="flat" cmpd="sng" algn="ctr">
            <a:noFill/>
            <a:prstDash val="solid"/>
            <a:round/>
            <a:headEnd type="none" w="med" len="med"/>
            <a:tailEnd type="none" w="med" len="med"/>
          </a:ln>
          <a:effectLs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0" name="Oval 49"/>
          <p:cNvSpPr/>
          <p:nvPr/>
        </p:nvSpPr>
        <p:spPr bwMode="auto">
          <a:xfrm>
            <a:off x="7357543" y="3643703"/>
            <a:ext cx="87516" cy="87516"/>
          </a:xfrm>
          <a:prstGeom prst="ellipse">
            <a:avLst/>
          </a:prstGeom>
          <a:solidFill>
            <a:srgbClr val="F08A00"/>
          </a:solidFill>
          <a:ln w="12700" cap="flat" cmpd="sng" algn="ctr">
            <a:noFill/>
            <a:prstDash val="solid"/>
            <a:round/>
            <a:headEnd type="none" w="med" len="med"/>
            <a:tailEnd type="none" w="med" len="med"/>
          </a:ln>
          <a:effectLs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1" name="Oval 50"/>
          <p:cNvSpPr/>
          <p:nvPr/>
        </p:nvSpPr>
        <p:spPr bwMode="auto">
          <a:xfrm>
            <a:off x="7357543" y="3295796"/>
            <a:ext cx="87516" cy="87516"/>
          </a:xfrm>
          <a:prstGeom prst="ellipse">
            <a:avLst/>
          </a:prstGeom>
          <a:solidFill>
            <a:srgbClr val="B1B3B4"/>
          </a:solidFill>
          <a:ln w="12700" cap="flat" cmpd="sng" algn="ctr">
            <a:noFill/>
            <a:prstDash val="solid"/>
            <a:round/>
            <a:headEnd type="none" w="med" len="med"/>
            <a:tailEnd type="none" w="med" len="med"/>
          </a:ln>
          <a:effectLs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2" name="Oval 51"/>
          <p:cNvSpPr/>
          <p:nvPr/>
        </p:nvSpPr>
        <p:spPr bwMode="auto">
          <a:xfrm>
            <a:off x="7357543" y="2935650"/>
            <a:ext cx="87516" cy="87516"/>
          </a:xfrm>
          <a:prstGeom prst="ellipse">
            <a:avLst/>
          </a:prstGeom>
          <a:solidFill>
            <a:srgbClr val="00285F"/>
          </a:solidFill>
          <a:ln w="12700" cap="flat" cmpd="sng" algn="ctr">
            <a:noFill/>
            <a:prstDash val="solid"/>
            <a:round/>
            <a:headEnd type="none" w="med" len="med"/>
            <a:tailEnd type="none" w="med" len="med"/>
          </a:ln>
          <a:effectLs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3" name="Oval 52"/>
          <p:cNvSpPr/>
          <p:nvPr/>
        </p:nvSpPr>
        <p:spPr bwMode="auto">
          <a:xfrm>
            <a:off x="7357543" y="2644467"/>
            <a:ext cx="87516" cy="87516"/>
          </a:xfrm>
          <a:prstGeom prst="ellipse">
            <a:avLst/>
          </a:prstGeom>
          <a:solidFill>
            <a:srgbClr val="0066CB"/>
          </a:solidFill>
          <a:ln w="12700" cap="flat" cmpd="sng" algn="ctr">
            <a:noFill/>
            <a:prstDash val="solid"/>
            <a:round/>
            <a:headEnd type="none" w="med" len="med"/>
            <a:tailEnd type="none" w="med" len="med"/>
          </a:ln>
          <a:effectLs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4" name="Oval 53"/>
          <p:cNvSpPr/>
          <p:nvPr/>
        </p:nvSpPr>
        <p:spPr bwMode="auto">
          <a:xfrm>
            <a:off x="7357543" y="2398582"/>
            <a:ext cx="87516" cy="87516"/>
          </a:xfrm>
          <a:prstGeom prst="ellipse">
            <a:avLst/>
          </a:prstGeom>
          <a:solidFill>
            <a:srgbClr val="CCCCF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5" name="Oval 54"/>
          <p:cNvSpPr/>
          <p:nvPr/>
        </p:nvSpPr>
        <p:spPr bwMode="auto">
          <a:xfrm>
            <a:off x="7357543" y="2170025"/>
            <a:ext cx="87516" cy="87516"/>
          </a:xfrm>
          <a:prstGeom prst="ellipse">
            <a:avLst/>
          </a:prstGeom>
          <a:solidFill>
            <a:srgbClr val="00625F"/>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8160170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F Repository Function (NRF)</a:t>
            </a:r>
          </a:p>
        </p:txBody>
      </p:sp>
      <p:sp>
        <p:nvSpPr>
          <p:cNvPr id="3" name="Text Placeholder 2"/>
          <p:cNvSpPr>
            <a:spLocks noGrp="1"/>
          </p:cNvSpPr>
          <p:nvPr>
            <p:ph type="body" idx="1"/>
          </p:nvPr>
        </p:nvSpPr>
        <p:spPr/>
        <p:txBody>
          <a:bodyPr/>
          <a:lstStyle/>
          <a:p>
            <a:pPr marL="0" indent="0">
              <a:buNone/>
            </a:pPr>
            <a:r>
              <a:rPr lang="en-US" dirty="0"/>
              <a:t>Main Functionality</a:t>
            </a:r>
          </a:p>
          <a:p>
            <a:r>
              <a:rPr lang="en-US" dirty="0"/>
              <a:t>Provides service discovery function</a:t>
            </a:r>
          </a:p>
          <a:p>
            <a:pPr lvl="1"/>
            <a:r>
              <a:rPr lang="en-US" dirty="0"/>
              <a:t>Similar to a DNS function</a:t>
            </a:r>
          </a:p>
          <a:p>
            <a:r>
              <a:rPr lang="en-US" dirty="0"/>
              <a:t>Maintains the information of available NF instances and their </a:t>
            </a:r>
            <a:br>
              <a:rPr lang="en-US" dirty="0"/>
            </a:br>
            <a:r>
              <a:rPr lang="en-US" dirty="0"/>
              <a:t>services </a:t>
            </a:r>
          </a:p>
          <a:p>
            <a:pPr marL="0" indent="0">
              <a:buNone/>
            </a:pPr>
            <a:endParaRPr lang="en-US" dirty="0"/>
          </a:p>
        </p:txBody>
      </p:sp>
      <p:grpSp>
        <p:nvGrpSpPr>
          <p:cNvPr id="17" name="Group 16"/>
          <p:cNvGrpSpPr/>
          <p:nvPr/>
        </p:nvGrpSpPr>
        <p:grpSpPr>
          <a:xfrm>
            <a:off x="9912497" y="1810344"/>
            <a:ext cx="1210444" cy="1248752"/>
            <a:chOff x="5738513" y="1208402"/>
            <a:chExt cx="1210444" cy="1248752"/>
          </a:xfrm>
        </p:grpSpPr>
        <p:grpSp>
          <p:nvGrpSpPr>
            <p:cNvPr id="4" name="Group 138"/>
            <p:cNvGrpSpPr>
              <a:grpSpLocks/>
            </p:cNvGrpSpPr>
            <p:nvPr/>
          </p:nvGrpSpPr>
          <p:grpSpPr bwMode="auto">
            <a:xfrm>
              <a:off x="5738513" y="1208402"/>
              <a:ext cx="709686" cy="996949"/>
              <a:chOff x="2530204" y="1718022"/>
              <a:chExt cx="1186277" cy="1647323"/>
            </a:xfrm>
          </p:grpSpPr>
          <p:sp>
            <p:nvSpPr>
              <p:cNvPr id="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8" name="Group 274"/>
              <p:cNvGrpSpPr>
                <a:grpSpLocks noChangeAspect="1"/>
              </p:cNvGrpSpPr>
              <p:nvPr/>
            </p:nvGrpSpPr>
            <p:grpSpPr bwMode="auto">
              <a:xfrm>
                <a:off x="2590950" y="1853233"/>
                <a:ext cx="1125531" cy="1512112"/>
                <a:chOff x="3147" y="3024"/>
                <a:chExt cx="257" cy="366"/>
              </a:xfrm>
            </p:grpSpPr>
            <p:grpSp>
              <p:nvGrpSpPr>
                <p:cNvPr id="9" name="Group 7"/>
                <p:cNvGrpSpPr>
                  <a:grpSpLocks noChangeAspect="1"/>
                </p:cNvGrpSpPr>
                <p:nvPr/>
              </p:nvGrpSpPr>
              <p:grpSpPr bwMode="auto">
                <a:xfrm>
                  <a:off x="3147" y="3024"/>
                  <a:ext cx="257" cy="366"/>
                  <a:chOff x="2283" y="1698"/>
                  <a:chExt cx="983" cy="1402"/>
                </a:xfrm>
              </p:grpSpPr>
              <p:pic>
                <p:nvPicPr>
                  <p:cNvPr id="11"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1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NRF</a:t>
                  </a:r>
                </a:p>
              </p:txBody>
            </p:sp>
          </p:grpSp>
        </p:grpSp>
        <p:sp>
          <p:nvSpPr>
            <p:cNvPr id="13" name="Text Box 144"/>
            <p:cNvSpPr txBox="1">
              <a:spLocks noChangeAspect="1" noChangeArrowheads="1"/>
            </p:cNvSpPr>
            <p:nvPr/>
          </p:nvSpPr>
          <p:spPr bwMode="auto">
            <a:xfrm>
              <a:off x="5956769" y="2270074"/>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nrf</a:t>
              </a:r>
              <a:endParaRPr lang="en-US" altLang="en-US" sz="1400" dirty="0">
                <a:solidFill>
                  <a:srgbClr val="FF0000"/>
                </a:solidFill>
              </a:endParaRPr>
            </a:p>
          </p:txBody>
        </p:sp>
        <p:grpSp>
          <p:nvGrpSpPr>
            <p:cNvPr id="14" name="Group 13"/>
            <p:cNvGrpSpPr/>
            <p:nvPr/>
          </p:nvGrpSpPr>
          <p:grpSpPr>
            <a:xfrm>
              <a:off x="6044094" y="2180218"/>
              <a:ext cx="145622" cy="276936"/>
              <a:chOff x="7323671" y="1568309"/>
              <a:chExt cx="145622" cy="276936"/>
            </a:xfrm>
          </p:grpSpPr>
          <p:cxnSp>
            <p:nvCxnSpPr>
              <p:cNvPr id="15" name="Straight Connector 14"/>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16" name="Oval 15"/>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spTree>
    <p:extLst>
      <p:ext uri="{BB962C8B-B14F-4D97-AF65-F5344CB8AC3E}">
        <p14:creationId xmlns:p14="http://schemas.microsoft.com/office/powerpoint/2010/main" val="21143775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3 Interworking Function (N3IWF)</a:t>
            </a:r>
          </a:p>
        </p:txBody>
      </p:sp>
      <p:sp>
        <p:nvSpPr>
          <p:cNvPr id="3" name="Text Placeholder 2"/>
          <p:cNvSpPr>
            <a:spLocks noGrp="1"/>
          </p:cNvSpPr>
          <p:nvPr>
            <p:ph type="body" idx="1"/>
          </p:nvPr>
        </p:nvSpPr>
        <p:spPr>
          <a:xfrm>
            <a:off x="529167" y="1914442"/>
            <a:ext cx="11135785" cy="4327332"/>
          </a:xfrm>
        </p:spPr>
        <p:txBody>
          <a:bodyPr/>
          <a:lstStyle/>
          <a:p>
            <a:pPr marL="0" indent="0">
              <a:buNone/>
            </a:pPr>
            <a:r>
              <a:rPr lang="en-US" dirty="0"/>
              <a:t>Main Functionality</a:t>
            </a:r>
          </a:p>
          <a:p>
            <a:r>
              <a:rPr lang="en-US" sz="2000" dirty="0">
                <a:solidFill>
                  <a:srgbClr val="00A9D4"/>
                </a:solidFill>
              </a:rPr>
              <a:t>Support of IPsec tunnel establishment with the UE</a:t>
            </a:r>
          </a:p>
          <a:p>
            <a:r>
              <a:rPr lang="en-US" sz="2000" dirty="0"/>
              <a:t>Termination of N2 and N3 interfaces to 5G Core Network for Control-Plane</a:t>
            </a:r>
            <a:br>
              <a:rPr lang="en-US" sz="2000" dirty="0"/>
            </a:br>
            <a:r>
              <a:rPr lang="en-US" sz="2000" dirty="0"/>
              <a:t>and User-Plane respectively.</a:t>
            </a:r>
          </a:p>
          <a:p>
            <a:r>
              <a:rPr lang="en-US" sz="2000" dirty="0">
                <a:solidFill>
                  <a:srgbClr val="00A9D4"/>
                </a:solidFill>
              </a:rPr>
              <a:t>Relaying uplink and downlink control-plane NAS (N1) signaling</a:t>
            </a:r>
            <a:br>
              <a:rPr lang="en-US" sz="2000" dirty="0">
                <a:solidFill>
                  <a:srgbClr val="00A9D4"/>
                </a:solidFill>
              </a:rPr>
            </a:br>
            <a:r>
              <a:rPr lang="en-US" sz="2000" dirty="0">
                <a:solidFill>
                  <a:srgbClr val="00A9D4"/>
                </a:solidFill>
              </a:rPr>
              <a:t>between the UE and AMF</a:t>
            </a:r>
          </a:p>
          <a:p>
            <a:r>
              <a:rPr lang="en-US" sz="2000" dirty="0"/>
              <a:t>Relaying uplink and downlink user-plane packets between the UE and UPF</a:t>
            </a:r>
          </a:p>
          <a:p>
            <a:pPr lvl="1"/>
            <a:r>
              <a:rPr lang="en-US" sz="1600" dirty="0"/>
              <a:t>De-capsulation/Encapsulation of packets for </a:t>
            </a:r>
            <a:r>
              <a:rPr lang="en-US" sz="1600" dirty="0" err="1"/>
              <a:t>IPSec</a:t>
            </a:r>
            <a:r>
              <a:rPr lang="en-US" sz="1600" dirty="0"/>
              <a:t> and N3 tunneling</a:t>
            </a:r>
          </a:p>
          <a:p>
            <a:r>
              <a:rPr lang="en-US" sz="2000" dirty="0"/>
              <a:t>Handling of N2 signaling from SMF (relayed by AMF) related to PDU sessions and </a:t>
            </a:r>
            <a:r>
              <a:rPr lang="en-US" sz="2000" dirty="0" err="1"/>
              <a:t>QoS</a:t>
            </a:r>
            <a:endParaRPr lang="en-US" sz="2000" dirty="0"/>
          </a:p>
          <a:p>
            <a:r>
              <a:rPr lang="en-US" sz="2000" dirty="0"/>
              <a:t>Enforcing </a:t>
            </a:r>
            <a:r>
              <a:rPr lang="en-US" sz="2000" dirty="0" err="1"/>
              <a:t>QoS</a:t>
            </a:r>
            <a:r>
              <a:rPr lang="en-US" sz="2000" dirty="0"/>
              <a:t> corresponding to N3 packet marking, taking into account </a:t>
            </a:r>
            <a:r>
              <a:rPr lang="en-US" sz="2000" dirty="0" err="1"/>
              <a:t>QoS</a:t>
            </a:r>
            <a:r>
              <a:rPr lang="en-US" sz="2000" dirty="0"/>
              <a:t> requirements associated to such marking received over N2</a:t>
            </a:r>
          </a:p>
          <a:p>
            <a:r>
              <a:rPr lang="en-US" sz="2000" dirty="0">
                <a:solidFill>
                  <a:srgbClr val="00A9D4"/>
                </a:solidFill>
              </a:rPr>
              <a:t>Supporting AMF selection.</a:t>
            </a:r>
            <a:endParaRPr lang="en-US" dirty="0">
              <a:solidFill>
                <a:srgbClr val="00A9D4"/>
              </a:solidFill>
            </a:endParaRPr>
          </a:p>
        </p:txBody>
      </p:sp>
      <p:sp>
        <p:nvSpPr>
          <p:cNvPr id="11" name="Freeform 4"/>
          <p:cNvSpPr>
            <a:spLocks noChangeAspect="1" noEditPoints="1"/>
          </p:cNvSpPr>
          <p:nvPr/>
        </p:nvSpPr>
        <p:spPr bwMode="auto">
          <a:xfrm>
            <a:off x="9447772" y="3764827"/>
            <a:ext cx="271471" cy="371889"/>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cxnSp>
        <p:nvCxnSpPr>
          <p:cNvPr id="12" name="Straight Connector 11"/>
          <p:cNvCxnSpPr>
            <a:cxnSpLocks/>
          </p:cNvCxnSpPr>
          <p:nvPr/>
        </p:nvCxnSpPr>
        <p:spPr bwMode="auto">
          <a:xfrm flipH="1" flipV="1">
            <a:off x="10703978" y="2211514"/>
            <a:ext cx="1281084" cy="2506"/>
          </a:xfrm>
          <a:prstGeom prst="line">
            <a:avLst/>
          </a:prstGeom>
          <a:solidFill>
            <a:schemeClr val="accent1"/>
          </a:solidFill>
          <a:ln w="28575" cap="flat" cmpd="sng" algn="ctr">
            <a:solidFill>
              <a:schemeClr val="tx1"/>
            </a:solidFill>
            <a:prstDash val="solid"/>
            <a:round/>
            <a:headEnd type="none" w="med" len="med"/>
            <a:tailEnd type="none" w="med" len="med"/>
          </a:ln>
          <a:effectLst/>
        </p:spPr>
      </p:cxnSp>
      <p:grpSp>
        <p:nvGrpSpPr>
          <p:cNvPr id="13" name="Group 12"/>
          <p:cNvGrpSpPr/>
          <p:nvPr/>
        </p:nvGrpSpPr>
        <p:grpSpPr>
          <a:xfrm>
            <a:off x="9861571" y="1589462"/>
            <a:ext cx="948900" cy="1274363"/>
            <a:chOff x="4338871" y="2725624"/>
            <a:chExt cx="1199053" cy="1626215"/>
          </a:xfrm>
        </p:grpSpPr>
        <p:sp>
          <p:nvSpPr>
            <p:cNvPr id="1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IWF</a:t>
              </a:r>
            </a:p>
          </p:txBody>
        </p:sp>
        <p:sp>
          <p:nvSpPr>
            <p:cNvPr id="1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cxnSp>
        <p:nvCxnSpPr>
          <p:cNvPr id="20" name="Straight Connector 19"/>
          <p:cNvCxnSpPr/>
          <p:nvPr/>
        </p:nvCxnSpPr>
        <p:spPr bwMode="auto">
          <a:xfrm>
            <a:off x="9987534" y="903786"/>
            <a:ext cx="0" cy="2287167"/>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1" name="Freeform: Shape 20"/>
          <p:cNvSpPr/>
          <p:nvPr/>
        </p:nvSpPr>
        <p:spPr bwMode="auto">
          <a:xfrm>
            <a:off x="9689263" y="3109826"/>
            <a:ext cx="309176" cy="870926"/>
          </a:xfrm>
          <a:custGeom>
            <a:avLst/>
            <a:gdLst>
              <a:gd name="connsiteX0" fmla="*/ 0 w 1903751"/>
              <a:gd name="connsiteY0" fmla="*/ 794478 h 870926"/>
              <a:gd name="connsiteX1" fmla="*/ 1573967 w 1903751"/>
              <a:gd name="connsiteY1" fmla="*/ 794478 h 870926"/>
              <a:gd name="connsiteX2" fmla="*/ 1903751 w 1903751"/>
              <a:gd name="connsiteY2" fmla="*/ 0 h 870926"/>
            </a:gdLst>
            <a:ahLst/>
            <a:cxnLst>
              <a:cxn ang="0">
                <a:pos x="connsiteX0" y="connsiteY0"/>
              </a:cxn>
              <a:cxn ang="0">
                <a:pos x="connsiteX1" y="connsiteY1"/>
              </a:cxn>
              <a:cxn ang="0">
                <a:pos x="connsiteX2" y="connsiteY2"/>
              </a:cxn>
            </a:cxnLst>
            <a:rect l="l" t="t" r="r" b="b"/>
            <a:pathLst>
              <a:path w="1903751" h="870926">
                <a:moveTo>
                  <a:pt x="0" y="794478"/>
                </a:moveTo>
                <a:cubicBezTo>
                  <a:pt x="628337" y="860684"/>
                  <a:pt x="1256675" y="926891"/>
                  <a:pt x="1573967" y="794478"/>
                </a:cubicBezTo>
                <a:cubicBezTo>
                  <a:pt x="1891259" y="662065"/>
                  <a:pt x="1858781" y="302301"/>
                  <a:pt x="1903751" y="0"/>
                </a:cubicBezTo>
              </a:path>
            </a:pathLst>
          </a:custGeom>
          <a:noFill/>
          <a:ln w="1905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2" name="Text Box 144"/>
          <p:cNvSpPr txBox="1">
            <a:spLocks noChangeAspect="1" noChangeArrowheads="1"/>
          </p:cNvSpPr>
          <p:nvPr/>
        </p:nvSpPr>
        <p:spPr bwMode="auto">
          <a:xfrm>
            <a:off x="9987534" y="113915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sp>
        <p:nvSpPr>
          <p:cNvPr id="23" name="Text Box 144"/>
          <p:cNvSpPr txBox="1">
            <a:spLocks noChangeAspect="1" noChangeArrowheads="1"/>
          </p:cNvSpPr>
          <p:nvPr/>
        </p:nvSpPr>
        <p:spPr bwMode="auto">
          <a:xfrm>
            <a:off x="10813106" y="203777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cxnSp>
        <p:nvCxnSpPr>
          <p:cNvPr id="24" name="Straight Connector 23"/>
          <p:cNvCxnSpPr>
            <a:cxnSpLocks/>
          </p:cNvCxnSpPr>
          <p:nvPr/>
        </p:nvCxnSpPr>
        <p:spPr bwMode="auto">
          <a:xfrm flipV="1">
            <a:off x="10281270" y="931295"/>
            <a:ext cx="1200" cy="674915"/>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5" name="Text Box 144"/>
          <p:cNvSpPr txBox="1">
            <a:spLocks noChangeAspect="1" noChangeArrowheads="1"/>
          </p:cNvSpPr>
          <p:nvPr/>
        </p:nvSpPr>
        <p:spPr bwMode="auto">
          <a:xfrm>
            <a:off x="9327851" y="303032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cxnSp>
        <p:nvCxnSpPr>
          <p:cNvPr id="26" name="Straight Connector 25"/>
          <p:cNvCxnSpPr/>
          <p:nvPr/>
        </p:nvCxnSpPr>
        <p:spPr>
          <a:xfrm flipH="1" flipV="1">
            <a:off x="9327852" y="3202675"/>
            <a:ext cx="1532113" cy="562152"/>
          </a:xfrm>
          <a:prstGeom prst="line">
            <a:avLst/>
          </a:prstGeom>
          <a:ln>
            <a:prstDash val="lgDashDot"/>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957638" y="3793509"/>
            <a:ext cx="934871" cy="523220"/>
          </a:xfrm>
          <a:prstGeom prst="rect">
            <a:avLst/>
          </a:prstGeom>
          <a:noFill/>
        </p:spPr>
        <p:txBody>
          <a:bodyPr wrap="none" rtlCol="0">
            <a:spAutoFit/>
          </a:bodyPr>
          <a:lstStyle/>
          <a:p>
            <a:r>
              <a:rPr lang="en-US" sz="1400" dirty="0"/>
              <a:t>Non-3GPP</a:t>
            </a:r>
            <a:br>
              <a:rPr lang="en-US" sz="1400" dirty="0"/>
            </a:br>
            <a:r>
              <a:rPr lang="en-US" sz="1400" dirty="0"/>
              <a:t>Access</a:t>
            </a:r>
          </a:p>
        </p:txBody>
      </p:sp>
    </p:spTree>
    <p:extLst>
      <p:ext uri="{BB962C8B-B14F-4D97-AF65-F5344CB8AC3E}">
        <p14:creationId xmlns:p14="http://schemas.microsoft.com/office/powerpoint/2010/main" val="45260385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US" dirty="0"/>
              <a:t>5G terms and definitions (2/5)</a:t>
            </a:r>
            <a:br>
              <a:rPr lang="en-US" dirty="0"/>
            </a:br>
            <a:r>
              <a:rPr lang="en-US" sz="2400" dirty="0">
                <a:latin typeface="+mn-lt"/>
              </a:rPr>
              <a:t>3GPP TS 23.501</a:t>
            </a:r>
            <a:r>
              <a:rPr lang="en-US" sz="2400" dirty="0"/>
              <a:t> </a:t>
            </a:r>
          </a:p>
        </p:txBody>
      </p:sp>
      <p:sp>
        <p:nvSpPr>
          <p:cNvPr id="3" name="Text Placeholder 2"/>
          <p:cNvSpPr>
            <a:spLocks noGrp="1"/>
          </p:cNvSpPr>
          <p:nvPr>
            <p:ph type="body" idx="1"/>
          </p:nvPr>
        </p:nvSpPr>
        <p:spPr>
          <a:xfrm>
            <a:off x="529167" y="1379813"/>
            <a:ext cx="11135785" cy="5155898"/>
          </a:xfrm>
        </p:spPr>
        <p:txBody>
          <a:bodyPr/>
          <a:lstStyle/>
          <a:p>
            <a:r>
              <a:rPr lang="en-US" dirty="0"/>
              <a:t>Network function (NF)</a:t>
            </a:r>
          </a:p>
          <a:p>
            <a:pPr lvl="1"/>
            <a:r>
              <a:rPr lang="en-GB" dirty="0"/>
              <a:t> A 3GPP adopted or 3GPP defined processing function in a network, which has defined functional behaviour and 3GPP defined interfaces</a:t>
            </a:r>
          </a:p>
          <a:p>
            <a:pPr lvl="1"/>
            <a:r>
              <a:rPr lang="en-GB" dirty="0"/>
              <a:t>Physical Network Function (PNF)</a:t>
            </a:r>
          </a:p>
          <a:p>
            <a:pPr lvl="2"/>
            <a:r>
              <a:rPr lang="en-US" sz="1600" dirty="0"/>
              <a:t>A NF implemented as a software instance on a dedicated hardware</a:t>
            </a:r>
          </a:p>
          <a:p>
            <a:pPr lvl="1"/>
            <a:r>
              <a:rPr lang="en-US" dirty="0"/>
              <a:t>Virtual Network function (VNF)</a:t>
            </a:r>
          </a:p>
          <a:p>
            <a:pPr lvl="2"/>
            <a:r>
              <a:rPr lang="en-US" sz="1600" dirty="0"/>
              <a:t>A NF implemented as a software instance on a cloud infrastructure</a:t>
            </a:r>
          </a:p>
          <a:p>
            <a:r>
              <a:rPr lang="en-US" dirty="0"/>
              <a:t>NF Service</a:t>
            </a:r>
          </a:p>
          <a:p>
            <a:pPr lvl="1"/>
            <a:r>
              <a:rPr lang="en-GB" dirty="0"/>
              <a:t>A functionality exposed by a NF through a service based interface and consumed by other authorized NFs.</a:t>
            </a:r>
            <a:endParaRPr lang="en-US" dirty="0"/>
          </a:p>
          <a:p>
            <a:r>
              <a:rPr lang="en-US" dirty="0"/>
              <a:t>NF service operation</a:t>
            </a:r>
          </a:p>
          <a:p>
            <a:pPr lvl="1"/>
            <a:r>
              <a:rPr lang="en-GB" dirty="0"/>
              <a:t>An elementary unit a NF service is composed of.</a:t>
            </a:r>
            <a:endParaRPr lang="en-US" dirty="0"/>
          </a:p>
          <a:p>
            <a:r>
              <a:rPr lang="en-US" dirty="0"/>
              <a:t>Service Based Interface (SBI)</a:t>
            </a:r>
          </a:p>
          <a:p>
            <a:pPr lvl="1"/>
            <a:r>
              <a:rPr lang="en-GB" dirty="0"/>
              <a:t>It represents how the set of services is provided/exposed by a given NF.</a:t>
            </a:r>
            <a:endParaRPr lang="en-US" dirty="0"/>
          </a:p>
          <a:p>
            <a:pPr lvl="1"/>
            <a:endParaRPr lang="en-US" dirty="0"/>
          </a:p>
        </p:txBody>
      </p:sp>
    </p:spTree>
    <p:extLst>
      <p:ext uri="{BB962C8B-B14F-4D97-AF65-F5344CB8AC3E}">
        <p14:creationId xmlns:p14="http://schemas.microsoft.com/office/powerpoint/2010/main" val="67259650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be 5"/>
          <p:cNvSpPr/>
          <p:nvPr/>
        </p:nvSpPr>
        <p:spPr bwMode="auto">
          <a:xfrm>
            <a:off x="1208433" y="2736479"/>
            <a:ext cx="3111775" cy="3644347"/>
          </a:xfrm>
          <a:prstGeom prst="cube">
            <a:avLst/>
          </a:prstGeom>
          <a:solidFill>
            <a:schemeClr val="tx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NF A</a:t>
            </a:r>
          </a:p>
        </p:txBody>
      </p:sp>
      <p:sp>
        <p:nvSpPr>
          <p:cNvPr id="16" name="Arrow: Left 15"/>
          <p:cNvSpPr/>
          <p:nvPr/>
        </p:nvSpPr>
        <p:spPr bwMode="auto">
          <a:xfrm>
            <a:off x="3816626" y="3889418"/>
            <a:ext cx="3993287" cy="371061"/>
          </a:xfrm>
          <a:prstGeom prst="lef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Request</a:t>
            </a:r>
          </a:p>
        </p:txBody>
      </p:sp>
      <p:sp>
        <p:nvSpPr>
          <p:cNvPr id="18" name="Arrow: Left 17"/>
          <p:cNvSpPr/>
          <p:nvPr/>
        </p:nvSpPr>
        <p:spPr bwMode="auto">
          <a:xfrm flipH="1">
            <a:off x="3823252" y="4346618"/>
            <a:ext cx="3993287" cy="371061"/>
          </a:xfrm>
          <a:prstGeom prst="lef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Reply</a:t>
            </a:r>
          </a:p>
        </p:txBody>
      </p:sp>
      <p:sp>
        <p:nvSpPr>
          <p:cNvPr id="2" name="Title 1"/>
          <p:cNvSpPr>
            <a:spLocks noGrp="1"/>
          </p:cNvSpPr>
          <p:nvPr>
            <p:ph type="title"/>
          </p:nvPr>
        </p:nvSpPr>
        <p:spPr/>
        <p:txBody>
          <a:bodyPr/>
          <a:lstStyle/>
          <a:p>
            <a:r>
              <a:rPr lang="en-US" dirty="0"/>
              <a:t>Service-based interface in 5GC</a:t>
            </a:r>
            <a:br>
              <a:rPr lang="en-US" dirty="0"/>
            </a:br>
            <a:r>
              <a:rPr lang="en-US" sz="2400" dirty="0">
                <a:latin typeface="+mn-lt"/>
              </a:rPr>
              <a:t>Services and Operations</a:t>
            </a:r>
          </a:p>
        </p:txBody>
      </p:sp>
      <p:sp>
        <p:nvSpPr>
          <p:cNvPr id="21" name="Oval 20"/>
          <p:cNvSpPr/>
          <p:nvPr/>
        </p:nvSpPr>
        <p:spPr bwMode="auto">
          <a:xfrm>
            <a:off x="6904383" y="3809905"/>
            <a:ext cx="198782" cy="94753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 name="Cube 6"/>
          <p:cNvSpPr/>
          <p:nvPr/>
        </p:nvSpPr>
        <p:spPr bwMode="auto">
          <a:xfrm>
            <a:off x="7814641" y="2736480"/>
            <a:ext cx="3111775" cy="3644346"/>
          </a:xfrm>
          <a:prstGeom prst="cube">
            <a:avLst/>
          </a:prstGeom>
          <a:solidFill>
            <a:schemeClr val="tx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NF B</a:t>
            </a:r>
          </a:p>
        </p:txBody>
      </p:sp>
      <p:sp>
        <p:nvSpPr>
          <p:cNvPr id="8" name="Oval 7"/>
          <p:cNvSpPr/>
          <p:nvPr/>
        </p:nvSpPr>
        <p:spPr bwMode="auto">
          <a:xfrm>
            <a:off x="8097081" y="4011999"/>
            <a:ext cx="1616765" cy="675860"/>
          </a:xfrm>
          <a:prstGeom prst="ellipse">
            <a:avLst/>
          </a:prstGeom>
          <a:solidFill>
            <a:schemeClr val="tx2">
              <a:lumMod val="10000"/>
              <a:lumOff val="9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A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Consumer</a:t>
            </a:r>
          </a:p>
        </p:txBody>
      </p:sp>
      <p:sp>
        <p:nvSpPr>
          <p:cNvPr id="9" name="Oval 8"/>
          <p:cNvSpPr/>
          <p:nvPr/>
        </p:nvSpPr>
        <p:spPr bwMode="auto">
          <a:xfrm>
            <a:off x="1586950" y="5135119"/>
            <a:ext cx="1616765" cy="675860"/>
          </a:xfrm>
          <a:prstGeom prst="ellipse">
            <a:avLst/>
          </a:prstGeom>
          <a:solidFill>
            <a:schemeClr val="accent2">
              <a:lumMod val="20000"/>
              <a:lumOff val="8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B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Consumer</a:t>
            </a:r>
          </a:p>
        </p:txBody>
      </p:sp>
      <p:sp>
        <p:nvSpPr>
          <p:cNvPr id="10" name="Oval 9"/>
          <p:cNvSpPr/>
          <p:nvPr/>
        </p:nvSpPr>
        <p:spPr bwMode="auto">
          <a:xfrm>
            <a:off x="1586950" y="4011999"/>
            <a:ext cx="1616765" cy="675860"/>
          </a:xfrm>
          <a:prstGeom prst="ellipse">
            <a:avLst/>
          </a:prstGeom>
          <a:solidFill>
            <a:schemeClr val="tx2">
              <a:lumMod val="10000"/>
              <a:lumOff val="9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A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Producer</a:t>
            </a:r>
          </a:p>
        </p:txBody>
      </p:sp>
      <p:sp>
        <p:nvSpPr>
          <p:cNvPr id="11" name="Oval 10"/>
          <p:cNvSpPr/>
          <p:nvPr/>
        </p:nvSpPr>
        <p:spPr bwMode="auto">
          <a:xfrm>
            <a:off x="8097081" y="5135119"/>
            <a:ext cx="1616765" cy="675860"/>
          </a:xfrm>
          <a:prstGeom prst="ellipse">
            <a:avLst/>
          </a:prstGeom>
          <a:solidFill>
            <a:schemeClr val="accent2">
              <a:lumMod val="20000"/>
              <a:lumOff val="8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B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Producer</a:t>
            </a:r>
          </a:p>
        </p:txBody>
      </p:sp>
      <p:sp>
        <p:nvSpPr>
          <p:cNvPr id="19" name="Arrow: Left 18"/>
          <p:cNvSpPr/>
          <p:nvPr/>
        </p:nvSpPr>
        <p:spPr bwMode="auto">
          <a:xfrm flipH="1">
            <a:off x="3823253" y="5075488"/>
            <a:ext cx="3993287" cy="371061"/>
          </a:xfrm>
          <a:prstGeom prst="leftArrow">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Subscribe</a:t>
            </a:r>
          </a:p>
        </p:txBody>
      </p:sp>
      <p:sp>
        <p:nvSpPr>
          <p:cNvPr id="20" name="Arrow: Left 19"/>
          <p:cNvSpPr/>
          <p:nvPr/>
        </p:nvSpPr>
        <p:spPr bwMode="auto">
          <a:xfrm>
            <a:off x="3829879" y="5532688"/>
            <a:ext cx="3993287" cy="371061"/>
          </a:xfrm>
          <a:prstGeom prst="leftArrow">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a:t>Notify</a:t>
            </a:r>
            <a:endParaRPr kumimoji="0" lang="en-US" sz="1600" b="0" i="0" u="none" strike="noStrike" cap="none" normalizeH="0" baseline="0" dirty="0">
              <a:ln>
                <a:noFill/>
              </a:ln>
              <a:solidFill>
                <a:schemeClr val="tx1"/>
              </a:solidFill>
              <a:effectLst/>
              <a:latin typeface="Arial" charset="0"/>
            </a:endParaRPr>
          </a:p>
        </p:txBody>
      </p:sp>
      <p:sp>
        <p:nvSpPr>
          <p:cNvPr id="22" name="Oval 21"/>
          <p:cNvSpPr/>
          <p:nvPr/>
        </p:nvSpPr>
        <p:spPr bwMode="auto">
          <a:xfrm>
            <a:off x="6884511" y="5032419"/>
            <a:ext cx="198782" cy="94753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3" name="Oval 22"/>
          <p:cNvSpPr/>
          <p:nvPr/>
        </p:nvSpPr>
        <p:spPr bwMode="auto">
          <a:xfrm>
            <a:off x="4572000" y="3518357"/>
            <a:ext cx="238539" cy="2690192"/>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25" name="Straight Connector 24"/>
          <p:cNvCxnSpPr>
            <a:stCxn id="23" idx="0"/>
            <a:endCxn id="26" idx="1"/>
          </p:cNvCxnSpPr>
          <p:nvPr/>
        </p:nvCxnSpPr>
        <p:spPr bwMode="auto">
          <a:xfrm flipV="1">
            <a:off x="4691270" y="2899627"/>
            <a:ext cx="397564" cy="61873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6" name="TextBox 25"/>
          <p:cNvSpPr txBox="1"/>
          <p:nvPr/>
        </p:nvSpPr>
        <p:spPr>
          <a:xfrm>
            <a:off x="5088834" y="2730350"/>
            <a:ext cx="2888932" cy="338554"/>
          </a:xfrm>
          <a:prstGeom prst="rect">
            <a:avLst/>
          </a:prstGeom>
          <a:noFill/>
        </p:spPr>
        <p:txBody>
          <a:bodyPr wrap="none" rtlCol="0">
            <a:spAutoFit/>
          </a:bodyPr>
          <a:lstStyle/>
          <a:p>
            <a:r>
              <a:rPr lang="en-US" sz="1600" dirty="0"/>
              <a:t>Service Based Interface (SBI)</a:t>
            </a:r>
          </a:p>
        </p:txBody>
      </p:sp>
      <p:cxnSp>
        <p:nvCxnSpPr>
          <p:cNvPr id="28" name="Straight Connector 27"/>
          <p:cNvCxnSpPr>
            <a:stCxn id="22" idx="4"/>
          </p:cNvCxnSpPr>
          <p:nvPr/>
        </p:nvCxnSpPr>
        <p:spPr bwMode="auto">
          <a:xfrm flipH="1">
            <a:off x="6586330" y="5979949"/>
            <a:ext cx="397572" cy="53340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9" name="TextBox 28"/>
          <p:cNvSpPr txBox="1"/>
          <p:nvPr/>
        </p:nvSpPr>
        <p:spPr>
          <a:xfrm>
            <a:off x="5713195" y="6509410"/>
            <a:ext cx="2258952" cy="338554"/>
          </a:xfrm>
          <a:prstGeom prst="rect">
            <a:avLst/>
          </a:prstGeom>
          <a:noFill/>
        </p:spPr>
        <p:txBody>
          <a:bodyPr wrap="none" rtlCol="0">
            <a:spAutoFit/>
          </a:bodyPr>
          <a:lstStyle/>
          <a:p>
            <a:r>
              <a:rPr lang="en-US" sz="1600" dirty="0"/>
              <a:t>NF Service Operations</a:t>
            </a:r>
          </a:p>
        </p:txBody>
      </p:sp>
      <p:sp>
        <p:nvSpPr>
          <p:cNvPr id="30" name="TextBox 29"/>
          <p:cNvSpPr txBox="1"/>
          <p:nvPr/>
        </p:nvSpPr>
        <p:spPr>
          <a:xfrm>
            <a:off x="5646935" y="3073654"/>
            <a:ext cx="2258952" cy="338554"/>
          </a:xfrm>
          <a:prstGeom prst="rect">
            <a:avLst/>
          </a:prstGeom>
          <a:noFill/>
        </p:spPr>
        <p:txBody>
          <a:bodyPr wrap="none" rtlCol="0">
            <a:spAutoFit/>
          </a:bodyPr>
          <a:lstStyle/>
          <a:p>
            <a:r>
              <a:rPr lang="en-US" sz="1600" dirty="0"/>
              <a:t>NF Service Operations</a:t>
            </a:r>
          </a:p>
        </p:txBody>
      </p:sp>
      <p:cxnSp>
        <p:nvCxnSpPr>
          <p:cNvPr id="32" name="Straight Connector 31"/>
          <p:cNvCxnSpPr>
            <a:stCxn id="21" idx="0"/>
            <a:endCxn id="30" idx="2"/>
          </p:cNvCxnSpPr>
          <p:nvPr/>
        </p:nvCxnSpPr>
        <p:spPr bwMode="auto">
          <a:xfrm flipH="1" flipV="1">
            <a:off x="6776411" y="3412208"/>
            <a:ext cx="227363" cy="397697"/>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Content Placeholder 2"/>
          <p:cNvSpPr txBox="1">
            <a:spLocks/>
          </p:cNvSpPr>
          <p:nvPr/>
        </p:nvSpPr>
        <p:spPr bwMode="auto">
          <a:xfrm>
            <a:off x="524934" y="1376363"/>
            <a:ext cx="10528482" cy="1245861"/>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800" kern="0" dirty="0"/>
              <a:t>A Control Plane Network Function can provide one or more NF Services</a:t>
            </a:r>
          </a:p>
          <a:p>
            <a:r>
              <a:rPr lang="en-US" sz="1800" kern="0" dirty="0"/>
              <a:t>A NF Service consist of operations based on either a request-response or a subscribe-notify model</a:t>
            </a:r>
          </a:p>
          <a:p>
            <a:r>
              <a:rPr lang="en-US" sz="1800" kern="0" dirty="0"/>
              <a:t>Common control protocol using e.g. HTTP based API replacing protocols like e.g. Diameter</a:t>
            </a:r>
          </a:p>
        </p:txBody>
      </p:sp>
    </p:spTree>
    <p:extLst>
      <p:ext uri="{BB962C8B-B14F-4D97-AF65-F5344CB8AC3E}">
        <p14:creationId xmlns:p14="http://schemas.microsoft.com/office/powerpoint/2010/main" val="26227735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5G terms and definitions (3/5)</a:t>
            </a:r>
            <a:br>
              <a:rPr lang="en-US" dirty="0"/>
            </a:br>
            <a:r>
              <a:rPr lang="en-US" sz="2400" dirty="0">
                <a:latin typeface="+mn-lt"/>
              </a:rPr>
              <a:t>3GPP TS 23.501</a:t>
            </a:r>
            <a:r>
              <a:rPr lang="en-US" sz="2400" dirty="0"/>
              <a:t> </a:t>
            </a:r>
          </a:p>
        </p:txBody>
      </p:sp>
      <p:sp>
        <p:nvSpPr>
          <p:cNvPr id="3" name="Text Placeholder 2"/>
          <p:cNvSpPr>
            <a:spLocks noGrp="1"/>
          </p:cNvSpPr>
          <p:nvPr>
            <p:ph type="body" idx="1"/>
          </p:nvPr>
        </p:nvSpPr>
        <p:spPr>
          <a:xfrm>
            <a:off x="529167" y="1289645"/>
            <a:ext cx="11135785" cy="4891751"/>
          </a:xfrm>
        </p:spPr>
        <p:txBody>
          <a:bodyPr/>
          <a:lstStyle/>
          <a:p>
            <a:r>
              <a:rPr lang="en-US" dirty="0"/>
              <a:t>Network Slice</a:t>
            </a:r>
          </a:p>
          <a:p>
            <a:pPr lvl="1"/>
            <a:r>
              <a:rPr lang="en-US" dirty="0"/>
              <a:t>A logical network that provides specific network capabilities and network characteristics</a:t>
            </a:r>
          </a:p>
          <a:p>
            <a:r>
              <a:rPr lang="en-US" dirty="0"/>
              <a:t>Network Slice instance</a:t>
            </a:r>
          </a:p>
          <a:p>
            <a:pPr lvl="1"/>
            <a:r>
              <a:rPr lang="en-US" dirty="0"/>
              <a:t>A set of Network Function instances and the required resources (e.g. compute, storage and networking resources) which form a deployed Network Slice</a:t>
            </a:r>
          </a:p>
          <a:p>
            <a:r>
              <a:rPr lang="en-US" dirty="0"/>
              <a:t>NSSAI (Network Slice Selection Assistance Information)</a:t>
            </a:r>
          </a:p>
          <a:p>
            <a:pPr lvl="1"/>
            <a:r>
              <a:rPr lang="en-US" dirty="0"/>
              <a:t>Single NSSAI</a:t>
            </a:r>
          </a:p>
          <a:p>
            <a:pPr lvl="2"/>
            <a:r>
              <a:rPr lang="en-US" sz="1600" dirty="0"/>
              <a:t>Identifies a network slice</a:t>
            </a:r>
          </a:p>
          <a:p>
            <a:pPr lvl="1"/>
            <a:r>
              <a:rPr lang="en-US" dirty="0"/>
              <a:t>Allowed NSSAI</a:t>
            </a:r>
          </a:p>
          <a:p>
            <a:pPr lvl="2"/>
            <a:r>
              <a:rPr lang="en-GB" sz="1600" dirty="0"/>
              <a:t>An NSSAI provided by the serving PLMN during e.g. a registration procedure, indicating the NSSAI allowed by the network for the UE in the serving PLMN for the current registration area.</a:t>
            </a:r>
            <a:endParaRPr lang="en-US" sz="1600" dirty="0"/>
          </a:p>
          <a:p>
            <a:pPr lvl="1"/>
            <a:r>
              <a:rPr lang="en-US" dirty="0"/>
              <a:t>Configured NSSAI</a:t>
            </a:r>
          </a:p>
          <a:p>
            <a:pPr lvl="2"/>
            <a:r>
              <a:rPr lang="en-GB" sz="1600" dirty="0"/>
              <a:t>An NSSAI that has been provisioned in the UE</a:t>
            </a:r>
            <a:endParaRPr lang="en-US" sz="1600" dirty="0"/>
          </a:p>
          <a:p>
            <a:pPr lvl="1"/>
            <a:r>
              <a:rPr lang="en-US" dirty="0"/>
              <a:t>Requested NSSAI</a:t>
            </a:r>
          </a:p>
          <a:p>
            <a:pPr lvl="2"/>
            <a:r>
              <a:rPr lang="en-GB" sz="1600" dirty="0"/>
              <a:t>The NSSAI that the UE may provide to the network</a:t>
            </a:r>
            <a:endParaRPr lang="en-US" dirty="0"/>
          </a:p>
          <a:p>
            <a:endParaRPr lang="en-US" dirty="0"/>
          </a:p>
          <a:p>
            <a:pPr lvl="1"/>
            <a:endParaRPr lang="en-US" dirty="0"/>
          </a:p>
        </p:txBody>
      </p:sp>
    </p:spTree>
    <p:extLst>
      <p:ext uri="{BB962C8B-B14F-4D97-AF65-F5344CB8AC3E}">
        <p14:creationId xmlns:p14="http://schemas.microsoft.com/office/powerpoint/2010/main" val="770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licing</a:t>
            </a:r>
          </a:p>
        </p:txBody>
      </p:sp>
      <p:sp>
        <p:nvSpPr>
          <p:cNvPr id="3" name="Text Placeholder 2"/>
          <p:cNvSpPr>
            <a:spLocks noGrp="1"/>
          </p:cNvSpPr>
          <p:nvPr>
            <p:ph type="body" idx="1"/>
          </p:nvPr>
        </p:nvSpPr>
        <p:spPr/>
        <p:txBody>
          <a:bodyPr/>
          <a:lstStyle/>
          <a:p>
            <a:r>
              <a:rPr lang="en-US" dirty="0"/>
              <a:t>A network slice may include:</a:t>
            </a:r>
          </a:p>
          <a:p>
            <a:pPr lvl="1"/>
            <a:r>
              <a:rPr lang="en-US" dirty="0"/>
              <a:t>The 5GC control plane and user plane Network Functions</a:t>
            </a:r>
          </a:p>
          <a:p>
            <a:pPr lvl="1"/>
            <a:r>
              <a:rPr lang="en-US" dirty="0"/>
              <a:t>The 5G Radio Access Network</a:t>
            </a:r>
          </a:p>
          <a:p>
            <a:pPr lvl="1"/>
            <a:r>
              <a:rPr lang="en-US" dirty="0"/>
              <a:t>The N3IWF functions for the non-3GPP Access Network</a:t>
            </a:r>
          </a:p>
          <a:p>
            <a:r>
              <a:rPr lang="en-US" dirty="0"/>
              <a:t>A single UE can simultaneously be served by one or more Network Slice instances via a 5G-AN</a:t>
            </a:r>
          </a:p>
          <a:p>
            <a:pPr lvl="1"/>
            <a:r>
              <a:rPr lang="en-US" dirty="0"/>
              <a:t>The AMF serving a UE can logically belong to each of the Network Slice instances </a:t>
            </a:r>
            <a:r>
              <a:rPr lang="en-US" dirty="0">
                <a:sym typeface="Wingdings" panose="05000000000000000000" pitchFamily="2" charset="2"/>
              </a:rPr>
              <a:t> It is a common function for the Network Slice instances serving a UE</a:t>
            </a:r>
          </a:p>
          <a:p>
            <a:r>
              <a:rPr lang="en-US" dirty="0">
                <a:sym typeface="Wingdings" panose="05000000000000000000" pitchFamily="2" charset="2"/>
              </a:rPr>
              <a:t>A PDU session belongs to only one Network Slice instance per PLMN</a:t>
            </a:r>
          </a:p>
          <a:p>
            <a:pPr lvl="1"/>
            <a:r>
              <a:rPr lang="en-US" dirty="0">
                <a:sym typeface="Wingdings" panose="05000000000000000000" pitchFamily="2" charset="2"/>
              </a:rPr>
              <a:t>Different slices may have slice-specific PDU sessions using the same DNN. </a:t>
            </a:r>
            <a:endParaRPr lang="en-US" dirty="0"/>
          </a:p>
        </p:txBody>
      </p:sp>
    </p:spTree>
    <p:extLst>
      <p:ext uri="{BB962C8B-B14F-4D97-AF65-F5344CB8AC3E}">
        <p14:creationId xmlns:p14="http://schemas.microsoft.com/office/powerpoint/2010/main" val="279669790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lice Selection</a:t>
            </a:r>
          </a:p>
        </p:txBody>
      </p:sp>
      <p:sp>
        <p:nvSpPr>
          <p:cNvPr id="4" name="Rectangle 3"/>
          <p:cNvSpPr/>
          <p:nvPr/>
        </p:nvSpPr>
        <p:spPr bwMode="auto">
          <a:xfrm>
            <a:off x="5181971" y="2375568"/>
            <a:ext cx="2924056" cy="1819045"/>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Core Network </a:t>
            </a:r>
            <a:r>
              <a:rPr kumimoji="0" lang="en-US" sz="1400" b="1" i="0" u="none" strike="noStrike" cap="none" normalizeH="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instance </a:t>
            </a:r>
            <a:r>
              <a:rPr lang="en-US" sz="1400" b="1" dirty="0">
                <a:latin typeface="Segoe UI" panose="020B0502040204020203" pitchFamily="34" charset="0"/>
                <a:ea typeface="Segoe UI" panose="020B0502040204020203" pitchFamily="34" charset="0"/>
                <a:cs typeface="Segoe UI" panose="020B0502040204020203" pitchFamily="34" charset="0"/>
              </a:rPr>
              <a:t>#0</a:t>
            </a:r>
            <a:endPar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4"/>
          <p:cNvSpPr>
            <a:spLocks noChangeArrowheads="1"/>
          </p:cNvSpPr>
          <p:nvPr/>
        </p:nvSpPr>
        <p:spPr bwMode="auto">
          <a:xfrm flipV="1">
            <a:off x="5181970" y="1245254"/>
            <a:ext cx="2660022" cy="1066407"/>
          </a:xfrm>
          <a:prstGeom prst="rect">
            <a:avLst/>
          </a:prstGeom>
          <a:solidFill>
            <a:schemeClr val="bg1">
              <a:lumMod val="85000"/>
            </a:schemeClr>
          </a:solidFill>
          <a:ln w="12700" algn="ctr">
            <a:noFill/>
            <a:miter lim="800000"/>
            <a:headEnd/>
            <a:tailEnd/>
          </a:ln>
          <a:extLst/>
        </p:spPr>
        <p:txBody>
          <a:bodyPr rot="10800000" wrap="none" lIns="36000" tIns="18000" rIns="18000" bIns="18000"/>
          <a:lstStyle/>
          <a:p>
            <a:pPr>
              <a:defRPr/>
            </a:pPr>
            <a:r>
              <a:rPr lang="sv-SE" sz="1400" b="1" dirty="0">
                <a:solidFill>
                  <a:srgbClr val="58585A"/>
                </a:solidFill>
                <a:latin typeface="Segoe UI" panose="020B0502040204020203" pitchFamily="34" charset="0"/>
                <a:ea typeface="Segoe UI" panose="020B0502040204020203" pitchFamily="34" charset="0"/>
                <a:cs typeface="Segoe UI" panose="020B0502040204020203" pitchFamily="34" charset="0"/>
              </a:rPr>
              <a:t> </a:t>
            </a:r>
            <a:r>
              <a:rPr lang="sv-SE" sz="14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Core</a:t>
            </a:r>
            <a:r>
              <a:rPr lang="sv-SE" sz="1400" b="1" dirty="0">
                <a:solidFill>
                  <a:srgbClr val="58585A"/>
                </a:solidFill>
                <a:latin typeface="Segoe UI" panose="020B0502040204020203" pitchFamily="34" charset="0"/>
                <a:ea typeface="Segoe UI" panose="020B0502040204020203" pitchFamily="34" charset="0"/>
                <a:cs typeface="Segoe UI" panose="020B0502040204020203" pitchFamily="34" charset="0"/>
              </a:rPr>
              <a:t> </a:t>
            </a:r>
            <a:r>
              <a:rPr lang="sv-SE" sz="14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Network</a:t>
            </a:r>
            <a:r>
              <a:rPr lang="sv-SE" sz="1400" b="1" dirty="0">
                <a:solidFill>
                  <a:srgbClr val="58585A"/>
                </a:solidFill>
                <a:latin typeface="Segoe UI" panose="020B0502040204020203" pitchFamily="34" charset="0"/>
                <a:ea typeface="Segoe UI" panose="020B0502040204020203" pitchFamily="34" charset="0"/>
                <a:cs typeface="Segoe UI" panose="020B0502040204020203" pitchFamily="34" charset="0"/>
              </a:rPr>
              <a:t> instance CIoT</a:t>
            </a:r>
          </a:p>
        </p:txBody>
      </p:sp>
      <p:sp>
        <p:nvSpPr>
          <p:cNvPr id="6" name="Rectangle 5"/>
          <p:cNvSpPr/>
          <p:nvPr/>
        </p:nvSpPr>
        <p:spPr bwMode="auto">
          <a:xfrm>
            <a:off x="3978540" y="1245254"/>
            <a:ext cx="1090748" cy="5275557"/>
          </a:xfrm>
          <a:prstGeom prst="rect">
            <a:avLst/>
          </a:prstGeom>
          <a:solidFill>
            <a:schemeClr val="tx1">
              <a:lumMod val="20000"/>
              <a:lumOff val="80000"/>
            </a:schemeClr>
          </a:solidFill>
          <a:ln w="12700" cap="flat" cmpd="sng" algn="ctr">
            <a:no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RAN</a:t>
            </a:r>
          </a:p>
        </p:txBody>
      </p:sp>
      <p:sp>
        <p:nvSpPr>
          <p:cNvPr id="7" name="Freeform 3"/>
          <p:cNvSpPr>
            <a:spLocks noChangeAspect="1"/>
          </p:cNvSpPr>
          <p:nvPr/>
        </p:nvSpPr>
        <p:spPr bwMode="auto">
          <a:xfrm>
            <a:off x="10636989" y="3668868"/>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060"/>
          </a:solidFill>
          <a:ln w="9525" cap="flat" cmpd="sng" algn="ctr">
            <a:noFill/>
            <a:prstDash val="solid"/>
            <a:round/>
            <a:headEnd type="none" w="med" len="med"/>
            <a:tailEnd type="none" w="med" len="med"/>
          </a:ln>
          <a:extLst/>
        </p:spPr>
        <p:txBody>
          <a:bodyPr/>
          <a:lstStyle/>
          <a:p>
            <a:endParaRPr lang="en-US">
              <a:solidFill>
                <a:srgbClr val="00285F"/>
              </a:solidFill>
            </a:endParaRPr>
          </a:p>
        </p:txBody>
      </p:sp>
      <p:sp>
        <p:nvSpPr>
          <p:cNvPr id="8" name="Rectangle 44"/>
          <p:cNvSpPr>
            <a:spLocks noChangeArrowheads="1"/>
          </p:cNvSpPr>
          <p:nvPr/>
        </p:nvSpPr>
        <p:spPr bwMode="auto">
          <a:xfrm flipV="1">
            <a:off x="1532147" y="4549507"/>
            <a:ext cx="1095743" cy="1637287"/>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Device</a:t>
            </a:r>
            <a:r>
              <a:rPr lang="sv-SE" sz="1000" b="1" dirty="0">
                <a:solidFill>
                  <a:srgbClr val="58585A"/>
                </a:solidFill>
                <a:latin typeface="Segoe UI" panose="020B0502040204020203" pitchFamily="34" charset="0"/>
                <a:ea typeface="Segoe UI" panose="020B0502040204020203" pitchFamily="34" charset="0"/>
                <a:cs typeface="Segoe UI" panose="020B0502040204020203" pitchFamily="34" charset="0"/>
              </a:rPr>
              <a:t> #1 (</a:t>
            </a:r>
            <a:r>
              <a:rPr lang="sv-SE" sz="10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Shared</a:t>
            </a:r>
            <a:r>
              <a:rPr lang="sv-SE" sz="1000" b="1" dirty="0">
                <a:solidFill>
                  <a:srgbClr val="58585A"/>
                </a:solidFill>
                <a:latin typeface="Segoe UI" panose="020B0502040204020203" pitchFamily="34" charset="0"/>
                <a:ea typeface="Segoe UI" panose="020B0502040204020203" pitchFamily="34" charset="0"/>
                <a:cs typeface="Segoe UI" panose="020B0502040204020203" pitchFamily="34" charset="0"/>
              </a:rPr>
              <a:t> </a:t>
            </a:r>
            <a:r>
              <a:rPr lang="sv-SE" sz="10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resources</a:t>
            </a:r>
            <a:r>
              <a:rPr lang="sv-SE" sz="1000" b="1" dirty="0">
                <a:solidFill>
                  <a:srgbClr val="58585A"/>
                </a:solidFill>
                <a:latin typeface="Segoe UI" panose="020B0502040204020203" pitchFamily="34" charset="0"/>
                <a:ea typeface="Segoe UI" panose="020B0502040204020203" pitchFamily="34" charset="0"/>
                <a:cs typeface="Segoe UI" panose="020B0502040204020203" pitchFamily="34" charset="0"/>
              </a:rPr>
              <a:t>)</a:t>
            </a:r>
          </a:p>
        </p:txBody>
      </p:sp>
      <p:cxnSp>
        <p:nvCxnSpPr>
          <p:cNvPr id="9" name="Straight Connector 248"/>
          <p:cNvCxnSpPr>
            <a:cxnSpLocks noChangeShapeType="1"/>
            <a:stCxn id="14" idx="3"/>
          </p:cNvCxnSpPr>
          <p:nvPr/>
        </p:nvCxnSpPr>
        <p:spPr bwMode="auto">
          <a:xfrm>
            <a:off x="1197124" y="4787833"/>
            <a:ext cx="681593" cy="47081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0" name="Straight Connector 248"/>
          <p:cNvCxnSpPr>
            <a:cxnSpLocks noChangeShapeType="1"/>
            <a:stCxn id="18" idx="3"/>
          </p:cNvCxnSpPr>
          <p:nvPr/>
        </p:nvCxnSpPr>
        <p:spPr bwMode="auto">
          <a:xfrm flipV="1">
            <a:off x="1223229" y="5333087"/>
            <a:ext cx="655488" cy="42658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nvGrpSpPr>
          <p:cNvPr id="11" name="Group 10"/>
          <p:cNvGrpSpPr/>
          <p:nvPr/>
        </p:nvGrpSpPr>
        <p:grpSpPr>
          <a:xfrm>
            <a:off x="802156" y="4360272"/>
            <a:ext cx="416782" cy="575867"/>
            <a:chOff x="535060" y="2979371"/>
            <a:chExt cx="465198" cy="666000"/>
          </a:xfrm>
        </p:grpSpPr>
        <p:sp>
          <p:nvSpPr>
            <p:cNvPr id="12" name="AutoShape 802"/>
            <p:cNvSpPr>
              <a:spLocks noChangeArrowheads="1"/>
            </p:cNvSpPr>
            <p:nvPr/>
          </p:nvSpPr>
          <p:spPr bwMode="auto">
            <a:xfrm>
              <a:off x="544031" y="3168925"/>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3" name="Oval 803"/>
            <p:cNvSpPr>
              <a:spLocks noChangeArrowheads="1"/>
            </p:cNvSpPr>
            <p:nvPr/>
          </p:nvSpPr>
          <p:spPr bwMode="auto">
            <a:xfrm>
              <a:off x="541468" y="2988336"/>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4" name="Text Box 804"/>
            <p:cNvSpPr txBox="1">
              <a:spLocks noChangeArrowheads="1"/>
            </p:cNvSpPr>
            <p:nvPr/>
          </p:nvSpPr>
          <p:spPr bwMode="auto">
            <a:xfrm>
              <a:off x="556846" y="3329766"/>
              <a:ext cx="419064"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800" b="1" dirty="0">
                  <a:latin typeface="Segoe UI" panose="020B0502040204020203" pitchFamily="34" charset="0"/>
                  <a:ea typeface="Segoe UI" panose="020B0502040204020203" pitchFamily="34" charset="0"/>
                  <a:cs typeface="Segoe UI" panose="020B0502040204020203" pitchFamily="34" charset="0"/>
                </a:rPr>
                <a:t>Virtual Device #1</a:t>
              </a:r>
            </a:p>
          </p:txBody>
        </p:sp>
        <p:sp>
          <p:nvSpPr>
            <p:cNvPr id="15" name="Rectangle 805"/>
            <p:cNvSpPr>
              <a:spLocks noChangeArrowheads="1"/>
            </p:cNvSpPr>
            <p:nvPr/>
          </p:nvSpPr>
          <p:spPr bwMode="auto">
            <a:xfrm>
              <a:off x="535060" y="2979371"/>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16" name="Freeform 16"/>
            <p:cNvSpPr>
              <a:spLocks noEditPoints="1"/>
            </p:cNvSpPr>
            <p:nvPr/>
          </p:nvSpPr>
          <p:spPr bwMode="auto">
            <a:xfrm>
              <a:off x="535060" y="2979371"/>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FFC000"/>
            </a:solidFill>
            <a:ln>
              <a:noFill/>
            </a:ln>
            <a:extLst/>
          </p:spPr>
          <p:txBody>
            <a:bodyPr tIns="1080000" anchor="ctr"/>
            <a:lstStyle/>
            <a:p>
              <a:endParaRPr lang="en-US">
                <a:solidFill>
                  <a:srgbClr val="58585A"/>
                </a:solidFill>
              </a:endParaRPr>
            </a:p>
          </p:txBody>
        </p:sp>
      </p:grpSp>
      <p:grpSp>
        <p:nvGrpSpPr>
          <p:cNvPr id="17" name="Group 16"/>
          <p:cNvGrpSpPr/>
          <p:nvPr/>
        </p:nvGrpSpPr>
        <p:grpSpPr>
          <a:xfrm>
            <a:off x="802156" y="5391810"/>
            <a:ext cx="428149" cy="577910"/>
            <a:chOff x="535060" y="4890398"/>
            <a:chExt cx="465198" cy="666000"/>
          </a:xfrm>
        </p:grpSpPr>
        <p:sp>
          <p:nvSpPr>
            <p:cNvPr id="18" name="AutoShape 802"/>
            <p:cNvSpPr>
              <a:spLocks noChangeArrowheads="1"/>
            </p:cNvSpPr>
            <p:nvPr/>
          </p:nvSpPr>
          <p:spPr bwMode="auto">
            <a:xfrm>
              <a:off x="544031" y="5079952"/>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9" name="Oval 803"/>
            <p:cNvSpPr>
              <a:spLocks noChangeArrowheads="1"/>
            </p:cNvSpPr>
            <p:nvPr/>
          </p:nvSpPr>
          <p:spPr bwMode="auto">
            <a:xfrm>
              <a:off x="541468" y="4899363"/>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0" name="Text Box 804"/>
            <p:cNvSpPr txBox="1">
              <a:spLocks noChangeArrowheads="1"/>
            </p:cNvSpPr>
            <p:nvPr/>
          </p:nvSpPr>
          <p:spPr bwMode="auto">
            <a:xfrm>
              <a:off x="551701" y="5240835"/>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800" b="1" dirty="0">
                  <a:latin typeface="Segoe UI" panose="020B0502040204020203" pitchFamily="34" charset="0"/>
                  <a:ea typeface="Segoe UI" panose="020B0502040204020203" pitchFamily="34" charset="0"/>
                  <a:cs typeface="Segoe UI" panose="020B0502040204020203" pitchFamily="34" charset="0"/>
                </a:rPr>
                <a:t>Virtual Device #2</a:t>
              </a:r>
            </a:p>
          </p:txBody>
        </p:sp>
        <p:sp>
          <p:nvSpPr>
            <p:cNvPr id="21" name="Rectangle 805"/>
            <p:cNvSpPr>
              <a:spLocks noChangeArrowheads="1"/>
            </p:cNvSpPr>
            <p:nvPr/>
          </p:nvSpPr>
          <p:spPr bwMode="auto">
            <a:xfrm>
              <a:off x="535060" y="4890398"/>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22" name="Freeform 16"/>
            <p:cNvSpPr>
              <a:spLocks noEditPoints="1"/>
            </p:cNvSpPr>
            <p:nvPr/>
          </p:nvSpPr>
          <p:spPr bwMode="auto">
            <a:xfrm>
              <a:off x="535060" y="4890398"/>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00A9D4"/>
            </a:solidFill>
            <a:ln>
              <a:noFill/>
            </a:ln>
            <a:extLst/>
          </p:spPr>
          <p:txBody>
            <a:bodyPr tIns="1080000" anchor="ctr"/>
            <a:lstStyle/>
            <a:p>
              <a:endParaRPr lang="en-US">
                <a:solidFill>
                  <a:srgbClr val="58585A"/>
                </a:solidFill>
              </a:endParaRPr>
            </a:p>
          </p:txBody>
        </p:sp>
      </p:grpSp>
      <p:cxnSp>
        <p:nvCxnSpPr>
          <p:cNvPr id="23" name="Straight Connector 248"/>
          <p:cNvCxnSpPr>
            <a:cxnSpLocks noChangeShapeType="1"/>
          </p:cNvCxnSpPr>
          <p:nvPr/>
        </p:nvCxnSpPr>
        <p:spPr bwMode="auto">
          <a:xfrm flipV="1">
            <a:off x="2300557" y="5163110"/>
            <a:ext cx="1792569" cy="14320"/>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4" name="Elbow Connector 21"/>
          <p:cNvCxnSpPr>
            <a:stCxn id="159" idx="6"/>
          </p:cNvCxnSpPr>
          <p:nvPr/>
        </p:nvCxnSpPr>
        <p:spPr bwMode="auto">
          <a:xfrm flipV="1">
            <a:off x="4490040" y="4026431"/>
            <a:ext cx="6134520" cy="1067507"/>
          </a:xfrm>
          <a:prstGeom prst="bentConnector3">
            <a:avLst>
              <a:gd name="adj1" fmla="val 1328"/>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25" name="Straight Connector 248"/>
          <p:cNvCxnSpPr>
            <a:cxnSpLocks noChangeShapeType="1"/>
          </p:cNvCxnSpPr>
          <p:nvPr/>
        </p:nvCxnSpPr>
        <p:spPr bwMode="auto">
          <a:xfrm flipV="1">
            <a:off x="2300557" y="5375161"/>
            <a:ext cx="1774260" cy="1"/>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6" name="Straight Connector 248"/>
          <p:cNvCxnSpPr>
            <a:cxnSpLocks noChangeShapeType="1"/>
          </p:cNvCxnSpPr>
          <p:nvPr/>
        </p:nvCxnSpPr>
        <p:spPr bwMode="auto">
          <a:xfrm>
            <a:off x="2300557" y="5266238"/>
            <a:ext cx="1774260" cy="0"/>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sp>
        <p:nvSpPr>
          <p:cNvPr id="27" name="Rectangle 44"/>
          <p:cNvSpPr>
            <a:spLocks noChangeArrowheads="1"/>
          </p:cNvSpPr>
          <p:nvPr/>
        </p:nvSpPr>
        <p:spPr bwMode="auto">
          <a:xfrm flipV="1">
            <a:off x="1532147" y="2411830"/>
            <a:ext cx="1095743" cy="1007581"/>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dirty="0">
                <a:latin typeface="Segoe UI" panose="020B0502040204020203" pitchFamily="34" charset="0"/>
                <a:ea typeface="Segoe UI" panose="020B0502040204020203" pitchFamily="34" charset="0"/>
                <a:cs typeface="Segoe UI" panose="020B0502040204020203" pitchFamily="34" charset="0"/>
              </a:rPr>
              <a:t>CIoT Device</a:t>
            </a:r>
          </a:p>
        </p:txBody>
      </p:sp>
      <p:grpSp>
        <p:nvGrpSpPr>
          <p:cNvPr id="28" name="Group 27"/>
          <p:cNvGrpSpPr/>
          <p:nvPr/>
        </p:nvGrpSpPr>
        <p:grpSpPr>
          <a:xfrm>
            <a:off x="1843689" y="2586754"/>
            <a:ext cx="417842" cy="574873"/>
            <a:chOff x="1690243" y="3902109"/>
            <a:chExt cx="465198" cy="666000"/>
          </a:xfrm>
        </p:grpSpPr>
        <p:sp>
          <p:nvSpPr>
            <p:cNvPr id="29"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E32119"/>
                </a:solidFill>
                <a:latin typeface="+mn-lt"/>
              </a:endParaRPr>
            </a:p>
          </p:txBody>
        </p:sp>
        <p:sp>
          <p:nvSpPr>
            <p:cNvPr id="30"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E32119"/>
                </a:solidFill>
                <a:latin typeface="+mn-lt"/>
              </a:endParaRPr>
            </a:p>
          </p:txBody>
        </p:sp>
        <p:sp>
          <p:nvSpPr>
            <p:cNvPr id="31"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dirty="0">
                  <a:solidFill>
                    <a:srgbClr val="E32119"/>
                  </a:solidFill>
                  <a:latin typeface="+mn-lt"/>
                  <a:ea typeface="Segoe UI" panose="020B0502040204020203" pitchFamily="34" charset="0"/>
                  <a:cs typeface="Segoe UI" panose="020B0502040204020203" pitchFamily="34" charset="0"/>
                </a:rPr>
                <a:t>Device</a:t>
              </a:r>
            </a:p>
          </p:txBody>
        </p:sp>
        <p:sp>
          <p:nvSpPr>
            <p:cNvPr id="32"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E32119"/>
                </a:solidFill>
                <a:latin typeface="+mn-lt"/>
              </a:endParaRPr>
            </a:p>
          </p:txBody>
        </p:sp>
        <p:sp>
          <p:nvSpPr>
            <p:cNvPr id="33"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FF0000"/>
            </a:solidFill>
            <a:ln>
              <a:noFill/>
            </a:ln>
            <a:extLst/>
          </p:spPr>
          <p:txBody>
            <a:bodyPr tIns="1080000" anchor="ctr"/>
            <a:lstStyle/>
            <a:p>
              <a:endParaRPr lang="en-US" dirty="0">
                <a:solidFill>
                  <a:srgbClr val="E32119"/>
                </a:solidFill>
                <a:latin typeface="+mn-lt"/>
              </a:endParaRPr>
            </a:p>
          </p:txBody>
        </p:sp>
      </p:grpSp>
      <p:cxnSp>
        <p:nvCxnSpPr>
          <p:cNvPr id="34" name="Straight Connector 33"/>
          <p:cNvCxnSpPr>
            <a:cxnSpLocks/>
          </p:cNvCxnSpPr>
          <p:nvPr/>
        </p:nvCxnSpPr>
        <p:spPr bwMode="auto">
          <a:xfrm>
            <a:off x="2254625" y="3023990"/>
            <a:ext cx="1840975" cy="1952456"/>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sp>
        <p:nvSpPr>
          <p:cNvPr id="35" name="Freeform 3"/>
          <p:cNvSpPr>
            <a:spLocks noChangeAspect="1"/>
          </p:cNvSpPr>
          <p:nvPr/>
        </p:nvSpPr>
        <p:spPr bwMode="auto">
          <a:xfrm>
            <a:off x="10636989" y="1769808"/>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0000"/>
          </a:solidFill>
          <a:ln>
            <a:noFill/>
          </a:ln>
          <a:extLst/>
        </p:spPr>
        <p:txBody>
          <a:bodyPr/>
          <a:lstStyle/>
          <a:p>
            <a:endParaRPr lang="en-US">
              <a:solidFill>
                <a:srgbClr val="58585A"/>
              </a:solidFill>
            </a:endParaRPr>
          </a:p>
        </p:txBody>
      </p:sp>
      <p:sp>
        <p:nvSpPr>
          <p:cNvPr id="36" name="Rectangle 35"/>
          <p:cNvSpPr/>
          <p:nvPr/>
        </p:nvSpPr>
        <p:spPr bwMode="auto">
          <a:xfrm>
            <a:off x="7749243" y="4234516"/>
            <a:ext cx="2240760" cy="1060623"/>
          </a:xfrm>
          <a:prstGeom prst="rect">
            <a:avLst/>
          </a:prstGeom>
          <a:solidFill>
            <a:schemeClr val="tx1">
              <a:lumMod val="20000"/>
              <a:lumOff val="80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Specific CN</a:t>
            </a:r>
            <a:r>
              <a:rPr kumimoji="0" lang="en-US" sz="1400" b="1" i="0" u="none" strike="noStrike" cap="none" normalizeH="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instance #1A</a:t>
            </a:r>
            <a:endPar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37" name="Rectangle 36"/>
          <p:cNvSpPr/>
          <p:nvPr/>
        </p:nvSpPr>
        <p:spPr bwMode="auto">
          <a:xfrm>
            <a:off x="5205324" y="4243931"/>
            <a:ext cx="2382005" cy="2286296"/>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Common CN</a:t>
            </a:r>
            <a:r>
              <a:rPr kumimoji="0" lang="en-US" sz="1400" b="1" i="0" u="none" strike="noStrike" cap="none" normalizeH="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instance #1</a:t>
            </a:r>
            <a:endPar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cxnSp>
        <p:nvCxnSpPr>
          <p:cNvPr id="38" name="Straight Connector 169"/>
          <p:cNvCxnSpPr>
            <a:cxnSpLocks/>
          </p:cNvCxnSpPr>
          <p:nvPr/>
        </p:nvCxnSpPr>
        <p:spPr bwMode="auto">
          <a:xfrm rot="5400000" flipH="1" flipV="1">
            <a:off x="7386624" y="2143735"/>
            <a:ext cx="267320" cy="6374080"/>
          </a:xfrm>
          <a:prstGeom prst="bentConnector4">
            <a:avLst>
              <a:gd name="adj1" fmla="val -177412"/>
              <a:gd name="adj2" fmla="val 51391"/>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39" name="Straight Connector 169"/>
          <p:cNvCxnSpPr>
            <a:cxnSpLocks/>
          </p:cNvCxnSpPr>
          <p:nvPr/>
        </p:nvCxnSpPr>
        <p:spPr bwMode="auto">
          <a:xfrm flipV="1">
            <a:off x="5933272" y="4972524"/>
            <a:ext cx="1921521" cy="538910"/>
          </a:xfrm>
          <a:prstGeom prst="bentConnector3">
            <a:avLst>
              <a:gd name="adj1" fmla="val 73271"/>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cxnSp>
        <p:nvCxnSpPr>
          <p:cNvPr id="40" name="Straight Connector 169"/>
          <p:cNvCxnSpPr>
            <a:cxnSpLocks/>
            <a:endCxn id="98" idx="1"/>
          </p:cNvCxnSpPr>
          <p:nvPr/>
        </p:nvCxnSpPr>
        <p:spPr bwMode="auto">
          <a:xfrm rot="5400000" flipH="1" flipV="1">
            <a:off x="3369194" y="2826104"/>
            <a:ext cx="2919384" cy="1210453"/>
          </a:xfrm>
          <a:prstGeom prst="bentConnector2">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grpSp>
        <p:nvGrpSpPr>
          <p:cNvPr id="41" name="Group 264"/>
          <p:cNvGrpSpPr>
            <a:grpSpLocks noChangeAspect="1"/>
          </p:cNvGrpSpPr>
          <p:nvPr/>
        </p:nvGrpSpPr>
        <p:grpSpPr bwMode="auto">
          <a:xfrm>
            <a:off x="7568419" y="3523402"/>
            <a:ext cx="433579" cy="581945"/>
            <a:chOff x="644" y="2384"/>
            <a:chExt cx="366" cy="520"/>
          </a:xfrm>
        </p:grpSpPr>
        <p:sp>
          <p:nvSpPr>
            <p:cNvPr id="42"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43"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44" name="Text Box 144"/>
            <p:cNvSpPr txBox="1">
              <a:spLocks noChangeAspect="1" noChangeArrowheads="1"/>
            </p:cNvSpPr>
            <p:nvPr/>
          </p:nvSpPr>
          <p:spPr bwMode="auto">
            <a:xfrm>
              <a:off x="644"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UPF</a:t>
              </a:r>
              <a:endParaRPr lang="en-US" altLang="en-US" sz="900" dirty="0">
                <a:solidFill>
                  <a:srgbClr val="8F3F7B"/>
                </a:solidFill>
                <a:latin typeface="+mn-lt"/>
                <a:ea typeface="Segoe UI" panose="020B0502040204020203" pitchFamily="34" charset="0"/>
                <a:cs typeface="Segoe UI" panose="020B0502040204020203" pitchFamily="34" charset="0"/>
              </a:endParaRPr>
            </a:p>
          </p:txBody>
        </p:sp>
        <p:sp>
          <p:nvSpPr>
            <p:cNvPr id="45"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46"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cxnSp>
        <p:nvCxnSpPr>
          <p:cNvPr id="47" name="Straight Connector 169"/>
          <p:cNvCxnSpPr>
            <a:cxnSpLocks/>
            <a:endCxn id="81" idx="1"/>
          </p:cNvCxnSpPr>
          <p:nvPr/>
        </p:nvCxnSpPr>
        <p:spPr bwMode="auto">
          <a:xfrm rot="5400000" flipH="1" flipV="1">
            <a:off x="4374315" y="3898409"/>
            <a:ext cx="1199396" cy="1067641"/>
          </a:xfrm>
          <a:prstGeom prst="bentConnector2">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sp>
        <p:nvSpPr>
          <p:cNvPr id="48" name="Rectangle 47"/>
          <p:cNvSpPr/>
          <p:nvPr/>
        </p:nvSpPr>
        <p:spPr bwMode="auto">
          <a:xfrm>
            <a:off x="7754320" y="5333088"/>
            <a:ext cx="2240760" cy="1187724"/>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Specific CN</a:t>
            </a:r>
            <a:r>
              <a:rPr kumimoji="0" lang="en-US" sz="1400" b="1" i="0" u="none" strike="noStrike" cap="none" normalizeH="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instance #1B</a:t>
            </a:r>
            <a:endPar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cxnSp>
        <p:nvCxnSpPr>
          <p:cNvPr id="49" name="Straight Connector 169"/>
          <p:cNvCxnSpPr>
            <a:cxnSpLocks/>
          </p:cNvCxnSpPr>
          <p:nvPr/>
        </p:nvCxnSpPr>
        <p:spPr bwMode="auto">
          <a:xfrm>
            <a:off x="4145766" y="5464436"/>
            <a:ext cx="6491234" cy="945605"/>
          </a:xfrm>
          <a:prstGeom prst="bentConnector3">
            <a:avLst>
              <a:gd name="adj1" fmla="val 1067"/>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50" name="Straight Connector 169"/>
          <p:cNvCxnSpPr>
            <a:cxnSpLocks/>
          </p:cNvCxnSpPr>
          <p:nvPr/>
        </p:nvCxnSpPr>
        <p:spPr bwMode="auto">
          <a:xfrm>
            <a:off x="5940227" y="5646211"/>
            <a:ext cx="1894959" cy="588818"/>
          </a:xfrm>
          <a:prstGeom prst="bentConnector3">
            <a:avLst>
              <a:gd name="adj1" fmla="val 74127"/>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cxnSp>
        <p:nvCxnSpPr>
          <p:cNvPr id="51" name="Straight Connector 203"/>
          <p:cNvCxnSpPr>
            <a:cxnSpLocks noChangeShapeType="1"/>
            <a:stCxn id="173" idx="1"/>
          </p:cNvCxnSpPr>
          <p:nvPr/>
        </p:nvCxnSpPr>
        <p:spPr bwMode="auto">
          <a:xfrm rot="10800000">
            <a:off x="4474533" y="5332442"/>
            <a:ext cx="1053005" cy="263189"/>
          </a:xfrm>
          <a:prstGeom prst="bentConnector3">
            <a:avLst>
              <a:gd name="adj1" fmla="val 10713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52" name="Rectangle 44"/>
          <p:cNvSpPr>
            <a:spLocks noChangeArrowheads="1"/>
          </p:cNvSpPr>
          <p:nvPr/>
        </p:nvSpPr>
        <p:spPr bwMode="auto">
          <a:xfrm flipV="1">
            <a:off x="1532147" y="3466889"/>
            <a:ext cx="1095743" cy="1007581"/>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dirty="0" err="1">
                <a:solidFill>
                  <a:srgbClr val="58585A"/>
                </a:solidFill>
                <a:latin typeface="Segoe UI" panose="020B0502040204020203" pitchFamily="34" charset="0"/>
                <a:ea typeface="Segoe UI" panose="020B0502040204020203" pitchFamily="34" charset="0"/>
                <a:cs typeface="Segoe UI" panose="020B0502040204020203" pitchFamily="34" charset="0"/>
              </a:rPr>
              <a:t>Device</a:t>
            </a:r>
            <a:r>
              <a:rPr lang="sv-SE" sz="1000" b="1" dirty="0">
                <a:solidFill>
                  <a:srgbClr val="58585A"/>
                </a:solidFill>
                <a:latin typeface="Segoe UI" panose="020B0502040204020203" pitchFamily="34" charset="0"/>
                <a:ea typeface="Segoe UI" panose="020B0502040204020203" pitchFamily="34" charset="0"/>
                <a:cs typeface="Segoe UI" panose="020B0502040204020203" pitchFamily="34" charset="0"/>
              </a:rPr>
              <a:t> #0</a:t>
            </a:r>
          </a:p>
        </p:txBody>
      </p:sp>
      <p:cxnSp>
        <p:nvCxnSpPr>
          <p:cNvPr id="53" name="Straight Connector 248"/>
          <p:cNvCxnSpPr>
            <a:cxnSpLocks noChangeShapeType="1"/>
          </p:cNvCxnSpPr>
          <p:nvPr/>
        </p:nvCxnSpPr>
        <p:spPr bwMode="auto">
          <a:xfrm>
            <a:off x="2261531" y="4069337"/>
            <a:ext cx="1813286" cy="943225"/>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54" name="Elbow Connector 6"/>
          <p:cNvCxnSpPr>
            <a:cxnSpLocks/>
          </p:cNvCxnSpPr>
          <p:nvPr/>
        </p:nvCxnSpPr>
        <p:spPr bwMode="auto">
          <a:xfrm rot="10800000" flipV="1">
            <a:off x="6600050" y="3152202"/>
            <a:ext cx="963925" cy="371199"/>
          </a:xfrm>
          <a:prstGeom prst="bentConnector3">
            <a:avLst>
              <a:gd name="adj1" fmla="val 484"/>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55" name="Group 45"/>
          <p:cNvGrpSpPr>
            <a:grpSpLocks noChangeAspect="1"/>
          </p:cNvGrpSpPr>
          <p:nvPr/>
        </p:nvGrpSpPr>
        <p:grpSpPr bwMode="auto">
          <a:xfrm>
            <a:off x="5480059" y="2597242"/>
            <a:ext cx="428873" cy="582717"/>
            <a:chOff x="1057" y="1587"/>
            <a:chExt cx="363" cy="520"/>
          </a:xfrm>
        </p:grpSpPr>
        <p:sp>
          <p:nvSpPr>
            <p:cNvPr id="56"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58"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00A9D4"/>
                  </a:solidFill>
                  <a:latin typeface="+mn-lt"/>
                  <a:ea typeface="Segoe UI" panose="020B0502040204020203" pitchFamily="34" charset="0"/>
                  <a:cs typeface="Segoe UI" panose="020B0502040204020203" pitchFamily="34" charset="0"/>
                </a:rPr>
                <a:t>AUSF/UDM</a:t>
              </a:r>
            </a:p>
          </p:txBody>
        </p:sp>
        <p:sp>
          <p:nvSpPr>
            <p:cNvPr id="59"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61" name="Group 60"/>
          <p:cNvGrpSpPr/>
          <p:nvPr/>
        </p:nvGrpSpPr>
        <p:grpSpPr>
          <a:xfrm>
            <a:off x="7349536" y="2586755"/>
            <a:ext cx="421784" cy="582717"/>
            <a:chOff x="2418855" y="2964540"/>
            <a:chExt cx="428873" cy="582717"/>
          </a:xfrm>
        </p:grpSpPr>
        <p:sp>
          <p:nvSpPr>
            <p:cNvPr id="62"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3"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4"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PCF</a:t>
              </a:r>
              <a:endParaRPr lang="en-US" altLang="en-US" sz="800" dirty="0">
                <a:solidFill>
                  <a:srgbClr val="8F3F7B"/>
                </a:solidFill>
                <a:latin typeface="+mn-lt"/>
                <a:ea typeface="Segoe UI" panose="020B0502040204020203" pitchFamily="34" charset="0"/>
                <a:cs typeface="Segoe UI" panose="020B0502040204020203" pitchFamily="34" charset="0"/>
              </a:endParaRPr>
            </a:p>
          </p:txBody>
        </p:sp>
        <p:sp>
          <p:nvSpPr>
            <p:cNvPr id="65"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67" name="Straight Connector 248"/>
          <p:cNvCxnSpPr>
            <a:cxnSpLocks noChangeShapeType="1"/>
          </p:cNvCxnSpPr>
          <p:nvPr/>
        </p:nvCxnSpPr>
        <p:spPr bwMode="auto">
          <a:xfrm>
            <a:off x="2276991" y="4144353"/>
            <a:ext cx="1800878" cy="951994"/>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68" name="Straight Connector 248"/>
          <p:cNvCxnSpPr>
            <a:cxnSpLocks noChangeShapeType="1"/>
          </p:cNvCxnSpPr>
          <p:nvPr/>
        </p:nvCxnSpPr>
        <p:spPr bwMode="auto">
          <a:xfrm>
            <a:off x="2254625" y="2899618"/>
            <a:ext cx="1891141" cy="2036521"/>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69" name="Straight Connector 68"/>
          <p:cNvCxnSpPr>
            <a:cxnSpLocks/>
          </p:cNvCxnSpPr>
          <p:nvPr/>
        </p:nvCxnSpPr>
        <p:spPr bwMode="auto">
          <a:xfrm>
            <a:off x="5795217" y="3173235"/>
            <a:ext cx="527229" cy="21566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0" name="Straight Connector 69"/>
          <p:cNvCxnSpPr>
            <a:cxnSpLocks/>
          </p:cNvCxnSpPr>
          <p:nvPr/>
        </p:nvCxnSpPr>
        <p:spPr bwMode="auto">
          <a:xfrm>
            <a:off x="5683630" y="3162748"/>
            <a:ext cx="1" cy="256663"/>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1" name="Straight Connector 70"/>
          <p:cNvCxnSpPr>
            <a:cxnSpLocks/>
          </p:cNvCxnSpPr>
          <p:nvPr/>
        </p:nvCxnSpPr>
        <p:spPr bwMode="auto">
          <a:xfrm flipH="1">
            <a:off x="5866850" y="3821939"/>
            <a:ext cx="1701569"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72" name="Group 557"/>
          <p:cNvGrpSpPr>
            <a:grpSpLocks noChangeAspect="1"/>
          </p:cNvGrpSpPr>
          <p:nvPr/>
        </p:nvGrpSpPr>
        <p:grpSpPr bwMode="auto">
          <a:xfrm>
            <a:off x="6178265" y="3380955"/>
            <a:ext cx="428873" cy="589941"/>
            <a:chOff x="3510" y="1858"/>
            <a:chExt cx="363" cy="520"/>
          </a:xfrm>
        </p:grpSpPr>
        <p:sp>
          <p:nvSpPr>
            <p:cNvPr id="7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7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7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dirty="0">
                  <a:solidFill>
                    <a:srgbClr val="8F3F7B"/>
                  </a:solidFill>
                  <a:ea typeface="MS PGothic" pitchFamily="34" charset="-128"/>
                </a:rPr>
                <a:t>SMF</a:t>
              </a:r>
            </a:p>
          </p:txBody>
        </p:sp>
        <p:sp>
          <p:nvSpPr>
            <p:cNvPr id="7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7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78" name="Group 557"/>
          <p:cNvGrpSpPr>
            <a:grpSpLocks noChangeAspect="1"/>
          </p:cNvGrpSpPr>
          <p:nvPr/>
        </p:nvGrpSpPr>
        <p:grpSpPr bwMode="auto">
          <a:xfrm>
            <a:off x="5488127" y="3392986"/>
            <a:ext cx="420805" cy="577910"/>
            <a:chOff x="3510" y="1858"/>
            <a:chExt cx="363" cy="520"/>
          </a:xfrm>
        </p:grpSpPr>
        <p:sp>
          <p:nvSpPr>
            <p:cNvPr id="79"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80"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81"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dirty="0">
                  <a:solidFill>
                    <a:srgbClr val="8F3F7B"/>
                  </a:solidFill>
                  <a:ea typeface="MS PGothic" pitchFamily="34" charset="-128"/>
                </a:rPr>
                <a:t>AMF</a:t>
              </a:r>
            </a:p>
          </p:txBody>
        </p:sp>
        <p:sp>
          <p:nvSpPr>
            <p:cNvPr id="82"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83"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cxnSp>
        <p:nvCxnSpPr>
          <p:cNvPr id="84" name="Straight Connector 83"/>
          <p:cNvCxnSpPr>
            <a:cxnSpLocks/>
          </p:cNvCxnSpPr>
          <p:nvPr/>
        </p:nvCxnSpPr>
        <p:spPr bwMode="auto">
          <a:xfrm flipV="1">
            <a:off x="5842491" y="3054463"/>
            <a:ext cx="985364" cy="41242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85" name="Straight Connector 84"/>
          <p:cNvCxnSpPr>
            <a:cxnSpLocks/>
          </p:cNvCxnSpPr>
          <p:nvPr/>
        </p:nvCxnSpPr>
        <p:spPr bwMode="auto">
          <a:xfrm flipV="1">
            <a:off x="6827855" y="3054463"/>
            <a:ext cx="521681" cy="1"/>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86" name="Group 45"/>
          <p:cNvGrpSpPr>
            <a:grpSpLocks noChangeAspect="1"/>
          </p:cNvGrpSpPr>
          <p:nvPr/>
        </p:nvGrpSpPr>
        <p:grpSpPr bwMode="auto">
          <a:xfrm>
            <a:off x="6155817" y="1515198"/>
            <a:ext cx="428873" cy="582717"/>
            <a:chOff x="1057" y="1587"/>
            <a:chExt cx="363" cy="520"/>
          </a:xfrm>
        </p:grpSpPr>
        <p:sp>
          <p:nvSpPr>
            <p:cNvPr id="87"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88"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89"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00A9D4"/>
                  </a:solidFill>
                  <a:latin typeface="+mn-lt"/>
                  <a:ea typeface="Segoe UI" panose="020B0502040204020203" pitchFamily="34" charset="0"/>
                  <a:cs typeface="Segoe UI" panose="020B0502040204020203" pitchFamily="34" charset="0"/>
                </a:rPr>
                <a:t>AUSF/UDM</a:t>
              </a:r>
            </a:p>
          </p:txBody>
        </p:sp>
        <p:sp>
          <p:nvSpPr>
            <p:cNvPr id="90"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1"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92" name="Straight Connector 91"/>
          <p:cNvCxnSpPr>
            <a:cxnSpLocks/>
          </p:cNvCxnSpPr>
          <p:nvPr/>
        </p:nvCxnSpPr>
        <p:spPr bwMode="auto">
          <a:xfrm flipH="1">
            <a:off x="5835409" y="1954301"/>
            <a:ext cx="320408"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93" name="Straight Connector 92"/>
          <p:cNvCxnSpPr>
            <a:cxnSpLocks/>
          </p:cNvCxnSpPr>
          <p:nvPr/>
        </p:nvCxnSpPr>
        <p:spPr bwMode="auto">
          <a:xfrm flipV="1">
            <a:off x="4289210" y="2042451"/>
            <a:ext cx="0" cy="2933996"/>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4" name="Straight Connector 93"/>
          <p:cNvCxnSpPr>
            <a:cxnSpLocks/>
          </p:cNvCxnSpPr>
          <p:nvPr/>
        </p:nvCxnSpPr>
        <p:spPr bwMode="auto">
          <a:xfrm flipH="1">
            <a:off x="4289210" y="2042451"/>
            <a:ext cx="175825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95" name="Group 261"/>
          <p:cNvGrpSpPr>
            <a:grpSpLocks noChangeAspect="1"/>
          </p:cNvGrpSpPr>
          <p:nvPr/>
        </p:nvGrpSpPr>
        <p:grpSpPr bwMode="auto">
          <a:xfrm>
            <a:off x="5414048" y="1529790"/>
            <a:ext cx="428443" cy="580937"/>
            <a:chOff x="239" y="1832"/>
            <a:chExt cx="363" cy="520"/>
          </a:xfrm>
        </p:grpSpPr>
        <p:sp>
          <p:nvSpPr>
            <p:cNvPr id="9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sv-SE" altLang="en-US" sz="900">
                <a:solidFill>
                  <a:srgbClr val="58585A"/>
                </a:solidFill>
              </a:endParaRPr>
            </a:p>
          </p:txBody>
        </p:sp>
        <p:sp>
          <p:nvSpPr>
            <p:cNvPr id="9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sv-SE" altLang="en-US" sz="900">
                <a:solidFill>
                  <a:srgbClr val="58585A"/>
                </a:solidFill>
              </a:endParaRPr>
            </a:p>
          </p:txBody>
        </p:sp>
        <p:sp>
          <p:nvSpPr>
            <p:cNvPr id="9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000" dirty="0">
                  <a:solidFill>
                    <a:srgbClr val="8F3F7B"/>
                  </a:solidFill>
                  <a:latin typeface="+mn-lt"/>
                  <a:ea typeface="Segoe UI" panose="020B0502040204020203" pitchFamily="34" charset="0"/>
                  <a:cs typeface="Segoe UI" panose="020B0502040204020203" pitchFamily="34" charset="0"/>
                </a:rPr>
                <a:t>AMF/ SMF</a:t>
              </a:r>
            </a:p>
          </p:txBody>
        </p:sp>
        <p:sp>
          <p:nvSpPr>
            <p:cNvPr id="9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sv-SE" altLang="en-US" sz="900">
                <a:solidFill>
                  <a:srgbClr val="58585A"/>
                </a:solidFill>
              </a:endParaRPr>
            </a:p>
          </p:txBody>
        </p:sp>
        <p:sp>
          <p:nvSpPr>
            <p:cNvPr id="10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101" name="Straight Connector 100"/>
          <p:cNvCxnSpPr/>
          <p:nvPr/>
        </p:nvCxnSpPr>
        <p:spPr bwMode="auto">
          <a:xfrm>
            <a:off x="6047463" y="2042451"/>
            <a:ext cx="0" cy="119981"/>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2" name="Straight Connector 101"/>
          <p:cNvCxnSpPr>
            <a:cxnSpLocks/>
          </p:cNvCxnSpPr>
          <p:nvPr/>
        </p:nvCxnSpPr>
        <p:spPr bwMode="auto">
          <a:xfrm flipH="1">
            <a:off x="6047321" y="2158313"/>
            <a:ext cx="458966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3" name="Straight Connector 102"/>
          <p:cNvCxnSpPr>
            <a:cxnSpLocks/>
          </p:cNvCxnSpPr>
          <p:nvPr/>
        </p:nvCxnSpPr>
        <p:spPr bwMode="auto">
          <a:xfrm flipH="1">
            <a:off x="7960036" y="4972522"/>
            <a:ext cx="1555927"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04" name="Straight Connector 103"/>
          <p:cNvCxnSpPr>
            <a:cxnSpLocks/>
          </p:cNvCxnSpPr>
          <p:nvPr/>
        </p:nvCxnSpPr>
        <p:spPr bwMode="auto">
          <a:xfrm flipH="1">
            <a:off x="7998444" y="6325020"/>
            <a:ext cx="1541918"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05" name="Straight Connector 104"/>
          <p:cNvCxnSpPr>
            <a:cxnSpLocks/>
          </p:cNvCxnSpPr>
          <p:nvPr/>
        </p:nvCxnSpPr>
        <p:spPr bwMode="auto">
          <a:xfrm flipH="1">
            <a:off x="8252350" y="6217724"/>
            <a:ext cx="735670"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06" name="Straight Connector 105"/>
          <p:cNvCxnSpPr>
            <a:cxnSpLocks/>
            <a:stCxn id="132" idx="1"/>
            <a:endCxn id="204" idx="5"/>
          </p:cNvCxnSpPr>
          <p:nvPr/>
        </p:nvCxnSpPr>
        <p:spPr bwMode="auto">
          <a:xfrm flipH="1">
            <a:off x="6953364" y="4892204"/>
            <a:ext cx="903792" cy="9818"/>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07" name="Group 106"/>
          <p:cNvGrpSpPr/>
          <p:nvPr/>
        </p:nvGrpSpPr>
        <p:grpSpPr>
          <a:xfrm>
            <a:off x="1859149" y="3682324"/>
            <a:ext cx="417842" cy="574873"/>
            <a:chOff x="1690243" y="3902109"/>
            <a:chExt cx="465198" cy="666000"/>
          </a:xfrm>
        </p:grpSpPr>
        <p:sp>
          <p:nvSpPr>
            <p:cNvPr id="108"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09"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10"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dirty="0">
                  <a:solidFill>
                    <a:srgbClr val="00285F"/>
                  </a:solidFill>
                  <a:latin typeface="+mn-lt"/>
                  <a:ea typeface="Segoe UI" panose="020B0502040204020203" pitchFamily="34" charset="0"/>
                  <a:cs typeface="Segoe UI" panose="020B0502040204020203" pitchFamily="34" charset="0"/>
                </a:rPr>
                <a:t>Device</a:t>
              </a:r>
            </a:p>
          </p:txBody>
        </p:sp>
        <p:sp>
          <p:nvSpPr>
            <p:cNvPr id="111"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112"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002060"/>
            </a:solidFill>
            <a:ln>
              <a:noFill/>
            </a:ln>
            <a:extLst/>
          </p:spPr>
          <p:txBody>
            <a:bodyPr tIns="1080000" anchor="ctr"/>
            <a:lstStyle/>
            <a:p>
              <a:endParaRPr lang="en-US">
                <a:solidFill>
                  <a:srgbClr val="58585A"/>
                </a:solidFill>
              </a:endParaRPr>
            </a:p>
          </p:txBody>
        </p:sp>
      </p:grpSp>
      <p:grpSp>
        <p:nvGrpSpPr>
          <p:cNvPr id="113" name="Group 112"/>
          <p:cNvGrpSpPr/>
          <p:nvPr/>
        </p:nvGrpSpPr>
        <p:grpSpPr>
          <a:xfrm>
            <a:off x="1878717" y="4884251"/>
            <a:ext cx="417842" cy="574873"/>
            <a:chOff x="1690243" y="3902109"/>
            <a:chExt cx="465198" cy="666000"/>
          </a:xfrm>
        </p:grpSpPr>
        <p:sp>
          <p:nvSpPr>
            <p:cNvPr id="114"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15"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116"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dirty="0">
                  <a:solidFill>
                    <a:srgbClr val="58585A"/>
                  </a:solidFill>
                  <a:latin typeface="+mn-lt"/>
                  <a:ea typeface="Segoe UI" panose="020B0502040204020203" pitchFamily="34" charset="0"/>
                  <a:cs typeface="Segoe UI" panose="020B0502040204020203" pitchFamily="34" charset="0"/>
                </a:rPr>
                <a:t>Device</a:t>
              </a:r>
            </a:p>
          </p:txBody>
        </p:sp>
        <p:sp>
          <p:nvSpPr>
            <p:cNvPr id="117"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118"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endParaRPr lang="en-US">
                <a:solidFill>
                  <a:srgbClr val="58585A"/>
                </a:solidFill>
              </a:endParaRPr>
            </a:p>
          </p:txBody>
        </p:sp>
      </p:grpSp>
      <p:grpSp>
        <p:nvGrpSpPr>
          <p:cNvPr id="119" name="Group 264"/>
          <p:cNvGrpSpPr>
            <a:grpSpLocks noChangeAspect="1"/>
          </p:cNvGrpSpPr>
          <p:nvPr/>
        </p:nvGrpSpPr>
        <p:grpSpPr bwMode="auto">
          <a:xfrm>
            <a:off x="9515963" y="4663735"/>
            <a:ext cx="433579" cy="581945"/>
            <a:chOff x="644" y="2384"/>
            <a:chExt cx="366" cy="520"/>
          </a:xfrm>
        </p:grpSpPr>
        <p:sp>
          <p:nvSpPr>
            <p:cNvPr id="120"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21"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22" name="Text Box 144"/>
            <p:cNvSpPr txBox="1">
              <a:spLocks noChangeAspect="1" noChangeArrowheads="1"/>
            </p:cNvSpPr>
            <p:nvPr/>
          </p:nvSpPr>
          <p:spPr bwMode="auto">
            <a:xfrm>
              <a:off x="644"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UPF</a:t>
              </a:r>
              <a:endParaRPr lang="en-US" altLang="en-US" sz="900" dirty="0">
                <a:solidFill>
                  <a:srgbClr val="8F3F7B"/>
                </a:solidFill>
                <a:latin typeface="+mn-lt"/>
                <a:ea typeface="Segoe UI" panose="020B0502040204020203" pitchFamily="34" charset="0"/>
                <a:cs typeface="Segoe UI" panose="020B0502040204020203" pitchFamily="34" charset="0"/>
              </a:endParaRPr>
            </a:p>
          </p:txBody>
        </p:sp>
        <p:sp>
          <p:nvSpPr>
            <p:cNvPr id="123"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24"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25" name="Group 264"/>
          <p:cNvGrpSpPr>
            <a:grpSpLocks noChangeAspect="1"/>
          </p:cNvGrpSpPr>
          <p:nvPr/>
        </p:nvGrpSpPr>
        <p:grpSpPr bwMode="auto">
          <a:xfrm>
            <a:off x="9524255" y="5918743"/>
            <a:ext cx="433579" cy="581945"/>
            <a:chOff x="644" y="2384"/>
            <a:chExt cx="366" cy="520"/>
          </a:xfrm>
        </p:grpSpPr>
        <p:sp>
          <p:nvSpPr>
            <p:cNvPr id="126"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27"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28" name="Text Box 144"/>
            <p:cNvSpPr txBox="1">
              <a:spLocks noChangeAspect="1" noChangeArrowheads="1"/>
            </p:cNvSpPr>
            <p:nvPr/>
          </p:nvSpPr>
          <p:spPr bwMode="auto">
            <a:xfrm>
              <a:off x="644"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UPF</a:t>
              </a:r>
              <a:endParaRPr lang="en-US" altLang="en-US" sz="900" dirty="0">
                <a:solidFill>
                  <a:srgbClr val="8F3F7B"/>
                </a:solidFill>
                <a:latin typeface="+mn-lt"/>
                <a:ea typeface="Segoe UI" panose="020B0502040204020203" pitchFamily="34" charset="0"/>
                <a:cs typeface="Segoe UI" panose="020B0502040204020203" pitchFamily="34" charset="0"/>
              </a:endParaRPr>
            </a:p>
          </p:txBody>
        </p:sp>
        <p:sp>
          <p:nvSpPr>
            <p:cNvPr id="129"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130"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31" name="Group 557"/>
          <p:cNvGrpSpPr>
            <a:grpSpLocks noChangeAspect="1"/>
          </p:cNvGrpSpPr>
          <p:nvPr/>
        </p:nvGrpSpPr>
        <p:grpSpPr bwMode="auto">
          <a:xfrm>
            <a:off x="7848886" y="4516684"/>
            <a:ext cx="428873" cy="589941"/>
            <a:chOff x="3510" y="1858"/>
            <a:chExt cx="363" cy="520"/>
          </a:xfrm>
        </p:grpSpPr>
        <p:sp>
          <p:nvSpPr>
            <p:cNvPr id="132"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33"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34"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dirty="0">
                  <a:solidFill>
                    <a:srgbClr val="8F3F7B"/>
                  </a:solidFill>
                  <a:ea typeface="MS PGothic" pitchFamily="34" charset="-128"/>
                </a:rPr>
                <a:t>SMF</a:t>
              </a:r>
            </a:p>
          </p:txBody>
        </p:sp>
        <p:sp>
          <p:nvSpPr>
            <p:cNvPr id="135"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36"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37" name="Group 557"/>
          <p:cNvGrpSpPr>
            <a:grpSpLocks noChangeAspect="1"/>
          </p:cNvGrpSpPr>
          <p:nvPr/>
        </p:nvGrpSpPr>
        <p:grpSpPr bwMode="auto">
          <a:xfrm>
            <a:off x="7835186" y="5791453"/>
            <a:ext cx="428873" cy="589941"/>
            <a:chOff x="3510" y="1858"/>
            <a:chExt cx="363" cy="520"/>
          </a:xfrm>
        </p:grpSpPr>
        <p:sp>
          <p:nvSpPr>
            <p:cNvPr id="138"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39"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40"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dirty="0">
                  <a:solidFill>
                    <a:srgbClr val="8F3F7B"/>
                  </a:solidFill>
                  <a:ea typeface="MS PGothic" pitchFamily="34" charset="-128"/>
                </a:rPr>
                <a:t>SMF</a:t>
              </a:r>
            </a:p>
          </p:txBody>
        </p:sp>
        <p:sp>
          <p:nvSpPr>
            <p:cNvPr id="141"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42"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43" name="Group 142"/>
          <p:cNvGrpSpPr/>
          <p:nvPr/>
        </p:nvGrpSpPr>
        <p:grpSpPr>
          <a:xfrm>
            <a:off x="8979887" y="5708814"/>
            <a:ext cx="421784" cy="582717"/>
            <a:chOff x="2418855" y="2964540"/>
            <a:chExt cx="428873" cy="582717"/>
          </a:xfrm>
        </p:grpSpPr>
        <p:sp>
          <p:nvSpPr>
            <p:cNvPr id="144"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45"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46"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PCF</a:t>
              </a:r>
              <a:endParaRPr lang="en-US" altLang="en-US" sz="800" dirty="0">
                <a:solidFill>
                  <a:srgbClr val="8F3F7B"/>
                </a:solidFill>
                <a:latin typeface="+mn-lt"/>
                <a:ea typeface="Segoe UI" panose="020B0502040204020203" pitchFamily="34" charset="0"/>
                <a:cs typeface="Segoe UI" panose="020B0502040204020203" pitchFamily="34" charset="0"/>
              </a:endParaRPr>
            </a:p>
          </p:txBody>
        </p:sp>
        <p:sp>
          <p:nvSpPr>
            <p:cNvPr id="147"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9" name="Group 45"/>
          <p:cNvGrpSpPr>
            <a:grpSpLocks noChangeAspect="1"/>
          </p:cNvGrpSpPr>
          <p:nvPr/>
        </p:nvGrpSpPr>
        <p:grpSpPr bwMode="auto">
          <a:xfrm>
            <a:off x="8405627" y="5557240"/>
            <a:ext cx="428873" cy="582717"/>
            <a:chOff x="1057" y="1587"/>
            <a:chExt cx="363" cy="520"/>
          </a:xfrm>
        </p:grpSpPr>
        <p:sp>
          <p:nvSpPr>
            <p:cNvPr id="150"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1"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2"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00A9D4"/>
                  </a:solidFill>
                  <a:latin typeface="+mn-lt"/>
                  <a:ea typeface="Segoe UI" panose="020B0502040204020203" pitchFamily="34" charset="0"/>
                  <a:cs typeface="Segoe UI" panose="020B0502040204020203" pitchFamily="34" charset="0"/>
                </a:rPr>
                <a:t>AAA</a:t>
              </a:r>
            </a:p>
          </p:txBody>
        </p:sp>
        <p:sp>
          <p:nvSpPr>
            <p:cNvPr id="153"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155" name="Straight Connector 154"/>
          <p:cNvCxnSpPr>
            <a:cxnSpLocks/>
            <a:stCxn id="152" idx="1"/>
            <a:endCxn id="139" idx="6"/>
          </p:cNvCxnSpPr>
          <p:nvPr/>
        </p:nvCxnSpPr>
        <p:spPr bwMode="auto">
          <a:xfrm flipH="1">
            <a:off x="8256970" y="6000442"/>
            <a:ext cx="168742" cy="32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56" name="Straight Connector 155"/>
          <p:cNvCxnSpPr>
            <a:cxnSpLocks/>
            <a:stCxn id="205" idx="2"/>
            <a:endCxn id="174" idx="6"/>
          </p:cNvCxnSpPr>
          <p:nvPr/>
        </p:nvCxnSpPr>
        <p:spPr bwMode="auto">
          <a:xfrm flipH="1">
            <a:off x="5933271" y="5123891"/>
            <a:ext cx="874908" cy="30892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57" name="Group 278"/>
          <p:cNvGrpSpPr>
            <a:grpSpLocks noChangeAspect="1"/>
          </p:cNvGrpSpPr>
          <p:nvPr/>
        </p:nvGrpSpPr>
        <p:grpSpPr bwMode="auto">
          <a:xfrm>
            <a:off x="4054748" y="4883020"/>
            <a:ext cx="442607" cy="594456"/>
            <a:chOff x="3106" y="2389"/>
            <a:chExt cx="363" cy="520"/>
          </a:xfrm>
        </p:grpSpPr>
        <p:sp>
          <p:nvSpPr>
            <p:cNvPr id="15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5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6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5G</a:t>
              </a:r>
            </a:p>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RAN</a:t>
              </a:r>
            </a:p>
          </p:txBody>
        </p:sp>
        <p:sp>
          <p:nvSpPr>
            <p:cNvPr id="16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6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sp>
        <p:nvSpPr>
          <p:cNvPr id="163" name="Freeform 3"/>
          <p:cNvSpPr>
            <a:spLocks noChangeAspect="1"/>
          </p:cNvSpPr>
          <p:nvPr/>
        </p:nvSpPr>
        <p:spPr bwMode="auto">
          <a:xfrm>
            <a:off x="10636989" y="4881898"/>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a:extLst/>
        </p:spPr>
        <p:txBody>
          <a:bodyPr/>
          <a:lstStyle/>
          <a:p>
            <a:endParaRPr lang="en-US">
              <a:solidFill>
                <a:srgbClr val="58585A"/>
              </a:solidFill>
            </a:endParaRPr>
          </a:p>
        </p:txBody>
      </p:sp>
      <p:sp>
        <p:nvSpPr>
          <p:cNvPr id="164" name="Freeform 3"/>
          <p:cNvSpPr>
            <a:spLocks noChangeAspect="1"/>
          </p:cNvSpPr>
          <p:nvPr/>
        </p:nvSpPr>
        <p:spPr bwMode="auto">
          <a:xfrm>
            <a:off x="10636989" y="6035805"/>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a:extLst/>
        </p:spPr>
        <p:txBody>
          <a:bodyPr/>
          <a:lstStyle/>
          <a:p>
            <a:endParaRPr lang="en-US">
              <a:solidFill>
                <a:srgbClr val="58585A"/>
              </a:solidFill>
            </a:endParaRPr>
          </a:p>
        </p:txBody>
      </p:sp>
      <p:grpSp>
        <p:nvGrpSpPr>
          <p:cNvPr id="165" name="Group 45"/>
          <p:cNvGrpSpPr>
            <a:grpSpLocks noChangeAspect="1"/>
          </p:cNvGrpSpPr>
          <p:nvPr/>
        </p:nvGrpSpPr>
        <p:grpSpPr bwMode="auto">
          <a:xfrm>
            <a:off x="5511354" y="4549507"/>
            <a:ext cx="428873" cy="582717"/>
            <a:chOff x="1057" y="1587"/>
            <a:chExt cx="363" cy="520"/>
          </a:xfrm>
        </p:grpSpPr>
        <p:sp>
          <p:nvSpPr>
            <p:cNvPr id="166"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67"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68"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00A9D4"/>
                  </a:solidFill>
                  <a:latin typeface="+mn-lt"/>
                  <a:ea typeface="Segoe UI" panose="020B0502040204020203" pitchFamily="34" charset="0"/>
                  <a:cs typeface="Segoe UI" panose="020B0502040204020203" pitchFamily="34" charset="0"/>
                </a:rPr>
                <a:t>AUSF/UDM</a:t>
              </a:r>
            </a:p>
          </p:txBody>
        </p:sp>
        <p:sp>
          <p:nvSpPr>
            <p:cNvPr id="169"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171" name="Straight Connector 170"/>
          <p:cNvCxnSpPr>
            <a:cxnSpLocks/>
            <a:stCxn id="166" idx="2"/>
            <a:endCxn id="174" idx="0"/>
          </p:cNvCxnSpPr>
          <p:nvPr/>
        </p:nvCxnSpPr>
        <p:spPr bwMode="auto">
          <a:xfrm>
            <a:off x="5726381" y="5125500"/>
            <a:ext cx="2864" cy="110048"/>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72" name="Group 557"/>
          <p:cNvGrpSpPr>
            <a:grpSpLocks noChangeAspect="1"/>
          </p:cNvGrpSpPr>
          <p:nvPr/>
        </p:nvGrpSpPr>
        <p:grpSpPr bwMode="auto">
          <a:xfrm>
            <a:off x="5519422" y="5227768"/>
            <a:ext cx="420805" cy="577910"/>
            <a:chOff x="3510" y="1858"/>
            <a:chExt cx="363" cy="520"/>
          </a:xfrm>
        </p:grpSpPr>
        <p:sp>
          <p:nvSpPr>
            <p:cNvPr id="17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7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7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dirty="0">
                  <a:solidFill>
                    <a:srgbClr val="8F3F7B"/>
                  </a:solidFill>
                  <a:ea typeface="MS PGothic" pitchFamily="34" charset="-128"/>
                </a:rPr>
                <a:t>AMF</a:t>
              </a:r>
            </a:p>
          </p:txBody>
        </p:sp>
        <p:sp>
          <p:nvSpPr>
            <p:cNvPr id="17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17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78" name="Group 557"/>
          <p:cNvGrpSpPr>
            <a:grpSpLocks noChangeAspect="1"/>
          </p:cNvGrpSpPr>
          <p:nvPr/>
        </p:nvGrpSpPr>
        <p:grpSpPr bwMode="auto">
          <a:xfrm>
            <a:off x="3352356" y="5498927"/>
            <a:ext cx="651663" cy="941585"/>
            <a:chOff x="3510" y="1858"/>
            <a:chExt cx="363" cy="520"/>
          </a:xfrm>
        </p:grpSpPr>
        <p:sp>
          <p:nvSpPr>
            <p:cNvPr id="179"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80" name="Oval 239"/>
            <p:cNvSpPr>
              <a:spLocks noChangeAspect="1" noChangeArrowheads="1"/>
            </p:cNvSpPr>
            <p:nvPr/>
          </p:nvSpPr>
          <p:spPr bwMode="auto">
            <a:xfrm>
              <a:off x="3515" y="1865"/>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81"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50" dirty="0">
                  <a:solidFill>
                    <a:srgbClr val="8F3F7B"/>
                  </a:solidFill>
                  <a:latin typeface="+mn-lt"/>
                  <a:ea typeface="Segoe UI" panose="020B0502040204020203" pitchFamily="34" charset="0"/>
                  <a:cs typeface="Segoe UI" panose="020B0502040204020203" pitchFamily="34" charset="0"/>
                </a:rPr>
                <a:t>CNI</a:t>
              </a:r>
              <a:br>
                <a:rPr lang="en-US" altLang="en-US" sz="1050" dirty="0">
                  <a:solidFill>
                    <a:srgbClr val="8F3F7B"/>
                  </a:solidFill>
                  <a:latin typeface="+mn-lt"/>
                  <a:ea typeface="Segoe UI" panose="020B0502040204020203" pitchFamily="34" charset="0"/>
                  <a:cs typeface="Segoe UI" panose="020B0502040204020203" pitchFamily="34" charset="0"/>
                </a:rPr>
              </a:br>
              <a:r>
                <a:rPr lang="en-US" altLang="en-US" sz="1050" dirty="0">
                  <a:solidFill>
                    <a:srgbClr val="8F3F7B"/>
                  </a:solidFill>
                  <a:latin typeface="+mn-lt"/>
                  <a:ea typeface="Segoe UI" panose="020B0502040204020203" pitchFamily="34" charset="0"/>
                  <a:cs typeface="Segoe UI" panose="020B0502040204020203" pitchFamily="34" charset="0"/>
                </a:rPr>
                <a:t>Selection</a:t>
              </a:r>
            </a:p>
          </p:txBody>
        </p:sp>
        <p:sp>
          <p:nvSpPr>
            <p:cNvPr id="182"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83" name="Freeform 11"/>
            <p:cNvSpPr>
              <a:spLocks noChangeAspect="1" noEditPoints="1"/>
            </p:cNvSpPr>
            <p:nvPr/>
          </p:nvSpPr>
          <p:spPr bwMode="auto">
            <a:xfrm>
              <a:off x="3510" y="1858"/>
              <a:ext cx="363" cy="519"/>
            </a:xfrm>
            <a:custGeom>
              <a:avLst/>
              <a:gdLst>
                <a:gd name="T0" fmla="*/ 117885 w 410"/>
                <a:gd name="T1" fmla="*/ 58755 h 589"/>
                <a:gd name="T2" fmla="*/ 115539 w 410"/>
                <a:gd name="T3" fmla="*/ 60809 h 589"/>
                <a:gd name="T4" fmla="*/ 115539 w 410"/>
                <a:gd name="T5" fmla="*/ 140861 h 589"/>
                <a:gd name="T6" fmla="*/ 108501 w 410"/>
                <a:gd name="T7" fmla="*/ 147019 h 589"/>
                <a:gd name="T8" fmla="*/ 12023 w 410"/>
                <a:gd name="T9" fmla="*/ 147019 h 589"/>
                <a:gd name="T10" fmla="*/ 4692 w 410"/>
                <a:gd name="T11" fmla="*/ 140861 h 589"/>
                <a:gd name="T12" fmla="*/ 4692 w 410"/>
                <a:gd name="T13" fmla="*/ 52599 h 589"/>
                <a:gd name="T14" fmla="*/ 60116 w 410"/>
                <a:gd name="T15" fmla="*/ 4106 h 589"/>
                <a:gd name="T16" fmla="*/ 115539 w 410"/>
                <a:gd name="T17" fmla="*/ 52599 h 589"/>
                <a:gd name="T18" fmla="*/ 117885 w 410"/>
                <a:gd name="T19" fmla="*/ 54652 h 589"/>
                <a:gd name="T20" fmla="*/ 120230 w 410"/>
                <a:gd name="T21" fmla="*/ 52599 h 589"/>
                <a:gd name="T22" fmla="*/ 120230 w 410"/>
                <a:gd name="T23" fmla="*/ 52599 h 589"/>
                <a:gd name="T24" fmla="*/ 60116 w 410"/>
                <a:gd name="T25" fmla="*/ 0 h 589"/>
                <a:gd name="T26" fmla="*/ 0 w 410"/>
                <a:gd name="T27" fmla="*/ 52599 h 589"/>
                <a:gd name="T28" fmla="*/ 0 w 410"/>
                <a:gd name="T29" fmla="*/ 52599 h 589"/>
                <a:gd name="T30" fmla="*/ 292 w 410"/>
                <a:gd name="T31" fmla="*/ 140861 h 589"/>
                <a:gd name="T32" fmla="*/ 12023 w 410"/>
                <a:gd name="T33" fmla="*/ 151124 h 589"/>
                <a:gd name="T34" fmla="*/ 108501 w 410"/>
                <a:gd name="T35" fmla="*/ 151124 h 589"/>
                <a:gd name="T36" fmla="*/ 120230 w 410"/>
                <a:gd name="T37" fmla="*/ 140861 h 589"/>
                <a:gd name="T38" fmla="*/ 120230 w 410"/>
                <a:gd name="T39" fmla="*/ 60809 h 589"/>
                <a:gd name="T40" fmla="*/ 117885 w 410"/>
                <a:gd name="T41" fmla="*/ 58755 h 589"/>
                <a:gd name="T42" fmla="*/ 60116 w 410"/>
                <a:gd name="T43" fmla="*/ 13599 h 589"/>
                <a:gd name="T44" fmla="*/ 58062 w 410"/>
                <a:gd name="T45" fmla="*/ 14882 h 589"/>
                <a:gd name="T46" fmla="*/ 22287 w 410"/>
                <a:gd name="T47" fmla="*/ 74664 h 589"/>
                <a:gd name="T48" fmla="*/ 22579 w 410"/>
                <a:gd name="T49" fmla="*/ 76716 h 589"/>
                <a:gd name="T50" fmla="*/ 24339 w 410"/>
                <a:gd name="T51" fmla="*/ 77743 h 589"/>
                <a:gd name="T52" fmla="*/ 95890 w 410"/>
                <a:gd name="T53" fmla="*/ 77743 h 589"/>
                <a:gd name="T54" fmla="*/ 97944 w 410"/>
                <a:gd name="T55" fmla="*/ 76716 h 589"/>
                <a:gd name="T56" fmla="*/ 97944 w 410"/>
                <a:gd name="T57" fmla="*/ 74664 h 589"/>
                <a:gd name="T58" fmla="*/ 62168 w 410"/>
                <a:gd name="T59" fmla="*/ 14882 h 589"/>
                <a:gd name="T60" fmla="*/ 60116 w 410"/>
                <a:gd name="T61" fmla="*/ 13599 h 589"/>
                <a:gd name="T62" fmla="*/ 28151 w 410"/>
                <a:gd name="T63" fmla="*/ 73637 h 589"/>
                <a:gd name="T64" fmla="*/ 60116 w 410"/>
                <a:gd name="T65" fmla="*/ 20269 h 589"/>
                <a:gd name="T66" fmla="*/ 92080 w 410"/>
                <a:gd name="T67" fmla="*/ 73637 h 589"/>
                <a:gd name="T68" fmla="*/ 28151 w 410"/>
                <a:gd name="T69" fmla="*/ 7363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3600">
                <a:solidFill>
                  <a:srgbClr val="58585A"/>
                </a:solidFill>
              </a:endParaRPr>
            </a:p>
          </p:txBody>
        </p:sp>
      </p:grpSp>
      <p:cxnSp>
        <p:nvCxnSpPr>
          <p:cNvPr id="184" name="Straight Arrow Connector 183"/>
          <p:cNvCxnSpPr>
            <a:cxnSpLocks/>
          </p:cNvCxnSpPr>
          <p:nvPr/>
        </p:nvCxnSpPr>
        <p:spPr bwMode="auto">
          <a:xfrm flipV="1">
            <a:off x="3878766" y="5127275"/>
            <a:ext cx="245119" cy="418111"/>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185" name="Oval 33"/>
          <p:cNvSpPr>
            <a:spLocks noChangeArrowheads="1"/>
          </p:cNvSpPr>
          <p:nvPr/>
        </p:nvSpPr>
        <p:spPr bwMode="auto">
          <a:xfrm>
            <a:off x="4169773" y="559949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1</a:t>
            </a:r>
            <a:endParaRPr lang="en-US" altLang="en-US" sz="2000" b="1" dirty="0">
              <a:solidFill>
                <a:srgbClr val="FFFFFF"/>
              </a:solidFill>
            </a:endParaRPr>
          </a:p>
        </p:txBody>
      </p:sp>
      <p:sp>
        <p:nvSpPr>
          <p:cNvPr id="186" name="Oval 33"/>
          <p:cNvSpPr>
            <a:spLocks noChangeArrowheads="1"/>
          </p:cNvSpPr>
          <p:nvPr/>
        </p:nvSpPr>
        <p:spPr bwMode="auto">
          <a:xfrm>
            <a:off x="4350389" y="3439133"/>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1</a:t>
            </a:r>
            <a:endParaRPr lang="en-US" altLang="en-US" sz="2000" b="1" dirty="0">
              <a:solidFill>
                <a:srgbClr val="FFFFFF"/>
              </a:solidFill>
            </a:endParaRPr>
          </a:p>
        </p:txBody>
      </p:sp>
      <p:sp>
        <p:nvSpPr>
          <p:cNvPr id="187" name="Oval 33"/>
          <p:cNvSpPr>
            <a:spLocks noChangeArrowheads="1"/>
          </p:cNvSpPr>
          <p:nvPr/>
        </p:nvSpPr>
        <p:spPr bwMode="auto">
          <a:xfrm>
            <a:off x="3895285" y="1630776"/>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1</a:t>
            </a:r>
            <a:endParaRPr lang="en-US" altLang="en-US" sz="2000" b="1" dirty="0">
              <a:solidFill>
                <a:srgbClr val="FFFFFF"/>
              </a:solidFill>
            </a:endParaRPr>
          </a:p>
        </p:txBody>
      </p:sp>
      <p:cxnSp>
        <p:nvCxnSpPr>
          <p:cNvPr id="188" name="Straight Arrow Connector 187"/>
          <p:cNvCxnSpPr>
            <a:cxnSpLocks/>
          </p:cNvCxnSpPr>
          <p:nvPr/>
        </p:nvCxnSpPr>
        <p:spPr bwMode="auto">
          <a:xfrm>
            <a:off x="2950512" y="4823369"/>
            <a:ext cx="548741" cy="729861"/>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grpSp>
        <p:nvGrpSpPr>
          <p:cNvPr id="189" name="Group 557"/>
          <p:cNvGrpSpPr>
            <a:grpSpLocks noChangeAspect="1"/>
          </p:cNvGrpSpPr>
          <p:nvPr/>
        </p:nvGrpSpPr>
        <p:grpSpPr bwMode="auto">
          <a:xfrm>
            <a:off x="5941426" y="5711236"/>
            <a:ext cx="651663" cy="941585"/>
            <a:chOff x="3510" y="1858"/>
            <a:chExt cx="363" cy="520"/>
          </a:xfrm>
        </p:grpSpPr>
        <p:sp>
          <p:nvSpPr>
            <p:cNvPr id="190"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91" name="Oval 239"/>
            <p:cNvSpPr>
              <a:spLocks noChangeAspect="1" noChangeArrowheads="1"/>
            </p:cNvSpPr>
            <p:nvPr/>
          </p:nvSpPr>
          <p:spPr bwMode="auto">
            <a:xfrm>
              <a:off x="3515" y="1865"/>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92"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50" dirty="0">
                  <a:solidFill>
                    <a:srgbClr val="8F3F7B"/>
                  </a:solidFill>
                  <a:latin typeface="+mn-lt"/>
                  <a:ea typeface="Segoe UI" panose="020B0502040204020203" pitchFamily="34" charset="0"/>
                  <a:cs typeface="Segoe UI" panose="020B0502040204020203" pitchFamily="34" charset="0"/>
                </a:rPr>
                <a:t>NSSF</a:t>
              </a:r>
            </a:p>
          </p:txBody>
        </p:sp>
        <p:sp>
          <p:nvSpPr>
            <p:cNvPr id="193"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200">
                <a:solidFill>
                  <a:srgbClr val="58585A"/>
                </a:solidFill>
              </a:endParaRPr>
            </a:p>
          </p:txBody>
        </p:sp>
        <p:sp>
          <p:nvSpPr>
            <p:cNvPr id="194" name="Freeform 11"/>
            <p:cNvSpPr>
              <a:spLocks noChangeAspect="1" noEditPoints="1"/>
            </p:cNvSpPr>
            <p:nvPr/>
          </p:nvSpPr>
          <p:spPr bwMode="auto">
            <a:xfrm>
              <a:off x="3510" y="1858"/>
              <a:ext cx="363" cy="519"/>
            </a:xfrm>
            <a:custGeom>
              <a:avLst/>
              <a:gdLst>
                <a:gd name="T0" fmla="*/ 117885 w 410"/>
                <a:gd name="T1" fmla="*/ 58755 h 589"/>
                <a:gd name="T2" fmla="*/ 115539 w 410"/>
                <a:gd name="T3" fmla="*/ 60809 h 589"/>
                <a:gd name="T4" fmla="*/ 115539 w 410"/>
                <a:gd name="T5" fmla="*/ 140861 h 589"/>
                <a:gd name="T6" fmla="*/ 108501 w 410"/>
                <a:gd name="T7" fmla="*/ 147019 h 589"/>
                <a:gd name="T8" fmla="*/ 12023 w 410"/>
                <a:gd name="T9" fmla="*/ 147019 h 589"/>
                <a:gd name="T10" fmla="*/ 4692 w 410"/>
                <a:gd name="T11" fmla="*/ 140861 h 589"/>
                <a:gd name="T12" fmla="*/ 4692 w 410"/>
                <a:gd name="T13" fmla="*/ 52599 h 589"/>
                <a:gd name="T14" fmla="*/ 60116 w 410"/>
                <a:gd name="T15" fmla="*/ 4106 h 589"/>
                <a:gd name="T16" fmla="*/ 115539 w 410"/>
                <a:gd name="T17" fmla="*/ 52599 h 589"/>
                <a:gd name="T18" fmla="*/ 117885 w 410"/>
                <a:gd name="T19" fmla="*/ 54652 h 589"/>
                <a:gd name="T20" fmla="*/ 120230 w 410"/>
                <a:gd name="T21" fmla="*/ 52599 h 589"/>
                <a:gd name="T22" fmla="*/ 120230 w 410"/>
                <a:gd name="T23" fmla="*/ 52599 h 589"/>
                <a:gd name="T24" fmla="*/ 60116 w 410"/>
                <a:gd name="T25" fmla="*/ 0 h 589"/>
                <a:gd name="T26" fmla="*/ 0 w 410"/>
                <a:gd name="T27" fmla="*/ 52599 h 589"/>
                <a:gd name="T28" fmla="*/ 0 w 410"/>
                <a:gd name="T29" fmla="*/ 52599 h 589"/>
                <a:gd name="T30" fmla="*/ 292 w 410"/>
                <a:gd name="T31" fmla="*/ 140861 h 589"/>
                <a:gd name="T32" fmla="*/ 12023 w 410"/>
                <a:gd name="T33" fmla="*/ 151124 h 589"/>
                <a:gd name="T34" fmla="*/ 108501 w 410"/>
                <a:gd name="T35" fmla="*/ 151124 h 589"/>
                <a:gd name="T36" fmla="*/ 120230 w 410"/>
                <a:gd name="T37" fmla="*/ 140861 h 589"/>
                <a:gd name="T38" fmla="*/ 120230 w 410"/>
                <a:gd name="T39" fmla="*/ 60809 h 589"/>
                <a:gd name="T40" fmla="*/ 117885 w 410"/>
                <a:gd name="T41" fmla="*/ 58755 h 589"/>
                <a:gd name="T42" fmla="*/ 60116 w 410"/>
                <a:gd name="T43" fmla="*/ 13599 h 589"/>
                <a:gd name="T44" fmla="*/ 58062 w 410"/>
                <a:gd name="T45" fmla="*/ 14882 h 589"/>
                <a:gd name="T46" fmla="*/ 22287 w 410"/>
                <a:gd name="T47" fmla="*/ 74664 h 589"/>
                <a:gd name="T48" fmla="*/ 22579 w 410"/>
                <a:gd name="T49" fmla="*/ 76716 h 589"/>
                <a:gd name="T50" fmla="*/ 24339 w 410"/>
                <a:gd name="T51" fmla="*/ 77743 h 589"/>
                <a:gd name="T52" fmla="*/ 95890 w 410"/>
                <a:gd name="T53" fmla="*/ 77743 h 589"/>
                <a:gd name="T54" fmla="*/ 97944 w 410"/>
                <a:gd name="T55" fmla="*/ 76716 h 589"/>
                <a:gd name="T56" fmla="*/ 97944 w 410"/>
                <a:gd name="T57" fmla="*/ 74664 h 589"/>
                <a:gd name="T58" fmla="*/ 62168 w 410"/>
                <a:gd name="T59" fmla="*/ 14882 h 589"/>
                <a:gd name="T60" fmla="*/ 60116 w 410"/>
                <a:gd name="T61" fmla="*/ 13599 h 589"/>
                <a:gd name="T62" fmla="*/ 28151 w 410"/>
                <a:gd name="T63" fmla="*/ 73637 h 589"/>
                <a:gd name="T64" fmla="*/ 60116 w 410"/>
                <a:gd name="T65" fmla="*/ 20269 h 589"/>
                <a:gd name="T66" fmla="*/ 92080 w 410"/>
                <a:gd name="T67" fmla="*/ 73637 h 589"/>
                <a:gd name="T68" fmla="*/ 28151 w 410"/>
                <a:gd name="T69" fmla="*/ 7363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3600">
                <a:solidFill>
                  <a:srgbClr val="58585A"/>
                </a:solidFill>
              </a:endParaRPr>
            </a:p>
          </p:txBody>
        </p:sp>
      </p:grpSp>
      <p:cxnSp>
        <p:nvCxnSpPr>
          <p:cNvPr id="195" name="Straight Arrow Connector 194"/>
          <p:cNvCxnSpPr>
            <a:cxnSpLocks/>
          </p:cNvCxnSpPr>
          <p:nvPr/>
        </p:nvCxnSpPr>
        <p:spPr bwMode="auto">
          <a:xfrm flipH="1">
            <a:off x="8106028" y="4368024"/>
            <a:ext cx="412821" cy="1634373"/>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196" name="Oval 33"/>
          <p:cNvSpPr>
            <a:spLocks noChangeArrowheads="1"/>
          </p:cNvSpPr>
          <p:nvPr/>
        </p:nvSpPr>
        <p:spPr bwMode="auto">
          <a:xfrm>
            <a:off x="3499253" y="5568831"/>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2</a:t>
            </a:r>
            <a:endParaRPr lang="en-US" altLang="en-US" sz="2000" b="1" dirty="0">
              <a:solidFill>
                <a:srgbClr val="FFFFFF"/>
              </a:solidFill>
            </a:endParaRPr>
          </a:p>
        </p:txBody>
      </p:sp>
      <p:sp>
        <p:nvSpPr>
          <p:cNvPr id="197" name="Oval 33"/>
          <p:cNvSpPr>
            <a:spLocks noChangeArrowheads="1"/>
          </p:cNvSpPr>
          <p:nvPr/>
        </p:nvSpPr>
        <p:spPr bwMode="auto">
          <a:xfrm>
            <a:off x="6113134" y="5746341"/>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3</a:t>
            </a:r>
            <a:endParaRPr lang="en-US" altLang="en-US" sz="2000" b="1" dirty="0">
              <a:solidFill>
                <a:srgbClr val="FFFFFF"/>
              </a:solidFill>
            </a:endParaRPr>
          </a:p>
        </p:txBody>
      </p:sp>
      <p:sp>
        <p:nvSpPr>
          <p:cNvPr id="198" name="Oval 33"/>
          <p:cNvSpPr>
            <a:spLocks noChangeArrowheads="1"/>
          </p:cNvSpPr>
          <p:nvPr/>
        </p:nvSpPr>
        <p:spPr bwMode="auto">
          <a:xfrm>
            <a:off x="7695373" y="559949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4</a:t>
            </a:r>
            <a:endParaRPr lang="en-US" altLang="en-US" sz="2000" b="1" dirty="0">
              <a:solidFill>
                <a:srgbClr val="FFFFFF"/>
              </a:solidFill>
            </a:endParaRPr>
          </a:p>
        </p:txBody>
      </p:sp>
      <p:sp>
        <p:nvSpPr>
          <p:cNvPr id="199" name="AutoShape 10" descr="bpct-blend3"/>
          <p:cNvSpPr>
            <a:spLocks noChangeAspect="1" noChangeArrowheads="1"/>
          </p:cNvSpPr>
          <p:nvPr/>
        </p:nvSpPr>
        <p:spPr bwMode="auto">
          <a:xfrm>
            <a:off x="8002494" y="1207780"/>
            <a:ext cx="4009893" cy="1402403"/>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buClr>
                <a:srgbClr val="00B0F0"/>
              </a:buClr>
            </a:pP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1) Information about supported network slices in Core Network Instance (CNI ) sent to RAN when CN-RAN control plane interface is setup (like in </a:t>
            </a:r>
            <a:r>
              <a:rPr lang="en-US" altLang="en-US" sz="1600" b="1" dirty="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 </a:t>
            </a:r>
            <a:r>
              <a:rPr lang="sv-SE"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or by </a:t>
            </a:r>
            <a:r>
              <a:rPr lang="sv-SE" sz="1600" b="1" dirty="0" err="1">
                <a:solidFill>
                  <a:schemeClr val="bg1"/>
                </a:solidFill>
                <a:latin typeface="Segoe UI" panose="020B0502040204020203" pitchFamily="34" charset="0"/>
                <a:ea typeface="Segoe UI" panose="020B0502040204020203" pitchFamily="34" charset="0"/>
                <a:cs typeface="Segoe UI" panose="020B0502040204020203" pitchFamily="34" charset="0"/>
              </a:rPr>
              <a:t>other</a:t>
            </a:r>
            <a:r>
              <a:rPr lang="sv-SE"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 O&amp;M </a:t>
            </a:r>
            <a:r>
              <a:rPr lang="sv-SE" sz="1600" b="1" dirty="0" err="1">
                <a:solidFill>
                  <a:schemeClr val="bg1"/>
                </a:solidFill>
                <a:latin typeface="Segoe UI" panose="020B0502040204020203" pitchFamily="34" charset="0"/>
                <a:ea typeface="Segoe UI" panose="020B0502040204020203" pitchFamily="34" charset="0"/>
                <a:cs typeface="Segoe UI" panose="020B0502040204020203" pitchFamily="34" charset="0"/>
              </a:rPr>
              <a:t>means</a:t>
            </a:r>
            <a:endPar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00" name="AutoShape 10" descr="bpct-blend3"/>
          <p:cNvSpPr>
            <a:spLocks noChangeAspect="1" noChangeArrowheads="1"/>
          </p:cNvSpPr>
          <p:nvPr/>
        </p:nvSpPr>
        <p:spPr bwMode="auto">
          <a:xfrm>
            <a:off x="407792" y="1925141"/>
            <a:ext cx="3654815" cy="1896798"/>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buClr>
                <a:srgbClr val="00B0F0"/>
              </a:buClr>
            </a:pP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 CNI selection (i.e. AMF selection) in RAN is based on Network Slice Selection Assistance Information (NSSAI) from UE and other information available in RAN – still likely an extension to NNSF in RAN (like in </a:t>
            </a:r>
            <a:r>
              <a:rPr lang="en-US" altLang="en-US" sz="1600" b="1" dirty="0" err="1">
                <a:solidFill>
                  <a:schemeClr val="bg1"/>
                </a:solidFill>
                <a:latin typeface="Segoe UI" panose="020B0502040204020203" pitchFamily="34" charset="0"/>
                <a:ea typeface="Segoe UI" panose="020B0502040204020203" pitchFamily="34" charset="0"/>
                <a:cs typeface="Segoe UI" panose="020B0502040204020203" pitchFamily="34" charset="0"/>
              </a:rPr>
              <a:t>eDECOR</a:t>
            </a: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a:t>
            </a:r>
          </a:p>
        </p:txBody>
      </p:sp>
      <p:sp>
        <p:nvSpPr>
          <p:cNvPr id="201" name="AutoShape 10" descr="bpct-blend3"/>
          <p:cNvSpPr>
            <a:spLocks noChangeAspect="1" noChangeArrowheads="1"/>
          </p:cNvSpPr>
          <p:nvPr/>
        </p:nvSpPr>
        <p:spPr bwMode="auto">
          <a:xfrm>
            <a:off x="2261532" y="4148132"/>
            <a:ext cx="1380692" cy="689616"/>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t>2) CNI selection</a:t>
            </a:r>
            <a:b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t>assistance</a:t>
            </a:r>
            <a:b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chemeClr val="bg1"/>
                </a:solidFill>
                <a:latin typeface="Segoe UI" panose="020B0502040204020203" pitchFamily="34" charset="0"/>
                <a:ea typeface="Segoe UI" panose="020B0502040204020203" pitchFamily="34" charset="0"/>
                <a:cs typeface="Segoe UI" panose="020B0502040204020203" pitchFamily="34" charset="0"/>
              </a:rPr>
              <a:t>parameter(s) </a:t>
            </a:r>
            <a:endPar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02" name="Group 201"/>
          <p:cNvGrpSpPr/>
          <p:nvPr/>
        </p:nvGrpSpPr>
        <p:grpSpPr>
          <a:xfrm>
            <a:off x="6598449" y="4554621"/>
            <a:ext cx="421784" cy="582717"/>
            <a:chOff x="2418855" y="2964540"/>
            <a:chExt cx="428873" cy="582717"/>
          </a:xfrm>
        </p:grpSpPr>
        <p:sp>
          <p:nvSpPr>
            <p:cNvPr id="203"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04"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05"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PCF</a:t>
              </a:r>
              <a:endParaRPr lang="en-US" altLang="en-US" sz="800" dirty="0">
                <a:solidFill>
                  <a:srgbClr val="8F3F7B"/>
                </a:solidFill>
                <a:latin typeface="+mn-lt"/>
                <a:ea typeface="Segoe UI" panose="020B0502040204020203" pitchFamily="34" charset="0"/>
                <a:cs typeface="Segoe UI" panose="020B0502040204020203" pitchFamily="34" charset="0"/>
              </a:endParaRPr>
            </a:p>
          </p:txBody>
        </p:sp>
        <p:sp>
          <p:nvSpPr>
            <p:cNvPr id="206"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208" name="AutoShape 10" descr="bpct-blend3"/>
          <p:cNvSpPr>
            <a:spLocks noChangeAspect="1" noChangeArrowheads="1"/>
          </p:cNvSpPr>
          <p:nvPr/>
        </p:nvSpPr>
        <p:spPr bwMode="auto">
          <a:xfrm>
            <a:off x="8008401" y="4178879"/>
            <a:ext cx="4013943" cy="813145"/>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buClr>
                <a:srgbClr val="00B0F0"/>
              </a:buClr>
            </a:pP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4) The SMF may select a UPF function based on e.g. DNN, UE location, slice selection policies</a:t>
            </a:r>
          </a:p>
        </p:txBody>
      </p:sp>
      <p:cxnSp>
        <p:nvCxnSpPr>
          <p:cNvPr id="209" name="Straight Arrow Connector 208"/>
          <p:cNvCxnSpPr>
            <a:cxnSpLocks/>
            <a:endCxn id="191" idx="7"/>
          </p:cNvCxnSpPr>
          <p:nvPr/>
        </p:nvCxnSpPr>
        <p:spPr bwMode="auto">
          <a:xfrm flipH="1">
            <a:off x="6489776" y="3267075"/>
            <a:ext cx="1616252" cy="2550974"/>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
        <p:nvSpPr>
          <p:cNvPr id="210" name="AutoShape 10" descr="bpct-blend3"/>
          <p:cNvSpPr>
            <a:spLocks noChangeAspect="1" noChangeArrowheads="1"/>
          </p:cNvSpPr>
          <p:nvPr/>
        </p:nvSpPr>
        <p:spPr bwMode="auto">
          <a:xfrm>
            <a:off x="7998444" y="2690453"/>
            <a:ext cx="4013943" cy="1288979"/>
          </a:xfrm>
          <a:prstGeom prst="roundRect">
            <a:avLst>
              <a:gd name="adj" fmla="val 5958"/>
            </a:avLst>
          </a:prstGeom>
          <a:blipFill dpi="0" rotWithShape="0">
            <a:blip r:embed="rId3"/>
            <a:srcRect/>
            <a:stretch>
              <a:fillRect/>
            </a:stretch>
          </a:blipFill>
          <a:ln>
            <a:noFill/>
          </a:ln>
          <a:extLst>
            <a:ext uri="{91240B29-F687-4F45-9708-019B960494DF}">
              <a14:hiddenLine xmlns:a14="http://schemas.microsoft.com/office/drawing/2010/main" w="12700" algn="ctr">
                <a:solidFill>
                  <a:srgbClr val="000000"/>
                </a:solidFill>
                <a:round/>
                <a:headEnd/>
                <a:tailEnd/>
              </a14:hiddenLine>
            </a:ext>
          </a:extLst>
        </p:spPr>
        <p:txBody>
          <a:bodyPr wrap="square" lIns="18000" tIns="18000" rIns="18000" bIns="18000" anchor="ctr"/>
          <a:lstStyle>
            <a:lvl1pPr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buClr>
                <a:srgbClr val="00B0F0"/>
              </a:buClr>
            </a:pPr>
            <a:r>
              <a:rPr lang="en-US" alt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3) The NSSF can select a Specific CN instance (i.e. AMF/SMF) based on e.g. slice selection information from UE, DNN, subscription data and/or slice selection policies</a:t>
            </a:r>
          </a:p>
        </p:txBody>
      </p:sp>
      <p:cxnSp>
        <p:nvCxnSpPr>
          <p:cNvPr id="211" name="Straight Connector 204"/>
          <p:cNvCxnSpPr>
            <a:cxnSpLocks/>
            <a:stCxn id="133" idx="2"/>
            <a:endCxn id="167" idx="0"/>
          </p:cNvCxnSpPr>
          <p:nvPr/>
        </p:nvCxnSpPr>
        <p:spPr bwMode="auto">
          <a:xfrm rot="10800000">
            <a:off x="5725201" y="4557352"/>
            <a:ext cx="2129593" cy="168649"/>
          </a:xfrm>
          <a:prstGeom prst="bentConnector4">
            <a:avLst>
              <a:gd name="adj1" fmla="val 31677"/>
              <a:gd name="adj2" fmla="val 145969"/>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12" name="Straight Arrow Connector 211"/>
          <p:cNvCxnSpPr>
            <a:cxnSpLocks/>
          </p:cNvCxnSpPr>
          <p:nvPr/>
        </p:nvCxnSpPr>
        <p:spPr bwMode="auto">
          <a:xfrm flipH="1" flipV="1">
            <a:off x="5820066" y="5665318"/>
            <a:ext cx="227397" cy="418110"/>
          </a:xfrm>
          <a:prstGeom prst="straightConnector1">
            <a:avLst/>
          </a:prstGeom>
          <a:solidFill>
            <a:schemeClr val="accent1"/>
          </a:solidFill>
          <a:ln w="38100" cap="flat" cmpd="sng" algn="ctr">
            <a:solidFill>
              <a:srgbClr val="00285F"/>
            </a:solidFill>
            <a:prstDash val="solid"/>
            <a:round/>
            <a:headEnd type="none" w="med" len="med"/>
            <a:tailEnd type="triangle" w="med" len="med"/>
          </a:ln>
          <a:effectLst/>
        </p:spPr>
      </p:cxnSp>
    </p:spTree>
    <p:extLst>
      <p:ext uri="{BB962C8B-B14F-4D97-AF65-F5344CB8AC3E}">
        <p14:creationId xmlns:p14="http://schemas.microsoft.com/office/powerpoint/2010/main" val="663597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8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0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1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0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6" grpId="0" animBg="1"/>
      <p:bldP spid="187" grpId="0" animBg="1"/>
      <p:bldP spid="196" grpId="0" animBg="1"/>
      <p:bldP spid="197" grpId="0" animBg="1"/>
      <p:bldP spid="198" grpId="0" animBg="1"/>
      <p:bldP spid="199" grpId="0" animBg="1"/>
      <p:bldP spid="200" grpId="0" animBg="1"/>
      <p:bldP spid="201" grpId="0" animBg="1"/>
      <p:bldP spid="208" grpId="0" animBg="1"/>
      <p:bldP spid="210"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cription data for network slicing</a:t>
            </a:r>
          </a:p>
        </p:txBody>
      </p:sp>
      <p:sp>
        <p:nvSpPr>
          <p:cNvPr id="3" name="Text Placeholder 2"/>
          <p:cNvSpPr>
            <a:spLocks noGrp="1"/>
          </p:cNvSpPr>
          <p:nvPr>
            <p:ph type="body" idx="1"/>
          </p:nvPr>
        </p:nvSpPr>
        <p:spPr/>
        <p:txBody>
          <a:bodyPr/>
          <a:lstStyle/>
          <a:p>
            <a:r>
              <a:rPr lang="en-GB" dirty="0"/>
              <a:t>Subscription data include the S-NSSAI(s) of the Network Slices that the UE subscribes to</a:t>
            </a:r>
          </a:p>
          <a:p>
            <a:r>
              <a:rPr lang="en-GB" dirty="0"/>
              <a:t>One or more S-NSSAIs can be marked as default S-NSSAI</a:t>
            </a:r>
          </a:p>
          <a:p>
            <a:pPr lvl="1"/>
            <a:r>
              <a:rPr lang="en-US" dirty="0"/>
              <a:t>The network is expected to serve the UE with the related network slice even when the UE doesn’t send any S-NSSAI in a Registration request</a:t>
            </a:r>
          </a:p>
          <a:p>
            <a:r>
              <a:rPr lang="en-GB" dirty="0"/>
              <a:t>The NSSAI the UE provides in the Registration Request is verified against the user's subscription data</a:t>
            </a:r>
          </a:p>
        </p:txBody>
      </p:sp>
    </p:spTree>
    <p:extLst>
      <p:ext uri="{BB962C8B-B14F-4D97-AF65-F5344CB8AC3E}">
        <p14:creationId xmlns:p14="http://schemas.microsoft.com/office/powerpoint/2010/main" val="305935511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5G terms and definitions (4/5)</a:t>
            </a:r>
            <a:br>
              <a:rPr lang="en-US" dirty="0"/>
            </a:br>
            <a:r>
              <a:rPr lang="en-US" sz="2400" dirty="0">
                <a:latin typeface="+mn-lt"/>
              </a:rPr>
              <a:t>3GPP TS 23.501</a:t>
            </a:r>
            <a:r>
              <a:rPr lang="en-US" sz="2400" dirty="0"/>
              <a:t> </a:t>
            </a:r>
          </a:p>
        </p:txBody>
      </p:sp>
      <p:sp>
        <p:nvSpPr>
          <p:cNvPr id="3" name="Text Placeholder 2"/>
          <p:cNvSpPr>
            <a:spLocks noGrp="1"/>
          </p:cNvSpPr>
          <p:nvPr>
            <p:ph type="body" idx="1"/>
          </p:nvPr>
        </p:nvSpPr>
        <p:spPr>
          <a:xfrm>
            <a:off x="529167" y="1359563"/>
            <a:ext cx="11135785" cy="5281868"/>
          </a:xfrm>
        </p:spPr>
        <p:txBody>
          <a:bodyPr/>
          <a:lstStyle/>
          <a:p>
            <a:r>
              <a:rPr lang="en-US" dirty="0"/>
              <a:t>PDU Connectivity Service</a:t>
            </a:r>
          </a:p>
          <a:p>
            <a:pPr lvl="1"/>
            <a:r>
              <a:rPr lang="en-GB" dirty="0"/>
              <a:t>A service that provides exchange of PDUs between a UE and a Data Network.</a:t>
            </a:r>
            <a:endParaRPr lang="en-US" dirty="0"/>
          </a:p>
          <a:p>
            <a:r>
              <a:rPr lang="en-US" dirty="0"/>
              <a:t>PDU Session</a:t>
            </a:r>
          </a:p>
          <a:p>
            <a:pPr lvl="1"/>
            <a:r>
              <a:rPr lang="en-GB" dirty="0"/>
              <a:t>Association between the UE and a Data Network that provides a PDU connectivity service. </a:t>
            </a:r>
            <a:endParaRPr lang="en-US" dirty="0"/>
          </a:p>
          <a:p>
            <a:r>
              <a:rPr lang="en-US" dirty="0"/>
              <a:t>Data Network Name (DNN)</a:t>
            </a:r>
          </a:p>
          <a:p>
            <a:pPr lvl="1"/>
            <a:r>
              <a:rPr lang="en-US" dirty="0"/>
              <a:t>Identifier of a Data Network (DN)</a:t>
            </a:r>
          </a:p>
          <a:p>
            <a:r>
              <a:rPr lang="en-US" dirty="0"/>
              <a:t>DN Access Identifier (DNAI)</a:t>
            </a:r>
          </a:p>
          <a:p>
            <a:pPr lvl="1"/>
            <a:r>
              <a:rPr lang="en-GB" dirty="0"/>
              <a:t>For a DNN, Identifier of a user plane access to the DN.</a:t>
            </a:r>
            <a:endParaRPr lang="en-US" dirty="0"/>
          </a:p>
          <a:p>
            <a:r>
              <a:rPr lang="en-US" dirty="0"/>
              <a:t>5G </a:t>
            </a:r>
            <a:r>
              <a:rPr lang="en-US" dirty="0" err="1"/>
              <a:t>QoS</a:t>
            </a:r>
            <a:r>
              <a:rPr lang="en-US" dirty="0"/>
              <a:t> Flow</a:t>
            </a:r>
          </a:p>
          <a:p>
            <a:pPr lvl="1"/>
            <a:r>
              <a:rPr lang="en-GB" dirty="0"/>
              <a:t>The finest granularity for </a:t>
            </a:r>
            <a:r>
              <a:rPr lang="en-GB" dirty="0" err="1"/>
              <a:t>QoS</a:t>
            </a:r>
            <a:r>
              <a:rPr lang="en-GB" dirty="0"/>
              <a:t> forwarding treatment in the 5G System. All traffic mapped to the same 5G </a:t>
            </a:r>
            <a:r>
              <a:rPr lang="en-GB" dirty="0" err="1"/>
              <a:t>QoS</a:t>
            </a:r>
            <a:r>
              <a:rPr lang="en-GB" dirty="0"/>
              <a:t> Flow receive the same forwarding treatment.</a:t>
            </a:r>
            <a:endParaRPr lang="en-US" dirty="0"/>
          </a:p>
          <a:p>
            <a:r>
              <a:rPr lang="en-US" dirty="0"/>
              <a:t>5G </a:t>
            </a:r>
            <a:r>
              <a:rPr lang="en-US" dirty="0" err="1"/>
              <a:t>QoS</a:t>
            </a:r>
            <a:r>
              <a:rPr lang="en-US" dirty="0"/>
              <a:t> Indicator (5QI)</a:t>
            </a:r>
          </a:p>
          <a:p>
            <a:pPr lvl="1"/>
            <a:r>
              <a:rPr lang="en-GB" dirty="0"/>
              <a:t>A scalar that is used as a reference to a specific </a:t>
            </a:r>
            <a:r>
              <a:rPr lang="en-GB" dirty="0" err="1"/>
              <a:t>QoS</a:t>
            </a:r>
            <a:r>
              <a:rPr lang="en-GB" dirty="0"/>
              <a:t> forwarding behaviour</a:t>
            </a:r>
          </a:p>
          <a:p>
            <a:pPr lvl="1"/>
            <a:endParaRPr lang="en-US" dirty="0"/>
          </a:p>
          <a:p>
            <a:pPr lvl="1"/>
            <a:endParaRPr lang="en-US" dirty="0"/>
          </a:p>
        </p:txBody>
      </p:sp>
      <p:sp>
        <p:nvSpPr>
          <p:cNvPr id="4" name="TextBox 3"/>
          <p:cNvSpPr txBox="1"/>
          <p:nvPr/>
        </p:nvSpPr>
        <p:spPr>
          <a:xfrm>
            <a:off x="9005515" y="6537357"/>
            <a:ext cx="1840568" cy="276999"/>
          </a:xfrm>
          <a:prstGeom prst="rect">
            <a:avLst/>
          </a:prstGeom>
          <a:noFill/>
        </p:spPr>
        <p:txBody>
          <a:bodyPr wrap="none" rtlCol="0">
            <a:spAutoFit/>
          </a:bodyPr>
          <a:lstStyle/>
          <a:p>
            <a:r>
              <a:rPr lang="en-US" sz="1200" dirty="0"/>
              <a:t>PDU: Protocol Data Unit</a:t>
            </a:r>
          </a:p>
        </p:txBody>
      </p:sp>
    </p:spTree>
    <p:extLst>
      <p:ext uri="{BB962C8B-B14F-4D97-AF65-F5344CB8AC3E}">
        <p14:creationId xmlns:p14="http://schemas.microsoft.com/office/powerpoint/2010/main" val="410835959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788113" y="3325869"/>
            <a:ext cx="2202680" cy="1658544"/>
            <a:chOff x="5443771" y="1325085"/>
            <a:chExt cx="2202680" cy="1658544"/>
          </a:xfrm>
        </p:grpSpPr>
        <p:sp>
          <p:nvSpPr>
            <p:cNvPr id="16" name="Freeform 4"/>
            <p:cNvSpPr>
              <a:spLocks noChangeAspect="1"/>
            </p:cNvSpPr>
            <p:nvPr/>
          </p:nvSpPr>
          <p:spPr bwMode="auto">
            <a:xfrm>
              <a:off x="5443771" y="1325085"/>
              <a:ext cx="2202680" cy="1658544"/>
            </a:xfrm>
            <a:custGeom>
              <a:avLst/>
              <a:gdLst>
                <a:gd name="T0" fmla="*/ 2147483646 w 583"/>
                <a:gd name="T1" fmla="*/ 2147483646 h 439"/>
                <a:gd name="T2" fmla="*/ 2147483646 w 583"/>
                <a:gd name="T3" fmla="*/ 2147483646 h 439"/>
                <a:gd name="T4" fmla="*/ 2147483646 w 583"/>
                <a:gd name="T5" fmla="*/ 2147483646 h 439"/>
                <a:gd name="T6" fmla="*/ 2147483646 w 583"/>
                <a:gd name="T7" fmla="*/ 2147483646 h 439"/>
                <a:gd name="T8" fmla="*/ 2147483646 w 583"/>
                <a:gd name="T9" fmla="*/ 2147483646 h 439"/>
                <a:gd name="T10" fmla="*/ 2147483646 w 583"/>
                <a:gd name="T11" fmla="*/ 2147483646 h 439"/>
                <a:gd name="T12" fmla="*/ 2147483646 w 583"/>
                <a:gd name="T13" fmla="*/ 2147483646 h 439"/>
                <a:gd name="T14" fmla="*/ 2147483646 w 583"/>
                <a:gd name="T15" fmla="*/ 2147483646 h 439"/>
                <a:gd name="T16" fmla="*/ 2147483646 w 583"/>
                <a:gd name="T17" fmla="*/ 2147483646 h 439"/>
                <a:gd name="T18" fmla="*/ 2147483646 w 583"/>
                <a:gd name="T19" fmla="*/ 2147483646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nvGrpSpPr>
            <p:cNvPr id="17" name="Group 5"/>
            <p:cNvGrpSpPr>
              <a:grpSpLocks noChangeAspect="1"/>
            </p:cNvGrpSpPr>
            <p:nvPr/>
          </p:nvGrpSpPr>
          <p:grpSpPr bwMode="auto">
            <a:xfrm>
              <a:off x="5635726" y="1427445"/>
              <a:ext cx="1972334" cy="1506604"/>
              <a:chOff x="216" y="863"/>
              <a:chExt cx="1233" cy="942"/>
            </a:xfrm>
          </p:grpSpPr>
          <p:sp>
            <p:nvSpPr>
              <p:cNvPr id="18" name="Freeform 6"/>
              <p:cNvSpPr>
                <a:spLocks noChangeAspect="1"/>
              </p:cNvSpPr>
              <p:nvPr/>
            </p:nvSpPr>
            <p:spPr bwMode="auto">
              <a:xfrm>
                <a:off x="216" y="863"/>
                <a:ext cx="1233" cy="942"/>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rgbClr val="002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9" name="Text Box 7"/>
              <p:cNvSpPr txBox="1">
                <a:spLocks noChangeAspect="1" noChangeArrowheads="1"/>
              </p:cNvSpPr>
              <p:nvPr/>
            </p:nvSpPr>
            <p:spPr bwMode="auto">
              <a:xfrm>
                <a:off x="443" y="1191"/>
                <a:ext cx="736"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spcBef>
                    <a:spcPct val="0"/>
                  </a:spcBef>
                  <a:spcAft>
                    <a:spcPct val="0"/>
                  </a:spcAft>
                  <a:defRPr sz="2000">
                    <a:solidFill>
                      <a:schemeClr val="tx1"/>
                    </a:solidFill>
                    <a:latin typeface="Arial" charset="0"/>
                    <a:ea typeface="MS PGothic" pitchFamily="34" charset="-128"/>
                  </a:defRPr>
                </a:lvl9pPr>
              </a:lstStyle>
              <a:p>
                <a:pPr algn="ctr" eaLnBrk="1" hangingPunct="1">
                  <a:lnSpc>
                    <a:spcPct val="80000"/>
                  </a:lnSpc>
                  <a:defRPr/>
                </a:pPr>
                <a:r>
                  <a:rPr lang="en-US" sz="1800" dirty="0">
                    <a:solidFill>
                      <a:srgbClr val="00285F"/>
                    </a:solidFill>
                    <a:latin typeface="+mj-lt"/>
                  </a:rPr>
                  <a:t>data </a:t>
                </a:r>
                <a:br>
                  <a:rPr lang="en-US" sz="1800" dirty="0">
                    <a:solidFill>
                      <a:srgbClr val="00285F"/>
                    </a:solidFill>
                    <a:latin typeface="+mj-lt"/>
                  </a:rPr>
                </a:br>
                <a:r>
                  <a:rPr lang="en-US" sz="1800" dirty="0">
                    <a:solidFill>
                      <a:srgbClr val="00285F"/>
                    </a:solidFill>
                    <a:latin typeface="+mj-lt"/>
                  </a:rPr>
                  <a:t>Network</a:t>
                </a:r>
                <a:endParaRPr lang="sv-SE" sz="1800" dirty="0">
                  <a:solidFill>
                    <a:srgbClr val="00285F"/>
                  </a:solidFill>
                  <a:latin typeface="+mj-lt"/>
                </a:endParaRPr>
              </a:p>
            </p:txBody>
          </p:sp>
        </p:grpSp>
      </p:grpSp>
      <p:sp>
        <p:nvSpPr>
          <p:cNvPr id="2" name="Title 1"/>
          <p:cNvSpPr>
            <a:spLocks noGrp="1"/>
          </p:cNvSpPr>
          <p:nvPr>
            <p:ph type="title"/>
          </p:nvPr>
        </p:nvSpPr>
        <p:spPr/>
        <p:txBody>
          <a:bodyPr/>
          <a:lstStyle/>
          <a:p>
            <a:r>
              <a:rPr lang="en-US" dirty="0"/>
              <a:t>PDU Session and </a:t>
            </a:r>
            <a:r>
              <a:rPr lang="en-US" dirty="0" err="1"/>
              <a:t>QoS</a:t>
            </a:r>
            <a:r>
              <a:rPr lang="en-US" dirty="0"/>
              <a:t> flows</a:t>
            </a:r>
          </a:p>
        </p:txBody>
      </p:sp>
      <p:cxnSp>
        <p:nvCxnSpPr>
          <p:cNvPr id="20" name="Straight Connector 19"/>
          <p:cNvCxnSpPr>
            <a:cxnSpLocks noChangeShapeType="1"/>
          </p:cNvCxnSpPr>
          <p:nvPr/>
        </p:nvCxnSpPr>
        <p:spPr bwMode="auto">
          <a:xfrm flipV="1">
            <a:off x="9263511" y="2909448"/>
            <a:ext cx="222250" cy="1014412"/>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sp>
        <p:nvSpPr>
          <p:cNvPr id="22" name="Freeform 28"/>
          <p:cNvSpPr>
            <a:spLocks noChangeAspect="1" noEditPoints="1"/>
          </p:cNvSpPr>
          <p:nvPr/>
        </p:nvSpPr>
        <p:spPr bwMode="auto">
          <a:xfrm>
            <a:off x="236880" y="3374710"/>
            <a:ext cx="1036775" cy="1892116"/>
          </a:xfrm>
          <a:custGeom>
            <a:avLst/>
            <a:gdLst>
              <a:gd name="T0" fmla="*/ 2147483646 w 275"/>
              <a:gd name="T1" fmla="*/ 2147483646 h 503"/>
              <a:gd name="T2" fmla="*/ 2147483646 w 275"/>
              <a:gd name="T3" fmla="*/ 2147483646 h 503"/>
              <a:gd name="T4" fmla="*/ 2147483646 w 275"/>
              <a:gd name="T5" fmla="*/ 2147483646 h 503"/>
              <a:gd name="T6" fmla="*/ 2147483646 w 275"/>
              <a:gd name="T7" fmla="*/ 2147483646 h 503"/>
              <a:gd name="T8" fmla="*/ 2147483646 w 275"/>
              <a:gd name="T9" fmla="*/ 2147483646 h 503"/>
              <a:gd name="T10" fmla="*/ 2147483646 w 275"/>
              <a:gd name="T11" fmla="*/ 2147483646 h 503"/>
              <a:gd name="T12" fmla="*/ 2147483646 w 275"/>
              <a:gd name="T13" fmla="*/ 2147483646 h 503"/>
              <a:gd name="T14" fmla="*/ 2147483646 w 275"/>
              <a:gd name="T15" fmla="*/ 2147483646 h 503"/>
              <a:gd name="T16" fmla="*/ 2147483646 w 275"/>
              <a:gd name="T17" fmla="*/ 2147483646 h 503"/>
              <a:gd name="T18" fmla="*/ 2147483646 w 275"/>
              <a:gd name="T19" fmla="*/ 2147483646 h 503"/>
              <a:gd name="T20" fmla="*/ 2147483646 w 275"/>
              <a:gd name="T21" fmla="*/ 2147483646 h 503"/>
              <a:gd name="T22" fmla="*/ 2147483646 w 275"/>
              <a:gd name="T23" fmla="*/ 2147483646 h 503"/>
              <a:gd name="T24" fmla="*/ 2147483646 w 275"/>
              <a:gd name="T25" fmla="*/ 2147483646 h 503"/>
              <a:gd name="T26" fmla="*/ 2147483646 w 275"/>
              <a:gd name="T27" fmla="*/ 2147483646 h 503"/>
              <a:gd name="T28" fmla="*/ 2147483646 w 275"/>
              <a:gd name="T29" fmla="*/ 2147483646 h 503"/>
              <a:gd name="T30" fmla="*/ 2147483646 w 275"/>
              <a:gd name="T31" fmla="*/ 2147483646 h 503"/>
              <a:gd name="T32" fmla="*/ 2147483646 w 275"/>
              <a:gd name="T33" fmla="*/ 2147483646 h 503"/>
              <a:gd name="T34" fmla="*/ 2147483646 w 275"/>
              <a:gd name="T35" fmla="*/ 2147483646 h 503"/>
              <a:gd name="T36" fmla="*/ 2147483646 w 275"/>
              <a:gd name="T37" fmla="*/ 2147483646 h 503"/>
              <a:gd name="T38" fmla="*/ 2147483646 w 275"/>
              <a:gd name="T39" fmla="*/ 2147483646 h 503"/>
              <a:gd name="T40" fmla="*/ 2147483646 w 275"/>
              <a:gd name="T41" fmla="*/ 2147483646 h 503"/>
              <a:gd name="T42" fmla="*/ 2147483646 w 275"/>
              <a:gd name="T43" fmla="*/ 2147483646 h 503"/>
              <a:gd name="T44" fmla="*/ 2147483646 w 275"/>
              <a:gd name="T45" fmla="*/ 2147483646 h 503"/>
              <a:gd name="T46" fmla="*/ 2147483646 w 275"/>
              <a:gd name="T47" fmla="*/ 2147483646 h 503"/>
              <a:gd name="T48" fmla="*/ 2147483646 w 275"/>
              <a:gd name="T49" fmla="*/ 2147483646 h 503"/>
              <a:gd name="T50" fmla="*/ 2147483646 w 275"/>
              <a:gd name="T51" fmla="*/ 2147483646 h 503"/>
              <a:gd name="T52" fmla="*/ 2147483646 w 275"/>
              <a:gd name="T53" fmla="*/ 2147483646 h 503"/>
              <a:gd name="T54" fmla="*/ 2147483646 w 275"/>
              <a:gd name="T55" fmla="*/ 2147483646 h 503"/>
              <a:gd name="T56" fmla="*/ 2147483646 w 275"/>
              <a:gd name="T57" fmla="*/ 2147483646 h 503"/>
              <a:gd name="T58" fmla="*/ 2147483646 w 275"/>
              <a:gd name="T59" fmla="*/ 2147483646 h 503"/>
              <a:gd name="T60" fmla="*/ 2147483646 w 275"/>
              <a:gd name="T61" fmla="*/ 2147483646 h 503"/>
              <a:gd name="T62" fmla="*/ 2147483646 w 275"/>
              <a:gd name="T63" fmla="*/ 2147483646 h 503"/>
              <a:gd name="T64" fmla="*/ 2147483646 w 275"/>
              <a:gd name="T65" fmla="*/ 2147483646 h 503"/>
              <a:gd name="T66" fmla="*/ 2147483646 w 275"/>
              <a:gd name="T67" fmla="*/ 2147483646 h 503"/>
              <a:gd name="T68" fmla="*/ 2147483646 w 275"/>
              <a:gd name="T69" fmla="*/ 2147483646 h 503"/>
              <a:gd name="T70" fmla="*/ 2147483646 w 275"/>
              <a:gd name="T71" fmla="*/ 2147483646 h 503"/>
              <a:gd name="T72" fmla="*/ 2147483646 w 275"/>
              <a:gd name="T73" fmla="*/ 2147483646 h 503"/>
              <a:gd name="T74" fmla="*/ 2147483646 w 275"/>
              <a:gd name="T75" fmla="*/ 2147483646 h 503"/>
              <a:gd name="T76" fmla="*/ 2147483646 w 275"/>
              <a:gd name="T77" fmla="*/ 2147483646 h 503"/>
              <a:gd name="T78" fmla="*/ 2147483646 w 275"/>
              <a:gd name="T79" fmla="*/ 2147483646 h 503"/>
              <a:gd name="T80" fmla="*/ 2147483646 w 275"/>
              <a:gd name="T81" fmla="*/ 2147483646 h 503"/>
              <a:gd name="T82" fmla="*/ 2147483646 w 275"/>
              <a:gd name="T83" fmla="*/ 2147483646 h 503"/>
              <a:gd name="T84" fmla="*/ 2147483646 w 275"/>
              <a:gd name="T85" fmla="*/ 2147483646 h 503"/>
              <a:gd name="T86" fmla="*/ 2147483646 w 275"/>
              <a:gd name="T87" fmla="*/ 0 h 503"/>
              <a:gd name="T88" fmla="*/ 2147483646 w 275"/>
              <a:gd name="T89" fmla="*/ 2147483646 h 503"/>
              <a:gd name="T90" fmla="*/ 0 w 275"/>
              <a:gd name="T91" fmla="*/ 2147483646 h 503"/>
              <a:gd name="T92" fmla="*/ 2147483646 w 275"/>
              <a:gd name="T93" fmla="*/ 2147483646 h 503"/>
              <a:gd name="T94" fmla="*/ 2147483646 w 275"/>
              <a:gd name="T95" fmla="*/ 2147483646 h 503"/>
              <a:gd name="T96" fmla="*/ 2147483646 w 275"/>
              <a:gd name="T97" fmla="*/ 2147483646 h 503"/>
              <a:gd name="T98" fmla="*/ 2147483646 w 275"/>
              <a:gd name="T99" fmla="*/ 2147483646 h 503"/>
              <a:gd name="T100" fmla="*/ 2147483646 w 275"/>
              <a:gd name="T101" fmla="*/ 2147483646 h 503"/>
              <a:gd name="T102" fmla="*/ 2147483646 w 275"/>
              <a:gd name="T103" fmla="*/ 2147483646 h 503"/>
              <a:gd name="T104" fmla="*/ 2147483646 w 275"/>
              <a:gd name="T105" fmla="*/ 214748364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eaLnBrk="1" hangingPunct="1">
              <a:spcBef>
                <a:spcPct val="50000"/>
              </a:spcBef>
              <a:buClrTx/>
              <a:buFontTx/>
              <a:buNone/>
            </a:pPr>
            <a:endParaRPr lang="sv-SE" altLang="en-US" sz="500"/>
          </a:p>
          <a:p>
            <a:pPr eaLnBrk="1" hangingPunct="1">
              <a:spcBef>
                <a:spcPct val="50000"/>
              </a:spcBef>
              <a:buClrTx/>
              <a:buFontTx/>
              <a:buNone/>
            </a:pPr>
            <a:endParaRPr lang="sv-SE" altLang="en-US" sz="500"/>
          </a:p>
          <a:p>
            <a:pPr eaLnBrk="1" hangingPunct="1">
              <a:spcBef>
                <a:spcPct val="50000"/>
              </a:spcBef>
              <a:buClrTx/>
              <a:buFontTx/>
              <a:buNone/>
            </a:pPr>
            <a:endParaRPr lang="sv-SE" altLang="en-US" sz="500"/>
          </a:p>
        </p:txBody>
      </p:sp>
      <p:grpSp>
        <p:nvGrpSpPr>
          <p:cNvPr id="28" name="Group 117"/>
          <p:cNvGrpSpPr>
            <a:grpSpLocks noChangeAspect="1"/>
          </p:cNvGrpSpPr>
          <p:nvPr/>
        </p:nvGrpSpPr>
        <p:grpSpPr bwMode="auto">
          <a:xfrm>
            <a:off x="3159800" y="3145296"/>
            <a:ext cx="1371255" cy="1970654"/>
            <a:chOff x="1272" y="860"/>
            <a:chExt cx="969" cy="1392"/>
          </a:xfrm>
        </p:grpSpPr>
        <p:grpSp>
          <p:nvGrpSpPr>
            <p:cNvPr id="29" name="Group 77"/>
            <p:cNvGrpSpPr>
              <a:grpSpLocks noChangeAspect="1"/>
            </p:cNvGrpSpPr>
            <p:nvPr/>
          </p:nvGrpSpPr>
          <p:grpSpPr bwMode="auto">
            <a:xfrm>
              <a:off x="1275" y="860"/>
              <a:ext cx="966" cy="1391"/>
              <a:chOff x="1275" y="860"/>
              <a:chExt cx="966" cy="1391"/>
            </a:xfrm>
          </p:grpSpPr>
          <p:sp>
            <p:nvSpPr>
              <p:cNvPr id="31" name="Freeform 7"/>
              <p:cNvSpPr>
                <a:spLocks noChangeAspect="1"/>
              </p:cNvSpPr>
              <p:nvPr/>
            </p:nvSpPr>
            <p:spPr bwMode="auto">
              <a:xfrm>
                <a:off x="1294" y="879"/>
                <a:ext cx="928" cy="1353"/>
              </a:xfrm>
              <a:custGeom>
                <a:avLst/>
                <a:gdLst>
                  <a:gd name="T0" fmla="*/ 2147483646 w 393"/>
                  <a:gd name="T1" fmla="*/ 2147483646 h 573"/>
                  <a:gd name="T2" fmla="*/ 2147483646 w 393"/>
                  <a:gd name="T3" fmla="*/ 2147483646 h 573"/>
                  <a:gd name="T4" fmla="*/ 2147483646 w 393"/>
                  <a:gd name="T5" fmla="*/ 2147483646 h 573"/>
                  <a:gd name="T6" fmla="*/ 2147483646 w 393"/>
                  <a:gd name="T7" fmla="*/ 2147483646 h 573"/>
                  <a:gd name="T8" fmla="*/ 0 w 393"/>
                  <a:gd name="T9" fmla="*/ 2147483646 h 573"/>
                  <a:gd name="T10" fmla="*/ 0 w 393"/>
                  <a:gd name="T11" fmla="*/ 2147483646 h 573"/>
                  <a:gd name="T12" fmla="*/ 2147483646 w 393"/>
                  <a:gd name="T13" fmla="*/ 0 h 573"/>
                  <a:gd name="T14" fmla="*/ 2147483646 w 393"/>
                  <a:gd name="T15" fmla="*/ 0 h 573"/>
                  <a:gd name="T16" fmla="*/ 2147483646 w 393"/>
                  <a:gd name="T17" fmla="*/ 2147483646 h 573"/>
                  <a:gd name="T18" fmla="*/ 2147483646 w 393"/>
                  <a:gd name="T19" fmla="*/ 214748364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2" name="Text Box 9"/>
              <p:cNvSpPr txBox="1">
                <a:spLocks noChangeAspect="1" noChangeArrowheads="1"/>
              </p:cNvSpPr>
              <p:nvPr/>
            </p:nvSpPr>
            <p:spPr bwMode="auto">
              <a:xfrm>
                <a:off x="1348" y="1805"/>
                <a:ext cx="816" cy="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0"/>
                  </a:spcBef>
                  <a:buClrTx/>
                  <a:buFontTx/>
                  <a:buNone/>
                </a:pPr>
                <a:r>
                  <a:rPr lang="en-US" altLang="en-US" sz="2000" dirty="0">
                    <a:solidFill>
                      <a:srgbClr val="7B0663"/>
                    </a:solidFill>
                    <a:ea typeface="MS PGothic" panose="020B0600070205080204" pitchFamily="34" charset="-128"/>
                  </a:rPr>
                  <a:t>Access Node</a:t>
                </a:r>
              </a:p>
            </p:txBody>
          </p:sp>
          <p:sp>
            <p:nvSpPr>
              <p:cNvPr id="33" name="Freeform 66"/>
              <p:cNvSpPr>
                <a:spLocks noChangeAspect="1" noEditPoints="1"/>
              </p:cNvSpPr>
              <p:nvPr/>
            </p:nvSpPr>
            <p:spPr bwMode="auto">
              <a:xfrm>
                <a:off x="1275" y="860"/>
                <a:ext cx="966" cy="1391"/>
              </a:xfrm>
              <a:custGeom>
                <a:avLst/>
                <a:gdLst>
                  <a:gd name="T0" fmla="*/ 2147483646 w 409"/>
                  <a:gd name="T1" fmla="*/ 2147483646 h 589"/>
                  <a:gd name="T2" fmla="*/ 2147483646 w 409"/>
                  <a:gd name="T3" fmla="*/ 0 h 589"/>
                  <a:gd name="T4" fmla="*/ 0 w 409"/>
                  <a:gd name="T5" fmla="*/ 2147483646 h 589"/>
                  <a:gd name="T6" fmla="*/ 2147483646 w 409"/>
                  <a:gd name="T7" fmla="*/ 2147483646 h 589"/>
                  <a:gd name="T8" fmla="*/ 2147483646 w 409"/>
                  <a:gd name="T9" fmla="*/ 2147483646 h 589"/>
                  <a:gd name="T10" fmla="*/ 2147483646 w 409"/>
                  <a:gd name="T11" fmla="*/ 2147483646 h 589"/>
                  <a:gd name="T12" fmla="*/ 2147483646 w 409"/>
                  <a:gd name="T13" fmla="*/ 2147483646 h 589"/>
                  <a:gd name="T14" fmla="*/ 2147483646 w 409"/>
                  <a:gd name="T15" fmla="*/ 2147483646 h 589"/>
                  <a:gd name="T16" fmla="*/ 2147483646 w 409"/>
                  <a:gd name="T17" fmla="*/ 2147483646 h 589"/>
                  <a:gd name="T18" fmla="*/ 2147483646 w 409"/>
                  <a:gd name="T19" fmla="*/ 2147483646 h 589"/>
                  <a:gd name="T20" fmla="*/ 2147483646 w 409"/>
                  <a:gd name="T21" fmla="*/ 2147483646 h 589"/>
                  <a:gd name="T22" fmla="*/ 2147483646 w 409"/>
                  <a:gd name="T23" fmla="*/ 2147483646 h 589"/>
                  <a:gd name="T24" fmla="*/ 2147483646 w 409"/>
                  <a:gd name="T25" fmla="*/ 2147483646 h 589"/>
                  <a:gd name="T26" fmla="*/ 2147483646 w 409"/>
                  <a:gd name="T27" fmla="*/ 2147483646 h 589"/>
                  <a:gd name="T28" fmla="*/ 2147483646 w 409"/>
                  <a:gd name="T29" fmla="*/ 2147483646 h 589"/>
                  <a:gd name="T30" fmla="*/ 2147483646 w 409"/>
                  <a:gd name="T31" fmla="*/ 2147483646 h 589"/>
                  <a:gd name="T32" fmla="*/ 2147483646 w 409"/>
                  <a:gd name="T33" fmla="*/ 2147483646 h 589"/>
                  <a:gd name="T34" fmla="*/ 2147483646 w 409"/>
                  <a:gd name="T35" fmla="*/ 2147483646 h 589"/>
                  <a:gd name="T36" fmla="*/ 2147483646 w 409"/>
                  <a:gd name="T37" fmla="*/ 2147483646 h 589"/>
                  <a:gd name="T38" fmla="*/ 2147483646 w 409"/>
                  <a:gd name="T39" fmla="*/ 2147483646 h 589"/>
                  <a:gd name="T40" fmla="*/ 2147483646 w 409"/>
                  <a:gd name="T41" fmla="*/ 2147483646 h 589"/>
                  <a:gd name="T42" fmla="*/ 2147483646 w 409"/>
                  <a:gd name="T43" fmla="*/ 2147483646 h 589"/>
                  <a:gd name="T44" fmla="*/ 2147483646 w 409"/>
                  <a:gd name="T45" fmla="*/ 2147483646 h 589"/>
                  <a:gd name="T46" fmla="*/ 2147483646 w 409"/>
                  <a:gd name="T47" fmla="*/ 2147483646 h 589"/>
                  <a:gd name="T48" fmla="*/ 2147483646 w 409"/>
                  <a:gd name="T49" fmla="*/ 2147483646 h 589"/>
                  <a:gd name="T50" fmla="*/ 2147483646 w 409"/>
                  <a:gd name="T51" fmla="*/ 2147483646 h 589"/>
                  <a:gd name="T52" fmla="*/ 2147483646 w 409"/>
                  <a:gd name="T53" fmla="*/ 2147483646 h 589"/>
                  <a:gd name="T54" fmla="*/ 2147483646 w 409"/>
                  <a:gd name="T55" fmla="*/ 2147483646 h 589"/>
                  <a:gd name="T56" fmla="*/ 2147483646 w 409"/>
                  <a:gd name="T57" fmla="*/ 2147483646 h 589"/>
                  <a:gd name="T58" fmla="*/ 2147483646 w 409"/>
                  <a:gd name="T59" fmla="*/ 2147483646 h 589"/>
                  <a:gd name="T60" fmla="*/ 2147483646 w 409"/>
                  <a:gd name="T61" fmla="*/ 2147483646 h 589"/>
                  <a:gd name="T62" fmla="*/ 2147483646 w 409"/>
                  <a:gd name="T63" fmla="*/ 2147483646 h 589"/>
                  <a:gd name="T64" fmla="*/ 2147483646 w 409"/>
                  <a:gd name="T65" fmla="*/ 2147483646 h 589"/>
                  <a:gd name="T66" fmla="*/ 2147483646 w 409"/>
                  <a:gd name="T67" fmla="*/ 2147483646 h 589"/>
                  <a:gd name="T68" fmla="*/ 2147483646 w 409"/>
                  <a:gd name="T69" fmla="*/ 2147483646 h 589"/>
                  <a:gd name="T70" fmla="*/ 2147483646 w 409"/>
                  <a:gd name="T71" fmla="*/ 2147483646 h 589"/>
                  <a:gd name="T72" fmla="*/ 2147483646 w 409"/>
                  <a:gd name="T73" fmla="*/ 2147483646 h 589"/>
                  <a:gd name="T74" fmla="*/ 2147483646 w 409"/>
                  <a:gd name="T75" fmla="*/ 2147483646 h 589"/>
                  <a:gd name="T76" fmla="*/ 2147483646 w 409"/>
                  <a:gd name="T77" fmla="*/ 2147483646 h 589"/>
                  <a:gd name="T78" fmla="*/ 2147483646 w 409"/>
                  <a:gd name="T79" fmla="*/ 2147483646 h 589"/>
                  <a:gd name="T80" fmla="*/ 2147483646 w 409"/>
                  <a:gd name="T81" fmla="*/ 2147483646 h 589"/>
                  <a:gd name="T82" fmla="*/ 2147483646 w 409"/>
                  <a:gd name="T83" fmla="*/ 2147483646 h 589"/>
                  <a:gd name="T84" fmla="*/ 2147483646 w 409"/>
                  <a:gd name="T85" fmla="*/ 2147483646 h 589"/>
                  <a:gd name="T86" fmla="*/ 2147483646 w 409"/>
                  <a:gd name="T87" fmla="*/ 2147483646 h 589"/>
                  <a:gd name="T88" fmla="*/ 2147483646 w 409"/>
                  <a:gd name="T89" fmla="*/ 2147483646 h 589"/>
                  <a:gd name="T90" fmla="*/ 2147483646 w 409"/>
                  <a:gd name="T91" fmla="*/ 2147483646 h 589"/>
                  <a:gd name="T92" fmla="*/ 2147483646 w 409"/>
                  <a:gd name="T93" fmla="*/ 2147483646 h 589"/>
                  <a:gd name="T94" fmla="*/ 2147483646 w 409"/>
                  <a:gd name="T95" fmla="*/ 2147483646 h 589"/>
                  <a:gd name="T96" fmla="*/ 2147483646 w 409"/>
                  <a:gd name="T97" fmla="*/ 2147483646 h 589"/>
                  <a:gd name="T98" fmla="*/ 2147483646 w 409"/>
                  <a:gd name="T99" fmla="*/ 2147483646 h 589"/>
                  <a:gd name="T100" fmla="*/ 2147483646 w 409"/>
                  <a:gd name="T101" fmla="*/ 2147483646 h 589"/>
                  <a:gd name="T102" fmla="*/ 2147483646 w 409"/>
                  <a:gd name="T103" fmla="*/ 2147483646 h 589"/>
                  <a:gd name="T104" fmla="*/ 2147483646 w 409"/>
                  <a:gd name="T105" fmla="*/ 2147483646 h 589"/>
                  <a:gd name="T106" fmla="*/ 2147483646 w 409"/>
                  <a:gd name="T107" fmla="*/ 2147483646 h 589"/>
                  <a:gd name="T108" fmla="*/ 2147483646 w 409"/>
                  <a:gd name="T109" fmla="*/ 2147483646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0" name="Rectangle 107"/>
            <p:cNvSpPr>
              <a:spLocks noChangeAspect="1" noChangeArrowheads="1"/>
            </p:cNvSpPr>
            <p:nvPr/>
          </p:nvSpPr>
          <p:spPr bwMode="auto">
            <a:xfrm>
              <a:off x="127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eaLnBrk="1" hangingPunct="1">
                <a:spcBef>
                  <a:spcPct val="50000"/>
                </a:spcBef>
                <a:defRPr/>
              </a:pPr>
              <a:endParaRPr lang="sv-SE">
                <a:latin typeface="Arial" charset="0"/>
                <a:ea typeface="ＭＳ Ｐゴシック" charset="0"/>
                <a:cs typeface="ＭＳ Ｐゴシック" charset="0"/>
              </a:endParaRPr>
            </a:p>
          </p:txBody>
        </p:sp>
      </p:grpSp>
      <p:grpSp>
        <p:nvGrpSpPr>
          <p:cNvPr id="34" name="Group 62"/>
          <p:cNvGrpSpPr>
            <a:grpSpLocks noChangeAspect="1"/>
          </p:cNvGrpSpPr>
          <p:nvPr/>
        </p:nvGrpSpPr>
        <p:grpSpPr bwMode="auto">
          <a:xfrm>
            <a:off x="7319850" y="3220655"/>
            <a:ext cx="1402177" cy="1945172"/>
            <a:chOff x="1272" y="2478"/>
            <a:chExt cx="969" cy="1392"/>
          </a:xfrm>
        </p:grpSpPr>
        <p:grpSp>
          <p:nvGrpSpPr>
            <p:cNvPr id="35" name="Group 51"/>
            <p:cNvGrpSpPr>
              <a:grpSpLocks noChangeAspect="1"/>
            </p:cNvGrpSpPr>
            <p:nvPr/>
          </p:nvGrpSpPr>
          <p:grpSpPr bwMode="auto">
            <a:xfrm>
              <a:off x="1275" y="2478"/>
              <a:ext cx="966" cy="1391"/>
              <a:chOff x="1275" y="2478"/>
              <a:chExt cx="966" cy="1391"/>
            </a:xfrm>
          </p:grpSpPr>
          <p:sp>
            <p:nvSpPr>
              <p:cNvPr id="37" name="Freeform 16"/>
              <p:cNvSpPr>
                <a:spLocks noChangeAspect="1"/>
              </p:cNvSpPr>
              <p:nvPr/>
            </p:nvSpPr>
            <p:spPr bwMode="auto">
              <a:xfrm>
                <a:off x="1294" y="2497"/>
                <a:ext cx="928" cy="1353"/>
              </a:xfrm>
              <a:custGeom>
                <a:avLst/>
                <a:gdLst>
                  <a:gd name="T0" fmla="*/ 2147483646 w 393"/>
                  <a:gd name="T1" fmla="*/ 2147483646 h 573"/>
                  <a:gd name="T2" fmla="*/ 2147483646 w 393"/>
                  <a:gd name="T3" fmla="*/ 2147483646 h 573"/>
                  <a:gd name="T4" fmla="*/ 2147483646 w 393"/>
                  <a:gd name="T5" fmla="*/ 2147483646 h 573"/>
                  <a:gd name="T6" fmla="*/ 2147483646 w 393"/>
                  <a:gd name="T7" fmla="*/ 2147483646 h 573"/>
                  <a:gd name="T8" fmla="*/ 0 w 393"/>
                  <a:gd name="T9" fmla="*/ 2147483646 h 573"/>
                  <a:gd name="T10" fmla="*/ 0 w 393"/>
                  <a:gd name="T11" fmla="*/ 2147483646 h 573"/>
                  <a:gd name="T12" fmla="*/ 2147483646 w 393"/>
                  <a:gd name="T13" fmla="*/ 0 h 573"/>
                  <a:gd name="T14" fmla="*/ 2147483646 w 393"/>
                  <a:gd name="T15" fmla="*/ 0 h 573"/>
                  <a:gd name="T16" fmla="*/ 2147483646 w 393"/>
                  <a:gd name="T17" fmla="*/ 2147483646 h 573"/>
                  <a:gd name="T18" fmla="*/ 2147483646 w 393"/>
                  <a:gd name="T19" fmla="*/ 214748364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dirty="0"/>
              </a:p>
            </p:txBody>
          </p:sp>
          <p:sp>
            <p:nvSpPr>
              <p:cNvPr id="38" name="Freeform 17"/>
              <p:cNvSpPr>
                <a:spLocks noChangeAspect="1" noEditPoints="1"/>
              </p:cNvSpPr>
              <p:nvPr/>
            </p:nvSpPr>
            <p:spPr bwMode="auto">
              <a:xfrm>
                <a:off x="1275" y="2478"/>
                <a:ext cx="966" cy="1391"/>
              </a:xfrm>
              <a:custGeom>
                <a:avLst/>
                <a:gdLst>
                  <a:gd name="T0" fmla="*/ 2147483646 w 409"/>
                  <a:gd name="T1" fmla="*/ 2147483646 h 589"/>
                  <a:gd name="T2" fmla="*/ 2147483646 w 409"/>
                  <a:gd name="T3" fmla="*/ 0 h 589"/>
                  <a:gd name="T4" fmla="*/ 0 w 409"/>
                  <a:gd name="T5" fmla="*/ 2147483646 h 589"/>
                  <a:gd name="T6" fmla="*/ 2147483646 w 409"/>
                  <a:gd name="T7" fmla="*/ 2147483646 h 589"/>
                  <a:gd name="T8" fmla="*/ 2147483646 w 409"/>
                  <a:gd name="T9" fmla="*/ 2147483646 h 589"/>
                  <a:gd name="T10" fmla="*/ 2147483646 w 409"/>
                  <a:gd name="T11" fmla="*/ 2147483646 h 589"/>
                  <a:gd name="T12" fmla="*/ 2147483646 w 409"/>
                  <a:gd name="T13" fmla="*/ 2147483646 h 589"/>
                  <a:gd name="T14" fmla="*/ 2147483646 w 409"/>
                  <a:gd name="T15" fmla="*/ 2147483646 h 589"/>
                  <a:gd name="T16" fmla="*/ 2147483646 w 409"/>
                  <a:gd name="T17" fmla="*/ 2147483646 h 589"/>
                  <a:gd name="T18" fmla="*/ 2147483646 w 409"/>
                  <a:gd name="T19" fmla="*/ 2147483646 h 589"/>
                  <a:gd name="T20" fmla="*/ 2147483646 w 409"/>
                  <a:gd name="T21" fmla="*/ 2147483646 h 589"/>
                  <a:gd name="T22" fmla="*/ 2147483646 w 409"/>
                  <a:gd name="T23" fmla="*/ 2147483646 h 589"/>
                  <a:gd name="T24" fmla="*/ 2147483646 w 409"/>
                  <a:gd name="T25" fmla="*/ 2147483646 h 589"/>
                  <a:gd name="T26" fmla="*/ 2147483646 w 409"/>
                  <a:gd name="T27" fmla="*/ 2147483646 h 589"/>
                  <a:gd name="T28" fmla="*/ 2147483646 w 409"/>
                  <a:gd name="T29" fmla="*/ 2147483646 h 589"/>
                  <a:gd name="T30" fmla="*/ 2147483646 w 409"/>
                  <a:gd name="T31" fmla="*/ 2147483646 h 589"/>
                  <a:gd name="T32" fmla="*/ 2147483646 w 409"/>
                  <a:gd name="T33" fmla="*/ 2147483646 h 589"/>
                  <a:gd name="T34" fmla="*/ 2147483646 w 409"/>
                  <a:gd name="T35" fmla="*/ 2147483646 h 589"/>
                  <a:gd name="T36" fmla="*/ 2147483646 w 409"/>
                  <a:gd name="T37" fmla="*/ 2147483646 h 589"/>
                  <a:gd name="T38" fmla="*/ 2147483646 w 409"/>
                  <a:gd name="T39" fmla="*/ 2147483646 h 589"/>
                  <a:gd name="T40" fmla="*/ 2147483646 w 409"/>
                  <a:gd name="T41" fmla="*/ 2147483646 h 589"/>
                  <a:gd name="T42" fmla="*/ 2147483646 w 409"/>
                  <a:gd name="T43" fmla="*/ 2147483646 h 589"/>
                  <a:gd name="T44" fmla="*/ 2147483646 w 409"/>
                  <a:gd name="T45" fmla="*/ 2147483646 h 589"/>
                  <a:gd name="T46" fmla="*/ 2147483646 w 409"/>
                  <a:gd name="T47" fmla="*/ 2147483646 h 589"/>
                  <a:gd name="T48" fmla="*/ 2147483646 w 409"/>
                  <a:gd name="T49" fmla="*/ 2147483646 h 589"/>
                  <a:gd name="T50" fmla="*/ 2147483646 w 409"/>
                  <a:gd name="T51" fmla="*/ 2147483646 h 589"/>
                  <a:gd name="T52" fmla="*/ 2147483646 w 409"/>
                  <a:gd name="T53" fmla="*/ 2147483646 h 589"/>
                  <a:gd name="T54" fmla="*/ 2147483646 w 409"/>
                  <a:gd name="T55" fmla="*/ 2147483646 h 589"/>
                  <a:gd name="T56" fmla="*/ 2147483646 w 409"/>
                  <a:gd name="T57" fmla="*/ 2147483646 h 589"/>
                  <a:gd name="T58" fmla="*/ 2147483646 w 409"/>
                  <a:gd name="T59" fmla="*/ 2147483646 h 589"/>
                  <a:gd name="T60" fmla="*/ 2147483646 w 409"/>
                  <a:gd name="T61" fmla="*/ 2147483646 h 589"/>
                  <a:gd name="T62" fmla="*/ 2147483646 w 409"/>
                  <a:gd name="T63" fmla="*/ 2147483646 h 589"/>
                  <a:gd name="T64" fmla="*/ 2147483646 w 409"/>
                  <a:gd name="T65" fmla="*/ 2147483646 h 589"/>
                  <a:gd name="T66" fmla="*/ 2147483646 w 409"/>
                  <a:gd name="T67" fmla="*/ 2147483646 h 589"/>
                  <a:gd name="T68" fmla="*/ 2147483646 w 409"/>
                  <a:gd name="T69" fmla="*/ 2147483646 h 589"/>
                  <a:gd name="T70" fmla="*/ 2147483646 w 409"/>
                  <a:gd name="T71" fmla="*/ 2147483646 h 589"/>
                  <a:gd name="T72" fmla="*/ 2147483646 w 409"/>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0062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US"/>
              </a:p>
            </p:txBody>
          </p:sp>
          <p:sp>
            <p:nvSpPr>
              <p:cNvPr id="39" name="Text Box 18"/>
              <p:cNvSpPr txBox="1">
                <a:spLocks noChangeAspect="1" noChangeArrowheads="1"/>
              </p:cNvSpPr>
              <p:nvPr/>
            </p:nvSpPr>
            <p:spPr bwMode="auto">
              <a:xfrm>
                <a:off x="1350" y="3478"/>
                <a:ext cx="81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0"/>
                  </a:spcBef>
                  <a:buClrTx/>
                  <a:buFontTx/>
                  <a:buNone/>
                </a:pPr>
                <a:r>
                  <a:rPr lang="en-US" altLang="en-US" sz="2000" dirty="0">
                    <a:solidFill>
                      <a:srgbClr val="00625F"/>
                    </a:solidFill>
                    <a:ea typeface="MS PGothic" panose="020B0600070205080204" pitchFamily="34" charset="-128"/>
                  </a:rPr>
                  <a:t>UPF</a:t>
                </a:r>
              </a:p>
            </p:txBody>
          </p:sp>
        </p:grpSp>
        <p:sp>
          <p:nvSpPr>
            <p:cNvPr id="36" name="Rectangle 50"/>
            <p:cNvSpPr>
              <a:spLocks noChangeAspect="1" noChangeArrowheads="1"/>
            </p:cNvSpPr>
            <p:nvPr/>
          </p:nvSpPr>
          <p:spPr bwMode="auto">
            <a:xfrm>
              <a:off x="1272" y="2478"/>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lgn="ctr" eaLnBrk="1" hangingPunct="1">
                <a:spcBef>
                  <a:spcPct val="50000"/>
                </a:spcBef>
                <a:defRPr/>
              </a:pPr>
              <a:endParaRPr lang="sv-SE">
                <a:latin typeface="Arial" charset="0"/>
                <a:ea typeface="ＭＳ Ｐゴシック" charset="0"/>
                <a:cs typeface="ＭＳ Ｐゴシック" charset="0"/>
              </a:endParaRPr>
            </a:p>
          </p:txBody>
        </p:sp>
      </p:grpSp>
      <p:cxnSp>
        <p:nvCxnSpPr>
          <p:cNvPr id="41" name="Straight Connector 19"/>
          <p:cNvCxnSpPr>
            <a:cxnSpLocks noChangeShapeType="1"/>
          </p:cNvCxnSpPr>
          <p:nvPr/>
        </p:nvCxnSpPr>
        <p:spPr bwMode="auto">
          <a:xfrm flipV="1">
            <a:off x="9397038" y="2909448"/>
            <a:ext cx="277632" cy="1282279"/>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cxnSp>
        <p:nvCxnSpPr>
          <p:cNvPr id="21" name="Straight Arrow Connector 20"/>
          <p:cNvCxnSpPr>
            <a:cxnSpLocks/>
          </p:cNvCxnSpPr>
          <p:nvPr/>
        </p:nvCxnSpPr>
        <p:spPr bwMode="auto">
          <a:xfrm flipH="1">
            <a:off x="8722028" y="3977273"/>
            <a:ext cx="1350020" cy="0"/>
          </a:xfrm>
          <a:prstGeom prst="straightConnector1">
            <a:avLst/>
          </a:prstGeom>
          <a:solidFill>
            <a:schemeClr val="accent1"/>
          </a:solidFill>
          <a:ln w="76200" cap="flat" cmpd="sng" algn="ctr">
            <a:solidFill>
              <a:schemeClr val="tx2">
                <a:lumMod val="50000"/>
                <a:lumOff val="50000"/>
              </a:schemeClr>
            </a:solidFill>
            <a:prstDash val="sysDash"/>
            <a:round/>
            <a:headEnd type="triangle" w="med" len="med"/>
            <a:tailEnd type="triangle" w="med" len="med"/>
          </a:ln>
          <a:effectLst/>
        </p:spPr>
      </p:cxnSp>
      <p:cxnSp>
        <p:nvCxnSpPr>
          <p:cNvPr id="44" name="Straight Arrow Connector 43"/>
          <p:cNvCxnSpPr>
            <a:cxnSpLocks/>
          </p:cNvCxnSpPr>
          <p:nvPr/>
        </p:nvCxnSpPr>
        <p:spPr bwMode="auto">
          <a:xfrm flipH="1">
            <a:off x="8737948" y="4279801"/>
            <a:ext cx="1350020" cy="0"/>
          </a:xfrm>
          <a:prstGeom prst="straightConnector1">
            <a:avLst/>
          </a:prstGeom>
          <a:solidFill>
            <a:schemeClr val="accent1"/>
          </a:solidFill>
          <a:ln w="76200" cap="flat" cmpd="sng" algn="ctr">
            <a:solidFill>
              <a:schemeClr val="accent2">
                <a:lumMod val="60000"/>
                <a:lumOff val="40000"/>
              </a:schemeClr>
            </a:solidFill>
            <a:prstDash val="sysDot"/>
            <a:round/>
            <a:headEnd type="triangle" w="med" len="med"/>
            <a:tailEnd type="triangle" w="med" len="med"/>
          </a:ln>
          <a:effectLst/>
        </p:spPr>
      </p:cxnSp>
      <p:cxnSp>
        <p:nvCxnSpPr>
          <p:cNvPr id="45" name="Straight Arrow Connector 44"/>
          <p:cNvCxnSpPr>
            <a:cxnSpLocks/>
          </p:cNvCxnSpPr>
          <p:nvPr/>
        </p:nvCxnSpPr>
        <p:spPr bwMode="auto">
          <a:xfrm flipH="1">
            <a:off x="8740220" y="4582329"/>
            <a:ext cx="1350020" cy="0"/>
          </a:xfrm>
          <a:prstGeom prst="straightConnector1">
            <a:avLst/>
          </a:prstGeom>
          <a:solidFill>
            <a:schemeClr val="accent1"/>
          </a:solidFill>
          <a:ln w="76200" cap="flat" cmpd="sng" algn="ctr">
            <a:solidFill>
              <a:schemeClr val="accent1">
                <a:lumMod val="75000"/>
              </a:schemeClr>
            </a:solidFill>
            <a:prstDash val="dashDot"/>
            <a:round/>
            <a:headEnd type="triangle" w="med" len="med"/>
            <a:tailEnd type="triangle" w="med" len="med"/>
          </a:ln>
          <a:effectLst/>
        </p:spPr>
      </p:cxnSp>
      <p:cxnSp>
        <p:nvCxnSpPr>
          <p:cNvPr id="46" name="Straight Arrow Connector 45"/>
          <p:cNvCxnSpPr>
            <a:cxnSpLocks/>
          </p:cNvCxnSpPr>
          <p:nvPr/>
        </p:nvCxnSpPr>
        <p:spPr bwMode="auto">
          <a:xfrm flipH="1">
            <a:off x="4512863" y="3961553"/>
            <a:ext cx="2801076" cy="0"/>
          </a:xfrm>
          <a:prstGeom prst="straightConnector1">
            <a:avLst/>
          </a:prstGeom>
          <a:solidFill>
            <a:schemeClr val="accent1"/>
          </a:solidFill>
          <a:ln w="76200" cap="flat" cmpd="sng" algn="ctr">
            <a:solidFill>
              <a:schemeClr val="tx2">
                <a:lumMod val="50000"/>
                <a:lumOff val="50000"/>
              </a:schemeClr>
            </a:solidFill>
            <a:prstDash val="sysDash"/>
            <a:round/>
            <a:headEnd type="triangle" w="med" len="med"/>
            <a:tailEnd type="triangle"/>
          </a:ln>
          <a:effectLst/>
        </p:spPr>
      </p:cxnSp>
      <p:cxnSp>
        <p:nvCxnSpPr>
          <p:cNvPr id="47" name="Straight Arrow Connector 46"/>
          <p:cNvCxnSpPr>
            <a:cxnSpLocks/>
          </p:cNvCxnSpPr>
          <p:nvPr/>
        </p:nvCxnSpPr>
        <p:spPr bwMode="auto">
          <a:xfrm flipH="1">
            <a:off x="4545894" y="4264081"/>
            <a:ext cx="2801076" cy="0"/>
          </a:xfrm>
          <a:prstGeom prst="straightConnector1">
            <a:avLst/>
          </a:prstGeom>
          <a:solidFill>
            <a:schemeClr val="accent1"/>
          </a:solidFill>
          <a:ln w="76200" cap="flat" cmpd="sng" algn="ctr">
            <a:solidFill>
              <a:schemeClr val="accent2">
                <a:lumMod val="60000"/>
                <a:lumOff val="40000"/>
              </a:schemeClr>
            </a:solidFill>
            <a:prstDash val="sysDot"/>
            <a:round/>
            <a:headEnd type="triangle" w="med" len="med"/>
            <a:tailEnd type="triangle"/>
          </a:ln>
          <a:effectLst/>
        </p:spPr>
      </p:cxnSp>
      <p:cxnSp>
        <p:nvCxnSpPr>
          <p:cNvPr id="48" name="Straight Arrow Connector 47"/>
          <p:cNvCxnSpPr>
            <a:cxnSpLocks/>
          </p:cNvCxnSpPr>
          <p:nvPr/>
        </p:nvCxnSpPr>
        <p:spPr bwMode="auto">
          <a:xfrm flipH="1">
            <a:off x="4550609" y="4566609"/>
            <a:ext cx="2801076" cy="0"/>
          </a:xfrm>
          <a:prstGeom prst="straightConnector1">
            <a:avLst/>
          </a:prstGeom>
          <a:solidFill>
            <a:schemeClr val="accent1"/>
          </a:solidFill>
          <a:ln w="76200" cap="flat" cmpd="sng" algn="ctr">
            <a:solidFill>
              <a:schemeClr val="accent1">
                <a:lumMod val="75000"/>
              </a:schemeClr>
            </a:solidFill>
            <a:prstDash val="dashDot"/>
            <a:round/>
            <a:headEnd type="triangle" w="med" len="med"/>
            <a:tailEnd type="triangle"/>
          </a:ln>
          <a:effectLst/>
        </p:spPr>
      </p:cxnSp>
      <p:sp>
        <p:nvSpPr>
          <p:cNvPr id="51" name="Oval 50"/>
          <p:cNvSpPr/>
          <p:nvPr/>
        </p:nvSpPr>
        <p:spPr bwMode="auto">
          <a:xfrm flipH="1">
            <a:off x="6114196" y="3562066"/>
            <a:ext cx="234817" cy="1525569"/>
          </a:xfrm>
          <a:prstGeom prst="ellipse">
            <a:avLst/>
          </a:prstGeom>
          <a:noFill/>
          <a:ln w="28575"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53" name="Straight Connector 52"/>
          <p:cNvCxnSpPr>
            <a:stCxn id="51" idx="4"/>
          </p:cNvCxnSpPr>
          <p:nvPr/>
        </p:nvCxnSpPr>
        <p:spPr bwMode="auto">
          <a:xfrm>
            <a:off x="6231604" y="5087635"/>
            <a:ext cx="360265" cy="54889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54" name="TextBox 53"/>
          <p:cNvSpPr txBox="1"/>
          <p:nvPr/>
        </p:nvSpPr>
        <p:spPr>
          <a:xfrm>
            <a:off x="5718411" y="5617960"/>
            <a:ext cx="1712328" cy="400110"/>
          </a:xfrm>
          <a:prstGeom prst="rect">
            <a:avLst/>
          </a:prstGeom>
          <a:noFill/>
        </p:spPr>
        <p:txBody>
          <a:bodyPr wrap="none" rtlCol="0">
            <a:spAutoFit/>
          </a:bodyPr>
          <a:lstStyle/>
          <a:p>
            <a:r>
              <a:rPr lang="en-US" dirty="0"/>
              <a:t>PDU Session</a:t>
            </a:r>
          </a:p>
        </p:txBody>
      </p:sp>
      <p:cxnSp>
        <p:nvCxnSpPr>
          <p:cNvPr id="58" name="Straight Connector 19"/>
          <p:cNvCxnSpPr>
            <a:cxnSpLocks noChangeShapeType="1"/>
          </p:cNvCxnSpPr>
          <p:nvPr/>
        </p:nvCxnSpPr>
        <p:spPr bwMode="auto">
          <a:xfrm flipV="1">
            <a:off x="9485761" y="2909448"/>
            <a:ext cx="380864" cy="1573685"/>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sp>
        <p:nvSpPr>
          <p:cNvPr id="3" name="Oval 2"/>
          <p:cNvSpPr/>
          <p:nvPr/>
        </p:nvSpPr>
        <p:spPr bwMode="auto">
          <a:xfrm>
            <a:off x="7427037" y="3712265"/>
            <a:ext cx="342466" cy="1007165"/>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vert270"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DNAI</a:t>
            </a:r>
          </a:p>
        </p:txBody>
      </p:sp>
      <p:sp>
        <p:nvSpPr>
          <p:cNvPr id="42" name="TextBox 41"/>
          <p:cNvSpPr txBox="1"/>
          <p:nvPr/>
        </p:nvSpPr>
        <p:spPr>
          <a:xfrm>
            <a:off x="8806627" y="2162117"/>
            <a:ext cx="2053767" cy="707886"/>
          </a:xfrm>
          <a:prstGeom prst="rect">
            <a:avLst/>
          </a:prstGeom>
          <a:noFill/>
        </p:spPr>
        <p:txBody>
          <a:bodyPr wrap="none" rtlCol="0">
            <a:spAutoFit/>
          </a:bodyPr>
          <a:lstStyle/>
          <a:p>
            <a:pPr algn="ctr"/>
            <a:r>
              <a:rPr lang="en-US" dirty="0"/>
              <a:t>Application Data</a:t>
            </a:r>
            <a:br>
              <a:rPr lang="en-US" dirty="0"/>
            </a:br>
            <a:r>
              <a:rPr lang="en-US" dirty="0"/>
              <a:t>packets</a:t>
            </a:r>
          </a:p>
        </p:txBody>
      </p:sp>
      <p:cxnSp>
        <p:nvCxnSpPr>
          <p:cNvPr id="52" name="Straight Connector 51"/>
          <p:cNvCxnSpPr>
            <a:cxnSpLocks noChangeShapeType="1"/>
          </p:cNvCxnSpPr>
          <p:nvPr/>
        </p:nvCxnSpPr>
        <p:spPr bwMode="auto">
          <a:xfrm flipV="1">
            <a:off x="5246121" y="2850182"/>
            <a:ext cx="222250" cy="1014412"/>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cxnSp>
        <p:nvCxnSpPr>
          <p:cNvPr id="55" name="Straight Connector 19"/>
          <p:cNvCxnSpPr>
            <a:cxnSpLocks noChangeShapeType="1"/>
          </p:cNvCxnSpPr>
          <p:nvPr/>
        </p:nvCxnSpPr>
        <p:spPr bwMode="auto">
          <a:xfrm flipV="1">
            <a:off x="5379648" y="2850182"/>
            <a:ext cx="277632" cy="1282279"/>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cxnSp>
        <p:nvCxnSpPr>
          <p:cNvPr id="56" name="Straight Connector 19"/>
          <p:cNvCxnSpPr>
            <a:cxnSpLocks noChangeShapeType="1"/>
          </p:cNvCxnSpPr>
          <p:nvPr/>
        </p:nvCxnSpPr>
        <p:spPr bwMode="auto">
          <a:xfrm flipV="1">
            <a:off x="5468371" y="2850182"/>
            <a:ext cx="380864" cy="1573685"/>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sp>
        <p:nvSpPr>
          <p:cNvPr id="57" name="TextBox 56"/>
          <p:cNvSpPr txBox="1"/>
          <p:nvPr/>
        </p:nvSpPr>
        <p:spPr>
          <a:xfrm>
            <a:off x="5001414" y="1815109"/>
            <a:ext cx="1967205" cy="1477328"/>
          </a:xfrm>
          <a:prstGeom prst="rect">
            <a:avLst/>
          </a:prstGeom>
          <a:noFill/>
        </p:spPr>
        <p:txBody>
          <a:bodyPr wrap="none" rtlCol="0">
            <a:spAutoFit/>
          </a:bodyPr>
          <a:lstStyle/>
          <a:p>
            <a:pPr algn="ctr"/>
            <a:r>
              <a:rPr lang="en-US" dirty="0" err="1"/>
              <a:t>QoS</a:t>
            </a:r>
            <a:r>
              <a:rPr lang="en-US" dirty="0"/>
              <a:t> Flows</a:t>
            </a:r>
            <a:br>
              <a:rPr lang="en-US" dirty="0"/>
            </a:br>
            <a:r>
              <a:rPr lang="en-US" dirty="0"/>
              <a:t>Associated with</a:t>
            </a:r>
            <a:br>
              <a:rPr lang="en-US" dirty="0"/>
            </a:br>
            <a:r>
              <a:rPr lang="en-US" dirty="0"/>
              <a:t>5QI &amp; ARP</a:t>
            </a:r>
          </a:p>
          <a:p>
            <a:pPr algn="ctr"/>
            <a:endParaRPr lang="en-US" dirty="0"/>
          </a:p>
        </p:txBody>
      </p:sp>
      <p:sp>
        <p:nvSpPr>
          <p:cNvPr id="7" name="Cylinder 6"/>
          <p:cNvSpPr/>
          <p:nvPr/>
        </p:nvSpPr>
        <p:spPr bwMode="auto">
          <a:xfrm rot="5400000">
            <a:off x="2005147" y="3250167"/>
            <a:ext cx="673504" cy="1521500"/>
          </a:xfrm>
          <a:prstGeom prst="can">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9" name="Cylinder 58"/>
          <p:cNvSpPr/>
          <p:nvPr/>
        </p:nvSpPr>
        <p:spPr bwMode="auto">
          <a:xfrm rot="5400000">
            <a:off x="2101180" y="3953323"/>
            <a:ext cx="442833" cy="1482897"/>
          </a:xfrm>
          <a:prstGeom prst="can">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60" name="Straight Arrow Connector 59"/>
          <p:cNvCxnSpPr>
            <a:cxnSpLocks/>
          </p:cNvCxnSpPr>
          <p:nvPr/>
        </p:nvCxnSpPr>
        <p:spPr bwMode="auto">
          <a:xfrm flipH="1">
            <a:off x="1273654" y="3866303"/>
            <a:ext cx="1970459" cy="0"/>
          </a:xfrm>
          <a:prstGeom prst="straightConnector1">
            <a:avLst/>
          </a:prstGeom>
          <a:solidFill>
            <a:schemeClr val="accent1"/>
          </a:solidFill>
          <a:ln w="76200" cap="flat" cmpd="sng" algn="ctr">
            <a:solidFill>
              <a:schemeClr val="tx2">
                <a:lumMod val="50000"/>
                <a:lumOff val="50000"/>
              </a:schemeClr>
            </a:solidFill>
            <a:prstDash val="sysDash"/>
            <a:round/>
            <a:headEnd type="triangle" w="med" len="med"/>
            <a:tailEnd type="triangle"/>
          </a:ln>
          <a:effectLst/>
        </p:spPr>
      </p:cxnSp>
      <p:cxnSp>
        <p:nvCxnSpPr>
          <p:cNvPr id="61" name="Straight Arrow Connector 60"/>
          <p:cNvCxnSpPr>
            <a:cxnSpLocks/>
          </p:cNvCxnSpPr>
          <p:nvPr/>
        </p:nvCxnSpPr>
        <p:spPr bwMode="auto">
          <a:xfrm flipH="1">
            <a:off x="1296890" y="4149505"/>
            <a:ext cx="1970459" cy="0"/>
          </a:xfrm>
          <a:prstGeom prst="straightConnector1">
            <a:avLst/>
          </a:prstGeom>
          <a:solidFill>
            <a:schemeClr val="accent1"/>
          </a:solidFill>
          <a:ln w="76200" cap="flat" cmpd="sng" algn="ctr">
            <a:solidFill>
              <a:schemeClr val="accent2">
                <a:lumMod val="60000"/>
                <a:lumOff val="40000"/>
              </a:schemeClr>
            </a:solidFill>
            <a:prstDash val="sysDot"/>
            <a:round/>
            <a:headEnd type="triangle" w="med" len="med"/>
            <a:tailEnd type="triangle"/>
          </a:ln>
          <a:effectLst/>
        </p:spPr>
      </p:cxnSp>
      <p:cxnSp>
        <p:nvCxnSpPr>
          <p:cNvPr id="62" name="Straight Arrow Connector 61"/>
          <p:cNvCxnSpPr>
            <a:cxnSpLocks/>
          </p:cNvCxnSpPr>
          <p:nvPr/>
        </p:nvCxnSpPr>
        <p:spPr bwMode="auto">
          <a:xfrm flipH="1">
            <a:off x="1254605" y="4707908"/>
            <a:ext cx="1955303" cy="0"/>
          </a:xfrm>
          <a:prstGeom prst="straightConnector1">
            <a:avLst/>
          </a:prstGeom>
          <a:solidFill>
            <a:schemeClr val="accent1"/>
          </a:solidFill>
          <a:ln w="76200" cap="flat" cmpd="sng" algn="ctr">
            <a:solidFill>
              <a:schemeClr val="accent1">
                <a:lumMod val="75000"/>
              </a:schemeClr>
            </a:solidFill>
            <a:prstDash val="dashDot"/>
            <a:round/>
            <a:headEnd type="triangle" w="med" len="med"/>
            <a:tailEnd type="triangle"/>
          </a:ln>
          <a:effectLst/>
        </p:spPr>
      </p:cxnSp>
      <p:sp>
        <p:nvSpPr>
          <p:cNvPr id="63" name="TextBox 62"/>
          <p:cNvSpPr txBox="1"/>
          <p:nvPr/>
        </p:nvSpPr>
        <p:spPr>
          <a:xfrm>
            <a:off x="1068577" y="5389360"/>
            <a:ext cx="2577950" cy="707886"/>
          </a:xfrm>
          <a:prstGeom prst="rect">
            <a:avLst/>
          </a:prstGeom>
          <a:noFill/>
        </p:spPr>
        <p:txBody>
          <a:bodyPr wrap="none" rtlCol="0">
            <a:spAutoFit/>
          </a:bodyPr>
          <a:lstStyle/>
          <a:p>
            <a:pPr algn="ctr"/>
            <a:r>
              <a:rPr lang="en-US" dirty="0"/>
              <a:t>AN Resources</a:t>
            </a:r>
            <a:br>
              <a:rPr lang="en-US" dirty="0"/>
            </a:br>
            <a:r>
              <a:rPr lang="en-US" dirty="0"/>
              <a:t>(Data Radio bearers)</a:t>
            </a:r>
          </a:p>
        </p:txBody>
      </p:sp>
      <p:cxnSp>
        <p:nvCxnSpPr>
          <p:cNvPr id="64" name="Straight Connector 19"/>
          <p:cNvCxnSpPr>
            <a:cxnSpLocks noChangeShapeType="1"/>
            <a:stCxn id="59" idx="4"/>
            <a:endCxn id="63" idx="0"/>
          </p:cNvCxnSpPr>
          <p:nvPr/>
        </p:nvCxnSpPr>
        <p:spPr bwMode="auto">
          <a:xfrm>
            <a:off x="2322596" y="4916188"/>
            <a:ext cx="34956" cy="473172"/>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cxnSp>
        <p:nvCxnSpPr>
          <p:cNvPr id="65" name="Straight Connector 19"/>
          <p:cNvCxnSpPr>
            <a:cxnSpLocks noChangeShapeType="1"/>
          </p:cNvCxnSpPr>
          <p:nvPr/>
        </p:nvCxnSpPr>
        <p:spPr bwMode="auto">
          <a:xfrm flipH="1">
            <a:off x="2021468" y="4310469"/>
            <a:ext cx="437142" cy="1078891"/>
          </a:xfrm>
          <a:prstGeom prst="line">
            <a:avLst/>
          </a:prstGeom>
          <a:noFill/>
          <a:ln w="12700" algn="ctr">
            <a:solidFill>
              <a:schemeClr val="tx1"/>
            </a:solidFill>
            <a:round/>
            <a:headEnd type="triangle" w="med" len="me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745317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ors´ share of the 5g Revenues</a:t>
            </a:r>
          </a:p>
        </p:txBody>
      </p:sp>
      <p:sp>
        <p:nvSpPr>
          <p:cNvPr id="4" name="Freeform 12"/>
          <p:cNvSpPr>
            <a:spLocks noChangeAspect="1"/>
          </p:cNvSpPr>
          <p:nvPr/>
        </p:nvSpPr>
        <p:spPr bwMode="auto">
          <a:xfrm>
            <a:off x="2928242" y="2327955"/>
            <a:ext cx="2182684" cy="642495"/>
          </a:xfrm>
          <a:custGeom>
            <a:avLst/>
            <a:gdLst>
              <a:gd name="T0" fmla="*/ 2147483647 w 940"/>
              <a:gd name="T1" fmla="*/ 2147483647 h 442"/>
              <a:gd name="T2" fmla="*/ 2147483647 w 940"/>
              <a:gd name="T3" fmla="*/ 2147483647 h 442"/>
              <a:gd name="T4" fmla="*/ 2147483647 w 940"/>
              <a:gd name="T5" fmla="*/ 0 h 442"/>
              <a:gd name="T6" fmla="*/ 2147483647 w 940"/>
              <a:gd name="T7" fmla="*/ 0 h 442"/>
              <a:gd name="T8" fmla="*/ 0 w 940"/>
              <a:gd name="T9" fmla="*/ 2147483647 h 442"/>
              <a:gd name="T10" fmla="*/ 2147483647 w 940"/>
              <a:gd name="T11" fmla="*/ 2147483647 h 442"/>
              <a:gd name="T12" fmla="*/ 2147483647 w 940"/>
              <a:gd name="T13" fmla="*/ 2147483647 h 442"/>
              <a:gd name="T14" fmla="*/ 2147483647 w 940"/>
              <a:gd name="T15" fmla="*/ 2147483647 h 442"/>
              <a:gd name="T16" fmla="*/ 2147483647 w 940"/>
              <a:gd name="T17" fmla="*/ 2147483647 h 442"/>
              <a:gd name="T18" fmla="*/ 2147483647 w 940"/>
              <a:gd name="T19" fmla="*/ 2147483647 h 442"/>
              <a:gd name="T20" fmla="*/ 0 w 940"/>
              <a:gd name="T21" fmla="*/ 2147483647 h 442"/>
              <a:gd name="T22" fmla="*/ 2147483647 w 940"/>
              <a:gd name="T23" fmla="*/ 2147483647 h 442"/>
              <a:gd name="T24" fmla="*/ 2147483647 w 940"/>
              <a:gd name="T25" fmla="*/ 2147483647 h 442"/>
              <a:gd name="T26" fmla="*/ 2147483647 w 940"/>
              <a:gd name="T27" fmla="*/ 2147483647 h 442"/>
              <a:gd name="T28" fmla="*/ 2147483647 w 940"/>
              <a:gd name="T29" fmla="*/ 2147483647 h 442"/>
              <a:gd name="T30" fmla="*/ 2147483647 w 940"/>
              <a:gd name="T31" fmla="*/ 2147483647 h 442"/>
              <a:gd name="T32" fmla="*/ 2147483647 w 940"/>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0"/>
              <a:gd name="T52" fmla="*/ 0 h 442"/>
              <a:gd name="T53" fmla="*/ 940 w 940"/>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0" h="442">
                <a:moveTo>
                  <a:pt x="935" y="197"/>
                </a:moveTo>
                <a:cubicBezTo>
                  <a:pt x="850" y="21"/>
                  <a:pt x="850" y="21"/>
                  <a:pt x="850" y="21"/>
                </a:cubicBezTo>
                <a:cubicBezTo>
                  <a:pt x="850" y="21"/>
                  <a:pt x="840" y="0"/>
                  <a:pt x="824" y="0"/>
                </a:cubicBezTo>
                <a:cubicBezTo>
                  <a:pt x="21" y="0"/>
                  <a:pt x="21" y="0"/>
                  <a:pt x="21" y="0"/>
                </a:cubicBezTo>
                <a:cubicBezTo>
                  <a:pt x="9" y="0"/>
                  <a:pt x="0" y="9"/>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5"/>
                  <a:pt x="1" y="415"/>
                  <a:pt x="1" y="415"/>
                </a:cubicBezTo>
                <a:cubicBezTo>
                  <a:pt x="0" y="418"/>
                  <a:pt x="0" y="421"/>
                  <a:pt x="0" y="421"/>
                </a:cubicBezTo>
                <a:cubicBezTo>
                  <a:pt x="0" y="432"/>
                  <a:pt x="9" y="442"/>
                  <a:pt x="21" y="442"/>
                </a:cubicBezTo>
                <a:cubicBezTo>
                  <a:pt x="824" y="442"/>
                  <a:pt x="824" y="442"/>
                  <a:pt x="824" y="442"/>
                </a:cubicBezTo>
                <a:cubicBezTo>
                  <a:pt x="840" y="442"/>
                  <a:pt x="850" y="420"/>
                  <a:pt x="850" y="420"/>
                </a:cubicBezTo>
                <a:cubicBezTo>
                  <a:pt x="935" y="245"/>
                  <a:pt x="935" y="245"/>
                  <a:pt x="935" y="245"/>
                </a:cubicBezTo>
                <a:cubicBezTo>
                  <a:pt x="935" y="245"/>
                  <a:pt x="940" y="235"/>
                  <a:pt x="940" y="221"/>
                </a:cubicBezTo>
                <a:cubicBezTo>
                  <a:pt x="940" y="207"/>
                  <a:pt x="935" y="197"/>
                  <a:pt x="935" y="197"/>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400050" eaLnBrk="1" hangingPunct="1">
              <a:spcBef>
                <a:spcPct val="50000"/>
              </a:spcBef>
              <a:buClrTx/>
              <a:buNone/>
            </a:pPr>
            <a:r>
              <a:rPr lang="en-US" sz="1200">
                <a:solidFill>
                  <a:schemeClr val="bg1"/>
                </a:solidFill>
              </a:rPr>
              <a:t>Connectivity and Infrastructure Provisioning</a:t>
            </a:r>
          </a:p>
        </p:txBody>
      </p:sp>
      <p:sp>
        <p:nvSpPr>
          <p:cNvPr id="5" name="Freeform 12"/>
          <p:cNvSpPr>
            <a:spLocks noChangeAspect="1"/>
          </p:cNvSpPr>
          <p:nvPr/>
        </p:nvSpPr>
        <p:spPr bwMode="auto">
          <a:xfrm>
            <a:off x="4974270" y="2329055"/>
            <a:ext cx="2182684" cy="642495"/>
          </a:xfrm>
          <a:custGeom>
            <a:avLst/>
            <a:gdLst>
              <a:gd name="T0" fmla="*/ 2147483647 w 940"/>
              <a:gd name="T1" fmla="*/ 2147483647 h 442"/>
              <a:gd name="T2" fmla="*/ 2147483647 w 940"/>
              <a:gd name="T3" fmla="*/ 2147483647 h 442"/>
              <a:gd name="T4" fmla="*/ 2147483647 w 940"/>
              <a:gd name="T5" fmla="*/ 0 h 442"/>
              <a:gd name="T6" fmla="*/ 2147483647 w 940"/>
              <a:gd name="T7" fmla="*/ 0 h 442"/>
              <a:gd name="T8" fmla="*/ 0 w 940"/>
              <a:gd name="T9" fmla="*/ 2147483647 h 442"/>
              <a:gd name="T10" fmla="*/ 2147483647 w 940"/>
              <a:gd name="T11" fmla="*/ 2147483647 h 442"/>
              <a:gd name="T12" fmla="*/ 2147483647 w 940"/>
              <a:gd name="T13" fmla="*/ 2147483647 h 442"/>
              <a:gd name="T14" fmla="*/ 2147483647 w 940"/>
              <a:gd name="T15" fmla="*/ 2147483647 h 442"/>
              <a:gd name="T16" fmla="*/ 2147483647 w 940"/>
              <a:gd name="T17" fmla="*/ 2147483647 h 442"/>
              <a:gd name="T18" fmla="*/ 2147483647 w 940"/>
              <a:gd name="T19" fmla="*/ 2147483647 h 442"/>
              <a:gd name="T20" fmla="*/ 0 w 940"/>
              <a:gd name="T21" fmla="*/ 2147483647 h 442"/>
              <a:gd name="T22" fmla="*/ 2147483647 w 940"/>
              <a:gd name="T23" fmla="*/ 2147483647 h 442"/>
              <a:gd name="T24" fmla="*/ 2147483647 w 940"/>
              <a:gd name="T25" fmla="*/ 2147483647 h 442"/>
              <a:gd name="T26" fmla="*/ 2147483647 w 940"/>
              <a:gd name="T27" fmla="*/ 2147483647 h 442"/>
              <a:gd name="T28" fmla="*/ 2147483647 w 940"/>
              <a:gd name="T29" fmla="*/ 2147483647 h 442"/>
              <a:gd name="T30" fmla="*/ 2147483647 w 940"/>
              <a:gd name="T31" fmla="*/ 2147483647 h 442"/>
              <a:gd name="T32" fmla="*/ 2147483647 w 940"/>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0"/>
              <a:gd name="T52" fmla="*/ 0 h 442"/>
              <a:gd name="T53" fmla="*/ 940 w 940"/>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0" h="442">
                <a:moveTo>
                  <a:pt x="935" y="197"/>
                </a:moveTo>
                <a:cubicBezTo>
                  <a:pt x="850" y="21"/>
                  <a:pt x="850" y="21"/>
                  <a:pt x="850" y="21"/>
                </a:cubicBezTo>
                <a:cubicBezTo>
                  <a:pt x="850" y="21"/>
                  <a:pt x="840" y="0"/>
                  <a:pt x="824" y="0"/>
                </a:cubicBezTo>
                <a:cubicBezTo>
                  <a:pt x="21" y="0"/>
                  <a:pt x="21" y="0"/>
                  <a:pt x="21" y="0"/>
                </a:cubicBezTo>
                <a:cubicBezTo>
                  <a:pt x="9" y="0"/>
                  <a:pt x="0" y="9"/>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5"/>
                  <a:pt x="1" y="415"/>
                  <a:pt x="1" y="415"/>
                </a:cubicBezTo>
                <a:cubicBezTo>
                  <a:pt x="0" y="418"/>
                  <a:pt x="0" y="421"/>
                  <a:pt x="0" y="421"/>
                </a:cubicBezTo>
                <a:cubicBezTo>
                  <a:pt x="0" y="432"/>
                  <a:pt x="9" y="442"/>
                  <a:pt x="21" y="442"/>
                </a:cubicBezTo>
                <a:cubicBezTo>
                  <a:pt x="824" y="442"/>
                  <a:pt x="824" y="442"/>
                  <a:pt x="824" y="442"/>
                </a:cubicBezTo>
                <a:cubicBezTo>
                  <a:pt x="840" y="442"/>
                  <a:pt x="850" y="420"/>
                  <a:pt x="850" y="420"/>
                </a:cubicBezTo>
                <a:cubicBezTo>
                  <a:pt x="935" y="245"/>
                  <a:pt x="935" y="245"/>
                  <a:pt x="935" y="245"/>
                </a:cubicBezTo>
                <a:cubicBezTo>
                  <a:pt x="935" y="245"/>
                  <a:pt x="940" y="235"/>
                  <a:pt x="940" y="221"/>
                </a:cubicBezTo>
                <a:cubicBezTo>
                  <a:pt x="940" y="207"/>
                  <a:pt x="935" y="197"/>
                  <a:pt x="935" y="197"/>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400050" eaLnBrk="1" hangingPunct="1">
              <a:spcBef>
                <a:spcPct val="50000"/>
              </a:spcBef>
              <a:buClrTx/>
              <a:buNone/>
            </a:pPr>
            <a:r>
              <a:rPr lang="en-US" sz="1200">
                <a:solidFill>
                  <a:schemeClr val="bg1"/>
                </a:solidFill>
              </a:rPr>
              <a:t>Service Enablement</a:t>
            </a:r>
            <a:endParaRPr lang="en-US" sz="1200" dirty="0">
              <a:solidFill>
                <a:schemeClr val="bg1"/>
              </a:solidFill>
            </a:endParaRPr>
          </a:p>
        </p:txBody>
      </p:sp>
      <p:sp>
        <p:nvSpPr>
          <p:cNvPr id="6" name="Freeform 12"/>
          <p:cNvSpPr>
            <a:spLocks noChangeAspect="1"/>
          </p:cNvSpPr>
          <p:nvPr/>
        </p:nvSpPr>
        <p:spPr bwMode="auto">
          <a:xfrm>
            <a:off x="7024259" y="2329055"/>
            <a:ext cx="2182684" cy="642495"/>
          </a:xfrm>
          <a:custGeom>
            <a:avLst/>
            <a:gdLst>
              <a:gd name="T0" fmla="*/ 2147483647 w 940"/>
              <a:gd name="T1" fmla="*/ 2147483647 h 442"/>
              <a:gd name="T2" fmla="*/ 2147483647 w 940"/>
              <a:gd name="T3" fmla="*/ 2147483647 h 442"/>
              <a:gd name="T4" fmla="*/ 2147483647 w 940"/>
              <a:gd name="T5" fmla="*/ 0 h 442"/>
              <a:gd name="T6" fmla="*/ 2147483647 w 940"/>
              <a:gd name="T7" fmla="*/ 0 h 442"/>
              <a:gd name="T8" fmla="*/ 0 w 940"/>
              <a:gd name="T9" fmla="*/ 2147483647 h 442"/>
              <a:gd name="T10" fmla="*/ 2147483647 w 940"/>
              <a:gd name="T11" fmla="*/ 2147483647 h 442"/>
              <a:gd name="T12" fmla="*/ 2147483647 w 940"/>
              <a:gd name="T13" fmla="*/ 2147483647 h 442"/>
              <a:gd name="T14" fmla="*/ 2147483647 w 940"/>
              <a:gd name="T15" fmla="*/ 2147483647 h 442"/>
              <a:gd name="T16" fmla="*/ 2147483647 w 940"/>
              <a:gd name="T17" fmla="*/ 2147483647 h 442"/>
              <a:gd name="T18" fmla="*/ 2147483647 w 940"/>
              <a:gd name="T19" fmla="*/ 2147483647 h 442"/>
              <a:gd name="T20" fmla="*/ 0 w 940"/>
              <a:gd name="T21" fmla="*/ 2147483647 h 442"/>
              <a:gd name="T22" fmla="*/ 2147483647 w 940"/>
              <a:gd name="T23" fmla="*/ 2147483647 h 442"/>
              <a:gd name="T24" fmla="*/ 2147483647 w 940"/>
              <a:gd name="T25" fmla="*/ 2147483647 h 442"/>
              <a:gd name="T26" fmla="*/ 2147483647 w 940"/>
              <a:gd name="T27" fmla="*/ 2147483647 h 442"/>
              <a:gd name="T28" fmla="*/ 2147483647 w 940"/>
              <a:gd name="T29" fmla="*/ 2147483647 h 442"/>
              <a:gd name="T30" fmla="*/ 2147483647 w 940"/>
              <a:gd name="T31" fmla="*/ 2147483647 h 442"/>
              <a:gd name="T32" fmla="*/ 2147483647 w 940"/>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0"/>
              <a:gd name="T52" fmla="*/ 0 h 442"/>
              <a:gd name="T53" fmla="*/ 940 w 940"/>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0" h="442">
                <a:moveTo>
                  <a:pt x="935" y="197"/>
                </a:moveTo>
                <a:cubicBezTo>
                  <a:pt x="850" y="21"/>
                  <a:pt x="850" y="21"/>
                  <a:pt x="850" y="21"/>
                </a:cubicBezTo>
                <a:cubicBezTo>
                  <a:pt x="850" y="21"/>
                  <a:pt x="840" y="0"/>
                  <a:pt x="824" y="0"/>
                </a:cubicBezTo>
                <a:cubicBezTo>
                  <a:pt x="21" y="0"/>
                  <a:pt x="21" y="0"/>
                  <a:pt x="21" y="0"/>
                </a:cubicBezTo>
                <a:cubicBezTo>
                  <a:pt x="9" y="0"/>
                  <a:pt x="0" y="9"/>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5"/>
                  <a:pt x="1" y="415"/>
                  <a:pt x="1" y="415"/>
                </a:cubicBezTo>
                <a:cubicBezTo>
                  <a:pt x="0" y="418"/>
                  <a:pt x="0" y="421"/>
                  <a:pt x="0" y="421"/>
                </a:cubicBezTo>
                <a:cubicBezTo>
                  <a:pt x="0" y="432"/>
                  <a:pt x="9" y="442"/>
                  <a:pt x="21" y="442"/>
                </a:cubicBezTo>
                <a:cubicBezTo>
                  <a:pt x="824" y="442"/>
                  <a:pt x="824" y="442"/>
                  <a:pt x="824" y="442"/>
                </a:cubicBezTo>
                <a:cubicBezTo>
                  <a:pt x="840" y="442"/>
                  <a:pt x="850" y="420"/>
                  <a:pt x="850" y="420"/>
                </a:cubicBezTo>
                <a:cubicBezTo>
                  <a:pt x="935" y="245"/>
                  <a:pt x="935" y="245"/>
                  <a:pt x="935" y="245"/>
                </a:cubicBezTo>
                <a:cubicBezTo>
                  <a:pt x="935" y="245"/>
                  <a:pt x="940" y="235"/>
                  <a:pt x="940" y="221"/>
                </a:cubicBezTo>
                <a:cubicBezTo>
                  <a:pt x="940" y="207"/>
                  <a:pt x="935" y="197"/>
                  <a:pt x="935" y="197"/>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400050" eaLnBrk="1" hangingPunct="1">
              <a:spcBef>
                <a:spcPct val="50000"/>
              </a:spcBef>
              <a:buClrTx/>
              <a:buNone/>
            </a:pPr>
            <a:r>
              <a:rPr lang="en-US" sz="1200">
                <a:solidFill>
                  <a:schemeClr val="bg1"/>
                </a:solidFill>
              </a:rPr>
              <a:t>Application &amp; service provisioning</a:t>
            </a:r>
            <a:endParaRPr lang="en-US" sz="1200" dirty="0">
              <a:solidFill>
                <a:schemeClr val="bg1"/>
              </a:solidFill>
            </a:endParaRPr>
          </a:p>
        </p:txBody>
      </p:sp>
      <p:sp>
        <p:nvSpPr>
          <p:cNvPr id="7" name="Freeform 95"/>
          <p:cNvSpPr>
            <a:spLocks noChangeAspect="1"/>
          </p:cNvSpPr>
          <p:nvPr/>
        </p:nvSpPr>
        <p:spPr bwMode="auto">
          <a:xfrm>
            <a:off x="3194931" y="1950737"/>
            <a:ext cx="5684520" cy="321858"/>
          </a:xfrm>
          <a:custGeom>
            <a:avLst/>
            <a:gdLst>
              <a:gd name="T0" fmla="*/ 2147483647 w 1467"/>
              <a:gd name="T1" fmla="*/ 2147483647 h 154"/>
              <a:gd name="T2" fmla="*/ 2147483647 w 1467"/>
              <a:gd name="T3" fmla="*/ 0 h 154"/>
              <a:gd name="T4" fmla="*/ 2147483647 w 1467"/>
              <a:gd name="T5" fmla="*/ 0 h 154"/>
              <a:gd name="T6" fmla="*/ 2147483647 w 1467"/>
              <a:gd name="T7" fmla="*/ 0 h 154"/>
              <a:gd name="T8" fmla="*/ 2147483647 w 1467"/>
              <a:gd name="T9" fmla="*/ 2147483647 h 154"/>
              <a:gd name="T10" fmla="*/ 0 w 1467"/>
              <a:gd name="T11" fmla="*/ 2147483647 h 154"/>
              <a:gd name="T12" fmla="*/ 0 w 1467"/>
              <a:gd name="T13" fmla="*/ 2147483647 h 154"/>
              <a:gd name="T14" fmla="*/ 2147483647 w 1467"/>
              <a:gd name="T15" fmla="*/ 2147483647 h 154"/>
              <a:gd name="T16" fmla="*/ 2147483647 w 1467"/>
              <a:gd name="T17" fmla="*/ 2147483647 h 154"/>
              <a:gd name="T18" fmla="*/ 2147483647 w 1467"/>
              <a:gd name="T19" fmla="*/ 2147483647 h 154"/>
              <a:gd name="T20" fmla="*/ 2147483647 w 1467"/>
              <a:gd name="T21" fmla="*/ 2147483647 h 154"/>
              <a:gd name="T22" fmla="*/ 2147483647 w 1467"/>
              <a:gd name="T23" fmla="*/ 2147483647 h 1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67"/>
              <a:gd name="T37" fmla="*/ 0 h 154"/>
              <a:gd name="T38" fmla="*/ 1467 w 1467"/>
              <a:gd name="T39" fmla="*/ 154 h 1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67" h="154">
                <a:moveTo>
                  <a:pt x="1446" y="95"/>
                </a:moveTo>
                <a:cubicBezTo>
                  <a:pt x="746" y="0"/>
                  <a:pt x="746" y="0"/>
                  <a:pt x="746" y="0"/>
                </a:cubicBezTo>
                <a:cubicBezTo>
                  <a:pt x="746" y="0"/>
                  <a:pt x="741" y="0"/>
                  <a:pt x="734" y="0"/>
                </a:cubicBezTo>
                <a:cubicBezTo>
                  <a:pt x="726" y="0"/>
                  <a:pt x="721" y="0"/>
                  <a:pt x="721" y="0"/>
                </a:cubicBezTo>
                <a:cubicBezTo>
                  <a:pt x="21" y="95"/>
                  <a:pt x="21" y="95"/>
                  <a:pt x="21" y="95"/>
                </a:cubicBezTo>
                <a:cubicBezTo>
                  <a:pt x="21" y="95"/>
                  <a:pt x="0" y="98"/>
                  <a:pt x="0" y="116"/>
                </a:cubicBezTo>
                <a:cubicBezTo>
                  <a:pt x="0" y="123"/>
                  <a:pt x="0" y="119"/>
                  <a:pt x="0" y="133"/>
                </a:cubicBezTo>
                <a:cubicBezTo>
                  <a:pt x="0" y="145"/>
                  <a:pt x="10" y="154"/>
                  <a:pt x="21" y="154"/>
                </a:cubicBezTo>
                <a:cubicBezTo>
                  <a:pt x="1446" y="154"/>
                  <a:pt x="1446" y="154"/>
                  <a:pt x="1446" y="154"/>
                </a:cubicBezTo>
                <a:cubicBezTo>
                  <a:pt x="1458" y="154"/>
                  <a:pt x="1467" y="145"/>
                  <a:pt x="1467" y="133"/>
                </a:cubicBezTo>
                <a:cubicBezTo>
                  <a:pt x="1467" y="118"/>
                  <a:pt x="1467" y="123"/>
                  <a:pt x="1467" y="116"/>
                </a:cubicBezTo>
                <a:cubicBezTo>
                  <a:pt x="1467" y="98"/>
                  <a:pt x="1446" y="95"/>
                  <a:pt x="1446" y="95"/>
                </a:cubicBezTo>
                <a:close/>
              </a:path>
            </a:pathLst>
          </a:custGeom>
          <a:solidFill>
            <a:srgbClr val="D5E4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endParaRPr lang="en-US" altLang="en-US" sz="2000">
              <a:ea typeface="ＭＳ Ｐゴシック" pitchFamily="34" charset="-128"/>
              <a:cs typeface="ＭＳ Ｐゴシック" pitchFamily="34" charset="-128"/>
            </a:endParaRPr>
          </a:p>
        </p:txBody>
      </p:sp>
      <p:sp>
        <p:nvSpPr>
          <p:cNvPr id="8" name="Text Placeholder 19"/>
          <p:cNvSpPr>
            <a:spLocks noGrp="1"/>
          </p:cNvSpPr>
          <p:nvPr>
            <p:ph type="body" sz="quarter" idx="4294967295"/>
          </p:nvPr>
        </p:nvSpPr>
        <p:spPr>
          <a:xfrm>
            <a:off x="402374" y="6053884"/>
            <a:ext cx="11135785" cy="356618"/>
          </a:xfrm>
          <a:prstGeom prst="rect">
            <a:avLst/>
          </a:prstGeom>
        </p:spPr>
        <p:txBody>
          <a:bodyPr/>
          <a:lstStyle/>
          <a:p>
            <a:r>
              <a:rPr lang="en-US" sz="900" dirty="0"/>
              <a:t>Source: Ericsson segmentation model, Arthur D. Little smart market model</a:t>
            </a:r>
          </a:p>
          <a:p>
            <a:r>
              <a:rPr lang="en-US" sz="900" dirty="0"/>
              <a:t>Note: The total addressable market for operator role Service creator is the total operator addressable market</a:t>
            </a:r>
          </a:p>
        </p:txBody>
      </p:sp>
      <p:sp>
        <p:nvSpPr>
          <p:cNvPr id="9" name="TextBox 8"/>
          <p:cNvSpPr txBox="1"/>
          <p:nvPr/>
        </p:nvSpPr>
        <p:spPr>
          <a:xfrm>
            <a:off x="524936" y="4125066"/>
            <a:ext cx="2131179" cy="513668"/>
          </a:xfrm>
          <a:prstGeom prst="rect">
            <a:avLst/>
          </a:prstGeom>
          <a:noFill/>
        </p:spPr>
        <p:txBody>
          <a:bodyPr wrap="square" lIns="0" rIns="0" rtlCol="0" anchor="ctr">
            <a:noAutofit/>
          </a:bodyPr>
          <a:lstStyle/>
          <a:p>
            <a:pPr algn="r"/>
            <a:r>
              <a:rPr lang="en-US" sz="1200" dirty="0"/>
              <a:t>Operator addressable market for role Network developer</a:t>
            </a:r>
          </a:p>
        </p:txBody>
      </p:sp>
      <p:sp>
        <p:nvSpPr>
          <p:cNvPr id="10" name="TextBox 9"/>
          <p:cNvSpPr txBox="1"/>
          <p:nvPr/>
        </p:nvSpPr>
        <p:spPr>
          <a:xfrm>
            <a:off x="524936" y="4733456"/>
            <a:ext cx="2131179" cy="513668"/>
          </a:xfrm>
          <a:prstGeom prst="rect">
            <a:avLst/>
          </a:prstGeom>
          <a:noFill/>
        </p:spPr>
        <p:txBody>
          <a:bodyPr wrap="square" lIns="0" rIns="0" rtlCol="0" anchor="ctr">
            <a:noAutofit/>
          </a:bodyPr>
          <a:lstStyle/>
          <a:p>
            <a:pPr algn="r"/>
            <a:r>
              <a:rPr lang="en-US" sz="1200" dirty="0"/>
              <a:t>Operator addressable market for role Service enabler</a:t>
            </a:r>
          </a:p>
        </p:txBody>
      </p:sp>
      <p:sp>
        <p:nvSpPr>
          <p:cNvPr id="11" name="TextBox 10"/>
          <p:cNvSpPr txBox="1"/>
          <p:nvPr/>
        </p:nvSpPr>
        <p:spPr>
          <a:xfrm>
            <a:off x="524936" y="5314353"/>
            <a:ext cx="2131179" cy="513668"/>
          </a:xfrm>
          <a:prstGeom prst="rect">
            <a:avLst/>
          </a:prstGeom>
          <a:noFill/>
        </p:spPr>
        <p:txBody>
          <a:bodyPr wrap="square" lIns="0" rIns="0" rtlCol="0" anchor="ctr">
            <a:noAutofit/>
          </a:bodyPr>
          <a:lstStyle/>
          <a:p>
            <a:pPr algn="r"/>
            <a:r>
              <a:rPr lang="en-US" sz="1200" dirty="0"/>
              <a:t>Operator addressable market for role Service creator</a:t>
            </a:r>
          </a:p>
        </p:txBody>
      </p:sp>
      <p:sp>
        <p:nvSpPr>
          <p:cNvPr id="12" name="TextBox 11"/>
          <p:cNvSpPr txBox="1"/>
          <p:nvPr/>
        </p:nvSpPr>
        <p:spPr>
          <a:xfrm rot="5400000">
            <a:off x="10627642" y="4821117"/>
            <a:ext cx="1673870" cy="380788"/>
          </a:xfrm>
          <a:prstGeom prst="rect">
            <a:avLst/>
          </a:prstGeom>
          <a:noFill/>
        </p:spPr>
        <p:txBody>
          <a:bodyPr wrap="square" lIns="0" rIns="0" rtlCol="0" anchor="ctr">
            <a:noAutofit/>
          </a:bodyPr>
          <a:lstStyle/>
          <a:p>
            <a:pPr algn="ctr"/>
            <a:r>
              <a:rPr lang="en-US" sz="1200" dirty="0"/>
              <a:t>Sum of addressable 5G revenue per operator role</a:t>
            </a:r>
          </a:p>
        </p:txBody>
      </p:sp>
      <p:sp>
        <p:nvSpPr>
          <p:cNvPr id="13" name="Rounded Rectangle 49"/>
          <p:cNvSpPr/>
          <p:nvPr/>
        </p:nvSpPr>
        <p:spPr bwMode="auto">
          <a:xfrm>
            <a:off x="9377265" y="4150046"/>
            <a:ext cx="1672501" cy="437464"/>
          </a:xfrm>
          <a:prstGeom prst="roundRect">
            <a:avLst>
              <a:gd name="adj" fmla="val 11224"/>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2"/>
                </a:solidFill>
                <a:prstDash val="solid"/>
                <a:round/>
                <a:headEnd type="none" w="med" len="med"/>
                <a:tailEnd type="none" w="med" len="med"/>
              </a14:hiddenLine>
            </a:ext>
          </a:extLst>
        </p:spPr>
        <p:txBody>
          <a:bodyPr vert="horz" wrap="none" lIns="72000" tIns="45720" rIns="72000" bIns="45720" numCol="1" rtlCol="0" anchor="ctr" anchorCtr="0" compatLnSpc="1">
            <a:prstTxWarp prst="textNoShape">
              <a:avLst/>
            </a:prstTxWarp>
          </a:bodyPr>
          <a:lstStyle/>
          <a:p>
            <a:pPr algn="ctr"/>
            <a:r>
              <a:rPr lang="en-US" sz="1600">
                <a:solidFill>
                  <a:srgbClr val="FFFFFF"/>
                </a:solidFill>
              </a:rPr>
              <a:t>193 </a:t>
            </a:r>
            <a:r>
              <a:rPr lang="en-US" sz="1600" dirty="0">
                <a:solidFill>
                  <a:srgbClr val="FFFFFF"/>
                </a:solidFill>
              </a:rPr>
              <a:t>$</a:t>
            </a:r>
            <a:r>
              <a:rPr lang="en-US" sz="1600" dirty="0" err="1">
                <a:solidFill>
                  <a:srgbClr val="FFFFFF"/>
                </a:solidFill>
              </a:rPr>
              <a:t>bn</a:t>
            </a:r>
            <a:endParaRPr lang="en-US" sz="1600" dirty="0">
              <a:solidFill>
                <a:srgbClr val="FFFFFF"/>
              </a:solidFill>
            </a:endParaRPr>
          </a:p>
        </p:txBody>
      </p:sp>
      <p:sp>
        <p:nvSpPr>
          <p:cNvPr id="14" name="Rounded Rectangle 50"/>
          <p:cNvSpPr/>
          <p:nvPr/>
        </p:nvSpPr>
        <p:spPr bwMode="auto">
          <a:xfrm>
            <a:off x="9377264" y="4757813"/>
            <a:ext cx="1672501" cy="437464"/>
          </a:xfrm>
          <a:prstGeom prst="roundRect">
            <a:avLst>
              <a:gd name="adj" fmla="val 13401"/>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2"/>
                </a:solidFill>
                <a:prstDash val="solid"/>
                <a:round/>
                <a:headEnd type="none" w="med" len="med"/>
                <a:tailEnd type="none" w="med" len="med"/>
              </a14:hiddenLine>
            </a:ext>
          </a:extLst>
        </p:spPr>
        <p:txBody>
          <a:bodyPr vert="horz" wrap="none" lIns="72000" tIns="45720" rIns="72000" bIns="45720" numCol="1" rtlCol="0" anchor="ctr" anchorCtr="0" compatLnSpc="1">
            <a:prstTxWarp prst="textNoShape">
              <a:avLst/>
            </a:prstTxWarp>
          </a:bodyPr>
          <a:lstStyle/>
          <a:p>
            <a:pPr algn="ctr"/>
            <a:r>
              <a:rPr lang="en-US" sz="1600">
                <a:solidFill>
                  <a:srgbClr val="FFFFFF"/>
                </a:solidFill>
              </a:rPr>
              <a:t>507 </a:t>
            </a:r>
            <a:r>
              <a:rPr lang="en-US" sz="1600" dirty="0">
                <a:solidFill>
                  <a:srgbClr val="FFFFFF"/>
                </a:solidFill>
              </a:rPr>
              <a:t>$</a:t>
            </a:r>
            <a:r>
              <a:rPr lang="en-US" sz="1600" dirty="0" err="1">
                <a:solidFill>
                  <a:srgbClr val="FFFFFF"/>
                </a:solidFill>
              </a:rPr>
              <a:t>bn</a:t>
            </a:r>
            <a:endParaRPr lang="en-US" sz="1600" dirty="0">
              <a:solidFill>
                <a:srgbClr val="FFFFFF"/>
              </a:solidFill>
            </a:endParaRPr>
          </a:p>
        </p:txBody>
      </p:sp>
      <p:sp>
        <p:nvSpPr>
          <p:cNvPr id="15" name="Rounded Rectangle 51"/>
          <p:cNvSpPr/>
          <p:nvPr/>
        </p:nvSpPr>
        <p:spPr bwMode="auto">
          <a:xfrm>
            <a:off x="9377265" y="5352456"/>
            <a:ext cx="1672501" cy="437464"/>
          </a:xfrm>
          <a:prstGeom prst="roundRect">
            <a:avLst>
              <a:gd name="adj" fmla="val 11224"/>
            </a:avLst>
          </a:prstGeom>
          <a:solidFill>
            <a:srgbClr val="89BA17"/>
          </a:solidFill>
          <a:ln w="38100" cap="flat" cmpd="sng" algn="ctr">
            <a:solidFill>
              <a:srgbClr val="FF0000"/>
            </a:solidFill>
            <a:prstDash val="solid"/>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600" b="1">
                <a:solidFill>
                  <a:srgbClr val="FFFFFF"/>
                </a:solidFill>
              </a:rPr>
              <a:t>582 </a:t>
            </a:r>
            <a:r>
              <a:rPr lang="en-US" sz="1600" b="1" dirty="0">
                <a:solidFill>
                  <a:srgbClr val="FFFFFF"/>
                </a:solidFill>
              </a:rPr>
              <a:t>$</a:t>
            </a:r>
            <a:r>
              <a:rPr lang="en-US" sz="1600" b="1" dirty="0" err="1">
                <a:solidFill>
                  <a:srgbClr val="FFFFFF"/>
                </a:solidFill>
              </a:rPr>
              <a:t>bn</a:t>
            </a:r>
            <a:endParaRPr lang="en-US" sz="1600" b="1" dirty="0">
              <a:solidFill>
                <a:srgbClr val="FFFFFF"/>
              </a:solidFill>
            </a:endParaRPr>
          </a:p>
        </p:txBody>
      </p:sp>
      <p:sp>
        <p:nvSpPr>
          <p:cNvPr id="16" name="Rounded Rectangle 23"/>
          <p:cNvSpPr/>
          <p:nvPr/>
        </p:nvSpPr>
        <p:spPr bwMode="auto">
          <a:xfrm>
            <a:off x="2735421" y="4163168"/>
            <a:ext cx="2079942" cy="437464"/>
          </a:xfrm>
          <a:prstGeom prst="roundRect">
            <a:avLst>
              <a:gd name="adj" fmla="val 10861"/>
            </a:avLst>
          </a:prstGeom>
          <a:solidFill>
            <a:srgbClr val="00285F"/>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endParaRPr lang="en-US" sz="1800" dirty="0">
              <a:solidFill>
                <a:schemeClr val="bg1"/>
              </a:solidFill>
            </a:endParaRPr>
          </a:p>
        </p:txBody>
      </p:sp>
      <p:sp>
        <p:nvSpPr>
          <p:cNvPr id="17" name="TextBox 16"/>
          <p:cNvSpPr txBox="1"/>
          <p:nvPr/>
        </p:nvSpPr>
        <p:spPr>
          <a:xfrm>
            <a:off x="3286371" y="4236014"/>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p>
            <a:pPr algn="ctr"/>
            <a:r>
              <a:rPr lang="en-US" sz="1600">
                <a:solidFill>
                  <a:srgbClr val="FFFFFF"/>
                </a:solidFill>
              </a:rPr>
              <a:t>193 </a:t>
            </a:r>
            <a:r>
              <a:rPr lang="en-US" sz="1600" dirty="0">
                <a:solidFill>
                  <a:srgbClr val="FFFFFF"/>
                </a:solidFill>
              </a:rPr>
              <a:t>$</a:t>
            </a:r>
            <a:r>
              <a:rPr lang="en-US" sz="1600" dirty="0" err="1">
                <a:solidFill>
                  <a:srgbClr val="FFFFFF"/>
                </a:solidFill>
              </a:rPr>
              <a:t>bn</a:t>
            </a:r>
            <a:endParaRPr lang="en-US" sz="1600" dirty="0">
              <a:solidFill>
                <a:srgbClr val="FFFFFF"/>
              </a:solidFill>
            </a:endParaRPr>
          </a:p>
        </p:txBody>
      </p:sp>
      <p:sp>
        <p:nvSpPr>
          <p:cNvPr id="18" name="Rounded Rectangle 25"/>
          <p:cNvSpPr/>
          <p:nvPr/>
        </p:nvSpPr>
        <p:spPr bwMode="auto">
          <a:xfrm>
            <a:off x="2735421" y="4771558"/>
            <a:ext cx="4312368" cy="437464"/>
          </a:xfrm>
          <a:prstGeom prst="roundRect">
            <a:avLst>
              <a:gd name="adj" fmla="val 11587"/>
            </a:avLst>
          </a:prstGeom>
          <a:solidFill>
            <a:srgbClr val="007B78"/>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endParaRPr lang="en-US" sz="1800" dirty="0">
              <a:solidFill>
                <a:schemeClr val="bg1"/>
              </a:solidFill>
            </a:endParaRPr>
          </a:p>
        </p:txBody>
      </p:sp>
      <p:sp>
        <p:nvSpPr>
          <p:cNvPr id="19" name="TextBox 18"/>
          <p:cNvSpPr txBox="1"/>
          <p:nvPr/>
        </p:nvSpPr>
        <p:spPr>
          <a:xfrm>
            <a:off x="3389650" y="4840494"/>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defPPr>
              <a:defRPr lang="en-GB"/>
            </a:defPPr>
            <a:lvl1pPr algn="ctr">
              <a:defRPr sz="1600">
                <a:solidFill>
                  <a:srgbClr val="FFFFFF"/>
                </a:solidFill>
              </a:defRPr>
            </a:lvl1pPr>
          </a:lstStyle>
          <a:p>
            <a:r>
              <a:rPr lang="en-US"/>
              <a:t>193 </a:t>
            </a:r>
            <a:r>
              <a:rPr lang="en-US" dirty="0"/>
              <a:t>$</a:t>
            </a:r>
            <a:r>
              <a:rPr lang="en-US" dirty="0" err="1"/>
              <a:t>bn</a:t>
            </a:r>
            <a:endParaRPr lang="en-US" dirty="0"/>
          </a:p>
        </p:txBody>
      </p:sp>
      <p:sp>
        <p:nvSpPr>
          <p:cNvPr id="20" name="TextBox 19"/>
          <p:cNvSpPr txBox="1"/>
          <p:nvPr/>
        </p:nvSpPr>
        <p:spPr>
          <a:xfrm>
            <a:off x="5548565" y="4840494"/>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defPPr>
              <a:defRPr lang="en-GB"/>
            </a:defPPr>
            <a:lvl1pPr algn="ctr">
              <a:defRPr sz="1600">
                <a:solidFill>
                  <a:srgbClr val="FFFFFF"/>
                </a:solidFill>
              </a:defRPr>
            </a:lvl1pPr>
          </a:lstStyle>
          <a:p>
            <a:r>
              <a:rPr lang="en-US"/>
              <a:t>315 </a:t>
            </a:r>
            <a:r>
              <a:rPr lang="en-US" dirty="0"/>
              <a:t>$</a:t>
            </a:r>
            <a:r>
              <a:rPr lang="en-US" dirty="0" err="1"/>
              <a:t>bn</a:t>
            </a:r>
            <a:endParaRPr lang="en-US" dirty="0"/>
          </a:p>
        </p:txBody>
      </p:sp>
      <p:sp>
        <p:nvSpPr>
          <p:cNvPr id="21" name="Rounded Rectangle 28"/>
          <p:cNvSpPr/>
          <p:nvPr/>
        </p:nvSpPr>
        <p:spPr bwMode="auto">
          <a:xfrm>
            <a:off x="2735421" y="5352455"/>
            <a:ext cx="6316729" cy="437464"/>
          </a:xfrm>
          <a:prstGeom prst="roundRect">
            <a:avLst>
              <a:gd name="adj" fmla="val 10861"/>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endParaRPr lang="en-US" sz="1800" dirty="0">
              <a:solidFill>
                <a:schemeClr val="bg1"/>
              </a:solidFill>
            </a:endParaRPr>
          </a:p>
        </p:txBody>
      </p:sp>
      <p:sp>
        <p:nvSpPr>
          <p:cNvPr id="22" name="TextBox 21"/>
          <p:cNvSpPr txBox="1"/>
          <p:nvPr/>
        </p:nvSpPr>
        <p:spPr>
          <a:xfrm>
            <a:off x="3389650" y="5421391"/>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defPPr>
              <a:defRPr lang="en-GB"/>
            </a:defPPr>
            <a:lvl1pPr algn="ctr">
              <a:defRPr sz="1600">
                <a:solidFill>
                  <a:srgbClr val="FFFFFF"/>
                </a:solidFill>
              </a:defRPr>
            </a:lvl1pPr>
          </a:lstStyle>
          <a:p>
            <a:r>
              <a:rPr lang="en-US"/>
              <a:t>193 </a:t>
            </a:r>
            <a:r>
              <a:rPr lang="en-US" dirty="0"/>
              <a:t>$</a:t>
            </a:r>
            <a:r>
              <a:rPr lang="en-US" dirty="0" err="1"/>
              <a:t>bn</a:t>
            </a:r>
            <a:endParaRPr lang="en-US" dirty="0"/>
          </a:p>
        </p:txBody>
      </p:sp>
      <p:sp>
        <p:nvSpPr>
          <p:cNvPr id="23" name="TextBox 22"/>
          <p:cNvSpPr txBox="1"/>
          <p:nvPr/>
        </p:nvSpPr>
        <p:spPr>
          <a:xfrm>
            <a:off x="5548565" y="5421391"/>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defPPr>
              <a:defRPr lang="en-GB"/>
            </a:defPPr>
            <a:lvl1pPr algn="ctr">
              <a:defRPr sz="1600">
                <a:solidFill>
                  <a:srgbClr val="FFFFFF"/>
                </a:solidFill>
              </a:defRPr>
            </a:lvl1pPr>
          </a:lstStyle>
          <a:p>
            <a:r>
              <a:rPr lang="en-US"/>
              <a:t>315 </a:t>
            </a:r>
            <a:r>
              <a:rPr lang="en-US" dirty="0"/>
              <a:t>$</a:t>
            </a:r>
            <a:r>
              <a:rPr lang="en-US" dirty="0" err="1"/>
              <a:t>bn</a:t>
            </a:r>
            <a:endParaRPr lang="en-US" dirty="0"/>
          </a:p>
        </p:txBody>
      </p:sp>
      <p:sp>
        <p:nvSpPr>
          <p:cNvPr id="24" name="TextBox 23"/>
          <p:cNvSpPr txBox="1"/>
          <p:nvPr/>
        </p:nvSpPr>
        <p:spPr>
          <a:xfrm>
            <a:off x="7707480" y="5421391"/>
            <a:ext cx="978041" cy="299592"/>
          </a:xfrm>
          <a:prstGeom prst="round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2"/>
                </a:solidFill>
              </a14:hiddenLine>
            </a:ext>
          </a:extLst>
        </p:spPr>
        <p:txBody>
          <a:bodyPr wrap="none" rtlCol="0" anchor="ctr">
            <a:noAutofit/>
          </a:bodyPr>
          <a:lstStyle>
            <a:defPPr>
              <a:defRPr lang="en-GB"/>
            </a:defPPr>
            <a:lvl1pPr algn="ctr">
              <a:defRPr sz="1600">
                <a:solidFill>
                  <a:srgbClr val="FFFFFF"/>
                </a:solidFill>
              </a:defRPr>
            </a:lvl1pPr>
          </a:lstStyle>
          <a:p>
            <a:r>
              <a:rPr lang="en-US"/>
              <a:t>74 </a:t>
            </a:r>
            <a:r>
              <a:rPr lang="en-US" dirty="0"/>
              <a:t>$</a:t>
            </a:r>
            <a:r>
              <a:rPr lang="en-US" dirty="0" err="1"/>
              <a:t>bn</a:t>
            </a:r>
            <a:endParaRPr lang="en-US" dirty="0"/>
          </a:p>
        </p:txBody>
      </p:sp>
      <p:sp>
        <p:nvSpPr>
          <p:cNvPr id="25" name="TextBox 24"/>
          <p:cNvSpPr txBox="1"/>
          <p:nvPr/>
        </p:nvSpPr>
        <p:spPr>
          <a:xfrm>
            <a:off x="524935" y="2882037"/>
            <a:ext cx="2131179" cy="513668"/>
          </a:xfrm>
          <a:prstGeom prst="rect">
            <a:avLst/>
          </a:prstGeom>
          <a:noFill/>
        </p:spPr>
        <p:txBody>
          <a:bodyPr wrap="square" lIns="0" rIns="0" rtlCol="0" anchor="ctr">
            <a:noAutofit/>
          </a:bodyPr>
          <a:lstStyle/>
          <a:p>
            <a:pPr algn="r"/>
            <a:r>
              <a:rPr lang="en-US" sz="1200" dirty="0"/>
              <a:t>Total 5G enabled revenue per smart value chain step</a:t>
            </a:r>
          </a:p>
        </p:txBody>
      </p:sp>
      <p:sp>
        <p:nvSpPr>
          <p:cNvPr id="26" name="TextBox 25"/>
          <p:cNvSpPr txBox="1"/>
          <p:nvPr/>
        </p:nvSpPr>
        <p:spPr>
          <a:xfrm>
            <a:off x="524935" y="1450618"/>
            <a:ext cx="2131179" cy="437464"/>
          </a:xfrm>
          <a:prstGeom prst="rect">
            <a:avLst/>
          </a:prstGeom>
          <a:noFill/>
        </p:spPr>
        <p:txBody>
          <a:bodyPr wrap="square" lIns="0" rIns="0" rtlCol="0" anchor="ctr">
            <a:noAutofit/>
          </a:bodyPr>
          <a:lstStyle/>
          <a:p>
            <a:pPr algn="r"/>
            <a:r>
              <a:rPr lang="en-US" sz="1200"/>
              <a:t>Total 5G enabled revenue (2026)</a:t>
            </a:r>
            <a:endParaRPr lang="en-US" sz="1200" dirty="0"/>
          </a:p>
        </p:txBody>
      </p:sp>
      <p:cxnSp>
        <p:nvCxnSpPr>
          <p:cNvPr id="27" name="Straight Connector 26"/>
          <p:cNvCxnSpPr/>
          <p:nvPr/>
        </p:nvCxnSpPr>
        <p:spPr bwMode="auto">
          <a:xfrm>
            <a:off x="611415" y="3803307"/>
            <a:ext cx="10969171" cy="0"/>
          </a:xfrm>
          <a:prstGeom prst="line">
            <a:avLst/>
          </a:prstGeom>
          <a:solidFill>
            <a:schemeClr val="accent1"/>
          </a:solidFill>
          <a:ln w="25400" cap="rnd" cmpd="sng" algn="ctr">
            <a:solidFill>
              <a:schemeClr val="bg2"/>
            </a:solidFill>
            <a:prstDash val="solid"/>
            <a:round/>
            <a:headEnd type="none" w="med" len="med"/>
            <a:tailEnd type="none" w="med" len="med"/>
          </a:ln>
          <a:effectLst/>
        </p:spPr>
      </p:cxnSp>
      <p:sp>
        <p:nvSpPr>
          <p:cNvPr id="28" name="Rounded Rectangle 65"/>
          <p:cNvSpPr/>
          <p:nvPr/>
        </p:nvSpPr>
        <p:spPr bwMode="auto">
          <a:xfrm>
            <a:off x="4997130" y="1471033"/>
            <a:ext cx="1946275" cy="441043"/>
          </a:xfrm>
          <a:prstGeom prst="round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100"/>
              </a:spcBef>
            </a:pPr>
            <a:r>
              <a:rPr lang="en-GB" sz="1600" b="1"/>
              <a:t>1233 </a:t>
            </a:r>
            <a:r>
              <a:rPr lang="en-GB" sz="1600" b="1" dirty="0"/>
              <a:t>$</a:t>
            </a:r>
            <a:r>
              <a:rPr lang="en-GB" sz="1600" b="1" dirty="0" err="1"/>
              <a:t>bn</a:t>
            </a:r>
            <a:endParaRPr lang="en-GB" sz="1600" b="1" dirty="0"/>
          </a:p>
        </p:txBody>
      </p:sp>
      <p:sp>
        <p:nvSpPr>
          <p:cNvPr id="29" name="Rounded Rectangle 66"/>
          <p:cNvSpPr/>
          <p:nvPr/>
        </p:nvSpPr>
        <p:spPr bwMode="auto">
          <a:xfrm>
            <a:off x="2917434" y="2921121"/>
            <a:ext cx="1922473" cy="435500"/>
          </a:xfrm>
          <a:prstGeom prst="round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a:t>217 </a:t>
            </a:r>
            <a:r>
              <a:rPr lang="en-US" sz="1600" dirty="0"/>
              <a:t>$</a:t>
            </a:r>
            <a:r>
              <a:rPr lang="en-US" sz="1600" dirty="0" err="1"/>
              <a:t>bn</a:t>
            </a:r>
            <a:endParaRPr kumimoji="0" lang="en-US" sz="1600" i="0" u="none" strike="noStrike" cap="none" normalizeH="0" baseline="0" dirty="0">
              <a:ln>
                <a:noFill/>
              </a:ln>
              <a:solidFill>
                <a:schemeClr val="tx1"/>
              </a:solidFill>
              <a:effectLst/>
            </a:endParaRPr>
          </a:p>
        </p:txBody>
      </p:sp>
      <p:sp>
        <p:nvSpPr>
          <p:cNvPr id="30" name="Rounded Rectangle 67"/>
          <p:cNvSpPr/>
          <p:nvPr/>
        </p:nvSpPr>
        <p:spPr bwMode="auto">
          <a:xfrm>
            <a:off x="5027381" y="2921121"/>
            <a:ext cx="2020408" cy="435500"/>
          </a:xfrm>
          <a:prstGeom prst="round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vert="horz" wrap="none" lIns="72000" tIns="45720" rIns="72000" bIns="45720" numCol="1" rtlCol="0" anchor="ctr" anchorCtr="0" compatLnSpc="1">
            <a:prstTxWarp prst="textNoShape">
              <a:avLst/>
            </a:prstTxWarp>
          </a:bodyPr>
          <a:lstStyle/>
          <a:p>
            <a:pPr algn="ctr"/>
            <a:r>
              <a:rPr lang="en-US" sz="1600"/>
              <a:t>606 </a:t>
            </a:r>
            <a:r>
              <a:rPr lang="en-US" sz="1600" dirty="0"/>
              <a:t>$</a:t>
            </a:r>
            <a:r>
              <a:rPr lang="en-US" sz="1600" dirty="0" err="1"/>
              <a:t>bn</a:t>
            </a:r>
            <a:endParaRPr kumimoji="0" lang="en-US" sz="1600" i="0" u="none" strike="noStrike" cap="none" normalizeH="0" baseline="0" dirty="0">
              <a:ln>
                <a:noFill/>
              </a:ln>
              <a:solidFill>
                <a:schemeClr val="tx1"/>
              </a:solidFill>
              <a:effectLst/>
            </a:endParaRPr>
          </a:p>
        </p:txBody>
      </p:sp>
      <p:sp>
        <p:nvSpPr>
          <p:cNvPr id="31" name="Rounded Rectangle 69"/>
          <p:cNvSpPr/>
          <p:nvPr/>
        </p:nvSpPr>
        <p:spPr bwMode="auto">
          <a:xfrm>
            <a:off x="7202718" y="2921121"/>
            <a:ext cx="1987565" cy="435500"/>
          </a:xfrm>
          <a:prstGeom prst="round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txBody>
          <a:bodyPr vert="horz" wrap="none" lIns="72000" tIns="45720" rIns="72000" bIns="45720" numCol="1" rtlCol="0" anchor="ctr" anchorCtr="0" compatLnSpc="1">
            <a:prstTxWarp prst="textNoShape">
              <a:avLst/>
            </a:prstTxWarp>
          </a:bodyPr>
          <a:lstStyle/>
          <a:p>
            <a:pPr algn="ctr"/>
            <a:r>
              <a:rPr lang="en-US" sz="1600"/>
              <a:t>410 </a:t>
            </a:r>
            <a:r>
              <a:rPr lang="en-US" sz="1600" dirty="0"/>
              <a:t>$</a:t>
            </a:r>
            <a:r>
              <a:rPr lang="en-US" sz="1600" dirty="0" err="1"/>
              <a:t>bn</a:t>
            </a:r>
            <a:endParaRPr kumimoji="0" lang="en-US" sz="1600" i="0" u="none" strike="noStrike" cap="none" normalizeH="0" baseline="0" dirty="0">
              <a:ln>
                <a:noFill/>
              </a:ln>
              <a:solidFill>
                <a:schemeClr val="tx1"/>
              </a:solidFill>
              <a:effectLst/>
            </a:endParaRPr>
          </a:p>
        </p:txBody>
      </p:sp>
      <p:sp>
        <p:nvSpPr>
          <p:cNvPr id="32" name="Rounded Rectangle 78"/>
          <p:cNvSpPr/>
          <p:nvPr/>
        </p:nvSpPr>
        <p:spPr bwMode="auto">
          <a:xfrm>
            <a:off x="2868226" y="3520079"/>
            <a:ext cx="2020888" cy="251192"/>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a:t>89%</a:t>
            </a:r>
            <a:endParaRPr kumimoji="0" lang="en-US" sz="1600" i="0" u="none" strike="noStrike" cap="none" normalizeH="0" baseline="0" dirty="0">
              <a:ln>
                <a:noFill/>
              </a:ln>
              <a:solidFill>
                <a:schemeClr val="tx1"/>
              </a:solidFill>
              <a:effectLst/>
            </a:endParaRPr>
          </a:p>
        </p:txBody>
      </p:sp>
      <p:sp>
        <p:nvSpPr>
          <p:cNvPr id="33" name="Rounded Rectangle 79"/>
          <p:cNvSpPr/>
          <p:nvPr/>
        </p:nvSpPr>
        <p:spPr bwMode="auto">
          <a:xfrm>
            <a:off x="5027381" y="3520019"/>
            <a:ext cx="2020408" cy="251313"/>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r>
              <a:rPr lang="en-US" sz="1600"/>
              <a:t>52%</a:t>
            </a:r>
            <a:endParaRPr kumimoji="0" lang="en-US" sz="1600" i="0" u="none" strike="noStrike" cap="none" normalizeH="0" baseline="0" dirty="0">
              <a:ln>
                <a:noFill/>
              </a:ln>
              <a:solidFill>
                <a:schemeClr val="tx1"/>
              </a:solidFill>
              <a:effectLst/>
            </a:endParaRPr>
          </a:p>
        </p:txBody>
      </p:sp>
      <p:sp>
        <p:nvSpPr>
          <p:cNvPr id="34" name="Rounded Rectangle 80"/>
          <p:cNvSpPr/>
          <p:nvPr/>
        </p:nvSpPr>
        <p:spPr bwMode="auto">
          <a:xfrm>
            <a:off x="7186056" y="3520019"/>
            <a:ext cx="2020888" cy="251313"/>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r>
              <a:rPr lang="en-US" sz="1600"/>
              <a:t>18%</a:t>
            </a:r>
            <a:endParaRPr kumimoji="0" lang="en-US" sz="1600" i="0" u="none" strike="noStrike" cap="none" normalizeH="0" baseline="0" dirty="0">
              <a:ln>
                <a:noFill/>
              </a:ln>
              <a:solidFill>
                <a:schemeClr val="tx1"/>
              </a:solidFill>
              <a:effectLst/>
            </a:endParaRPr>
          </a:p>
        </p:txBody>
      </p:sp>
      <p:sp>
        <p:nvSpPr>
          <p:cNvPr id="35" name="TextBox 34"/>
          <p:cNvSpPr txBox="1"/>
          <p:nvPr/>
        </p:nvSpPr>
        <p:spPr>
          <a:xfrm>
            <a:off x="524935" y="3388841"/>
            <a:ext cx="2131179" cy="513668"/>
          </a:xfrm>
          <a:prstGeom prst="rect">
            <a:avLst/>
          </a:prstGeom>
          <a:noFill/>
        </p:spPr>
        <p:txBody>
          <a:bodyPr wrap="square" lIns="0" rIns="0" rtlCol="0" anchor="ctr">
            <a:noAutofit/>
          </a:bodyPr>
          <a:lstStyle/>
          <a:p>
            <a:pPr algn="r"/>
            <a:r>
              <a:rPr lang="en-US" sz="1200" dirty="0"/>
              <a:t>Operator addressable share</a:t>
            </a:r>
          </a:p>
        </p:txBody>
      </p:sp>
      <p:sp>
        <p:nvSpPr>
          <p:cNvPr id="36" name="Freeform 4"/>
          <p:cNvSpPr>
            <a:spLocks noChangeAspect="1"/>
          </p:cNvSpPr>
          <p:nvPr/>
        </p:nvSpPr>
        <p:spPr bwMode="auto">
          <a:xfrm rot="5400000">
            <a:off x="3775842" y="3746604"/>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37" name="Freeform 4"/>
          <p:cNvSpPr>
            <a:spLocks noChangeAspect="1"/>
          </p:cNvSpPr>
          <p:nvPr/>
        </p:nvSpPr>
        <p:spPr bwMode="auto">
          <a:xfrm rot="5400000">
            <a:off x="5949468" y="3746604"/>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38" name="Freeform 4"/>
          <p:cNvSpPr>
            <a:spLocks noChangeAspect="1"/>
          </p:cNvSpPr>
          <p:nvPr/>
        </p:nvSpPr>
        <p:spPr bwMode="auto">
          <a:xfrm rot="5400000">
            <a:off x="8063947" y="3746604"/>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39" name="Freeform 4"/>
          <p:cNvSpPr>
            <a:spLocks noChangeAspect="1"/>
          </p:cNvSpPr>
          <p:nvPr/>
        </p:nvSpPr>
        <p:spPr bwMode="auto">
          <a:xfrm>
            <a:off x="9143719" y="4185798"/>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40" name="Freeform 4"/>
          <p:cNvSpPr>
            <a:spLocks noChangeAspect="1"/>
          </p:cNvSpPr>
          <p:nvPr/>
        </p:nvSpPr>
        <p:spPr bwMode="auto">
          <a:xfrm>
            <a:off x="9143719" y="4793843"/>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41" name="Freeform 4"/>
          <p:cNvSpPr>
            <a:spLocks noChangeAspect="1"/>
          </p:cNvSpPr>
          <p:nvPr/>
        </p:nvSpPr>
        <p:spPr bwMode="auto">
          <a:xfrm>
            <a:off x="9143719" y="5364796"/>
            <a:ext cx="126449" cy="361033"/>
          </a:xfrm>
          <a:custGeom>
            <a:avLst/>
            <a:gdLst>
              <a:gd name="T0" fmla="*/ 2147483647 w 155"/>
              <a:gd name="T1" fmla="*/ 2147483647 h 442"/>
              <a:gd name="T2" fmla="*/ 2147483647 w 155"/>
              <a:gd name="T3" fmla="*/ 2147483647 h 442"/>
              <a:gd name="T4" fmla="*/ 2147483647 w 155"/>
              <a:gd name="T5" fmla="*/ 0 h 442"/>
              <a:gd name="T6" fmla="*/ 2147483647 w 155"/>
              <a:gd name="T7" fmla="*/ 0 h 442"/>
              <a:gd name="T8" fmla="*/ 0 w 155"/>
              <a:gd name="T9" fmla="*/ 2147483647 h 442"/>
              <a:gd name="T10" fmla="*/ 2147483647 w 155"/>
              <a:gd name="T11" fmla="*/ 2147483647 h 442"/>
              <a:gd name="T12" fmla="*/ 2147483647 w 155"/>
              <a:gd name="T13" fmla="*/ 2147483647 h 442"/>
              <a:gd name="T14" fmla="*/ 2147483647 w 155"/>
              <a:gd name="T15" fmla="*/ 2147483647 h 442"/>
              <a:gd name="T16" fmla="*/ 2147483647 w 155"/>
              <a:gd name="T17" fmla="*/ 2147483647 h 442"/>
              <a:gd name="T18" fmla="*/ 2147483647 w 155"/>
              <a:gd name="T19" fmla="*/ 2147483647 h 442"/>
              <a:gd name="T20" fmla="*/ 0 w 155"/>
              <a:gd name="T21" fmla="*/ 2147483647 h 442"/>
              <a:gd name="T22" fmla="*/ 2147483647 w 155"/>
              <a:gd name="T23" fmla="*/ 2147483647 h 442"/>
              <a:gd name="T24" fmla="*/ 2147483647 w 155"/>
              <a:gd name="T25" fmla="*/ 2147483647 h 442"/>
              <a:gd name="T26" fmla="*/ 2147483647 w 155"/>
              <a:gd name="T27" fmla="*/ 2147483647 h 442"/>
              <a:gd name="T28" fmla="*/ 2147483647 w 155"/>
              <a:gd name="T29" fmla="*/ 2147483647 h 442"/>
              <a:gd name="T30" fmla="*/ 2147483647 w 155"/>
              <a:gd name="T31" fmla="*/ 2147483647 h 442"/>
              <a:gd name="T32" fmla="*/ 2147483647 w 155"/>
              <a:gd name="T33" fmla="*/ 2147483647 h 4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442"/>
              <a:gd name="T53" fmla="*/ 155 w 155"/>
              <a:gd name="T54" fmla="*/ 442 h 4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442">
                <a:moveTo>
                  <a:pt x="149" y="197"/>
                </a:moveTo>
                <a:cubicBezTo>
                  <a:pt x="65" y="22"/>
                  <a:pt x="65" y="22"/>
                  <a:pt x="65" y="22"/>
                </a:cubicBezTo>
                <a:cubicBezTo>
                  <a:pt x="65" y="22"/>
                  <a:pt x="55" y="0"/>
                  <a:pt x="38" y="0"/>
                </a:cubicBezTo>
                <a:cubicBezTo>
                  <a:pt x="21" y="0"/>
                  <a:pt x="21" y="0"/>
                  <a:pt x="21" y="0"/>
                </a:cubicBezTo>
                <a:cubicBezTo>
                  <a:pt x="9" y="0"/>
                  <a:pt x="0" y="10"/>
                  <a:pt x="0" y="21"/>
                </a:cubicBezTo>
                <a:cubicBezTo>
                  <a:pt x="0" y="21"/>
                  <a:pt x="0" y="24"/>
                  <a:pt x="1" y="26"/>
                </a:cubicBezTo>
                <a:cubicBezTo>
                  <a:pt x="81" y="197"/>
                  <a:pt x="81" y="197"/>
                  <a:pt x="81" y="197"/>
                </a:cubicBezTo>
                <a:cubicBezTo>
                  <a:pt x="81" y="197"/>
                  <a:pt x="86" y="207"/>
                  <a:pt x="86" y="221"/>
                </a:cubicBezTo>
                <a:cubicBezTo>
                  <a:pt x="86" y="235"/>
                  <a:pt x="81" y="245"/>
                  <a:pt x="81" y="245"/>
                </a:cubicBezTo>
                <a:cubicBezTo>
                  <a:pt x="1" y="416"/>
                  <a:pt x="1" y="416"/>
                  <a:pt x="1" y="416"/>
                </a:cubicBezTo>
                <a:cubicBezTo>
                  <a:pt x="0" y="418"/>
                  <a:pt x="0" y="421"/>
                  <a:pt x="0" y="421"/>
                </a:cubicBezTo>
                <a:cubicBezTo>
                  <a:pt x="0" y="432"/>
                  <a:pt x="9" y="442"/>
                  <a:pt x="21" y="442"/>
                </a:cubicBezTo>
                <a:cubicBezTo>
                  <a:pt x="38" y="442"/>
                  <a:pt x="38" y="442"/>
                  <a:pt x="38" y="442"/>
                </a:cubicBezTo>
                <a:cubicBezTo>
                  <a:pt x="55" y="442"/>
                  <a:pt x="65" y="421"/>
                  <a:pt x="65" y="421"/>
                </a:cubicBezTo>
                <a:cubicBezTo>
                  <a:pt x="149" y="245"/>
                  <a:pt x="149" y="245"/>
                  <a:pt x="149" y="245"/>
                </a:cubicBezTo>
                <a:cubicBezTo>
                  <a:pt x="149" y="245"/>
                  <a:pt x="155" y="235"/>
                  <a:pt x="154" y="221"/>
                </a:cubicBezTo>
                <a:cubicBezTo>
                  <a:pt x="155" y="207"/>
                  <a:pt x="149" y="197"/>
                  <a:pt x="149" y="197"/>
                </a:cubicBezTo>
                <a:close/>
              </a:path>
            </a:pathLst>
          </a:custGeom>
          <a:solidFill>
            <a:srgbClr val="EBF2D9"/>
          </a:solidFill>
          <a:ln>
            <a:noFill/>
          </a:ln>
          <a:extLst>
            <a:ext uri="{91240B29-F687-4F45-9708-019B960494DF}">
              <a14:hiddenLine xmlns:a14="http://schemas.microsoft.com/office/drawing/2010/main" w="9525">
                <a:solidFill>
                  <a:srgbClr val="000000"/>
                </a:solidFill>
                <a:round/>
                <a:headEnd/>
                <a:tailEnd/>
              </a14:hiddenLine>
            </a:ext>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100">
                <a:solidFill>
                  <a:schemeClr val="bg1"/>
                </a:solidFill>
              </a:rPr>
              <a:t> </a:t>
            </a:r>
          </a:p>
        </p:txBody>
      </p:sp>
      <p:sp>
        <p:nvSpPr>
          <p:cNvPr id="42" name="Freeform 3"/>
          <p:cNvSpPr>
            <a:spLocks noChangeAspect="1" noEditPoints="1"/>
          </p:cNvSpPr>
          <p:nvPr/>
        </p:nvSpPr>
        <p:spPr bwMode="auto">
          <a:xfrm>
            <a:off x="3203652" y="2423133"/>
            <a:ext cx="388455" cy="478099"/>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3"/>
          <p:cNvSpPr>
            <a:spLocks noChangeAspect="1" noEditPoints="1"/>
          </p:cNvSpPr>
          <p:nvPr/>
        </p:nvSpPr>
        <p:spPr bwMode="auto">
          <a:xfrm>
            <a:off x="5255541" y="2423788"/>
            <a:ext cx="394908" cy="465429"/>
          </a:xfrm>
          <a:custGeom>
            <a:avLst/>
            <a:gdLst>
              <a:gd name="T0" fmla="*/ 2147483646 w 296"/>
              <a:gd name="T1" fmla="*/ 2147483646 h 349"/>
              <a:gd name="T2" fmla="*/ 2147483646 w 296"/>
              <a:gd name="T3" fmla="*/ 2147483646 h 349"/>
              <a:gd name="T4" fmla="*/ 2147483646 w 296"/>
              <a:gd name="T5" fmla="*/ 2147483646 h 349"/>
              <a:gd name="T6" fmla="*/ 2147483646 w 296"/>
              <a:gd name="T7" fmla="*/ 0 h 349"/>
              <a:gd name="T8" fmla="*/ 0 w 296"/>
              <a:gd name="T9" fmla="*/ 2147483646 h 349"/>
              <a:gd name="T10" fmla="*/ 0 w 296"/>
              <a:gd name="T11" fmla="*/ 2147483646 h 349"/>
              <a:gd name="T12" fmla="*/ 0 w 296"/>
              <a:gd name="T13" fmla="*/ 2147483646 h 349"/>
              <a:gd name="T14" fmla="*/ 0 w 296"/>
              <a:gd name="T15" fmla="*/ 2147483646 h 349"/>
              <a:gd name="T16" fmla="*/ 2147483646 w 296"/>
              <a:gd name="T17" fmla="*/ 2147483646 h 349"/>
              <a:gd name="T18" fmla="*/ 2147483646 w 296"/>
              <a:gd name="T19" fmla="*/ 2147483646 h 349"/>
              <a:gd name="T20" fmla="*/ 2147483646 w 296"/>
              <a:gd name="T21" fmla="*/ 2147483646 h 349"/>
              <a:gd name="T22" fmla="*/ 2147483646 w 296"/>
              <a:gd name="T23" fmla="*/ 2147483646 h 349"/>
              <a:gd name="T24" fmla="*/ 2147483646 w 296"/>
              <a:gd name="T25" fmla="*/ 2147483646 h 349"/>
              <a:gd name="T26" fmla="*/ 2147483646 w 296"/>
              <a:gd name="T27" fmla="*/ 2147483646 h 349"/>
              <a:gd name="T28" fmla="*/ 2147483646 w 296"/>
              <a:gd name="T29" fmla="*/ 2147483646 h 349"/>
              <a:gd name="T30" fmla="*/ 2147483646 w 296"/>
              <a:gd name="T31" fmla="*/ 2147483646 h 349"/>
              <a:gd name="T32" fmla="*/ 2147483646 w 296"/>
              <a:gd name="T33" fmla="*/ 2147483646 h 349"/>
              <a:gd name="T34" fmla="*/ 2147483646 w 296"/>
              <a:gd name="T35" fmla="*/ 2147483646 h 349"/>
              <a:gd name="T36" fmla="*/ 2147483646 w 296"/>
              <a:gd name="T37" fmla="*/ 2147483646 h 349"/>
              <a:gd name="T38" fmla="*/ 2147483646 w 296"/>
              <a:gd name="T39" fmla="*/ 2147483646 h 349"/>
              <a:gd name="T40" fmla="*/ 2147483646 w 296"/>
              <a:gd name="T41" fmla="*/ 2147483646 h 349"/>
              <a:gd name="T42" fmla="*/ 2147483646 w 296"/>
              <a:gd name="T43" fmla="*/ 2147483646 h 349"/>
              <a:gd name="T44" fmla="*/ 2147483646 w 296"/>
              <a:gd name="T45" fmla="*/ 2147483646 h 349"/>
              <a:gd name="T46" fmla="*/ 2147483646 w 296"/>
              <a:gd name="T47" fmla="*/ 2147483646 h 349"/>
              <a:gd name="T48" fmla="*/ 2147483646 w 296"/>
              <a:gd name="T49" fmla="*/ 2147483646 h 349"/>
              <a:gd name="T50" fmla="*/ 2147483646 w 296"/>
              <a:gd name="T51" fmla="*/ 2147483646 h 3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96" h="349">
                <a:moveTo>
                  <a:pt x="288" y="106"/>
                </a:moveTo>
                <a:cubicBezTo>
                  <a:pt x="293" y="106"/>
                  <a:pt x="296" y="103"/>
                  <a:pt x="296" y="98"/>
                </a:cubicBezTo>
                <a:cubicBezTo>
                  <a:pt x="296" y="53"/>
                  <a:pt x="296" y="53"/>
                  <a:pt x="296" y="53"/>
                </a:cubicBezTo>
                <a:cubicBezTo>
                  <a:pt x="296" y="18"/>
                  <a:pt x="248" y="0"/>
                  <a:pt x="148" y="0"/>
                </a:cubicBezTo>
                <a:cubicBezTo>
                  <a:pt x="48" y="0"/>
                  <a:pt x="0" y="18"/>
                  <a:pt x="0" y="53"/>
                </a:cubicBezTo>
                <a:cubicBezTo>
                  <a:pt x="0" y="54"/>
                  <a:pt x="0" y="55"/>
                  <a:pt x="0" y="55"/>
                </a:cubicBezTo>
                <a:cubicBezTo>
                  <a:pt x="0" y="55"/>
                  <a:pt x="0" y="56"/>
                  <a:pt x="0" y="56"/>
                </a:cubicBezTo>
                <a:cubicBezTo>
                  <a:pt x="0" y="286"/>
                  <a:pt x="0" y="286"/>
                  <a:pt x="0" y="286"/>
                </a:cubicBezTo>
                <a:cubicBezTo>
                  <a:pt x="0" y="327"/>
                  <a:pt x="50" y="349"/>
                  <a:pt x="148" y="349"/>
                </a:cubicBezTo>
                <a:cubicBezTo>
                  <a:pt x="242" y="349"/>
                  <a:pt x="296" y="326"/>
                  <a:pt x="296" y="286"/>
                </a:cubicBezTo>
                <a:cubicBezTo>
                  <a:pt x="296" y="130"/>
                  <a:pt x="296" y="130"/>
                  <a:pt x="296" y="130"/>
                </a:cubicBezTo>
                <a:cubicBezTo>
                  <a:pt x="296" y="126"/>
                  <a:pt x="293" y="122"/>
                  <a:pt x="288" y="122"/>
                </a:cubicBezTo>
                <a:cubicBezTo>
                  <a:pt x="284" y="122"/>
                  <a:pt x="280" y="126"/>
                  <a:pt x="280" y="130"/>
                </a:cubicBezTo>
                <a:cubicBezTo>
                  <a:pt x="280" y="286"/>
                  <a:pt x="280" y="286"/>
                  <a:pt x="280" y="286"/>
                </a:cubicBezTo>
                <a:cubicBezTo>
                  <a:pt x="280" y="315"/>
                  <a:pt x="230" y="333"/>
                  <a:pt x="148" y="333"/>
                </a:cubicBezTo>
                <a:cubicBezTo>
                  <a:pt x="88" y="333"/>
                  <a:pt x="16" y="325"/>
                  <a:pt x="16" y="286"/>
                </a:cubicBezTo>
                <a:cubicBezTo>
                  <a:pt x="16" y="83"/>
                  <a:pt x="16" y="83"/>
                  <a:pt x="16" y="83"/>
                </a:cubicBezTo>
                <a:cubicBezTo>
                  <a:pt x="37" y="99"/>
                  <a:pt x="81" y="106"/>
                  <a:pt x="148" y="106"/>
                </a:cubicBezTo>
                <a:cubicBezTo>
                  <a:pt x="215" y="106"/>
                  <a:pt x="259" y="99"/>
                  <a:pt x="280" y="83"/>
                </a:cubicBezTo>
                <a:cubicBezTo>
                  <a:pt x="280" y="98"/>
                  <a:pt x="280" y="98"/>
                  <a:pt x="280" y="98"/>
                </a:cubicBezTo>
                <a:cubicBezTo>
                  <a:pt x="280" y="103"/>
                  <a:pt x="284" y="106"/>
                  <a:pt x="288" y="106"/>
                </a:cubicBezTo>
                <a:close/>
                <a:moveTo>
                  <a:pt x="148" y="90"/>
                </a:moveTo>
                <a:cubicBezTo>
                  <a:pt x="63" y="90"/>
                  <a:pt x="16" y="77"/>
                  <a:pt x="16" y="53"/>
                </a:cubicBezTo>
                <a:cubicBezTo>
                  <a:pt x="16" y="30"/>
                  <a:pt x="63" y="16"/>
                  <a:pt x="148" y="16"/>
                </a:cubicBezTo>
                <a:cubicBezTo>
                  <a:pt x="232" y="16"/>
                  <a:pt x="280" y="30"/>
                  <a:pt x="280" y="53"/>
                </a:cubicBezTo>
                <a:cubicBezTo>
                  <a:pt x="280" y="77"/>
                  <a:pt x="233" y="90"/>
                  <a:pt x="148"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6"/>
          <p:cNvSpPr>
            <a:spLocks noChangeAspect="1" noEditPoints="1"/>
          </p:cNvSpPr>
          <p:nvPr/>
        </p:nvSpPr>
        <p:spPr bwMode="auto">
          <a:xfrm>
            <a:off x="7366786" y="2399385"/>
            <a:ext cx="316597" cy="503550"/>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Tree>
    <p:extLst>
      <p:ext uri="{BB962C8B-B14F-4D97-AF65-F5344CB8AC3E}">
        <p14:creationId xmlns:p14="http://schemas.microsoft.com/office/powerpoint/2010/main" val="302945185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U Session Types</a:t>
            </a:r>
          </a:p>
        </p:txBody>
      </p:sp>
      <p:sp>
        <p:nvSpPr>
          <p:cNvPr id="3" name="Text Placeholder 2"/>
          <p:cNvSpPr>
            <a:spLocks noGrp="1"/>
          </p:cNvSpPr>
          <p:nvPr>
            <p:ph type="body" idx="1"/>
          </p:nvPr>
        </p:nvSpPr>
        <p:spPr>
          <a:xfrm>
            <a:off x="524935" y="1892766"/>
            <a:ext cx="11135785" cy="3885183"/>
          </a:xfrm>
        </p:spPr>
        <p:txBody>
          <a:bodyPr/>
          <a:lstStyle/>
          <a:p>
            <a:r>
              <a:rPr lang="en-US" dirty="0"/>
              <a:t>5GC supports exchange of PDUs between a UE and a data network identified by a DNN (PDU Connectivity Service)</a:t>
            </a:r>
          </a:p>
          <a:p>
            <a:r>
              <a:rPr lang="en-US" dirty="0"/>
              <a:t>The PDU Connectivity Service is realized via PDU sessions established upon UE requests</a:t>
            </a:r>
          </a:p>
          <a:p>
            <a:r>
              <a:rPr lang="en-US" dirty="0"/>
              <a:t>Each PDU Session supports a single type of PDU:</a:t>
            </a:r>
          </a:p>
          <a:p>
            <a:pPr lvl="1"/>
            <a:r>
              <a:rPr lang="en-US" dirty="0"/>
              <a:t>IPv4</a:t>
            </a:r>
          </a:p>
          <a:p>
            <a:pPr lvl="1"/>
            <a:r>
              <a:rPr lang="en-US" dirty="0"/>
              <a:t>IPv6</a:t>
            </a:r>
          </a:p>
          <a:p>
            <a:pPr lvl="1"/>
            <a:r>
              <a:rPr lang="en-US" dirty="0"/>
              <a:t>Ethernet</a:t>
            </a:r>
          </a:p>
          <a:p>
            <a:pPr lvl="1"/>
            <a:r>
              <a:rPr lang="en-US" dirty="0"/>
              <a:t>Unstructured (PDU type totally transparent to the 5GS)</a:t>
            </a:r>
          </a:p>
        </p:txBody>
      </p:sp>
    </p:spTree>
    <p:extLst>
      <p:ext uri="{BB962C8B-B14F-4D97-AF65-F5344CB8AC3E}">
        <p14:creationId xmlns:p14="http://schemas.microsoft.com/office/powerpoint/2010/main" val="6364045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U Session Establishment</a:t>
            </a:r>
          </a:p>
        </p:txBody>
      </p:sp>
      <p:sp>
        <p:nvSpPr>
          <p:cNvPr id="3" name="Text Placeholder 2"/>
          <p:cNvSpPr>
            <a:spLocks noGrp="1"/>
          </p:cNvSpPr>
          <p:nvPr>
            <p:ph type="body" idx="1"/>
          </p:nvPr>
        </p:nvSpPr>
        <p:spPr>
          <a:xfrm>
            <a:off x="529167" y="1440238"/>
            <a:ext cx="11135785" cy="3852000"/>
          </a:xfrm>
        </p:spPr>
        <p:txBody>
          <a:bodyPr/>
          <a:lstStyle/>
          <a:p>
            <a:r>
              <a:rPr lang="en-US" dirty="0"/>
              <a:t>PDU Sessions are handled using NAS SM signaling over N1 between UE and SMF</a:t>
            </a:r>
          </a:p>
          <a:p>
            <a:pPr lvl="1"/>
            <a:r>
              <a:rPr lang="en-US" dirty="0"/>
              <a:t>Established upon UE request</a:t>
            </a:r>
          </a:p>
          <a:p>
            <a:pPr lvl="1"/>
            <a:r>
              <a:rPr lang="en-US" dirty="0"/>
              <a:t>Modified upon UE and 5GC request</a:t>
            </a:r>
          </a:p>
          <a:p>
            <a:pPr lvl="1"/>
            <a:r>
              <a:rPr lang="en-US" dirty="0"/>
              <a:t>Released upon UE and 5GC request</a:t>
            </a:r>
          </a:p>
          <a:p>
            <a:r>
              <a:rPr lang="en-US" dirty="0"/>
              <a:t>An application server can request the 5GC to trigger the UE to establish a PDU session to a specific DNN.</a:t>
            </a:r>
          </a:p>
        </p:txBody>
      </p:sp>
      <p:grpSp>
        <p:nvGrpSpPr>
          <p:cNvPr id="4" name="Group 3"/>
          <p:cNvGrpSpPr>
            <a:grpSpLocks noChangeAspect="1"/>
          </p:cNvGrpSpPr>
          <p:nvPr/>
        </p:nvGrpSpPr>
        <p:grpSpPr>
          <a:xfrm>
            <a:off x="5005300" y="3886986"/>
            <a:ext cx="6036074" cy="2884978"/>
            <a:chOff x="453894" y="1290725"/>
            <a:chExt cx="11150562" cy="5329479"/>
          </a:xfrm>
        </p:grpSpPr>
        <p:grpSp>
          <p:nvGrpSpPr>
            <p:cNvPr id="5" name="Group 4"/>
            <p:cNvGrpSpPr/>
            <p:nvPr/>
          </p:nvGrpSpPr>
          <p:grpSpPr>
            <a:xfrm>
              <a:off x="9354059" y="4900926"/>
              <a:ext cx="2250397" cy="1719278"/>
              <a:chOff x="9315422" y="5130211"/>
              <a:chExt cx="2250397" cy="1719278"/>
            </a:xfrm>
          </p:grpSpPr>
          <p:sp>
            <p:nvSpPr>
              <p:cNvPr id="88"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sz="1000"/>
              </a:p>
            </p:txBody>
          </p:sp>
          <p:sp>
            <p:nvSpPr>
              <p:cNvPr id="89" name="Text Box 35"/>
              <p:cNvSpPr txBox="1">
                <a:spLocks noChangeAspect="1" noChangeArrowheads="1"/>
              </p:cNvSpPr>
              <p:nvPr/>
            </p:nvSpPr>
            <p:spPr bwMode="auto">
              <a:xfrm>
                <a:off x="9508328" y="5638453"/>
                <a:ext cx="1808285" cy="85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ea typeface="MS PGothic" pitchFamily="34" charset="-128"/>
                  </a:rPr>
                  <a:t>Data Network </a:t>
                </a:r>
              </a:p>
              <a:p>
                <a:pPr algn="ctr" eaLnBrk="1" hangingPunct="1">
                  <a:lnSpc>
                    <a:spcPct val="80000"/>
                  </a:lnSpc>
                  <a:spcBef>
                    <a:spcPct val="0"/>
                  </a:spcBef>
                  <a:buClrTx/>
                  <a:buFontTx/>
                  <a:buNone/>
                </a:pPr>
                <a:r>
                  <a:rPr lang="en-US" altLang="en-US" sz="1000" dirty="0">
                    <a:ea typeface="MS PGothic" pitchFamily="34" charset="-128"/>
                  </a:rPr>
                  <a:t>(e.g. operator </a:t>
                </a:r>
              </a:p>
              <a:p>
                <a:pPr algn="ctr" eaLnBrk="1" hangingPunct="1">
                  <a:lnSpc>
                    <a:spcPct val="80000"/>
                  </a:lnSpc>
                  <a:spcBef>
                    <a:spcPct val="0"/>
                  </a:spcBef>
                  <a:buClrTx/>
                  <a:buFontTx/>
                  <a:buNone/>
                </a:pPr>
                <a:r>
                  <a:rPr lang="en-US" altLang="en-US" sz="1000" dirty="0">
                    <a:ea typeface="MS PGothic" pitchFamily="34" charset="-128"/>
                  </a:rPr>
                  <a:t>or Internet)</a:t>
                </a:r>
              </a:p>
            </p:txBody>
          </p:sp>
        </p:grpSp>
        <p:cxnSp>
          <p:nvCxnSpPr>
            <p:cNvPr id="6" name="Elbow Connector 59"/>
            <p:cNvCxnSpPr>
              <a:cxnSpLocks/>
              <a:endCxn id="51" idx="2"/>
            </p:cNvCxnSpPr>
            <p:nvPr/>
          </p:nvCxnSpPr>
          <p:spPr bwMode="auto">
            <a:xfrm flipV="1">
              <a:off x="955975" y="352451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7" name="Freeform 4"/>
            <p:cNvSpPr>
              <a:spLocks noChangeAspect="1" noEditPoints="1"/>
            </p:cNvSpPr>
            <p:nvPr/>
          </p:nvSpPr>
          <p:spPr bwMode="auto">
            <a:xfrm>
              <a:off x="696863" y="498617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a:p>
          </p:txBody>
        </p:sp>
        <p:sp>
          <p:nvSpPr>
            <p:cNvPr id="8" name="Freeform 88"/>
            <p:cNvSpPr>
              <a:spLocks/>
            </p:cNvSpPr>
            <p:nvPr/>
          </p:nvSpPr>
          <p:spPr bwMode="auto">
            <a:xfrm rot="2583056" flipH="1">
              <a:off x="1412059" y="516553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00" b="1" dirty="0">
                <a:cs typeface="+mn-cs"/>
              </a:endParaRPr>
            </a:p>
          </p:txBody>
        </p:sp>
        <p:sp>
          <p:nvSpPr>
            <p:cNvPr id="9" name="Text Box 144"/>
            <p:cNvSpPr txBox="1">
              <a:spLocks noChangeAspect="1" noChangeArrowheads="1"/>
            </p:cNvSpPr>
            <p:nvPr/>
          </p:nvSpPr>
          <p:spPr bwMode="auto">
            <a:xfrm>
              <a:off x="453894" y="565117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G UE</a:t>
              </a:r>
            </a:p>
          </p:txBody>
        </p:sp>
        <p:sp>
          <p:nvSpPr>
            <p:cNvPr id="10" name="Text Box 144"/>
            <p:cNvSpPr txBox="1">
              <a:spLocks noChangeAspect="1" noChangeArrowheads="1"/>
            </p:cNvSpPr>
            <p:nvPr/>
          </p:nvSpPr>
          <p:spPr bwMode="auto">
            <a:xfrm>
              <a:off x="4004009" y="4522361"/>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2</a:t>
              </a:r>
            </a:p>
          </p:txBody>
        </p:sp>
        <p:sp>
          <p:nvSpPr>
            <p:cNvPr id="11" name="Text Box 144"/>
            <p:cNvSpPr txBox="1">
              <a:spLocks noChangeAspect="1" noChangeArrowheads="1"/>
            </p:cNvSpPr>
            <p:nvPr/>
          </p:nvSpPr>
          <p:spPr bwMode="auto">
            <a:xfrm>
              <a:off x="5022480" y="561005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3</a:t>
              </a:r>
            </a:p>
          </p:txBody>
        </p:sp>
        <p:sp>
          <p:nvSpPr>
            <p:cNvPr id="12" name="Text Box 144"/>
            <p:cNvSpPr txBox="1">
              <a:spLocks noChangeAspect="1" noChangeArrowheads="1"/>
            </p:cNvSpPr>
            <p:nvPr/>
          </p:nvSpPr>
          <p:spPr bwMode="auto">
            <a:xfrm>
              <a:off x="8188449" y="561215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6</a:t>
              </a:r>
            </a:p>
          </p:txBody>
        </p:sp>
        <p:sp>
          <p:nvSpPr>
            <p:cNvPr id="13" name="Text Box 144"/>
            <p:cNvSpPr txBox="1">
              <a:spLocks noChangeAspect="1" noChangeArrowheads="1"/>
            </p:cNvSpPr>
            <p:nvPr/>
          </p:nvSpPr>
          <p:spPr bwMode="auto">
            <a:xfrm>
              <a:off x="7405615" y="271829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7</a:t>
              </a:r>
            </a:p>
          </p:txBody>
        </p:sp>
        <p:sp>
          <p:nvSpPr>
            <p:cNvPr id="14" name="Text Box 144"/>
            <p:cNvSpPr txBox="1">
              <a:spLocks noChangeAspect="1" noChangeArrowheads="1"/>
            </p:cNvSpPr>
            <p:nvPr/>
          </p:nvSpPr>
          <p:spPr bwMode="auto">
            <a:xfrm>
              <a:off x="8303280" y="2720540"/>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5</a:t>
              </a:r>
            </a:p>
          </p:txBody>
        </p:sp>
        <p:sp>
          <p:nvSpPr>
            <p:cNvPr id="15" name="Text Box 144"/>
            <p:cNvSpPr txBox="1">
              <a:spLocks noChangeAspect="1" noChangeArrowheads="1"/>
            </p:cNvSpPr>
            <p:nvPr/>
          </p:nvSpPr>
          <p:spPr bwMode="auto">
            <a:xfrm>
              <a:off x="7174663" y="4654372"/>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4</a:t>
              </a:r>
            </a:p>
          </p:txBody>
        </p:sp>
        <p:grpSp>
          <p:nvGrpSpPr>
            <p:cNvPr id="16" name="Group 15"/>
            <p:cNvGrpSpPr/>
            <p:nvPr/>
          </p:nvGrpSpPr>
          <p:grpSpPr>
            <a:xfrm>
              <a:off x="2780030" y="4934476"/>
              <a:ext cx="886830" cy="1230796"/>
              <a:chOff x="936376" y="2900085"/>
              <a:chExt cx="864096" cy="1240668"/>
            </a:xfrm>
          </p:grpSpPr>
          <p:sp>
            <p:nvSpPr>
              <p:cNvPr id="83"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4"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5"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ea typeface="Segoe UI" panose="020B0502040204020203" pitchFamily="34" charset="0"/>
                    <a:cs typeface="Arial" panose="020B0604020202020204" pitchFamily="34" charset="0"/>
                  </a:rPr>
                  <a:t>5G RAN</a:t>
                </a:r>
              </a:p>
            </p:txBody>
          </p:sp>
          <p:sp>
            <p:nvSpPr>
              <p:cNvPr id="86"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7"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000">
                  <a:solidFill>
                    <a:srgbClr val="58585A"/>
                  </a:solidFill>
                </a:endParaRPr>
              </a:p>
            </p:txBody>
          </p:sp>
        </p:grpSp>
        <p:sp>
          <p:nvSpPr>
            <p:cNvPr id="17" name="Line 30"/>
            <p:cNvSpPr>
              <a:spLocks noChangeShapeType="1"/>
            </p:cNvSpPr>
            <p:nvPr/>
          </p:nvSpPr>
          <p:spPr bwMode="auto">
            <a:xfrm>
              <a:off x="3670915" y="5830687"/>
              <a:ext cx="5705219"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1000">
                <a:ea typeface="ＭＳ Ｐゴシック" charset="0"/>
                <a:cs typeface="Arial" charset="0"/>
              </a:endParaRPr>
            </a:p>
          </p:txBody>
        </p:sp>
        <p:grpSp>
          <p:nvGrpSpPr>
            <p:cNvPr id="18" name="Group 17"/>
            <p:cNvGrpSpPr/>
            <p:nvPr/>
          </p:nvGrpSpPr>
          <p:grpSpPr>
            <a:xfrm>
              <a:off x="7068292" y="4955384"/>
              <a:ext cx="889582" cy="1249115"/>
              <a:chOff x="5979156" y="5040856"/>
              <a:chExt cx="1101600" cy="1587600"/>
            </a:xfrm>
          </p:grpSpPr>
          <p:cxnSp>
            <p:nvCxnSpPr>
              <p:cNvPr id="77" name="Straight Connector 76"/>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78"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9"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0"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UPF</a:t>
                </a:r>
              </a:p>
            </p:txBody>
          </p:sp>
          <p:sp>
            <p:nvSpPr>
              <p:cNvPr id="81"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2"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000"/>
              </a:p>
            </p:txBody>
          </p:sp>
        </p:grpSp>
        <p:grpSp>
          <p:nvGrpSpPr>
            <p:cNvPr id="19" name="Group 18"/>
            <p:cNvGrpSpPr/>
            <p:nvPr/>
          </p:nvGrpSpPr>
          <p:grpSpPr>
            <a:xfrm>
              <a:off x="7085193" y="3084556"/>
              <a:ext cx="948900" cy="1274363"/>
              <a:chOff x="4338871" y="2725624"/>
              <a:chExt cx="1199053" cy="1626215"/>
            </a:xfrm>
          </p:grpSpPr>
          <p:sp>
            <p:nvSpPr>
              <p:cNvPr id="7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SMF</a:t>
                </a:r>
              </a:p>
            </p:txBody>
          </p:sp>
          <p:sp>
            <p:nvSpPr>
              <p:cNvPr id="7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6"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nvGrpSpPr>
            <p:cNvPr id="20" name="Group 19"/>
            <p:cNvGrpSpPr/>
            <p:nvPr/>
          </p:nvGrpSpPr>
          <p:grpSpPr>
            <a:xfrm>
              <a:off x="7843880" y="1290725"/>
              <a:ext cx="920586" cy="1329413"/>
              <a:chOff x="2530204" y="1718022"/>
              <a:chExt cx="1186277" cy="1647323"/>
            </a:xfrm>
          </p:grpSpPr>
          <p:sp>
            <p:nvSpPr>
              <p:cNvPr id="6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66" name="Group 274"/>
              <p:cNvGrpSpPr>
                <a:grpSpLocks noChangeAspect="1"/>
              </p:cNvGrpSpPr>
              <p:nvPr/>
            </p:nvGrpSpPr>
            <p:grpSpPr bwMode="auto">
              <a:xfrm>
                <a:off x="2590950" y="1853233"/>
                <a:ext cx="1125531" cy="1512112"/>
                <a:chOff x="3147" y="3024"/>
                <a:chExt cx="257" cy="366"/>
              </a:xfrm>
            </p:grpSpPr>
            <p:grpSp>
              <p:nvGrpSpPr>
                <p:cNvPr id="67" name="Group 7"/>
                <p:cNvGrpSpPr>
                  <a:grpSpLocks noChangeAspect="1"/>
                </p:cNvGrpSpPr>
                <p:nvPr/>
              </p:nvGrpSpPr>
              <p:grpSpPr bwMode="auto">
                <a:xfrm>
                  <a:off x="3147" y="3024"/>
                  <a:ext cx="257" cy="366"/>
                  <a:chOff x="2283" y="1698"/>
                  <a:chExt cx="983" cy="1402"/>
                </a:xfrm>
              </p:grpSpPr>
              <p:pic>
                <p:nvPicPr>
                  <p:cNvPr id="69"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charset="-128"/>
                    </a:rPr>
                    <a:t>PCF</a:t>
                  </a:r>
                </a:p>
              </p:txBody>
            </p:sp>
          </p:grpSp>
        </p:grpSp>
        <p:cxnSp>
          <p:nvCxnSpPr>
            <p:cNvPr id="21" name="Straight Connector 20"/>
            <p:cNvCxnSpPr>
              <a:cxnSpLocks/>
              <a:stCxn id="52" idx="1"/>
              <a:endCxn id="84" idx="6"/>
            </p:cNvCxnSpPr>
            <p:nvPr/>
          </p:nvCxnSpPr>
          <p:spPr bwMode="auto">
            <a:xfrm flipH="1">
              <a:off x="3652201" y="402933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2" name="Text Box 144"/>
            <p:cNvSpPr txBox="1">
              <a:spLocks noChangeAspect="1" noChangeArrowheads="1"/>
            </p:cNvSpPr>
            <p:nvPr/>
          </p:nvSpPr>
          <p:spPr bwMode="auto">
            <a:xfrm>
              <a:off x="661985" y="333549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a:t>
              </a:r>
            </a:p>
          </p:txBody>
        </p:sp>
        <p:cxnSp>
          <p:nvCxnSpPr>
            <p:cNvPr id="23" name="Straight Connector 22"/>
            <p:cNvCxnSpPr>
              <a:cxnSpLocks/>
              <a:stCxn id="74" idx="2"/>
              <a:endCxn id="79" idx="0"/>
            </p:cNvCxnSpPr>
            <p:nvPr/>
          </p:nvCxnSpPr>
          <p:spPr bwMode="auto">
            <a:xfrm flipH="1">
              <a:off x="7511859" y="429994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4" name="Straight Connector 23"/>
            <p:cNvCxnSpPr>
              <a:cxnSpLocks/>
              <a:stCxn id="74" idx="1"/>
              <a:endCxn id="52" idx="3"/>
            </p:cNvCxnSpPr>
            <p:nvPr/>
          </p:nvCxnSpPr>
          <p:spPr bwMode="auto">
            <a:xfrm flipH="1" flipV="1">
              <a:off x="6369288" y="402933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5" name="Text Box 144"/>
            <p:cNvSpPr txBox="1">
              <a:spLocks noChangeAspect="1" noChangeArrowheads="1"/>
            </p:cNvSpPr>
            <p:nvPr/>
          </p:nvSpPr>
          <p:spPr bwMode="auto">
            <a:xfrm>
              <a:off x="6273553" y="384546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1</a:t>
              </a:r>
            </a:p>
          </p:txBody>
        </p:sp>
        <p:grpSp>
          <p:nvGrpSpPr>
            <p:cNvPr id="26" name="Group 25"/>
            <p:cNvGrpSpPr/>
            <p:nvPr/>
          </p:nvGrpSpPr>
          <p:grpSpPr>
            <a:xfrm>
              <a:off x="6293596" y="1303232"/>
              <a:ext cx="920586" cy="1329413"/>
              <a:chOff x="2530204" y="1718022"/>
              <a:chExt cx="1186277" cy="1647323"/>
            </a:xfrm>
          </p:grpSpPr>
          <p:sp>
            <p:nvSpPr>
              <p:cNvPr id="5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58" name="Group 274"/>
              <p:cNvGrpSpPr>
                <a:grpSpLocks noChangeAspect="1"/>
              </p:cNvGrpSpPr>
              <p:nvPr/>
            </p:nvGrpSpPr>
            <p:grpSpPr bwMode="auto">
              <a:xfrm>
                <a:off x="2590950" y="1853233"/>
                <a:ext cx="1125531" cy="1512112"/>
                <a:chOff x="3147" y="3024"/>
                <a:chExt cx="257" cy="366"/>
              </a:xfrm>
            </p:grpSpPr>
            <p:grpSp>
              <p:nvGrpSpPr>
                <p:cNvPr id="59" name="Group 7"/>
                <p:cNvGrpSpPr>
                  <a:grpSpLocks noChangeAspect="1"/>
                </p:cNvGrpSpPr>
                <p:nvPr/>
              </p:nvGrpSpPr>
              <p:grpSpPr bwMode="auto">
                <a:xfrm>
                  <a:off x="3147" y="3024"/>
                  <a:ext cx="257" cy="366"/>
                  <a:chOff x="2283" y="1698"/>
                  <a:chExt cx="983" cy="1402"/>
                </a:xfrm>
              </p:grpSpPr>
              <p:pic>
                <p:nvPicPr>
                  <p:cNvPr id="61"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pitchFamily="34" charset="-128"/>
                    </a:rPr>
                    <a:t>UDM</a:t>
                  </a:r>
                  <a:endParaRPr lang="en-US" altLang="en-US" sz="1000" dirty="0">
                    <a:ea typeface="MS PGothic" charset="-128"/>
                  </a:endParaRPr>
                </a:p>
              </p:txBody>
            </p:sp>
          </p:grpSp>
        </p:grpSp>
        <p:cxnSp>
          <p:nvCxnSpPr>
            <p:cNvPr id="27" name="Straight Connector 26"/>
            <p:cNvCxnSpPr>
              <a:cxnSpLocks/>
              <a:stCxn id="61" idx="2"/>
              <a:endCxn id="51" idx="7"/>
            </p:cNvCxnSpPr>
            <p:nvPr/>
          </p:nvCxnSpPr>
          <p:spPr bwMode="auto">
            <a:xfrm flipH="1">
              <a:off x="6276709" y="263264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8" name="Straight Connector 27"/>
            <p:cNvCxnSpPr>
              <a:cxnSpLocks/>
              <a:endCxn id="51" idx="1"/>
            </p:cNvCxnSpPr>
            <p:nvPr/>
          </p:nvCxnSpPr>
          <p:spPr bwMode="auto">
            <a:xfrm>
              <a:off x="5247805" y="262408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9" name="Straight Connector 28"/>
            <p:cNvCxnSpPr>
              <a:cxnSpLocks/>
              <a:endCxn id="60" idx="1"/>
            </p:cNvCxnSpPr>
            <p:nvPr/>
          </p:nvCxnSpPr>
          <p:spPr bwMode="auto">
            <a:xfrm>
              <a:off x="5626751" y="228733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0" name="Text Box 144"/>
            <p:cNvSpPr txBox="1">
              <a:spLocks noChangeAspect="1" noChangeArrowheads="1"/>
            </p:cNvSpPr>
            <p:nvPr/>
          </p:nvSpPr>
          <p:spPr bwMode="auto">
            <a:xfrm>
              <a:off x="5499691" y="203511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3</a:t>
              </a:r>
            </a:p>
          </p:txBody>
        </p:sp>
        <p:sp>
          <p:nvSpPr>
            <p:cNvPr id="31" name="Text Box 144"/>
            <p:cNvSpPr txBox="1">
              <a:spLocks noChangeAspect="1" noChangeArrowheads="1"/>
            </p:cNvSpPr>
            <p:nvPr/>
          </p:nvSpPr>
          <p:spPr bwMode="auto">
            <a:xfrm>
              <a:off x="5753154" y="272791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8</a:t>
              </a:r>
            </a:p>
          </p:txBody>
        </p:sp>
        <p:sp>
          <p:nvSpPr>
            <p:cNvPr id="32" name="Text Box 144"/>
            <p:cNvSpPr txBox="1">
              <a:spLocks noChangeAspect="1" noChangeArrowheads="1"/>
            </p:cNvSpPr>
            <p:nvPr/>
          </p:nvSpPr>
          <p:spPr bwMode="auto">
            <a:xfrm>
              <a:off x="4526304" y="271942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2</a:t>
              </a:r>
            </a:p>
          </p:txBody>
        </p:sp>
        <p:sp>
          <p:nvSpPr>
            <p:cNvPr id="33" name="Text Box 144"/>
            <p:cNvSpPr txBox="1">
              <a:spLocks noChangeAspect="1" noChangeArrowheads="1"/>
            </p:cNvSpPr>
            <p:nvPr/>
          </p:nvSpPr>
          <p:spPr bwMode="auto">
            <a:xfrm>
              <a:off x="6750515" y="2712907"/>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0</a:t>
              </a:r>
            </a:p>
          </p:txBody>
        </p:sp>
        <p:cxnSp>
          <p:nvCxnSpPr>
            <p:cNvPr id="34" name="Straight Connector 33"/>
            <p:cNvCxnSpPr>
              <a:cxnSpLocks/>
              <a:stCxn id="73" idx="1"/>
              <a:endCxn id="61" idx="2"/>
            </p:cNvCxnSpPr>
            <p:nvPr/>
          </p:nvCxnSpPr>
          <p:spPr bwMode="auto">
            <a:xfrm flipH="1" flipV="1">
              <a:off x="6777460" y="263264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5" name="Straight Connector 34"/>
            <p:cNvCxnSpPr>
              <a:cxnSpLocks/>
              <a:stCxn id="69" idx="2"/>
              <a:endCxn id="73" idx="7"/>
            </p:cNvCxnSpPr>
            <p:nvPr/>
          </p:nvCxnSpPr>
          <p:spPr bwMode="auto">
            <a:xfrm flipH="1">
              <a:off x="7818762" y="262013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6" name="Straight Connector 35"/>
            <p:cNvCxnSpPr>
              <a:cxnSpLocks/>
              <a:stCxn id="69" idx="2"/>
            </p:cNvCxnSpPr>
            <p:nvPr/>
          </p:nvCxnSpPr>
          <p:spPr bwMode="auto">
            <a:xfrm>
              <a:off x="8327744" y="262013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7" name="Straight Connector 95"/>
            <p:cNvCxnSpPr>
              <a:cxnSpLocks/>
              <a:stCxn id="69" idx="2"/>
              <a:endCxn id="52" idx="2"/>
            </p:cNvCxnSpPr>
            <p:nvPr/>
          </p:nvCxnSpPr>
          <p:spPr bwMode="auto">
            <a:xfrm rot="5400000">
              <a:off x="6313012" y="228375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cxnSp>
          <p:nvCxnSpPr>
            <p:cNvPr id="38" name="Straight Connector 95"/>
            <p:cNvCxnSpPr>
              <a:cxnSpLocks/>
              <a:stCxn id="51" idx="3"/>
              <a:endCxn id="52" idx="1"/>
            </p:cNvCxnSpPr>
            <p:nvPr/>
          </p:nvCxnSpPr>
          <p:spPr bwMode="auto">
            <a:xfrm rot="5400000">
              <a:off x="5529192" y="387957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39" name="Group 38"/>
            <p:cNvGrpSpPr/>
            <p:nvPr/>
          </p:nvGrpSpPr>
          <p:grpSpPr>
            <a:xfrm>
              <a:off x="5543140" y="3083094"/>
              <a:ext cx="948900" cy="1274363"/>
              <a:chOff x="4338871" y="2725624"/>
              <a:chExt cx="1199053" cy="1626215"/>
            </a:xfrm>
          </p:grpSpPr>
          <p:sp>
            <p:nvSpPr>
              <p:cNvPr id="4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MF</a:t>
                </a:r>
              </a:p>
            </p:txBody>
          </p:sp>
          <p:sp>
            <p:nvSpPr>
              <p:cNvPr id="5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sp>
          <p:nvSpPr>
            <p:cNvPr id="40" name="Text Box 144"/>
            <p:cNvSpPr txBox="1">
              <a:spLocks noChangeAspect="1" noChangeArrowheads="1"/>
            </p:cNvSpPr>
            <p:nvPr/>
          </p:nvSpPr>
          <p:spPr bwMode="auto">
            <a:xfrm>
              <a:off x="4655018" y="3639523"/>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4</a:t>
              </a:r>
            </a:p>
          </p:txBody>
        </p:sp>
        <p:sp>
          <p:nvSpPr>
            <p:cNvPr id="41" name="Text Box 144"/>
            <p:cNvSpPr txBox="1">
              <a:spLocks noChangeAspect="1" noChangeArrowheads="1"/>
            </p:cNvSpPr>
            <p:nvPr/>
          </p:nvSpPr>
          <p:spPr bwMode="auto">
            <a:xfrm>
              <a:off x="6273553" y="435000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5</a:t>
              </a:r>
            </a:p>
          </p:txBody>
        </p:sp>
        <p:grpSp>
          <p:nvGrpSpPr>
            <p:cNvPr id="42" name="Group 41"/>
            <p:cNvGrpSpPr/>
            <p:nvPr/>
          </p:nvGrpSpPr>
          <p:grpSpPr>
            <a:xfrm>
              <a:off x="4837025" y="1387754"/>
              <a:ext cx="948900" cy="1274363"/>
              <a:chOff x="4338871" y="2725624"/>
              <a:chExt cx="1199053" cy="1626215"/>
            </a:xfrm>
          </p:grpSpPr>
          <p:sp>
            <p:nvSpPr>
              <p:cNvPr id="4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USF</a:t>
                </a:r>
              </a:p>
            </p:txBody>
          </p:sp>
          <p:sp>
            <p:nvSpPr>
              <p:cNvPr id="4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sp>
        <p:nvSpPr>
          <p:cNvPr id="90" name="Oval 89"/>
          <p:cNvSpPr/>
          <p:nvPr/>
        </p:nvSpPr>
        <p:spPr bwMode="auto">
          <a:xfrm>
            <a:off x="4989867" y="5819709"/>
            <a:ext cx="590754" cy="508395"/>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1" name="Oval 90"/>
          <p:cNvSpPr/>
          <p:nvPr/>
        </p:nvSpPr>
        <p:spPr bwMode="auto">
          <a:xfrm>
            <a:off x="5141174" y="4852107"/>
            <a:ext cx="469427" cy="414462"/>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2" name="Oval 91"/>
          <p:cNvSpPr/>
          <p:nvPr/>
        </p:nvSpPr>
        <p:spPr bwMode="auto">
          <a:xfrm>
            <a:off x="8245046" y="5130413"/>
            <a:ext cx="352687" cy="342531"/>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3" name="Oval 92"/>
          <p:cNvSpPr/>
          <p:nvPr/>
        </p:nvSpPr>
        <p:spPr bwMode="auto">
          <a:xfrm>
            <a:off x="8545031" y="4786633"/>
            <a:ext cx="590754" cy="900655"/>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1188776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PDU Session Handling</a:t>
            </a:r>
          </a:p>
        </p:txBody>
      </p:sp>
      <p:sp>
        <p:nvSpPr>
          <p:cNvPr id="3" name="Text Placeholder 2"/>
          <p:cNvSpPr>
            <a:spLocks noGrp="1"/>
          </p:cNvSpPr>
          <p:nvPr>
            <p:ph type="body" idx="1"/>
          </p:nvPr>
        </p:nvSpPr>
        <p:spPr>
          <a:xfrm>
            <a:off x="529167" y="2039840"/>
            <a:ext cx="11135785" cy="3852000"/>
          </a:xfrm>
        </p:spPr>
        <p:txBody>
          <a:bodyPr/>
          <a:lstStyle/>
          <a:p>
            <a:r>
              <a:rPr lang="en-US" dirty="0"/>
              <a:t>An UE may establish multiple PDU sessions</a:t>
            </a:r>
          </a:p>
          <a:p>
            <a:pPr lvl="1"/>
            <a:r>
              <a:rPr lang="en-US" dirty="0"/>
              <a:t>To the same data network or to different data networks</a:t>
            </a:r>
          </a:p>
          <a:p>
            <a:pPr lvl="1"/>
            <a:r>
              <a:rPr lang="en-US" dirty="0"/>
              <a:t>Via 3GPP and via Non-3GPP access networks at the same time </a:t>
            </a:r>
          </a:p>
          <a:p>
            <a:pPr lvl="1"/>
            <a:r>
              <a:rPr lang="en-US" dirty="0"/>
              <a:t>To the same data network server by different UPFs terminating N6.</a:t>
            </a:r>
          </a:p>
          <a:p>
            <a:pPr lvl="1"/>
            <a:r>
              <a:rPr lang="en-US" dirty="0"/>
              <a:t>Served by different SMFs</a:t>
            </a:r>
          </a:p>
        </p:txBody>
      </p:sp>
    </p:spTree>
    <p:extLst>
      <p:ext uri="{BB962C8B-B14F-4D97-AF65-F5344CB8AC3E}">
        <p14:creationId xmlns:p14="http://schemas.microsoft.com/office/powerpoint/2010/main" val="235399408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U Session Attributes</a:t>
            </a:r>
          </a:p>
        </p:txBody>
      </p:sp>
      <p:graphicFrame>
        <p:nvGraphicFramePr>
          <p:cNvPr id="4" name="Table 3"/>
          <p:cNvGraphicFramePr>
            <a:graphicFrameLocks noGrp="1"/>
          </p:cNvGraphicFramePr>
          <p:nvPr>
            <p:extLst/>
          </p:nvPr>
        </p:nvGraphicFramePr>
        <p:xfrm>
          <a:off x="1121608" y="1298577"/>
          <a:ext cx="9003055" cy="4903945"/>
        </p:xfrm>
        <a:graphic>
          <a:graphicData uri="http://schemas.openxmlformats.org/drawingml/2006/table">
            <a:tbl>
              <a:tblPr firstRow="1" firstCol="1" lastRow="1" lastCol="1" bandRow="1" bandCol="1">
                <a:tableStyleId>{5C22544A-7EE6-4342-B048-85BDC9FD1C3A}</a:tableStyleId>
              </a:tblPr>
              <a:tblGrid>
                <a:gridCol w="2027584">
                  <a:extLst>
                    <a:ext uri="{9D8B030D-6E8A-4147-A177-3AD203B41FA5}">
                      <a16:colId xmlns:a16="http://schemas.microsoft.com/office/drawing/2014/main" val="1333976941"/>
                    </a:ext>
                  </a:extLst>
                </a:gridCol>
                <a:gridCol w="2681766">
                  <a:extLst>
                    <a:ext uri="{9D8B030D-6E8A-4147-A177-3AD203B41FA5}">
                      <a16:colId xmlns:a16="http://schemas.microsoft.com/office/drawing/2014/main" val="1351833487"/>
                    </a:ext>
                  </a:extLst>
                </a:gridCol>
                <a:gridCol w="4293705">
                  <a:extLst>
                    <a:ext uri="{9D8B030D-6E8A-4147-A177-3AD203B41FA5}">
                      <a16:colId xmlns:a16="http://schemas.microsoft.com/office/drawing/2014/main" val="254104988"/>
                    </a:ext>
                  </a:extLst>
                </a:gridCol>
              </a:tblGrid>
              <a:tr h="509178">
                <a:tc>
                  <a:txBody>
                    <a:bodyPr/>
                    <a:lstStyle/>
                    <a:p>
                      <a:pPr algn="ctr">
                        <a:spcAft>
                          <a:spcPts val="0"/>
                        </a:spcAft>
                      </a:pPr>
                      <a:r>
                        <a:rPr lang="en-US" sz="1400" noProof="0" dirty="0">
                          <a:effectLst/>
                        </a:rPr>
                        <a:t>PDU session attribute</a:t>
                      </a:r>
                      <a:endParaRPr lang="en-US" sz="14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400" dirty="0">
                          <a:effectLst/>
                        </a:rPr>
                        <a:t>Modification allowed during </a:t>
                      </a:r>
                      <a:br>
                        <a:rPr lang="en-GB" sz="1400" dirty="0">
                          <a:effectLst/>
                        </a:rPr>
                      </a:br>
                      <a:r>
                        <a:rPr lang="en-GB" sz="1400" dirty="0">
                          <a:effectLst/>
                        </a:rPr>
                        <a:t>PDU session lifetime</a:t>
                      </a:r>
                      <a:endParaRPr lang="sv-SE"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400" dirty="0">
                          <a:effectLst/>
                        </a:rPr>
                        <a:t>Notes</a:t>
                      </a:r>
                      <a:endParaRPr lang="sv-SE"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333144732"/>
                  </a:ext>
                </a:extLst>
              </a:tr>
              <a:tr h="500880">
                <a:tc>
                  <a:txBody>
                    <a:bodyPr/>
                    <a:lstStyle/>
                    <a:p>
                      <a:pPr algn="ctr">
                        <a:spcAft>
                          <a:spcPts val="0"/>
                        </a:spcAft>
                      </a:pPr>
                      <a:endParaRPr lang="en-GB" sz="1000" dirty="0">
                        <a:effectLst/>
                      </a:endParaRPr>
                    </a:p>
                    <a:p>
                      <a:pPr algn="ctr">
                        <a:spcAft>
                          <a:spcPts val="0"/>
                        </a:spcAft>
                      </a:pPr>
                      <a:r>
                        <a:rPr lang="en-GB" sz="1400" dirty="0">
                          <a:effectLst/>
                        </a:rPr>
                        <a:t>Slicing information</a:t>
                      </a:r>
                      <a:br>
                        <a:rPr lang="en-GB" sz="1400" dirty="0">
                          <a:effectLst/>
                        </a:rPr>
                      </a:br>
                      <a:endParaRPr lang="sv-SE"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rowSpan="5">
                  <a:txBody>
                    <a:bodyPr/>
                    <a:lstStyle/>
                    <a:p>
                      <a:pPr algn="ctr">
                        <a:spcAft>
                          <a:spcPts val="0"/>
                        </a:spcAft>
                      </a:pPr>
                      <a:br>
                        <a:rPr lang="en-GB" sz="1000" dirty="0">
                          <a:effectLst/>
                        </a:rPr>
                      </a:br>
                      <a:r>
                        <a:rPr lang="en-GB" sz="1400" dirty="0">
                          <a:effectLst/>
                        </a:rPr>
                        <a:t>No</a:t>
                      </a: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en-US" sz="1200" noProof="0" dirty="0">
                          <a:effectLst/>
                        </a:rPr>
                        <a:t>If not provided by the UE, the network determines the parameter based on default information received in User subscription.</a:t>
                      </a:r>
                    </a:p>
                    <a:p>
                      <a:pPr>
                        <a:spcAft>
                          <a:spcPts val="0"/>
                        </a:spcAft>
                      </a:pPr>
                      <a:r>
                        <a:rPr lang="en-US" sz="1200" noProof="0" dirty="0">
                          <a:effectLst/>
                          <a:latin typeface="Arial" panose="020B0604020202020204" pitchFamily="34" charset="0"/>
                          <a:ea typeface="Times New Roman" panose="02020603050405020304" pitchFamily="18" charset="0"/>
                          <a:cs typeface="Times New Roman" panose="02020603050405020304" pitchFamily="18" charset="0"/>
                        </a:rPr>
                        <a:t>Slicing information and DNN are used by AMF to select a SMF to handle a new session</a:t>
                      </a:r>
                    </a:p>
                  </a:txBody>
                  <a:tcPr marL="55726" marR="55726" marT="0" marB="0"/>
                </a:tc>
                <a:extLst>
                  <a:ext uri="{0D108BD9-81ED-4DB2-BD59-A6C34878D82A}">
                    <a16:rowId xmlns:a16="http://schemas.microsoft.com/office/drawing/2014/main" val="100070464"/>
                  </a:ext>
                </a:extLst>
              </a:tr>
              <a:tr h="500880">
                <a:tc>
                  <a:txBody>
                    <a:bodyPr/>
                    <a:lstStyle/>
                    <a:p>
                      <a:pPr algn="ctr">
                        <a:spcAft>
                          <a:spcPts val="0"/>
                        </a:spcAft>
                      </a:pPr>
                      <a:br>
                        <a:rPr lang="en-GB" sz="1000" dirty="0">
                          <a:effectLst/>
                        </a:rPr>
                      </a:br>
                      <a:r>
                        <a:rPr lang="en-GB" sz="1400" dirty="0">
                          <a:effectLst/>
                        </a:rPr>
                        <a:t>DNN</a:t>
                      </a:r>
                      <a:br>
                        <a:rPr lang="en-GB" sz="1000" dirty="0">
                          <a:effectLst/>
                        </a:rPr>
                      </a:b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spcAft>
                          <a:spcPts val="0"/>
                        </a:spcAft>
                      </a:pPr>
                      <a:r>
                        <a:rPr lang="en-US" sz="1200" noProof="0" dirty="0">
                          <a:effectLst/>
                        </a:rPr>
                        <a:t>If not provided by the UE, the network determines the parameter based on default information received in User subscription.</a:t>
                      </a:r>
                    </a:p>
                    <a:p>
                      <a:pPr>
                        <a:spcAft>
                          <a:spcPts val="0"/>
                        </a:spcAft>
                      </a:pPr>
                      <a:r>
                        <a:rPr lang="en-US" sz="1200" noProof="0" dirty="0">
                          <a:effectLst/>
                          <a:latin typeface="Arial" panose="020B0604020202020204" pitchFamily="34" charset="0"/>
                          <a:ea typeface="Times New Roman" panose="02020603050405020304" pitchFamily="18" charset="0"/>
                          <a:cs typeface="Times New Roman" panose="02020603050405020304" pitchFamily="18" charset="0"/>
                        </a:rPr>
                        <a:t>Slicing information and DNN are used by AMF to select a SMF to handle a new session</a:t>
                      </a:r>
                      <a:endParaRPr lang="sv-S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711443440"/>
                  </a:ext>
                </a:extLst>
              </a:tr>
              <a:tr h="250941">
                <a:tc>
                  <a:txBody>
                    <a:bodyPr/>
                    <a:lstStyle/>
                    <a:p>
                      <a:pPr algn="ctr">
                        <a:spcAft>
                          <a:spcPts val="0"/>
                        </a:spcAft>
                      </a:pPr>
                      <a:br>
                        <a:rPr lang="en-GB" sz="1400" dirty="0">
                          <a:effectLst/>
                        </a:rPr>
                      </a:br>
                      <a:r>
                        <a:rPr lang="en-GB" sz="1400" dirty="0">
                          <a:effectLst/>
                        </a:rPr>
                        <a:t>PDU session Type</a:t>
                      </a:r>
                      <a:endParaRPr lang="sv-SE"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lt1"/>
                          </a:solidFill>
                          <a:effectLst/>
                          <a:latin typeface="+mn-lt"/>
                          <a:ea typeface="+mn-ea"/>
                          <a:cs typeface="+mn-cs"/>
                        </a:rPr>
                        <a:t>If it is not provided by the UE, the network determines the parameter based on default information received in user subscription. </a:t>
                      </a:r>
                      <a:br>
                        <a:rPr lang="en-GB" sz="1200" b="1" kern="1200" dirty="0">
                          <a:solidFill>
                            <a:schemeClr val="lt1"/>
                          </a:solidFill>
                          <a:effectLst/>
                          <a:latin typeface="+mn-lt"/>
                          <a:ea typeface="+mn-ea"/>
                          <a:cs typeface="+mn-cs"/>
                        </a:rPr>
                      </a:br>
                      <a:r>
                        <a:rPr lang="en-GB" sz="1200" b="1" kern="1200" dirty="0">
                          <a:solidFill>
                            <a:schemeClr val="lt1"/>
                          </a:solidFill>
                          <a:effectLst/>
                          <a:latin typeface="+mn-lt"/>
                          <a:ea typeface="+mn-ea"/>
                          <a:cs typeface="+mn-cs"/>
                        </a:rPr>
                        <a:t>Subscription to different DNN(s) may correspond to different default SSC modes and different default PDU session Types</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146693211"/>
                  </a:ext>
                </a:extLst>
              </a:tr>
              <a:tr h="1110374">
                <a:tc>
                  <a:txBody>
                    <a:bodyPr/>
                    <a:lstStyle/>
                    <a:p>
                      <a:pPr algn="ctr">
                        <a:spcAft>
                          <a:spcPts val="0"/>
                        </a:spcAft>
                      </a:pPr>
                      <a:br>
                        <a:rPr lang="en-GB" sz="1400" dirty="0">
                          <a:effectLst/>
                        </a:rPr>
                      </a:br>
                      <a:r>
                        <a:rPr lang="en-GB" sz="1400" dirty="0">
                          <a:effectLst/>
                        </a:rPr>
                        <a:t>SSC mode</a:t>
                      </a:r>
                      <a:br>
                        <a:rPr lang="en-GB" sz="1400" dirty="0">
                          <a:effectLst/>
                        </a:rPr>
                      </a:br>
                      <a:endParaRPr lang="sv-SE"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spcAft>
                          <a:spcPts val="0"/>
                        </a:spcAft>
                      </a:pPr>
                      <a:r>
                        <a:rPr lang="en-GB" sz="1200" b="1" kern="1200" dirty="0">
                          <a:solidFill>
                            <a:schemeClr val="lt1"/>
                          </a:solidFill>
                          <a:effectLst/>
                          <a:latin typeface="+mn-lt"/>
                          <a:ea typeface="+mn-ea"/>
                          <a:cs typeface="+mn-cs"/>
                        </a:rPr>
                        <a:t>If it is not provided by the UE, the network determines the parameter based on default information received in user subscription. </a:t>
                      </a:r>
                      <a:br>
                        <a:rPr lang="en-GB" sz="1200" b="1" kern="1200" dirty="0">
                          <a:solidFill>
                            <a:schemeClr val="lt1"/>
                          </a:solidFill>
                          <a:effectLst/>
                          <a:latin typeface="+mn-lt"/>
                          <a:ea typeface="+mn-ea"/>
                          <a:cs typeface="+mn-cs"/>
                        </a:rPr>
                      </a:br>
                      <a:r>
                        <a:rPr lang="en-GB" sz="1200" b="1" kern="1200" dirty="0">
                          <a:solidFill>
                            <a:schemeClr val="lt1"/>
                          </a:solidFill>
                          <a:effectLst/>
                          <a:latin typeface="+mn-lt"/>
                          <a:ea typeface="+mn-ea"/>
                          <a:cs typeface="+mn-cs"/>
                        </a:rPr>
                        <a:t>Subscription to different DNN(s) may correspond to different default SSC modes and different default PDU session Types</a:t>
                      </a:r>
                      <a:endParaRPr lang="sv-S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993320190"/>
                  </a:ext>
                </a:extLst>
              </a:tr>
              <a:tr h="251633">
                <a:tc>
                  <a:txBody>
                    <a:bodyPr/>
                    <a:lstStyle/>
                    <a:p>
                      <a:pPr algn="ctr">
                        <a:spcAft>
                          <a:spcPts val="0"/>
                        </a:spcAft>
                      </a:pPr>
                      <a:r>
                        <a:rPr lang="en-GB" sz="1400" dirty="0">
                          <a:effectLst/>
                        </a:rPr>
                        <a:t>PDU session Id</a:t>
                      </a:r>
                      <a:endParaRPr lang="sv-SE"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spcAft>
                          <a:spcPts val="0"/>
                        </a:spcAft>
                      </a:pPr>
                      <a:r>
                        <a:rPr lang="en-US" sz="1200" noProof="0" dirty="0">
                          <a:effectLst/>
                          <a:latin typeface="Arial" panose="020B0604020202020204" pitchFamily="34" charset="0"/>
                          <a:ea typeface="Times New Roman" panose="02020603050405020304" pitchFamily="18" charset="0"/>
                          <a:cs typeface="Times New Roman" panose="02020603050405020304" pitchFamily="18" charset="0"/>
                        </a:rPr>
                        <a:t>Must be provided by the UE</a:t>
                      </a:r>
                    </a:p>
                  </a:txBody>
                  <a:tcPr marL="55726" marR="55726" marT="0" marB="0"/>
                </a:tc>
                <a:extLst>
                  <a:ext uri="{0D108BD9-81ED-4DB2-BD59-A6C34878D82A}">
                    <a16:rowId xmlns:a16="http://schemas.microsoft.com/office/drawing/2014/main" val="3377698439"/>
                  </a:ext>
                </a:extLst>
              </a:tr>
              <a:tr h="106017">
                <a:tc gridSpan="3">
                  <a:txBody>
                    <a:bodyPr/>
                    <a:lstStyle/>
                    <a:p>
                      <a:pPr marL="540385" indent="-540385">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13351508"/>
                  </a:ext>
                </a:extLst>
              </a:tr>
            </a:tbl>
          </a:graphicData>
        </a:graphic>
      </p:graphicFrame>
    </p:spTree>
    <p:extLst>
      <p:ext uri="{BB962C8B-B14F-4D97-AF65-F5344CB8AC3E}">
        <p14:creationId xmlns:p14="http://schemas.microsoft.com/office/powerpoint/2010/main" val="418616912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F and SMF Interaction</a:t>
            </a:r>
            <a:br>
              <a:rPr lang="en-US" dirty="0"/>
            </a:br>
            <a:r>
              <a:rPr lang="en-US" dirty="0"/>
              <a:t>(N2&amp;N4)</a:t>
            </a:r>
          </a:p>
        </p:txBody>
      </p:sp>
      <p:sp>
        <p:nvSpPr>
          <p:cNvPr id="3" name="Text Placeholder 2"/>
          <p:cNvSpPr>
            <a:spLocks noGrp="1"/>
          </p:cNvSpPr>
          <p:nvPr>
            <p:ph type="body" idx="1"/>
          </p:nvPr>
        </p:nvSpPr>
        <p:spPr>
          <a:xfrm>
            <a:off x="304317" y="2084810"/>
            <a:ext cx="11135785" cy="3852000"/>
          </a:xfrm>
        </p:spPr>
        <p:txBody>
          <a:bodyPr/>
          <a:lstStyle/>
          <a:p>
            <a:r>
              <a:rPr lang="en-US" sz="1800" dirty="0"/>
              <a:t>There is a unique N2 termination in AMF for</a:t>
            </a:r>
            <a:br>
              <a:rPr lang="en-US" sz="1800" dirty="0"/>
            </a:br>
            <a:r>
              <a:rPr lang="en-US" sz="1800" dirty="0"/>
              <a:t>a given UE regardless of the number of PDU </a:t>
            </a:r>
            <a:br>
              <a:rPr lang="en-US" sz="1800" dirty="0"/>
            </a:br>
            <a:r>
              <a:rPr lang="en-US" sz="1800" dirty="0"/>
              <a:t>sessions</a:t>
            </a:r>
          </a:p>
          <a:p>
            <a:r>
              <a:rPr lang="en-US" sz="1800" dirty="0"/>
              <a:t>Some N2 signaling (Handover) require action of both </a:t>
            </a:r>
            <a:br>
              <a:rPr lang="en-US" sz="1800" dirty="0"/>
            </a:br>
            <a:r>
              <a:rPr lang="en-US" sz="1800" dirty="0"/>
              <a:t>AMF and SMF; AMF coordinates</a:t>
            </a:r>
          </a:p>
          <a:p>
            <a:r>
              <a:rPr lang="en-US" sz="1800" dirty="0"/>
              <a:t>SMF controls end-to-end PDU sessions</a:t>
            </a:r>
            <a:br>
              <a:rPr lang="en-US" sz="1800" dirty="0"/>
            </a:br>
            <a:r>
              <a:rPr lang="en-US" sz="1800" dirty="0"/>
              <a:t>via the N4 interface</a:t>
            </a:r>
          </a:p>
          <a:p>
            <a:r>
              <a:rPr lang="en-US" sz="1800" dirty="0"/>
              <a:t>UPF informs SMF via N4 if there is DL data</a:t>
            </a:r>
            <a:br>
              <a:rPr lang="en-US" sz="1800" dirty="0"/>
            </a:br>
            <a:r>
              <a:rPr lang="en-US" sz="1800" dirty="0"/>
              <a:t>without DL N3 Tunnel </a:t>
            </a:r>
            <a:r>
              <a:rPr lang="en-US" sz="1800" dirty="0">
                <a:sym typeface="Wingdings" panose="05000000000000000000" pitchFamily="2" charset="2"/>
              </a:rPr>
              <a:t>SMF informs AMF</a:t>
            </a:r>
            <a:br>
              <a:rPr lang="en-US" sz="1800" dirty="0">
                <a:sym typeface="Wingdings" panose="05000000000000000000" pitchFamily="2" charset="2"/>
              </a:rPr>
            </a:br>
            <a:r>
              <a:rPr lang="en-US" sz="1800" dirty="0">
                <a:sym typeface="Wingdings" panose="05000000000000000000" pitchFamily="2" charset="2"/>
              </a:rPr>
              <a:t> AMF may trigger UE paging</a:t>
            </a:r>
            <a:endParaRPr lang="en-US" sz="1800" dirty="0"/>
          </a:p>
        </p:txBody>
      </p:sp>
      <p:grpSp>
        <p:nvGrpSpPr>
          <p:cNvPr id="5" name="Group 4"/>
          <p:cNvGrpSpPr>
            <a:grpSpLocks noChangeAspect="1"/>
          </p:cNvGrpSpPr>
          <p:nvPr/>
        </p:nvGrpSpPr>
        <p:grpSpPr>
          <a:xfrm>
            <a:off x="5086091" y="2376765"/>
            <a:ext cx="6972453" cy="3332526"/>
            <a:chOff x="453894" y="1290725"/>
            <a:chExt cx="11150562" cy="5329479"/>
          </a:xfrm>
        </p:grpSpPr>
        <p:grpSp>
          <p:nvGrpSpPr>
            <p:cNvPr id="6" name="Group 5"/>
            <p:cNvGrpSpPr/>
            <p:nvPr/>
          </p:nvGrpSpPr>
          <p:grpSpPr>
            <a:xfrm>
              <a:off x="9354059" y="4900926"/>
              <a:ext cx="2250397" cy="1719278"/>
              <a:chOff x="9315422" y="5130211"/>
              <a:chExt cx="2250397" cy="1719278"/>
            </a:xfrm>
          </p:grpSpPr>
          <p:sp>
            <p:nvSpPr>
              <p:cNvPr id="89"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sz="1000"/>
              </a:p>
            </p:txBody>
          </p:sp>
          <p:sp>
            <p:nvSpPr>
              <p:cNvPr id="90" name="Text Box 35"/>
              <p:cNvSpPr txBox="1">
                <a:spLocks noChangeAspect="1" noChangeArrowheads="1"/>
              </p:cNvSpPr>
              <p:nvPr/>
            </p:nvSpPr>
            <p:spPr bwMode="auto">
              <a:xfrm>
                <a:off x="9508328" y="5638453"/>
                <a:ext cx="1808285" cy="85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ea typeface="MS PGothic" pitchFamily="34" charset="-128"/>
                  </a:rPr>
                  <a:t>Data Network </a:t>
                </a:r>
              </a:p>
              <a:p>
                <a:pPr algn="ctr" eaLnBrk="1" hangingPunct="1">
                  <a:lnSpc>
                    <a:spcPct val="80000"/>
                  </a:lnSpc>
                  <a:spcBef>
                    <a:spcPct val="0"/>
                  </a:spcBef>
                  <a:buClrTx/>
                  <a:buFontTx/>
                  <a:buNone/>
                </a:pPr>
                <a:r>
                  <a:rPr lang="en-US" altLang="en-US" sz="1000" dirty="0">
                    <a:ea typeface="MS PGothic" pitchFamily="34" charset="-128"/>
                  </a:rPr>
                  <a:t>(e.g. operator </a:t>
                </a:r>
              </a:p>
              <a:p>
                <a:pPr algn="ctr" eaLnBrk="1" hangingPunct="1">
                  <a:lnSpc>
                    <a:spcPct val="80000"/>
                  </a:lnSpc>
                  <a:spcBef>
                    <a:spcPct val="0"/>
                  </a:spcBef>
                  <a:buClrTx/>
                  <a:buFontTx/>
                  <a:buNone/>
                </a:pPr>
                <a:r>
                  <a:rPr lang="en-US" altLang="en-US" sz="1000" dirty="0">
                    <a:ea typeface="MS PGothic" pitchFamily="34" charset="-128"/>
                  </a:rPr>
                  <a:t>or Internet)</a:t>
                </a:r>
              </a:p>
            </p:txBody>
          </p:sp>
        </p:grpSp>
        <p:cxnSp>
          <p:nvCxnSpPr>
            <p:cNvPr id="7" name="Elbow Connector 59"/>
            <p:cNvCxnSpPr>
              <a:cxnSpLocks/>
              <a:endCxn id="52" idx="2"/>
            </p:cNvCxnSpPr>
            <p:nvPr/>
          </p:nvCxnSpPr>
          <p:spPr bwMode="auto">
            <a:xfrm flipV="1">
              <a:off x="955975" y="352451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8" name="Freeform 4"/>
            <p:cNvSpPr>
              <a:spLocks noChangeAspect="1" noEditPoints="1"/>
            </p:cNvSpPr>
            <p:nvPr/>
          </p:nvSpPr>
          <p:spPr bwMode="auto">
            <a:xfrm>
              <a:off x="696863" y="498617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a:p>
          </p:txBody>
        </p:sp>
        <p:sp>
          <p:nvSpPr>
            <p:cNvPr id="9" name="Freeform 88"/>
            <p:cNvSpPr>
              <a:spLocks/>
            </p:cNvSpPr>
            <p:nvPr/>
          </p:nvSpPr>
          <p:spPr bwMode="auto">
            <a:xfrm rot="2583056" flipH="1">
              <a:off x="1412059" y="516553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00" b="1" dirty="0">
                <a:cs typeface="+mn-cs"/>
              </a:endParaRPr>
            </a:p>
          </p:txBody>
        </p:sp>
        <p:sp>
          <p:nvSpPr>
            <p:cNvPr id="10" name="Text Box 144"/>
            <p:cNvSpPr txBox="1">
              <a:spLocks noChangeAspect="1" noChangeArrowheads="1"/>
            </p:cNvSpPr>
            <p:nvPr/>
          </p:nvSpPr>
          <p:spPr bwMode="auto">
            <a:xfrm>
              <a:off x="453894" y="565117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G UE</a:t>
              </a:r>
            </a:p>
          </p:txBody>
        </p:sp>
        <p:sp>
          <p:nvSpPr>
            <p:cNvPr id="11" name="Text Box 144"/>
            <p:cNvSpPr txBox="1">
              <a:spLocks noChangeAspect="1" noChangeArrowheads="1"/>
            </p:cNvSpPr>
            <p:nvPr/>
          </p:nvSpPr>
          <p:spPr bwMode="auto">
            <a:xfrm>
              <a:off x="4004009" y="4522361"/>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2</a:t>
              </a:r>
            </a:p>
          </p:txBody>
        </p:sp>
        <p:sp>
          <p:nvSpPr>
            <p:cNvPr id="12" name="Text Box 144"/>
            <p:cNvSpPr txBox="1">
              <a:spLocks noChangeAspect="1" noChangeArrowheads="1"/>
            </p:cNvSpPr>
            <p:nvPr/>
          </p:nvSpPr>
          <p:spPr bwMode="auto">
            <a:xfrm>
              <a:off x="5022480" y="561005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3</a:t>
              </a:r>
            </a:p>
          </p:txBody>
        </p:sp>
        <p:sp>
          <p:nvSpPr>
            <p:cNvPr id="13" name="Text Box 144"/>
            <p:cNvSpPr txBox="1">
              <a:spLocks noChangeAspect="1" noChangeArrowheads="1"/>
            </p:cNvSpPr>
            <p:nvPr/>
          </p:nvSpPr>
          <p:spPr bwMode="auto">
            <a:xfrm>
              <a:off x="8188449" y="561215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6</a:t>
              </a:r>
            </a:p>
          </p:txBody>
        </p:sp>
        <p:sp>
          <p:nvSpPr>
            <p:cNvPr id="14" name="Text Box 144"/>
            <p:cNvSpPr txBox="1">
              <a:spLocks noChangeAspect="1" noChangeArrowheads="1"/>
            </p:cNvSpPr>
            <p:nvPr/>
          </p:nvSpPr>
          <p:spPr bwMode="auto">
            <a:xfrm>
              <a:off x="7405615" y="271829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7</a:t>
              </a:r>
            </a:p>
          </p:txBody>
        </p:sp>
        <p:sp>
          <p:nvSpPr>
            <p:cNvPr id="15" name="Text Box 144"/>
            <p:cNvSpPr txBox="1">
              <a:spLocks noChangeAspect="1" noChangeArrowheads="1"/>
            </p:cNvSpPr>
            <p:nvPr/>
          </p:nvSpPr>
          <p:spPr bwMode="auto">
            <a:xfrm>
              <a:off x="8303280" y="2720540"/>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5</a:t>
              </a:r>
            </a:p>
          </p:txBody>
        </p:sp>
        <p:sp>
          <p:nvSpPr>
            <p:cNvPr id="16" name="Text Box 144"/>
            <p:cNvSpPr txBox="1">
              <a:spLocks noChangeAspect="1" noChangeArrowheads="1"/>
            </p:cNvSpPr>
            <p:nvPr/>
          </p:nvSpPr>
          <p:spPr bwMode="auto">
            <a:xfrm>
              <a:off x="7174663" y="4654372"/>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4</a:t>
              </a:r>
            </a:p>
          </p:txBody>
        </p:sp>
        <p:grpSp>
          <p:nvGrpSpPr>
            <p:cNvPr id="17" name="Group 16"/>
            <p:cNvGrpSpPr/>
            <p:nvPr/>
          </p:nvGrpSpPr>
          <p:grpSpPr>
            <a:xfrm>
              <a:off x="2780030" y="4934476"/>
              <a:ext cx="886830" cy="1230796"/>
              <a:chOff x="936376" y="2900085"/>
              <a:chExt cx="864096" cy="1240668"/>
            </a:xfrm>
          </p:grpSpPr>
          <p:sp>
            <p:nvSpPr>
              <p:cNvPr id="84"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5"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6"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ea typeface="Segoe UI" panose="020B0502040204020203" pitchFamily="34" charset="0"/>
                    <a:cs typeface="Arial" panose="020B0604020202020204" pitchFamily="34" charset="0"/>
                  </a:rPr>
                  <a:t>5G RAN</a:t>
                </a:r>
              </a:p>
            </p:txBody>
          </p:sp>
          <p:sp>
            <p:nvSpPr>
              <p:cNvPr id="87"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8"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000">
                  <a:solidFill>
                    <a:srgbClr val="58585A"/>
                  </a:solidFill>
                </a:endParaRPr>
              </a:p>
            </p:txBody>
          </p:sp>
        </p:grpSp>
        <p:sp>
          <p:nvSpPr>
            <p:cNvPr id="18" name="Line 30"/>
            <p:cNvSpPr>
              <a:spLocks noChangeShapeType="1"/>
            </p:cNvSpPr>
            <p:nvPr/>
          </p:nvSpPr>
          <p:spPr bwMode="auto">
            <a:xfrm>
              <a:off x="3670915" y="5830687"/>
              <a:ext cx="5705219"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1000">
                <a:ea typeface="ＭＳ Ｐゴシック" charset="0"/>
                <a:cs typeface="Arial" charset="0"/>
              </a:endParaRPr>
            </a:p>
          </p:txBody>
        </p:sp>
        <p:grpSp>
          <p:nvGrpSpPr>
            <p:cNvPr id="19" name="Group 18"/>
            <p:cNvGrpSpPr/>
            <p:nvPr/>
          </p:nvGrpSpPr>
          <p:grpSpPr>
            <a:xfrm>
              <a:off x="7068292" y="4955384"/>
              <a:ext cx="889582" cy="1249115"/>
              <a:chOff x="5979156" y="5040856"/>
              <a:chExt cx="1101600" cy="1587600"/>
            </a:xfrm>
          </p:grpSpPr>
          <p:cxnSp>
            <p:nvCxnSpPr>
              <p:cNvPr id="78" name="Straight Connector 77"/>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79"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0"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1"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UPF</a:t>
                </a:r>
              </a:p>
            </p:txBody>
          </p:sp>
          <p:sp>
            <p:nvSpPr>
              <p:cNvPr id="82"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3"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000"/>
              </a:p>
            </p:txBody>
          </p:sp>
        </p:grpSp>
        <p:grpSp>
          <p:nvGrpSpPr>
            <p:cNvPr id="20" name="Group 19"/>
            <p:cNvGrpSpPr/>
            <p:nvPr/>
          </p:nvGrpSpPr>
          <p:grpSpPr>
            <a:xfrm>
              <a:off x="7085193" y="3084556"/>
              <a:ext cx="948900" cy="1274363"/>
              <a:chOff x="4338871" y="2725624"/>
              <a:chExt cx="1199053" cy="1626215"/>
            </a:xfrm>
          </p:grpSpPr>
          <p:sp>
            <p:nvSpPr>
              <p:cNvPr id="7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SMF</a:t>
                </a:r>
              </a:p>
            </p:txBody>
          </p:sp>
          <p:sp>
            <p:nvSpPr>
              <p:cNvPr id="7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nvGrpSpPr>
            <p:cNvPr id="21" name="Group 20"/>
            <p:cNvGrpSpPr/>
            <p:nvPr/>
          </p:nvGrpSpPr>
          <p:grpSpPr>
            <a:xfrm>
              <a:off x="7843880" y="1290725"/>
              <a:ext cx="920586" cy="1329413"/>
              <a:chOff x="2530204" y="1718022"/>
              <a:chExt cx="1186277" cy="1647323"/>
            </a:xfrm>
          </p:grpSpPr>
          <p:sp>
            <p:nvSpPr>
              <p:cNvPr id="64"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5"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6"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67" name="Group 274"/>
              <p:cNvGrpSpPr>
                <a:grpSpLocks noChangeAspect="1"/>
              </p:cNvGrpSpPr>
              <p:nvPr/>
            </p:nvGrpSpPr>
            <p:grpSpPr bwMode="auto">
              <a:xfrm>
                <a:off x="2590950" y="1853233"/>
                <a:ext cx="1125531" cy="1512112"/>
                <a:chOff x="3147" y="3024"/>
                <a:chExt cx="257" cy="366"/>
              </a:xfrm>
            </p:grpSpPr>
            <p:grpSp>
              <p:nvGrpSpPr>
                <p:cNvPr id="68" name="Group 7"/>
                <p:cNvGrpSpPr>
                  <a:grpSpLocks noChangeAspect="1"/>
                </p:cNvGrpSpPr>
                <p:nvPr/>
              </p:nvGrpSpPr>
              <p:grpSpPr bwMode="auto">
                <a:xfrm>
                  <a:off x="3147" y="3024"/>
                  <a:ext cx="257" cy="366"/>
                  <a:chOff x="2283" y="1698"/>
                  <a:chExt cx="983" cy="1402"/>
                </a:xfrm>
              </p:grpSpPr>
              <p:pic>
                <p:nvPicPr>
                  <p:cNvPr id="70"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9"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charset="-128"/>
                    </a:rPr>
                    <a:t>PCF</a:t>
                  </a:r>
                </a:p>
              </p:txBody>
            </p:sp>
          </p:grpSp>
        </p:grpSp>
        <p:cxnSp>
          <p:nvCxnSpPr>
            <p:cNvPr id="22" name="Straight Connector 21"/>
            <p:cNvCxnSpPr>
              <a:cxnSpLocks/>
              <a:stCxn id="53" idx="1"/>
              <a:endCxn id="85" idx="6"/>
            </p:cNvCxnSpPr>
            <p:nvPr/>
          </p:nvCxnSpPr>
          <p:spPr bwMode="auto">
            <a:xfrm flipH="1">
              <a:off x="3652201" y="402933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3" name="Text Box 144"/>
            <p:cNvSpPr txBox="1">
              <a:spLocks noChangeAspect="1" noChangeArrowheads="1"/>
            </p:cNvSpPr>
            <p:nvPr/>
          </p:nvSpPr>
          <p:spPr bwMode="auto">
            <a:xfrm>
              <a:off x="661985" y="333549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a:t>
              </a:r>
            </a:p>
          </p:txBody>
        </p:sp>
        <p:cxnSp>
          <p:nvCxnSpPr>
            <p:cNvPr id="24" name="Straight Connector 23"/>
            <p:cNvCxnSpPr>
              <a:cxnSpLocks/>
              <a:stCxn id="75" idx="2"/>
              <a:endCxn id="80" idx="0"/>
            </p:cNvCxnSpPr>
            <p:nvPr/>
          </p:nvCxnSpPr>
          <p:spPr bwMode="auto">
            <a:xfrm flipH="1">
              <a:off x="7511859" y="429994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5" name="Straight Connector 24"/>
            <p:cNvCxnSpPr>
              <a:cxnSpLocks/>
              <a:stCxn id="75" idx="1"/>
              <a:endCxn id="53" idx="3"/>
            </p:cNvCxnSpPr>
            <p:nvPr/>
          </p:nvCxnSpPr>
          <p:spPr bwMode="auto">
            <a:xfrm flipH="1" flipV="1">
              <a:off x="6369288" y="402933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6" name="Text Box 144"/>
            <p:cNvSpPr txBox="1">
              <a:spLocks noChangeAspect="1" noChangeArrowheads="1"/>
            </p:cNvSpPr>
            <p:nvPr/>
          </p:nvSpPr>
          <p:spPr bwMode="auto">
            <a:xfrm>
              <a:off x="6273553" y="384546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1</a:t>
              </a:r>
            </a:p>
          </p:txBody>
        </p:sp>
        <p:grpSp>
          <p:nvGrpSpPr>
            <p:cNvPr id="27" name="Group 26"/>
            <p:cNvGrpSpPr/>
            <p:nvPr/>
          </p:nvGrpSpPr>
          <p:grpSpPr>
            <a:xfrm>
              <a:off x="6293596" y="1303232"/>
              <a:ext cx="920586" cy="1329413"/>
              <a:chOff x="2530204" y="1718022"/>
              <a:chExt cx="1186277" cy="1647323"/>
            </a:xfrm>
          </p:grpSpPr>
          <p:sp>
            <p:nvSpPr>
              <p:cNvPr id="56"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7"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8"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59" name="Group 274"/>
              <p:cNvGrpSpPr>
                <a:grpSpLocks noChangeAspect="1"/>
              </p:cNvGrpSpPr>
              <p:nvPr/>
            </p:nvGrpSpPr>
            <p:grpSpPr bwMode="auto">
              <a:xfrm>
                <a:off x="2590950" y="1853233"/>
                <a:ext cx="1125531" cy="1512112"/>
                <a:chOff x="3147" y="3024"/>
                <a:chExt cx="257" cy="366"/>
              </a:xfrm>
            </p:grpSpPr>
            <p:grpSp>
              <p:nvGrpSpPr>
                <p:cNvPr id="60" name="Group 7"/>
                <p:cNvGrpSpPr>
                  <a:grpSpLocks noChangeAspect="1"/>
                </p:cNvGrpSpPr>
                <p:nvPr/>
              </p:nvGrpSpPr>
              <p:grpSpPr bwMode="auto">
                <a:xfrm>
                  <a:off x="3147" y="3024"/>
                  <a:ext cx="257" cy="366"/>
                  <a:chOff x="2283" y="1698"/>
                  <a:chExt cx="983" cy="1402"/>
                </a:xfrm>
              </p:grpSpPr>
              <p:pic>
                <p:nvPicPr>
                  <p:cNvPr id="62"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1"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pitchFamily="34" charset="-128"/>
                    </a:rPr>
                    <a:t>UDM</a:t>
                  </a:r>
                  <a:endParaRPr lang="en-US" altLang="en-US" sz="1000" dirty="0">
                    <a:ea typeface="MS PGothic" charset="-128"/>
                  </a:endParaRPr>
                </a:p>
              </p:txBody>
            </p:sp>
          </p:grpSp>
        </p:grpSp>
        <p:cxnSp>
          <p:nvCxnSpPr>
            <p:cNvPr id="28" name="Straight Connector 27"/>
            <p:cNvCxnSpPr>
              <a:cxnSpLocks/>
              <a:stCxn id="62" idx="2"/>
              <a:endCxn id="52" idx="7"/>
            </p:cNvCxnSpPr>
            <p:nvPr/>
          </p:nvCxnSpPr>
          <p:spPr bwMode="auto">
            <a:xfrm flipH="1">
              <a:off x="6276709" y="263264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9" name="Straight Connector 28"/>
            <p:cNvCxnSpPr>
              <a:cxnSpLocks/>
              <a:endCxn id="52" idx="1"/>
            </p:cNvCxnSpPr>
            <p:nvPr/>
          </p:nvCxnSpPr>
          <p:spPr bwMode="auto">
            <a:xfrm>
              <a:off x="5247805" y="262408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0" name="Straight Connector 29"/>
            <p:cNvCxnSpPr>
              <a:cxnSpLocks/>
              <a:endCxn id="61" idx="1"/>
            </p:cNvCxnSpPr>
            <p:nvPr/>
          </p:nvCxnSpPr>
          <p:spPr bwMode="auto">
            <a:xfrm>
              <a:off x="5626751" y="228733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1" name="Text Box 144"/>
            <p:cNvSpPr txBox="1">
              <a:spLocks noChangeAspect="1" noChangeArrowheads="1"/>
            </p:cNvSpPr>
            <p:nvPr/>
          </p:nvSpPr>
          <p:spPr bwMode="auto">
            <a:xfrm>
              <a:off x="5499691" y="203511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3</a:t>
              </a:r>
            </a:p>
          </p:txBody>
        </p:sp>
        <p:sp>
          <p:nvSpPr>
            <p:cNvPr id="32" name="Text Box 144"/>
            <p:cNvSpPr txBox="1">
              <a:spLocks noChangeAspect="1" noChangeArrowheads="1"/>
            </p:cNvSpPr>
            <p:nvPr/>
          </p:nvSpPr>
          <p:spPr bwMode="auto">
            <a:xfrm>
              <a:off x="5753154" y="272791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8</a:t>
              </a:r>
            </a:p>
          </p:txBody>
        </p:sp>
        <p:sp>
          <p:nvSpPr>
            <p:cNvPr id="33" name="Text Box 144"/>
            <p:cNvSpPr txBox="1">
              <a:spLocks noChangeAspect="1" noChangeArrowheads="1"/>
            </p:cNvSpPr>
            <p:nvPr/>
          </p:nvSpPr>
          <p:spPr bwMode="auto">
            <a:xfrm>
              <a:off x="4526304" y="271942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2</a:t>
              </a:r>
            </a:p>
          </p:txBody>
        </p:sp>
        <p:sp>
          <p:nvSpPr>
            <p:cNvPr id="34" name="Text Box 144"/>
            <p:cNvSpPr txBox="1">
              <a:spLocks noChangeAspect="1" noChangeArrowheads="1"/>
            </p:cNvSpPr>
            <p:nvPr/>
          </p:nvSpPr>
          <p:spPr bwMode="auto">
            <a:xfrm>
              <a:off x="6750515" y="2712907"/>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0</a:t>
              </a:r>
            </a:p>
          </p:txBody>
        </p:sp>
        <p:cxnSp>
          <p:nvCxnSpPr>
            <p:cNvPr id="35" name="Straight Connector 34"/>
            <p:cNvCxnSpPr>
              <a:cxnSpLocks/>
              <a:stCxn id="74" idx="1"/>
              <a:endCxn id="62" idx="2"/>
            </p:cNvCxnSpPr>
            <p:nvPr/>
          </p:nvCxnSpPr>
          <p:spPr bwMode="auto">
            <a:xfrm flipH="1" flipV="1">
              <a:off x="6777460" y="263264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6" name="Straight Connector 35"/>
            <p:cNvCxnSpPr>
              <a:cxnSpLocks/>
              <a:stCxn id="70" idx="2"/>
              <a:endCxn id="74" idx="7"/>
            </p:cNvCxnSpPr>
            <p:nvPr/>
          </p:nvCxnSpPr>
          <p:spPr bwMode="auto">
            <a:xfrm flipH="1">
              <a:off x="7818762" y="262013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7" name="Straight Connector 36"/>
            <p:cNvCxnSpPr>
              <a:cxnSpLocks/>
              <a:stCxn id="70" idx="2"/>
            </p:cNvCxnSpPr>
            <p:nvPr/>
          </p:nvCxnSpPr>
          <p:spPr bwMode="auto">
            <a:xfrm>
              <a:off x="8327744" y="262013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8" name="Straight Connector 95"/>
            <p:cNvCxnSpPr>
              <a:cxnSpLocks/>
              <a:stCxn id="70" idx="2"/>
              <a:endCxn id="53" idx="2"/>
            </p:cNvCxnSpPr>
            <p:nvPr/>
          </p:nvCxnSpPr>
          <p:spPr bwMode="auto">
            <a:xfrm rot="5400000">
              <a:off x="6313012" y="228375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cxnSp>
          <p:nvCxnSpPr>
            <p:cNvPr id="39" name="Straight Connector 95"/>
            <p:cNvCxnSpPr>
              <a:cxnSpLocks/>
              <a:stCxn id="52" idx="3"/>
              <a:endCxn id="53" idx="1"/>
            </p:cNvCxnSpPr>
            <p:nvPr/>
          </p:nvCxnSpPr>
          <p:spPr bwMode="auto">
            <a:xfrm rot="5400000">
              <a:off x="5529192" y="387957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40" name="Group 39"/>
            <p:cNvGrpSpPr/>
            <p:nvPr/>
          </p:nvGrpSpPr>
          <p:grpSpPr>
            <a:xfrm>
              <a:off x="5543140" y="3083094"/>
              <a:ext cx="948900" cy="1274363"/>
              <a:chOff x="4338871" y="2725624"/>
              <a:chExt cx="1199053" cy="1626215"/>
            </a:xfrm>
          </p:grpSpPr>
          <p:sp>
            <p:nvSpPr>
              <p:cNvPr id="50"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1"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2"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3"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MF</a:t>
                </a:r>
              </a:p>
            </p:txBody>
          </p:sp>
          <p:sp>
            <p:nvSpPr>
              <p:cNvPr id="54"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5"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sp>
          <p:nvSpPr>
            <p:cNvPr id="41" name="Text Box 144"/>
            <p:cNvSpPr txBox="1">
              <a:spLocks noChangeAspect="1" noChangeArrowheads="1"/>
            </p:cNvSpPr>
            <p:nvPr/>
          </p:nvSpPr>
          <p:spPr bwMode="auto">
            <a:xfrm>
              <a:off x="4655018" y="3639523"/>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4</a:t>
              </a:r>
            </a:p>
          </p:txBody>
        </p:sp>
        <p:sp>
          <p:nvSpPr>
            <p:cNvPr id="42" name="Text Box 144"/>
            <p:cNvSpPr txBox="1">
              <a:spLocks noChangeAspect="1" noChangeArrowheads="1"/>
            </p:cNvSpPr>
            <p:nvPr/>
          </p:nvSpPr>
          <p:spPr bwMode="auto">
            <a:xfrm>
              <a:off x="6273553" y="435000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5</a:t>
              </a:r>
            </a:p>
          </p:txBody>
        </p:sp>
        <p:grpSp>
          <p:nvGrpSpPr>
            <p:cNvPr id="43" name="Group 42"/>
            <p:cNvGrpSpPr/>
            <p:nvPr/>
          </p:nvGrpSpPr>
          <p:grpSpPr>
            <a:xfrm>
              <a:off x="4837025" y="1387754"/>
              <a:ext cx="948900" cy="1274363"/>
              <a:chOff x="4338871" y="2725624"/>
              <a:chExt cx="1199053" cy="1626215"/>
            </a:xfrm>
          </p:grpSpPr>
          <p:sp>
            <p:nvSpPr>
              <p:cNvPr id="4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USF</a:t>
                </a:r>
              </a:p>
            </p:txBody>
          </p:sp>
          <p:sp>
            <p:nvSpPr>
              <p:cNvPr id="4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sp>
        <p:nvSpPr>
          <p:cNvPr id="91" name="Oval 90"/>
          <p:cNvSpPr/>
          <p:nvPr/>
        </p:nvSpPr>
        <p:spPr bwMode="auto">
          <a:xfrm>
            <a:off x="7496927" y="4336199"/>
            <a:ext cx="226697" cy="258772"/>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2" name="Oval 91"/>
          <p:cNvSpPr/>
          <p:nvPr/>
        </p:nvSpPr>
        <p:spPr bwMode="auto">
          <a:xfrm>
            <a:off x="9490616" y="4396164"/>
            <a:ext cx="226697" cy="258772"/>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26852968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pPr lvl="0">
              <a:defRPr/>
            </a:pPr>
            <a:r>
              <a:rPr lang="en-US" altLang="en-US" dirty="0">
                <a:solidFill>
                  <a:schemeClr val="bg1"/>
                </a:solidFill>
                <a:latin typeface="Ericsson Capital TT" pitchFamily="2" charset="0"/>
              </a:rPr>
              <a:t>5g Policy Framework</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Content Placeholder 1"/>
          <p:cNvSpPr txBox="1">
            <a:spLocks/>
          </p:cNvSpPr>
          <p:nvPr/>
        </p:nvSpPr>
        <p:spPr>
          <a:xfrm>
            <a:off x="529168" y="1223603"/>
            <a:ext cx="7489418" cy="4087201"/>
          </a:xfrm>
          <a:prstGeom prst="rect">
            <a:avLst/>
          </a:prstGeom>
        </p:spPr>
        <p:txBody>
          <a:bodyPr>
            <a:noAutofit/>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hangingPunct="0">
              <a:buClr>
                <a:schemeClr val="bg1"/>
              </a:buClr>
            </a:pPr>
            <a:r>
              <a:rPr lang="en-US" sz="2000" b="1" kern="0" dirty="0">
                <a:solidFill>
                  <a:schemeClr val="bg1"/>
                </a:solidFill>
                <a:latin typeface="Arial" panose="020B0604020202020204" pitchFamily="34" charset="0"/>
                <a:cs typeface="Arial" panose="020B0604020202020204" pitchFamily="34" charset="0"/>
              </a:rPr>
              <a:t>Policy Control Function (PCF), stand-alone function in 5GC</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PCF provides policy decisions to SMF and AMF.</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Retrieves the policy subscription profile from UDR.</a:t>
            </a:r>
          </a:p>
          <a:p>
            <a:pPr lvl="1" hangingPunct="0">
              <a:buClr>
                <a:schemeClr val="bg1"/>
              </a:buClr>
              <a:buFont typeface="Wingdings" panose="05000000000000000000" pitchFamily="2" charset="2"/>
              <a:buChar char="§"/>
            </a:pPr>
            <a:endParaRPr lang="en-US" sz="1100" kern="0" dirty="0">
              <a:solidFill>
                <a:schemeClr val="bg1"/>
              </a:solidFill>
              <a:latin typeface="Arial" panose="020B0604020202020204" pitchFamily="34" charset="0"/>
              <a:cs typeface="Arial" panose="020B0604020202020204" pitchFamily="34" charset="0"/>
            </a:endParaRPr>
          </a:p>
          <a:p>
            <a:pPr hangingPunct="0">
              <a:buClr>
                <a:schemeClr val="bg1"/>
              </a:buClr>
            </a:pPr>
            <a:r>
              <a:rPr lang="en-US" b="1" kern="0" dirty="0">
                <a:solidFill>
                  <a:schemeClr val="bg1"/>
                </a:solidFill>
                <a:latin typeface="Arial" panose="020B0604020202020204" pitchFamily="34" charset="0"/>
                <a:cs typeface="Arial" panose="020B0604020202020204" pitchFamily="34" charset="0"/>
              </a:rPr>
              <a:t>Provides existing functionality in EPC</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Usage monitoring, gating, traffic steering, spending limits… </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Rx to interwork with AFs with i.e. IMS services.</a:t>
            </a:r>
            <a:r>
              <a:rPr lang="en-GB" sz="1600" kern="0" dirty="0">
                <a:solidFill>
                  <a:schemeClr val="bg1"/>
                </a:solidFill>
                <a:latin typeface="Arial" panose="020B0604020202020204" pitchFamily="34" charset="0"/>
                <a:cs typeface="Arial" panose="020B0604020202020204" pitchFamily="34" charset="0"/>
              </a:rPr>
              <a:t> </a:t>
            </a:r>
          </a:p>
          <a:p>
            <a:pPr lvl="1" hangingPunct="0">
              <a:buClr>
                <a:schemeClr val="bg1"/>
              </a:buClr>
              <a:buFont typeface="Wingdings" panose="05000000000000000000" pitchFamily="2" charset="2"/>
              <a:buChar char="§"/>
            </a:pPr>
            <a:endParaRPr lang="en-GB" sz="1100" kern="0" dirty="0">
              <a:solidFill>
                <a:schemeClr val="bg1"/>
              </a:solidFill>
              <a:latin typeface="Arial" panose="020B0604020202020204" pitchFamily="34" charset="0"/>
              <a:cs typeface="Arial" panose="020B0604020202020204" pitchFamily="34" charset="0"/>
            </a:endParaRPr>
          </a:p>
          <a:p>
            <a:pPr hangingPunct="0">
              <a:buClr>
                <a:schemeClr val="bg1"/>
              </a:buClr>
            </a:pPr>
            <a:r>
              <a:rPr lang="en-US" b="1" kern="0" dirty="0">
                <a:solidFill>
                  <a:schemeClr val="bg1"/>
                </a:solidFill>
                <a:latin typeface="Arial" panose="020B0604020202020204" pitchFamily="34" charset="0"/>
                <a:cs typeface="Arial" panose="020B0604020202020204" pitchFamily="34" charset="0"/>
              </a:rPr>
              <a:t>New 5GC functionality</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Enhanced PCC rules for 5G (e.g. 5GC </a:t>
            </a:r>
            <a:r>
              <a:rPr lang="en-US" sz="1600" kern="0" dirty="0" err="1">
                <a:solidFill>
                  <a:schemeClr val="bg1"/>
                </a:solidFill>
                <a:latin typeface="Arial" panose="020B0604020202020204" pitchFamily="34" charset="0"/>
                <a:cs typeface="Arial" panose="020B0604020202020204" pitchFamily="34" charset="0"/>
              </a:rPr>
              <a:t>QoS</a:t>
            </a:r>
            <a:r>
              <a:rPr lang="en-US" sz="1600" kern="0" dirty="0">
                <a:solidFill>
                  <a:schemeClr val="bg1"/>
                </a:solidFill>
                <a:latin typeface="Arial" panose="020B0604020202020204" pitchFamily="34" charset="0"/>
                <a:cs typeface="Arial" panose="020B0604020202020204" pitchFamily="34" charset="0"/>
              </a:rPr>
              <a:t> framework, LBO).</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New N15 interface to the AMF for:</a:t>
            </a:r>
          </a:p>
          <a:p>
            <a:pPr lvl="2" hangingPunct="0">
              <a:buClr>
                <a:schemeClr val="bg1"/>
              </a:buClr>
              <a:buFont typeface="Courier New" panose="02070309020205020404" pitchFamily="49" charset="0"/>
              <a:buChar char="o"/>
            </a:pPr>
            <a:r>
              <a:rPr lang="en-US" sz="1600" kern="0" dirty="0">
                <a:solidFill>
                  <a:schemeClr val="bg1"/>
                </a:solidFill>
                <a:latin typeface="Arial" panose="020B0604020202020204" pitchFamily="34" charset="0"/>
                <a:cs typeface="Arial" panose="020B0604020202020204" pitchFamily="34" charset="0"/>
              </a:rPr>
              <a:t>Access and MM policies (service area restrictions, RFSP index).</a:t>
            </a:r>
          </a:p>
          <a:p>
            <a:pPr lvl="2" hangingPunct="0">
              <a:buClr>
                <a:schemeClr val="bg1"/>
              </a:buClr>
              <a:buFont typeface="Courier New" panose="02070309020205020404" pitchFamily="49" charset="0"/>
              <a:buChar char="o"/>
            </a:pPr>
            <a:r>
              <a:rPr lang="en-GB" sz="1600" kern="0" dirty="0">
                <a:solidFill>
                  <a:schemeClr val="bg1"/>
                </a:solidFill>
                <a:latin typeface="Arial" panose="020B0604020202020204" pitchFamily="34" charset="0"/>
                <a:cs typeface="Arial" panose="020B0604020202020204" pitchFamily="34" charset="0"/>
              </a:rPr>
              <a:t>UE Route Selection Policies (Network Slice, SSC Mode…).</a:t>
            </a:r>
          </a:p>
          <a:p>
            <a:pPr lvl="1" hangingPunct="0">
              <a:buClr>
                <a:schemeClr val="bg1"/>
              </a:buClr>
              <a:buFont typeface="Wingdings" panose="05000000000000000000" pitchFamily="2" charset="2"/>
              <a:buChar char="§"/>
            </a:pPr>
            <a:r>
              <a:rPr lang="en-US" sz="1600" kern="0" dirty="0">
                <a:solidFill>
                  <a:schemeClr val="bg1"/>
                </a:solidFill>
                <a:latin typeface="Arial" panose="020B0604020202020204" pitchFamily="34" charset="0"/>
                <a:cs typeface="Arial" panose="020B0604020202020204" pitchFamily="34" charset="0"/>
              </a:rPr>
              <a:t>New interface with a </a:t>
            </a:r>
            <a:r>
              <a:rPr lang="en-GB" sz="1600" kern="0" dirty="0">
                <a:solidFill>
                  <a:schemeClr val="bg1"/>
                </a:solidFill>
                <a:latin typeface="Arial" panose="020B0604020202020204" pitchFamily="34" charset="0"/>
                <a:cs typeface="Arial" panose="020B0604020202020204" pitchFamily="34" charset="0"/>
              </a:rPr>
              <a:t>Network Data Analytics (NWDA) to receive</a:t>
            </a:r>
            <a:br>
              <a:rPr lang="en-GB" sz="1600" kern="0" dirty="0">
                <a:solidFill>
                  <a:schemeClr val="bg1"/>
                </a:solidFill>
                <a:latin typeface="Arial" panose="020B0604020202020204" pitchFamily="34" charset="0"/>
                <a:cs typeface="Arial" panose="020B0604020202020204" pitchFamily="34" charset="0"/>
              </a:rPr>
            </a:br>
            <a:r>
              <a:rPr lang="en-GB" sz="1600" kern="0" dirty="0">
                <a:solidFill>
                  <a:schemeClr val="bg1"/>
                </a:solidFill>
                <a:latin typeface="Arial" panose="020B0604020202020204" pitchFamily="34" charset="0"/>
                <a:cs typeface="Arial" panose="020B0604020202020204" pitchFamily="34" charset="0"/>
              </a:rPr>
              <a:t>network status analytics.  </a:t>
            </a:r>
          </a:p>
          <a:p>
            <a:pPr lvl="1" hangingPunct="0">
              <a:buClr>
                <a:schemeClr val="bg1"/>
              </a:buClr>
              <a:buFont typeface="Wingdings" panose="05000000000000000000" pitchFamily="2" charset="2"/>
              <a:buChar char="§"/>
            </a:pPr>
            <a:r>
              <a:rPr lang="en-GB" sz="1600" kern="0" dirty="0">
                <a:solidFill>
                  <a:schemeClr val="bg1"/>
                </a:solidFill>
                <a:latin typeface="Arial" panose="020B0604020202020204" pitchFamily="34" charset="0"/>
                <a:cs typeface="Arial" panose="020B0604020202020204" pitchFamily="34" charset="0"/>
              </a:rPr>
              <a:t>Interface with NEF for exposure and new use cases (e.g. application influence on traffic routing).</a:t>
            </a:r>
            <a:endParaRPr lang="en-US" sz="1600" kern="0" dirty="0">
              <a:solidFill>
                <a:schemeClr val="bg1"/>
              </a:solidFill>
              <a:latin typeface="Arial" panose="020B0604020202020204" pitchFamily="34" charset="0"/>
              <a:cs typeface="Arial" panose="020B0604020202020204" pitchFamily="34" charset="0"/>
            </a:endParaRPr>
          </a:p>
        </p:txBody>
      </p:sp>
      <p:grpSp>
        <p:nvGrpSpPr>
          <p:cNvPr id="87" name="Group 86"/>
          <p:cNvGrpSpPr/>
          <p:nvPr/>
        </p:nvGrpSpPr>
        <p:grpSpPr>
          <a:xfrm>
            <a:off x="7296119" y="1683124"/>
            <a:ext cx="4843125" cy="3779469"/>
            <a:chOff x="6183085" y="1327950"/>
            <a:chExt cx="5916515" cy="4087443"/>
          </a:xfrm>
          <a:solidFill>
            <a:schemeClr val="bg1"/>
          </a:solidFill>
        </p:grpSpPr>
        <p:pic>
          <p:nvPicPr>
            <p:cNvPr id="88" name="Picture 87"/>
            <p:cNvPicPr>
              <a:picLocks noChangeAspect="1"/>
            </p:cNvPicPr>
            <p:nvPr/>
          </p:nvPicPr>
          <p:blipFill>
            <a:blip r:embed="rId5"/>
            <a:stretch>
              <a:fillRect/>
            </a:stretch>
          </p:blipFill>
          <p:spPr>
            <a:xfrm>
              <a:off x="6183085" y="1327950"/>
              <a:ext cx="5916515" cy="4087443"/>
            </a:xfrm>
            <a:prstGeom prst="rect">
              <a:avLst/>
            </a:prstGeom>
            <a:grpFill/>
          </p:spPr>
        </p:pic>
        <p:grpSp>
          <p:nvGrpSpPr>
            <p:cNvPr id="89" name="Group 88"/>
            <p:cNvGrpSpPr/>
            <p:nvPr/>
          </p:nvGrpSpPr>
          <p:grpSpPr>
            <a:xfrm>
              <a:off x="7838272" y="2000742"/>
              <a:ext cx="333271" cy="644770"/>
              <a:chOff x="7838272" y="2000742"/>
              <a:chExt cx="333271" cy="644770"/>
            </a:xfrm>
            <a:grpFill/>
          </p:grpSpPr>
          <p:cxnSp>
            <p:nvCxnSpPr>
              <p:cNvPr id="90" name="Straight Connector 89"/>
              <p:cNvCxnSpPr/>
              <p:nvPr/>
            </p:nvCxnSpPr>
            <p:spPr>
              <a:xfrm>
                <a:off x="7983415" y="2000742"/>
                <a:ext cx="0" cy="644770"/>
              </a:xfrm>
              <a:prstGeom prst="line">
                <a:avLst/>
              </a:prstGeom>
              <a:grpFill/>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7838272" y="2229044"/>
                <a:ext cx="333271" cy="215444"/>
              </a:xfrm>
              <a:prstGeom prst="rect">
                <a:avLst/>
              </a:prstGeom>
              <a:grpFill/>
            </p:spPr>
            <p:txBody>
              <a:bodyPr wrap="squar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Arial" charset="0"/>
                    <a:ea typeface="+mn-ea"/>
                    <a:cs typeface="+mn-cs"/>
                  </a:rPr>
                  <a:t>Rx</a:t>
                </a:r>
              </a:p>
            </p:txBody>
          </p:sp>
        </p:grpSp>
      </p:grpSp>
    </p:spTree>
    <p:extLst>
      <p:ext uri="{BB962C8B-B14F-4D97-AF65-F5344CB8AC3E}">
        <p14:creationId xmlns:p14="http://schemas.microsoft.com/office/powerpoint/2010/main" val="333361726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126" y="1177"/>
            <a:ext cx="9992784" cy="1085371"/>
          </a:xfrm>
        </p:spPr>
        <p:txBody>
          <a:bodyPr/>
          <a:lstStyle/>
          <a:p>
            <a:r>
              <a:rPr lang="en-US" dirty="0"/>
              <a:t>Policy Architecture</a:t>
            </a:r>
          </a:p>
        </p:txBody>
      </p:sp>
      <p:sp>
        <p:nvSpPr>
          <p:cNvPr id="4" name="Rectangular Callout 101"/>
          <p:cNvSpPr/>
          <p:nvPr/>
        </p:nvSpPr>
        <p:spPr bwMode="auto">
          <a:xfrm>
            <a:off x="211781" y="2490292"/>
            <a:ext cx="1906630" cy="420767"/>
          </a:xfrm>
          <a:prstGeom prst="wedgeRectCallout">
            <a:avLst>
              <a:gd name="adj1" fmla="val 77513"/>
              <a:gd name="adj2" fmla="val 553940"/>
            </a:avLst>
          </a:prstGeom>
          <a:solidFill>
            <a:schemeClr val="bg1"/>
          </a:solidFill>
          <a:ln w="1905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1200" dirty="0"/>
              <a:t>Enforces policy  decisions </a:t>
            </a:r>
            <a:br>
              <a:rPr lang="en-US" sz="1200" dirty="0"/>
            </a:br>
            <a:r>
              <a:rPr lang="en-US" sz="1200" dirty="0"/>
              <a:t>received from the Core </a:t>
            </a:r>
            <a:endParaRPr kumimoji="0" lang="en-US" sz="1200" b="0" i="0" u="none" strike="noStrike" cap="none" normalizeH="0" baseline="0" dirty="0">
              <a:ln>
                <a:noFill/>
              </a:ln>
              <a:solidFill>
                <a:schemeClr val="tx1"/>
              </a:solidFill>
              <a:effectLst/>
              <a:latin typeface="Arial" charset="0"/>
            </a:endParaRPr>
          </a:p>
        </p:txBody>
      </p:sp>
      <p:sp>
        <p:nvSpPr>
          <p:cNvPr id="5" name="Rectangular Callout 130"/>
          <p:cNvSpPr/>
          <p:nvPr/>
        </p:nvSpPr>
        <p:spPr bwMode="auto">
          <a:xfrm>
            <a:off x="36321" y="3401369"/>
            <a:ext cx="1658958" cy="659534"/>
          </a:xfrm>
          <a:prstGeom prst="wedgeRectCallout">
            <a:avLst>
              <a:gd name="adj1" fmla="val -7375"/>
              <a:gd name="adj2" fmla="val 259520"/>
            </a:avLst>
          </a:prstGeom>
          <a:solidFill>
            <a:schemeClr val="bg1"/>
          </a:solidFill>
          <a:ln w="1905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1200" dirty="0"/>
              <a:t>Policies provided to </a:t>
            </a:r>
          </a:p>
          <a:p>
            <a:pPr>
              <a:spcBef>
                <a:spcPts val="0"/>
              </a:spcBef>
            </a:pPr>
            <a:r>
              <a:rPr lang="en-US" sz="1200" dirty="0"/>
              <a:t>the UE via N1 interface</a:t>
            </a:r>
            <a:endParaRPr kumimoji="0" lang="en-US" sz="1200" b="0" i="0" u="none" strike="noStrike" cap="none" normalizeH="0" baseline="0" dirty="0">
              <a:ln>
                <a:noFill/>
              </a:ln>
              <a:solidFill>
                <a:schemeClr val="tx1"/>
              </a:solidFill>
              <a:effectLst/>
              <a:latin typeface="Arial" charset="0"/>
            </a:endParaRPr>
          </a:p>
        </p:txBody>
      </p:sp>
      <p:sp>
        <p:nvSpPr>
          <p:cNvPr id="6" name="Rectangular Callout 104"/>
          <p:cNvSpPr/>
          <p:nvPr/>
        </p:nvSpPr>
        <p:spPr bwMode="auto">
          <a:xfrm>
            <a:off x="668374" y="794884"/>
            <a:ext cx="1908900" cy="634480"/>
          </a:xfrm>
          <a:prstGeom prst="wedgeRectCallout">
            <a:avLst>
              <a:gd name="adj1" fmla="val 237675"/>
              <a:gd name="adj2" fmla="val 157569"/>
            </a:avLst>
          </a:prstGeom>
          <a:solidFill>
            <a:schemeClr val="bg1"/>
          </a:solidFill>
          <a:ln w="1905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1200" dirty="0"/>
              <a:t> New interface for mobility</a:t>
            </a:r>
          </a:p>
          <a:p>
            <a:pPr>
              <a:spcBef>
                <a:spcPts val="0"/>
              </a:spcBef>
            </a:pPr>
            <a:r>
              <a:rPr lang="en-US" sz="1200" dirty="0"/>
              <a:t> management policies. </a:t>
            </a:r>
          </a:p>
          <a:p>
            <a:pPr>
              <a:spcBef>
                <a:spcPts val="0"/>
              </a:spcBef>
            </a:pPr>
            <a:r>
              <a:rPr lang="en-US" sz="1200" dirty="0"/>
              <a:t>Also convey UE policies</a:t>
            </a:r>
            <a:endParaRPr kumimoji="0" lang="en-US" sz="1200" b="0" i="0" u="none" strike="noStrike" cap="none" normalizeH="0" baseline="0" dirty="0">
              <a:ln>
                <a:noFill/>
              </a:ln>
              <a:solidFill>
                <a:schemeClr val="tx1"/>
              </a:solidFill>
              <a:effectLst/>
              <a:latin typeface="Arial" charset="0"/>
            </a:endParaRPr>
          </a:p>
        </p:txBody>
      </p:sp>
      <p:cxnSp>
        <p:nvCxnSpPr>
          <p:cNvPr id="7" name="Elbow Connector 142"/>
          <p:cNvCxnSpPr>
            <a:cxnSpLocks/>
            <a:endCxn id="86" idx="0"/>
          </p:cNvCxnSpPr>
          <p:nvPr/>
        </p:nvCxnSpPr>
        <p:spPr bwMode="auto">
          <a:xfrm>
            <a:off x="6643321" y="1383264"/>
            <a:ext cx="1534604" cy="612881"/>
          </a:xfrm>
          <a:prstGeom prst="bentConnector2">
            <a:avLst/>
          </a:prstGeom>
          <a:noFill/>
          <a:ln w="28575">
            <a:solidFill>
              <a:schemeClr val="accent2"/>
            </a:solidFill>
            <a:prstDash val="dash"/>
            <a:round/>
            <a:headEnd/>
            <a:tailEnd/>
          </a:ln>
        </p:spPr>
      </p:cxnSp>
      <p:cxnSp>
        <p:nvCxnSpPr>
          <p:cNvPr id="8" name="Elbow Connector 55"/>
          <p:cNvCxnSpPr>
            <a:cxnSpLocks/>
          </p:cNvCxnSpPr>
          <p:nvPr/>
        </p:nvCxnSpPr>
        <p:spPr bwMode="auto">
          <a:xfrm rot="16200000" flipV="1">
            <a:off x="7973408" y="3381134"/>
            <a:ext cx="2121677" cy="1557106"/>
          </a:xfrm>
          <a:prstGeom prst="bentConnector3">
            <a:avLst>
              <a:gd name="adj1" fmla="val 103274"/>
            </a:avLst>
          </a:prstGeom>
          <a:noFill/>
          <a:ln w="28575">
            <a:solidFill>
              <a:schemeClr val="accent4">
                <a:lumMod val="50000"/>
              </a:schemeClr>
            </a:solidFill>
            <a:prstDash val="dash"/>
            <a:round/>
            <a:headEnd/>
            <a:tailEnd/>
          </a:ln>
        </p:spPr>
      </p:cxnSp>
      <p:sp>
        <p:nvSpPr>
          <p:cNvPr id="9" name="Freeform 33"/>
          <p:cNvSpPr>
            <a:spLocks noChangeAspect="1"/>
          </p:cNvSpPr>
          <p:nvPr/>
        </p:nvSpPr>
        <p:spPr bwMode="auto">
          <a:xfrm>
            <a:off x="9606127" y="5252559"/>
            <a:ext cx="1813183" cy="1365481"/>
          </a:xfrm>
          <a:custGeom>
            <a:avLst/>
            <a:gdLst>
              <a:gd name="T0" fmla="*/ 23212394 w 583"/>
              <a:gd name="T1" fmla="*/ 24752448 h 439"/>
              <a:gd name="T2" fmla="*/ 40875666 w 583"/>
              <a:gd name="T3" fmla="*/ 15336394 h 439"/>
              <a:gd name="T4" fmla="*/ 70776747 w 583"/>
              <a:gd name="T5" fmla="*/ 17683385 h 439"/>
              <a:gd name="T6" fmla="*/ 86095846 w 583"/>
              <a:gd name="T7" fmla="*/ 33018500 h 439"/>
              <a:gd name="T8" fmla="*/ 86781414 w 583"/>
              <a:gd name="T9" fmla="*/ 53028597 h 439"/>
              <a:gd name="T10" fmla="*/ 67551617 w 583"/>
              <a:gd name="T11" fmla="*/ 62444583 h 439"/>
              <a:gd name="T12" fmla="*/ 49401852 w 583"/>
              <a:gd name="T13" fmla="*/ 65680410 h 439"/>
              <a:gd name="T14" fmla="*/ 27913807 w 583"/>
              <a:gd name="T15" fmla="*/ 62818800 h 439"/>
              <a:gd name="T16" fmla="*/ 14432446 w 583"/>
              <a:gd name="T17" fmla="*/ 49348522 h 439"/>
              <a:gd name="T18" fmla="*/ 23212394 w 583"/>
              <a:gd name="T19" fmla="*/ 2475244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0" name="Freeform 34"/>
          <p:cNvSpPr>
            <a:spLocks noChangeAspect="1"/>
          </p:cNvSpPr>
          <p:nvPr/>
        </p:nvSpPr>
        <p:spPr bwMode="auto">
          <a:xfrm>
            <a:off x="9147902" y="5044255"/>
            <a:ext cx="2018028" cy="1541751"/>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11" name="Text Box 35"/>
          <p:cNvSpPr txBox="1">
            <a:spLocks noChangeAspect="1" noChangeArrowheads="1"/>
          </p:cNvSpPr>
          <p:nvPr/>
        </p:nvSpPr>
        <p:spPr bwMode="auto">
          <a:xfrm>
            <a:off x="9588957" y="5507915"/>
            <a:ext cx="1122102" cy="78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b="1" dirty="0">
                <a:ea typeface="MS PGothic" pitchFamily="34" charset="-128"/>
              </a:rPr>
              <a:t>IP services </a:t>
            </a:r>
          </a:p>
          <a:p>
            <a:pPr algn="ctr" eaLnBrk="1" hangingPunct="1">
              <a:lnSpc>
                <a:spcPct val="80000"/>
              </a:lnSpc>
              <a:spcBef>
                <a:spcPct val="0"/>
              </a:spcBef>
              <a:buClrTx/>
              <a:buFontTx/>
              <a:buNone/>
            </a:pPr>
            <a:r>
              <a:rPr lang="en-US" altLang="en-US" sz="1400" b="1" dirty="0">
                <a:ea typeface="MS PGothic" pitchFamily="34" charset="-128"/>
              </a:rPr>
              <a:t>network </a:t>
            </a:r>
          </a:p>
          <a:p>
            <a:pPr algn="ctr" eaLnBrk="1" hangingPunct="1">
              <a:lnSpc>
                <a:spcPct val="80000"/>
              </a:lnSpc>
              <a:spcBef>
                <a:spcPct val="0"/>
              </a:spcBef>
              <a:buClrTx/>
              <a:buFontTx/>
              <a:buNone/>
            </a:pPr>
            <a:r>
              <a:rPr lang="en-US" altLang="en-US" sz="1400" dirty="0">
                <a:ea typeface="MS PGothic" pitchFamily="34" charset="-128"/>
              </a:rPr>
              <a:t>(e.g. operator </a:t>
            </a:r>
          </a:p>
          <a:p>
            <a:pPr algn="ctr" eaLnBrk="1" hangingPunct="1">
              <a:lnSpc>
                <a:spcPct val="80000"/>
              </a:lnSpc>
              <a:spcBef>
                <a:spcPct val="0"/>
              </a:spcBef>
              <a:buClrTx/>
              <a:buFontTx/>
              <a:buNone/>
            </a:pPr>
            <a:r>
              <a:rPr lang="en-US" altLang="en-US" sz="1400" dirty="0">
                <a:ea typeface="MS PGothic" pitchFamily="34" charset="-128"/>
              </a:rPr>
              <a:t>or Internet)</a:t>
            </a:r>
          </a:p>
        </p:txBody>
      </p:sp>
      <p:cxnSp>
        <p:nvCxnSpPr>
          <p:cNvPr id="12" name="Elbow Connector 59"/>
          <p:cNvCxnSpPr>
            <a:cxnSpLocks/>
            <a:stCxn id="36" idx="0"/>
          </p:cNvCxnSpPr>
          <p:nvPr/>
        </p:nvCxnSpPr>
        <p:spPr bwMode="auto">
          <a:xfrm rot="5400000" flipH="1" flipV="1">
            <a:off x="4421181" y="2371278"/>
            <a:ext cx="999460" cy="4382811"/>
          </a:xfrm>
          <a:prstGeom prst="bentConnector2">
            <a:avLst/>
          </a:prstGeom>
          <a:noFill/>
          <a:ln w="28575">
            <a:solidFill>
              <a:schemeClr val="accent4">
                <a:lumMod val="50000"/>
              </a:schemeClr>
            </a:solidFill>
            <a:prstDash val="dash"/>
            <a:round/>
            <a:headEnd/>
            <a:tailEnd/>
          </a:ln>
        </p:spPr>
      </p:cxnSp>
      <p:sp>
        <p:nvSpPr>
          <p:cNvPr id="13" name="Freeform 33"/>
          <p:cNvSpPr>
            <a:spLocks noChangeAspect="1"/>
          </p:cNvSpPr>
          <p:nvPr/>
        </p:nvSpPr>
        <p:spPr bwMode="auto">
          <a:xfrm>
            <a:off x="1477636" y="4808965"/>
            <a:ext cx="2185991" cy="1646237"/>
          </a:xfrm>
          <a:custGeom>
            <a:avLst/>
            <a:gdLst>
              <a:gd name="T0" fmla="*/ 23212394 w 583"/>
              <a:gd name="T1" fmla="*/ 24752448 h 439"/>
              <a:gd name="T2" fmla="*/ 40875666 w 583"/>
              <a:gd name="T3" fmla="*/ 15336394 h 439"/>
              <a:gd name="T4" fmla="*/ 70776747 w 583"/>
              <a:gd name="T5" fmla="*/ 17683385 h 439"/>
              <a:gd name="T6" fmla="*/ 86095846 w 583"/>
              <a:gd name="T7" fmla="*/ 33018500 h 439"/>
              <a:gd name="T8" fmla="*/ 86781414 w 583"/>
              <a:gd name="T9" fmla="*/ 53028597 h 439"/>
              <a:gd name="T10" fmla="*/ 67551617 w 583"/>
              <a:gd name="T11" fmla="*/ 62444583 h 439"/>
              <a:gd name="T12" fmla="*/ 49401852 w 583"/>
              <a:gd name="T13" fmla="*/ 65680410 h 439"/>
              <a:gd name="T14" fmla="*/ 27913807 w 583"/>
              <a:gd name="T15" fmla="*/ 62818800 h 439"/>
              <a:gd name="T16" fmla="*/ 14432446 w 583"/>
              <a:gd name="T17" fmla="*/ 49348522 h 439"/>
              <a:gd name="T18" fmla="*/ 23212394 w 583"/>
              <a:gd name="T19" fmla="*/ 2475244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nvGrpSpPr>
          <p:cNvPr id="14" name="Group 13"/>
          <p:cNvGrpSpPr/>
          <p:nvPr/>
        </p:nvGrpSpPr>
        <p:grpSpPr>
          <a:xfrm>
            <a:off x="5397330" y="3394373"/>
            <a:ext cx="853851" cy="1043663"/>
            <a:chOff x="4338871" y="2725624"/>
            <a:chExt cx="1199053" cy="1626215"/>
          </a:xfrm>
        </p:grpSpPr>
        <p:sp>
          <p:nvSpPr>
            <p:cNvPr id="1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1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2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sp>
        <p:nvSpPr>
          <p:cNvPr id="21" name="Freeform 4"/>
          <p:cNvSpPr>
            <a:spLocks noChangeAspect="1" noEditPoints="1"/>
          </p:cNvSpPr>
          <p:nvPr/>
        </p:nvSpPr>
        <p:spPr bwMode="auto">
          <a:xfrm>
            <a:off x="597644" y="5499269"/>
            <a:ext cx="391495" cy="53631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88"/>
          <p:cNvSpPr>
            <a:spLocks/>
          </p:cNvSpPr>
          <p:nvPr/>
        </p:nvSpPr>
        <p:spPr bwMode="auto">
          <a:xfrm rot="2583056" flipH="1">
            <a:off x="1152215" y="5594560"/>
            <a:ext cx="736312" cy="469513"/>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dirty="0">
              <a:cs typeface="+mn-cs"/>
            </a:endParaRPr>
          </a:p>
        </p:txBody>
      </p:sp>
      <p:cxnSp>
        <p:nvCxnSpPr>
          <p:cNvPr id="23" name="Elbow Connector 95"/>
          <p:cNvCxnSpPr>
            <a:cxnSpLocks/>
          </p:cNvCxnSpPr>
          <p:nvPr/>
        </p:nvCxnSpPr>
        <p:spPr bwMode="auto">
          <a:xfrm>
            <a:off x="4729335" y="2800259"/>
            <a:ext cx="706426" cy="619558"/>
          </a:xfrm>
          <a:prstGeom prst="bentConnector3">
            <a:avLst>
              <a:gd name="adj1" fmla="val 50000"/>
            </a:avLst>
          </a:prstGeom>
          <a:noFill/>
          <a:ln w="28575">
            <a:solidFill>
              <a:schemeClr val="accent4">
                <a:lumMod val="50000"/>
              </a:schemeClr>
            </a:solidFill>
            <a:prstDash val="dash"/>
            <a:round/>
            <a:headEnd/>
            <a:tailEnd/>
          </a:ln>
        </p:spPr>
      </p:cxnSp>
      <p:cxnSp>
        <p:nvCxnSpPr>
          <p:cNvPr id="24" name="Elbow Connector 96"/>
          <p:cNvCxnSpPr/>
          <p:nvPr/>
        </p:nvCxnSpPr>
        <p:spPr bwMode="auto">
          <a:xfrm rot="5400000" flipH="1" flipV="1">
            <a:off x="6915178" y="3058388"/>
            <a:ext cx="1512762" cy="951470"/>
          </a:xfrm>
          <a:prstGeom prst="bentConnector3">
            <a:avLst>
              <a:gd name="adj1" fmla="val 69604"/>
            </a:avLst>
          </a:prstGeom>
          <a:noFill/>
          <a:ln w="28575">
            <a:solidFill>
              <a:schemeClr val="accent4">
                <a:lumMod val="50000"/>
              </a:schemeClr>
            </a:solidFill>
            <a:prstDash val="dash"/>
            <a:round/>
            <a:headEnd/>
            <a:tailEnd/>
          </a:ln>
        </p:spPr>
      </p:cxnSp>
      <p:cxnSp>
        <p:nvCxnSpPr>
          <p:cNvPr id="25" name="Elbow Connector 105"/>
          <p:cNvCxnSpPr>
            <a:stCxn id="44" idx="0"/>
          </p:cNvCxnSpPr>
          <p:nvPr/>
        </p:nvCxnSpPr>
        <p:spPr bwMode="auto">
          <a:xfrm rot="5400000" flipH="1" flipV="1">
            <a:off x="6571570" y="4671423"/>
            <a:ext cx="805944" cy="166160"/>
          </a:xfrm>
          <a:prstGeom prst="bentConnector3">
            <a:avLst>
              <a:gd name="adj1" fmla="val 50000"/>
            </a:avLst>
          </a:prstGeom>
          <a:noFill/>
          <a:ln w="28575">
            <a:solidFill>
              <a:schemeClr val="accent4">
                <a:lumMod val="50000"/>
              </a:schemeClr>
            </a:solidFill>
            <a:prstDash val="dash"/>
            <a:round/>
            <a:headEnd/>
            <a:tailEnd/>
          </a:ln>
        </p:spPr>
      </p:cxnSp>
      <p:sp>
        <p:nvSpPr>
          <p:cNvPr id="26" name="Text Box 144"/>
          <p:cNvSpPr txBox="1">
            <a:spLocks noChangeAspect="1" noChangeArrowheads="1"/>
          </p:cNvSpPr>
          <p:nvPr/>
        </p:nvSpPr>
        <p:spPr bwMode="auto">
          <a:xfrm>
            <a:off x="375082" y="6004469"/>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5G UE</a:t>
            </a:r>
          </a:p>
        </p:txBody>
      </p:sp>
      <p:sp>
        <p:nvSpPr>
          <p:cNvPr id="27" name="Text Box 144"/>
          <p:cNvSpPr txBox="1">
            <a:spLocks noChangeAspect="1" noChangeArrowheads="1"/>
          </p:cNvSpPr>
          <p:nvPr/>
        </p:nvSpPr>
        <p:spPr bwMode="auto">
          <a:xfrm>
            <a:off x="2680501" y="4359184"/>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2</a:t>
            </a:r>
          </a:p>
        </p:txBody>
      </p:sp>
      <p:sp>
        <p:nvSpPr>
          <p:cNvPr id="28" name="Text Box 144"/>
          <p:cNvSpPr txBox="1">
            <a:spLocks noChangeAspect="1" noChangeArrowheads="1"/>
          </p:cNvSpPr>
          <p:nvPr/>
        </p:nvSpPr>
        <p:spPr bwMode="auto">
          <a:xfrm>
            <a:off x="3899007" y="567430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3</a:t>
            </a:r>
          </a:p>
        </p:txBody>
      </p:sp>
      <p:sp>
        <p:nvSpPr>
          <p:cNvPr id="29" name="Text Box 144"/>
          <p:cNvSpPr txBox="1">
            <a:spLocks noChangeAspect="1" noChangeArrowheads="1"/>
          </p:cNvSpPr>
          <p:nvPr/>
        </p:nvSpPr>
        <p:spPr bwMode="auto">
          <a:xfrm>
            <a:off x="7762523" y="5649594"/>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6</a:t>
            </a:r>
          </a:p>
        </p:txBody>
      </p:sp>
      <p:sp>
        <p:nvSpPr>
          <p:cNvPr id="30" name="Text Box 144"/>
          <p:cNvSpPr txBox="1">
            <a:spLocks noChangeAspect="1" noChangeArrowheads="1"/>
          </p:cNvSpPr>
          <p:nvPr/>
        </p:nvSpPr>
        <p:spPr bwMode="auto">
          <a:xfrm>
            <a:off x="4861085" y="3098848"/>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8</a:t>
            </a:r>
          </a:p>
        </p:txBody>
      </p:sp>
      <p:sp>
        <p:nvSpPr>
          <p:cNvPr id="31" name="Text Box 144"/>
          <p:cNvSpPr txBox="1">
            <a:spLocks noChangeAspect="1" noChangeArrowheads="1"/>
          </p:cNvSpPr>
          <p:nvPr/>
        </p:nvSpPr>
        <p:spPr bwMode="auto">
          <a:xfrm>
            <a:off x="7535675" y="3324641"/>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7</a:t>
            </a:r>
          </a:p>
        </p:txBody>
      </p:sp>
      <p:sp>
        <p:nvSpPr>
          <p:cNvPr id="32" name="Text Box 144"/>
          <p:cNvSpPr txBox="1">
            <a:spLocks noChangeAspect="1" noChangeArrowheads="1"/>
          </p:cNvSpPr>
          <p:nvPr/>
        </p:nvSpPr>
        <p:spPr bwMode="auto">
          <a:xfrm>
            <a:off x="9579678" y="414868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5</a:t>
            </a:r>
          </a:p>
        </p:txBody>
      </p:sp>
      <p:sp>
        <p:nvSpPr>
          <p:cNvPr id="33" name="Text Box 144"/>
          <p:cNvSpPr txBox="1">
            <a:spLocks noChangeAspect="1" noChangeArrowheads="1"/>
          </p:cNvSpPr>
          <p:nvPr/>
        </p:nvSpPr>
        <p:spPr bwMode="auto">
          <a:xfrm>
            <a:off x="6024845" y="4810174"/>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4</a:t>
            </a:r>
          </a:p>
        </p:txBody>
      </p:sp>
      <p:grpSp>
        <p:nvGrpSpPr>
          <p:cNvPr id="34" name="Group 33"/>
          <p:cNvGrpSpPr/>
          <p:nvPr/>
        </p:nvGrpSpPr>
        <p:grpSpPr>
          <a:xfrm>
            <a:off x="2182691" y="5044255"/>
            <a:ext cx="1096651" cy="1348873"/>
            <a:chOff x="936376" y="2900085"/>
            <a:chExt cx="864096" cy="1240668"/>
          </a:xfrm>
        </p:grpSpPr>
        <p:sp>
          <p:nvSpPr>
            <p:cNvPr id="35"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6"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7"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2000" dirty="0">
                  <a:ea typeface="Segoe UI" panose="020B0502040204020203" pitchFamily="34" charset="0"/>
                  <a:cs typeface="Arial" panose="020B0604020202020204" pitchFamily="34" charset="0"/>
                </a:rPr>
                <a:t> </a:t>
              </a:r>
              <a:r>
                <a:rPr lang="en-US" altLang="en-US" sz="1600" dirty="0">
                  <a:ea typeface="Segoe UI" panose="020B0502040204020203" pitchFamily="34" charset="0"/>
                  <a:cs typeface="Arial" panose="020B0604020202020204" pitchFamily="34" charset="0"/>
                </a:rPr>
                <a:t>5G RAN</a:t>
              </a:r>
            </a:p>
          </p:txBody>
        </p:sp>
        <p:sp>
          <p:nvSpPr>
            <p:cNvPr id="38"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9"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a:solidFill>
                  <a:srgbClr val="58585A"/>
                </a:solidFill>
              </a:endParaRPr>
            </a:p>
          </p:txBody>
        </p:sp>
      </p:grpSp>
      <p:sp>
        <p:nvSpPr>
          <p:cNvPr id="40" name="Line 30"/>
          <p:cNvSpPr>
            <a:spLocks noChangeShapeType="1"/>
          </p:cNvSpPr>
          <p:nvPr/>
        </p:nvSpPr>
        <p:spPr bwMode="auto">
          <a:xfrm flipV="1">
            <a:off x="3233909" y="5909090"/>
            <a:ext cx="5933361" cy="9218"/>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grpSp>
        <p:nvGrpSpPr>
          <p:cNvPr id="41" name="Group 40"/>
          <p:cNvGrpSpPr/>
          <p:nvPr/>
        </p:nvGrpSpPr>
        <p:grpSpPr>
          <a:xfrm>
            <a:off x="6354305" y="5138834"/>
            <a:ext cx="1077281" cy="1384741"/>
            <a:chOff x="5979156" y="5040856"/>
            <a:chExt cx="1101600" cy="1587600"/>
          </a:xfrm>
        </p:grpSpPr>
        <p:cxnSp>
          <p:nvCxnSpPr>
            <p:cNvPr id="42" name="Straight Connector 41"/>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43"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44"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45" name="Text Box 144"/>
            <p:cNvSpPr txBox="1">
              <a:spLocks noChangeAspect="1" noChangeArrowheads="1"/>
            </p:cNvSpPr>
            <p:nvPr/>
          </p:nvSpPr>
          <p:spPr bwMode="auto">
            <a:xfrm>
              <a:off x="6030746" y="5976073"/>
              <a:ext cx="992350" cy="615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46"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47"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a:p>
          </p:txBody>
        </p:sp>
      </p:grpSp>
      <p:grpSp>
        <p:nvGrpSpPr>
          <p:cNvPr id="48" name="Group 47"/>
          <p:cNvGrpSpPr/>
          <p:nvPr/>
        </p:nvGrpSpPr>
        <p:grpSpPr>
          <a:xfrm>
            <a:off x="6546717" y="3305501"/>
            <a:ext cx="1027466" cy="1135581"/>
            <a:chOff x="4338871" y="2725624"/>
            <a:chExt cx="1199053" cy="1626215"/>
          </a:xfrm>
        </p:grpSpPr>
        <p:sp>
          <p:nvSpPr>
            <p:cNvPr id="4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5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5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5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5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5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sp>
        <p:nvSpPr>
          <p:cNvPr id="55" name="Rectangular Callout 99"/>
          <p:cNvSpPr/>
          <p:nvPr/>
        </p:nvSpPr>
        <p:spPr bwMode="auto">
          <a:xfrm>
            <a:off x="7527494" y="6166206"/>
            <a:ext cx="1825253" cy="641783"/>
          </a:xfrm>
          <a:prstGeom prst="wedgeRectCallout">
            <a:avLst>
              <a:gd name="adj1" fmla="val -56235"/>
              <a:gd name="adj2" fmla="val 6586"/>
            </a:avLst>
          </a:prstGeom>
          <a:solidFill>
            <a:schemeClr val="bg1"/>
          </a:solidFill>
          <a:ln w="1905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1200" dirty="0"/>
              <a:t>Policy enforcement in UP</a:t>
            </a:r>
          </a:p>
          <a:p>
            <a:pPr>
              <a:spcBef>
                <a:spcPts val="0"/>
              </a:spcBef>
            </a:pPr>
            <a:r>
              <a:rPr lang="en-US" sz="1200" dirty="0"/>
              <a:t>enforces policy decisions</a:t>
            </a:r>
          </a:p>
          <a:p>
            <a:pPr>
              <a:spcBef>
                <a:spcPts val="0"/>
              </a:spcBef>
            </a:pPr>
            <a:r>
              <a:rPr lang="en-US" sz="1200" dirty="0"/>
              <a:t>in UP (</a:t>
            </a:r>
            <a:r>
              <a:rPr lang="en-US" sz="1200" dirty="0" err="1"/>
              <a:t>e.g</a:t>
            </a:r>
            <a:r>
              <a:rPr lang="en-US" sz="1200" dirty="0"/>
              <a:t> </a:t>
            </a:r>
            <a:r>
              <a:rPr lang="en-US" sz="1200" dirty="0" err="1"/>
              <a:t>QoS</a:t>
            </a:r>
            <a:r>
              <a:rPr lang="en-US" sz="1200" dirty="0"/>
              <a:t>).</a:t>
            </a:r>
          </a:p>
        </p:txBody>
      </p:sp>
      <p:sp>
        <p:nvSpPr>
          <p:cNvPr id="56" name="Rectangular Callout 100"/>
          <p:cNvSpPr/>
          <p:nvPr/>
        </p:nvSpPr>
        <p:spPr bwMode="auto">
          <a:xfrm>
            <a:off x="8871343" y="1085174"/>
            <a:ext cx="3100198" cy="868808"/>
          </a:xfrm>
          <a:prstGeom prst="wedgeRectCallout">
            <a:avLst>
              <a:gd name="adj1" fmla="val -64267"/>
              <a:gd name="adj2" fmla="val 52716"/>
            </a:avLst>
          </a:prstGeom>
          <a:solidFill>
            <a:schemeClr val="bg1"/>
          </a:solidFill>
          <a:ln w="1905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kumimoji="0" lang="en-US" sz="1200" b="0" i="0" u="none" strike="noStrike" cap="none" normalizeH="0" dirty="0">
                <a:ln>
                  <a:noFill/>
                </a:ln>
                <a:effectLst/>
                <a:latin typeface="Arial" charset="0"/>
              </a:rPr>
              <a:t>Provides policy decisions at reception of:</a:t>
            </a:r>
          </a:p>
          <a:p>
            <a:pPr marL="171450" indent="-171450">
              <a:spcBef>
                <a:spcPts val="0"/>
              </a:spcBef>
              <a:buFontTx/>
              <a:buChar char="-"/>
            </a:pPr>
            <a:r>
              <a:rPr lang="en-US" sz="1200" dirty="0"/>
              <a:t>Request from 5G Core Control functions</a:t>
            </a:r>
          </a:p>
          <a:p>
            <a:pPr marL="171450" indent="-171450">
              <a:spcBef>
                <a:spcPts val="0"/>
              </a:spcBef>
              <a:buFontTx/>
              <a:buChar char="-"/>
            </a:pPr>
            <a:r>
              <a:rPr lang="en-US" sz="1200" dirty="0"/>
              <a:t>Other events (e.g. request from </a:t>
            </a:r>
          </a:p>
          <a:p>
            <a:pPr>
              <a:spcBef>
                <a:spcPts val="0"/>
              </a:spcBef>
            </a:pPr>
            <a:r>
              <a:rPr lang="en-US" sz="1200" dirty="0"/>
              <a:t>       service network)</a:t>
            </a:r>
            <a:endParaRPr kumimoji="0" lang="en-US" sz="1200" b="0" i="0" u="none" strike="noStrike" cap="none" normalizeH="0" dirty="0">
              <a:ln>
                <a:noFill/>
              </a:ln>
              <a:effectLst/>
              <a:latin typeface="Arial" charset="0"/>
            </a:endParaRPr>
          </a:p>
        </p:txBody>
      </p:sp>
      <p:sp>
        <p:nvSpPr>
          <p:cNvPr id="57" name="Rectangular Callout 102"/>
          <p:cNvSpPr/>
          <p:nvPr/>
        </p:nvSpPr>
        <p:spPr bwMode="auto">
          <a:xfrm>
            <a:off x="10592695" y="4737896"/>
            <a:ext cx="1496425" cy="454474"/>
          </a:xfrm>
          <a:prstGeom prst="wedgeRectCallout">
            <a:avLst>
              <a:gd name="adj1" fmla="val -78714"/>
              <a:gd name="adj2" fmla="val -124793"/>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Based</a:t>
            </a:r>
            <a:r>
              <a:rPr kumimoji="0" lang="en-US" sz="1200" b="0" i="0" u="none" strike="noStrike" cap="none" normalizeH="0" dirty="0">
                <a:ln>
                  <a:noFill/>
                </a:ln>
                <a:solidFill>
                  <a:schemeClr val="tx1"/>
                </a:solidFill>
                <a:effectLst/>
                <a:latin typeface="Arial" charset="0"/>
              </a:rPr>
              <a:t> </a:t>
            </a:r>
            <a:r>
              <a:rPr lang="en-US" sz="1200" dirty="0"/>
              <a:t>on evolution </a:t>
            </a:r>
            <a:br>
              <a:rPr lang="en-US" sz="1200" dirty="0"/>
            </a:br>
            <a:r>
              <a:rPr lang="en-US" sz="1200" dirty="0"/>
              <a:t>of Rx interface</a:t>
            </a:r>
            <a:endParaRPr kumimoji="0" lang="en-US" sz="1200" b="0" i="0" u="none" strike="noStrike" cap="none" normalizeH="0" baseline="0" dirty="0">
              <a:ln>
                <a:noFill/>
              </a:ln>
              <a:solidFill>
                <a:schemeClr val="tx1"/>
              </a:solidFill>
              <a:effectLst/>
              <a:latin typeface="Arial" charset="0"/>
            </a:endParaRPr>
          </a:p>
        </p:txBody>
      </p:sp>
      <p:sp>
        <p:nvSpPr>
          <p:cNvPr id="58" name="Rectangular Callout 103"/>
          <p:cNvSpPr/>
          <p:nvPr/>
        </p:nvSpPr>
        <p:spPr bwMode="auto">
          <a:xfrm>
            <a:off x="7728710" y="3894959"/>
            <a:ext cx="1468370" cy="442236"/>
          </a:xfrm>
          <a:prstGeom prst="wedgeRectCallout">
            <a:avLst>
              <a:gd name="adj1" fmla="val -29869"/>
              <a:gd name="adj2" fmla="val -127492"/>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Based</a:t>
            </a:r>
            <a:r>
              <a:rPr kumimoji="0" lang="en-US" sz="1200" b="0" i="0" u="none" strike="noStrike" cap="none" normalizeH="0" dirty="0">
                <a:ln>
                  <a:noFill/>
                </a:ln>
                <a:solidFill>
                  <a:schemeClr val="tx1"/>
                </a:solidFill>
                <a:effectLst/>
                <a:latin typeface="Arial" charset="0"/>
              </a:rPr>
              <a:t> </a:t>
            </a:r>
            <a:r>
              <a:rPr lang="en-US" sz="1200" dirty="0"/>
              <a:t>on evolution </a:t>
            </a:r>
            <a:br>
              <a:rPr lang="en-US" sz="1200" dirty="0"/>
            </a:br>
            <a:r>
              <a:rPr lang="en-US" sz="1200" dirty="0"/>
              <a:t>of </a:t>
            </a:r>
            <a:r>
              <a:rPr lang="en-US" sz="1200" dirty="0" err="1"/>
              <a:t>Gx</a:t>
            </a:r>
            <a:r>
              <a:rPr lang="en-US" sz="1200" dirty="0"/>
              <a:t> interface</a:t>
            </a:r>
            <a:endParaRPr kumimoji="0" lang="en-US" sz="1200" b="0" i="0" u="none" strike="noStrike" cap="none" normalizeH="0" baseline="0" dirty="0">
              <a:ln>
                <a:noFill/>
              </a:ln>
              <a:solidFill>
                <a:schemeClr val="tx1"/>
              </a:solidFill>
              <a:effectLst/>
              <a:latin typeface="Arial" charset="0"/>
            </a:endParaRPr>
          </a:p>
        </p:txBody>
      </p:sp>
      <p:sp>
        <p:nvSpPr>
          <p:cNvPr id="59" name="Rectangular Callout 104"/>
          <p:cNvSpPr/>
          <p:nvPr/>
        </p:nvSpPr>
        <p:spPr bwMode="auto">
          <a:xfrm>
            <a:off x="370648" y="1542498"/>
            <a:ext cx="2434157" cy="453647"/>
          </a:xfrm>
          <a:prstGeom prst="wedgeRectCallout">
            <a:avLst>
              <a:gd name="adj1" fmla="val 72184"/>
              <a:gd name="adj2" fmla="val 498356"/>
            </a:avLst>
          </a:prstGeom>
          <a:solidFill>
            <a:schemeClr val="bg1"/>
          </a:solidFill>
          <a:ln w="1905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900" dirty="0"/>
              <a:t> </a:t>
            </a:r>
            <a:r>
              <a:rPr lang="en-US" sz="1200" dirty="0"/>
              <a:t>Policy decisions propagated</a:t>
            </a:r>
          </a:p>
          <a:p>
            <a:pPr>
              <a:spcBef>
                <a:spcPts val="0"/>
              </a:spcBef>
            </a:pPr>
            <a:r>
              <a:rPr lang="en-US" sz="1200" dirty="0"/>
              <a:t>to the 5</a:t>
            </a:r>
            <a:r>
              <a:rPr kumimoji="0" lang="en-US" sz="1200" b="0" i="0" u="none" strike="noStrike" cap="none" normalizeH="0" baseline="0" dirty="0">
                <a:ln>
                  <a:noFill/>
                </a:ln>
                <a:solidFill>
                  <a:schemeClr val="tx1"/>
                </a:solidFill>
                <a:effectLst/>
                <a:latin typeface="Arial" charset="0"/>
              </a:rPr>
              <a:t>G RAN for </a:t>
            </a:r>
            <a:r>
              <a:rPr lang="en-US" sz="1200" dirty="0"/>
              <a:t> </a:t>
            </a:r>
            <a:r>
              <a:rPr kumimoji="0" lang="en-US" sz="1200" b="0" i="0" u="none" strike="noStrike" cap="none" normalizeH="0" baseline="0" dirty="0">
                <a:ln>
                  <a:noFill/>
                </a:ln>
                <a:solidFill>
                  <a:schemeClr val="tx1"/>
                </a:solidFill>
                <a:effectLst/>
                <a:latin typeface="Arial" charset="0"/>
              </a:rPr>
              <a:t>enforcement</a:t>
            </a:r>
          </a:p>
        </p:txBody>
      </p:sp>
      <p:sp>
        <p:nvSpPr>
          <p:cNvPr id="60" name="Rectangular Callout 124"/>
          <p:cNvSpPr/>
          <p:nvPr/>
        </p:nvSpPr>
        <p:spPr bwMode="auto">
          <a:xfrm>
            <a:off x="7555479" y="4757975"/>
            <a:ext cx="2050647" cy="455161"/>
          </a:xfrm>
          <a:prstGeom prst="wedgeRectCallout">
            <a:avLst>
              <a:gd name="adj1" fmla="val -79173"/>
              <a:gd name="adj2" fmla="val -29245"/>
            </a:avLst>
          </a:prstGeom>
          <a:solidFill>
            <a:schemeClr val="bg1"/>
          </a:solidFill>
          <a:ln w="19050" cap="flat" cmpd="sng" algn="ctr">
            <a:solidFill>
              <a:srgbClr val="89BA17"/>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US" sz="1200" dirty="0"/>
              <a:t>Policy decisions propagated</a:t>
            </a:r>
          </a:p>
          <a:p>
            <a:pPr>
              <a:spcBef>
                <a:spcPts val="0"/>
              </a:spcBef>
            </a:pPr>
            <a:r>
              <a:rPr lang="en-US" sz="1200" dirty="0"/>
              <a:t> to the </a:t>
            </a:r>
            <a:r>
              <a:rPr kumimoji="0" lang="en-US" sz="1200" b="0" i="0" u="none" strike="noStrike" cap="none" normalizeH="0" baseline="0" dirty="0">
                <a:ln>
                  <a:noFill/>
                </a:ln>
                <a:solidFill>
                  <a:schemeClr val="tx1"/>
                </a:solidFill>
                <a:effectLst/>
                <a:latin typeface="Arial" charset="0"/>
              </a:rPr>
              <a:t>UP for enforcement</a:t>
            </a:r>
          </a:p>
        </p:txBody>
      </p:sp>
      <p:sp>
        <p:nvSpPr>
          <p:cNvPr id="61" name="Text Box 144"/>
          <p:cNvSpPr txBox="1">
            <a:spLocks noChangeAspect="1" noChangeArrowheads="1"/>
          </p:cNvSpPr>
          <p:nvPr/>
        </p:nvSpPr>
        <p:spPr bwMode="auto">
          <a:xfrm rot="16200000">
            <a:off x="5850058" y="3573562"/>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1</a:t>
            </a:r>
          </a:p>
        </p:txBody>
      </p:sp>
      <p:cxnSp>
        <p:nvCxnSpPr>
          <p:cNvPr id="62" name="Elbow Connector 133"/>
          <p:cNvCxnSpPr>
            <a:cxnSpLocks/>
          </p:cNvCxnSpPr>
          <p:nvPr/>
        </p:nvCxnSpPr>
        <p:spPr bwMode="auto">
          <a:xfrm flipV="1">
            <a:off x="816649" y="4061614"/>
            <a:ext cx="4069318" cy="1373333"/>
          </a:xfrm>
          <a:prstGeom prst="bentConnector3">
            <a:avLst>
              <a:gd name="adj1" fmla="val 143"/>
            </a:avLst>
          </a:prstGeom>
          <a:noFill/>
          <a:ln w="28575">
            <a:solidFill>
              <a:schemeClr val="accent4">
                <a:lumMod val="50000"/>
              </a:schemeClr>
            </a:solidFill>
            <a:prstDash val="dash"/>
            <a:round/>
            <a:headEnd/>
            <a:tailEnd/>
          </a:ln>
        </p:spPr>
      </p:cxnSp>
      <p:sp>
        <p:nvSpPr>
          <p:cNvPr id="63" name="Text Box 144"/>
          <p:cNvSpPr txBox="1">
            <a:spLocks noChangeAspect="1" noChangeArrowheads="1"/>
          </p:cNvSpPr>
          <p:nvPr/>
        </p:nvSpPr>
        <p:spPr bwMode="auto">
          <a:xfrm>
            <a:off x="858131" y="4465733"/>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a:t>
            </a:r>
          </a:p>
        </p:txBody>
      </p:sp>
      <p:cxnSp>
        <p:nvCxnSpPr>
          <p:cNvPr id="64" name="Elbow Connector 96"/>
          <p:cNvCxnSpPr>
            <a:cxnSpLocks/>
          </p:cNvCxnSpPr>
          <p:nvPr/>
        </p:nvCxnSpPr>
        <p:spPr bwMode="auto">
          <a:xfrm flipV="1">
            <a:off x="5746304" y="2352923"/>
            <a:ext cx="2336096" cy="919212"/>
          </a:xfrm>
          <a:prstGeom prst="bentConnector3">
            <a:avLst>
              <a:gd name="adj1" fmla="val 461"/>
            </a:avLst>
          </a:prstGeom>
          <a:noFill/>
          <a:ln w="28575">
            <a:solidFill>
              <a:schemeClr val="accent4">
                <a:lumMod val="50000"/>
              </a:schemeClr>
            </a:solidFill>
            <a:prstDash val="dash"/>
            <a:round/>
            <a:headEnd/>
            <a:tailEnd/>
          </a:ln>
        </p:spPr>
      </p:cxnSp>
      <p:sp>
        <p:nvSpPr>
          <p:cNvPr id="65" name="Text Box 144"/>
          <p:cNvSpPr txBox="1">
            <a:spLocks noChangeAspect="1" noChangeArrowheads="1"/>
          </p:cNvSpPr>
          <p:nvPr/>
        </p:nvSpPr>
        <p:spPr bwMode="auto">
          <a:xfrm>
            <a:off x="6012513" y="207111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5</a:t>
            </a:r>
          </a:p>
        </p:txBody>
      </p:sp>
      <p:sp>
        <p:nvSpPr>
          <p:cNvPr id="66" name="Rectangular Callout 98"/>
          <p:cNvSpPr/>
          <p:nvPr/>
        </p:nvSpPr>
        <p:spPr bwMode="auto">
          <a:xfrm>
            <a:off x="3403236" y="4659285"/>
            <a:ext cx="2572710" cy="944822"/>
          </a:xfrm>
          <a:prstGeom prst="wedgeRectCallout">
            <a:avLst>
              <a:gd name="adj1" fmla="val 29689"/>
              <a:gd name="adj2" fmla="val -74324"/>
            </a:avLst>
          </a:prstGeom>
          <a:solidFill>
            <a:schemeClr val="bg1"/>
          </a:solidFill>
          <a:ln w="1905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Policy enforcement</a:t>
            </a:r>
            <a:r>
              <a:rPr kumimoji="0" lang="en-US" sz="1200" b="0" i="0" u="none" strike="noStrike" cap="none" normalizeH="0" dirty="0">
                <a:ln>
                  <a:noFill/>
                </a:ln>
                <a:solidFill>
                  <a:schemeClr val="tx1"/>
                </a:solidFill>
                <a:effectLst/>
                <a:latin typeface="Arial" charset="0"/>
              </a:rPr>
              <a:t> control part:</a:t>
            </a:r>
          </a:p>
          <a:p>
            <a:pPr marR="0" indent="0" algn="l" defTabSz="914400" rtl="0" eaLnBrk="1" fontAlgn="base" latinLnBrk="0" hangingPunct="1">
              <a:lnSpc>
                <a:spcPct val="100000"/>
              </a:lnSpc>
              <a:spcBef>
                <a:spcPts val="0"/>
              </a:spcBef>
              <a:spcAft>
                <a:spcPct val="0"/>
              </a:spcAft>
              <a:buClrTx/>
              <a:buSzTx/>
              <a:buFontTx/>
              <a:buNone/>
              <a:tabLst/>
            </a:pPr>
            <a:r>
              <a:rPr lang="en-US" sz="1200" dirty="0"/>
              <a:t> - Request for Mobility based policy</a:t>
            </a:r>
            <a:br>
              <a:rPr lang="en-US" sz="1200" dirty="0"/>
            </a:br>
            <a:r>
              <a:rPr lang="en-US" sz="1200" dirty="0"/>
              <a:t>   decisions</a:t>
            </a:r>
          </a:p>
          <a:p>
            <a:pPr marR="0" algn="l" defTabSz="914400" rtl="0" eaLnBrk="1" fontAlgn="base" latinLnBrk="0" hangingPunct="1">
              <a:lnSpc>
                <a:spcPct val="100000"/>
              </a:lnSpc>
              <a:spcBef>
                <a:spcPts val="0"/>
              </a:spcBef>
              <a:spcAft>
                <a:spcPct val="0"/>
              </a:spcAft>
              <a:buClrTx/>
              <a:buSzTx/>
              <a:tabLst/>
            </a:pPr>
            <a:r>
              <a:rPr kumimoji="0" lang="en-US" sz="1200" b="0" i="0" u="none" strike="noStrike" cap="none" normalizeH="0" baseline="0" dirty="0">
                <a:ln>
                  <a:noFill/>
                </a:ln>
                <a:solidFill>
                  <a:schemeClr val="tx1"/>
                </a:solidFill>
                <a:effectLst/>
                <a:latin typeface="Arial" charset="0"/>
              </a:rPr>
              <a:t> - Enforces and distributes </a:t>
            </a:r>
            <a:r>
              <a:rPr lang="en-US" sz="1200" dirty="0"/>
              <a:t>mobility</a:t>
            </a:r>
            <a:br>
              <a:rPr lang="en-US" sz="1200" dirty="0"/>
            </a:br>
            <a:r>
              <a:rPr lang="en-US" sz="1200" dirty="0"/>
              <a:t>   </a:t>
            </a:r>
            <a:r>
              <a:rPr kumimoji="0" lang="en-US" sz="1200" b="0" i="0" u="none" strike="noStrike" cap="none" normalizeH="0" baseline="0" dirty="0">
                <a:ln>
                  <a:noFill/>
                </a:ln>
                <a:solidFill>
                  <a:schemeClr val="tx1"/>
                </a:solidFill>
                <a:effectLst/>
                <a:latin typeface="Arial" charset="0"/>
              </a:rPr>
              <a:t>policy decisions to </a:t>
            </a:r>
            <a:r>
              <a:rPr lang="en-US" sz="1200" dirty="0"/>
              <a:t>5G</a:t>
            </a:r>
            <a:r>
              <a:rPr kumimoji="0" lang="en-US" sz="1200" b="0" i="0" u="none" strike="noStrike" cap="none" normalizeH="0" baseline="0" dirty="0">
                <a:ln>
                  <a:noFill/>
                </a:ln>
                <a:solidFill>
                  <a:schemeClr val="tx1"/>
                </a:solidFill>
                <a:effectLst/>
                <a:latin typeface="Arial" charset="0"/>
              </a:rPr>
              <a:t> RAN.</a:t>
            </a:r>
          </a:p>
        </p:txBody>
      </p:sp>
      <p:grpSp>
        <p:nvGrpSpPr>
          <p:cNvPr id="67" name="Group 66"/>
          <p:cNvGrpSpPr/>
          <p:nvPr/>
        </p:nvGrpSpPr>
        <p:grpSpPr>
          <a:xfrm>
            <a:off x="7898803" y="1956582"/>
            <a:ext cx="823693" cy="997958"/>
            <a:chOff x="4338871" y="2725624"/>
            <a:chExt cx="1199053" cy="1626215"/>
          </a:xfrm>
        </p:grpSpPr>
        <p:sp>
          <p:nvSpPr>
            <p:cNvPr id="6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6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7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grpSp>
      <p:grpSp>
        <p:nvGrpSpPr>
          <p:cNvPr id="71" name="Group 70"/>
          <p:cNvGrpSpPr/>
          <p:nvPr/>
        </p:nvGrpSpPr>
        <p:grpSpPr>
          <a:xfrm>
            <a:off x="4055133" y="2078460"/>
            <a:ext cx="815745" cy="1068019"/>
            <a:chOff x="4338871" y="2725624"/>
            <a:chExt cx="1199053" cy="1626215"/>
          </a:xfrm>
        </p:grpSpPr>
        <p:sp>
          <p:nvSpPr>
            <p:cNvPr id="7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7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7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7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DM</a:t>
              </a:r>
            </a:p>
          </p:txBody>
        </p:sp>
        <p:sp>
          <p:nvSpPr>
            <p:cNvPr id="7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7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sp>
        <p:nvSpPr>
          <p:cNvPr id="78" name="Can 1"/>
          <p:cNvSpPr/>
          <p:nvPr/>
        </p:nvSpPr>
        <p:spPr bwMode="auto">
          <a:xfrm>
            <a:off x="5585896" y="953289"/>
            <a:ext cx="967259" cy="658393"/>
          </a:xfrm>
          <a:prstGeom prst="can">
            <a:avLst/>
          </a:prstGeom>
          <a:noFill/>
          <a:ln w="41275"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79" name="TextBox 78"/>
          <p:cNvSpPr txBox="1"/>
          <p:nvPr/>
        </p:nvSpPr>
        <p:spPr>
          <a:xfrm>
            <a:off x="5683860" y="1216671"/>
            <a:ext cx="770120" cy="308047"/>
          </a:xfrm>
          <a:prstGeom prst="rect">
            <a:avLst/>
          </a:prstGeom>
          <a:noFill/>
          <a:ln>
            <a:noFill/>
          </a:ln>
        </p:spPr>
        <p:txBody>
          <a:bodyPr wrap="square" rtlCol="0">
            <a:spAutoFit/>
          </a:bodyPr>
          <a:lstStyle/>
          <a:p>
            <a:pPr algn="ctr">
              <a:spcBef>
                <a:spcPts val="0"/>
              </a:spcBef>
            </a:pPr>
            <a:r>
              <a:rPr lang="es-ES_tradnl" sz="1400" dirty="0">
                <a:solidFill>
                  <a:schemeClr val="accent2"/>
                </a:solidFill>
              </a:rPr>
              <a:t>UDR</a:t>
            </a:r>
            <a:endParaRPr lang="es-ES" sz="1400" dirty="0">
              <a:solidFill>
                <a:schemeClr val="accent2"/>
              </a:solidFill>
            </a:endParaRPr>
          </a:p>
        </p:txBody>
      </p:sp>
      <p:sp>
        <p:nvSpPr>
          <p:cNvPr id="80" name="Text Box 144"/>
          <p:cNvSpPr txBox="1">
            <a:spLocks noChangeAspect="1" noChangeArrowheads="1"/>
          </p:cNvSpPr>
          <p:nvPr/>
        </p:nvSpPr>
        <p:spPr bwMode="auto">
          <a:xfrm>
            <a:off x="6521639" y="1146621"/>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solidFill>
                  <a:schemeClr val="accent2"/>
                </a:solidFill>
              </a:rPr>
              <a:t>N25/</a:t>
            </a:r>
            <a:r>
              <a:rPr lang="en-US" altLang="en-US" sz="1400" dirty="0" err="1">
                <a:solidFill>
                  <a:schemeClr val="accent2"/>
                </a:solidFill>
              </a:rPr>
              <a:t>Nudr</a:t>
            </a:r>
            <a:endParaRPr lang="en-US" altLang="en-US" sz="1800" dirty="0">
              <a:solidFill>
                <a:schemeClr val="accent2"/>
              </a:solidFill>
            </a:endParaRPr>
          </a:p>
        </p:txBody>
      </p:sp>
      <p:cxnSp>
        <p:nvCxnSpPr>
          <p:cNvPr id="81" name="Elbow Connector 142"/>
          <p:cNvCxnSpPr>
            <a:cxnSpLocks/>
          </p:cNvCxnSpPr>
          <p:nvPr/>
        </p:nvCxnSpPr>
        <p:spPr bwMode="auto">
          <a:xfrm rot="5400000" flipH="1" flipV="1">
            <a:off x="4631861" y="1146730"/>
            <a:ext cx="759354" cy="1132178"/>
          </a:xfrm>
          <a:prstGeom prst="bentConnector2">
            <a:avLst/>
          </a:prstGeom>
          <a:noFill/>
          <a:ln w="28575">
            <a:solidFill>
              <a:schemeClr val="accent2"/>
            </a:solidFill>
            <a:prstDash val="dash"/>
            <a:round/>
            <a:headEnd/>
            <a:tailEnd/>
          </a:ln>
        </p:spPr>
      </p:cxnSp>
      <p:sp>
        <p:nvSpPr>
          <p:cNvPr id="82" name="Text Box 144"/>
          <p:cNvSpPr txBox="1">
            <a:spLocks noChangeAspect="1" noChangeArrowheads="1"/>
          </p:cNvSpPr>
          <p:nvPr/>
        </p:nvSpPr>
        <p:spPr bwMode="auto">
          <a:xfrm>
            <a:off x="4447052" y="112461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solidFill>
                  <a:schemeClr val="accent2"/>
                </a:solidFill>
              </a:rPr>
              <a:t>N25/</a:t>
            </a:r>
            <a:r>
              <a:rPr lang="en-US" altLang="en-US" sz="1400" dirty="0" err="1">
                <a:solidFill>
                  <a:schemeClr val="accent2"/>
                </a:solidFill>
              </a:rPr>
              <a:t>Nudr</a:t>
            </a:r>
            <a:endParaRPr lang="en-US" altLang="en-US" sz="1800" dirty="0">
              <a:solidFill>
                <a:schemeClr val="accent2"/>
              </a:solidFill>
            </a:endParaRPr>
          </a:p>
        </p:txBody>
      </p:sp>
      <p:grpSp>
        <p:nvGrpSpPr>
          <p:cNvPr id="83" name="Group 82"/>
          <p:cNvGrpSpPr/>
          <p:nvPr/>
        </p:nvGrpSpPr>
        <p:grpSpPr>
          <a:xfrm>
            <a:off x="7702494" y="1980608"/>
            <a:ext cx="1037838" cy="1182202"/>
            <a:chOff x="4338871" y="2725624"/>
            <a:chExt cx="1199053" cy="1626215"/>
          </a:xfrm>
        </p:grpSpPr>
        <p:sp>
          <p:nvSpPr>
            <p:cNvPr id="8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8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8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8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PCF</a:t>
              </a:r>
            </a:p>
          </p:txBody>
        </p:sp>
        <p:sp>
          <p:nvSpPr>
            <p:cNvPr id="8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8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cxnSp>
        <p:nvCxnSpPr>
          <p:cNvPr id="90" name="Elbow Connector 95"/>
          <p:cNvCxnSpPr>
            <a:cxnSpLocks/>
          </p:cNvCxnSpPr>
          <p:nvPr/>
        </p:nvCxnSpPr>
        <p:spPr bwMode="auto">
          <a:xfrm>
            <a:off x="4795081" y="2612470"/>
            <a:ext cx="1937784" cy="745421"/>
          </a:xfrm>
          <a:prstGeom prst="bentConnector3">
            <a:avLst>
              <a:gd name="adj1" fmla="val 102336"/>
            </a:avLst>
          </a:prstGeom>
          <a:noFill/>
          <a:ln w="28575">
            <a:solidFill>
              <a:schemeClr val="accent4">
                <a:lumMod val="50000"/>
              </a:schemeClr>
            </a:solidFill>
            <a:prstDash val="dash"/>
            <a:round/>
            <a:headEnd/>
            <a:tailEnd/>
          </a:ln>
        </p:spPr>
      </p:cxnSp>
      <p:sp>
        <p:nvSpPr>
          <p:cNvPr id="91" name="Text Box 144"/>
          <p:cNvSpPr txBox="1">
            <a:spLocks noChangeAspect="1" noChangeArrowheads="1"/>
          </p:cNvSpPr>
          <p:nvPr/>
        </p:nvSpPr>
        <p:spPr bwMode="auto">
          <a:xfrm>
            <a:off x="5864547" y="2689460"/>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0</a:t>
            </a:r>
          </a:p>
        </p:txBody>
      </p:sp>
      <p:grpSp>
        <p:nvGrpSpPr>
          <p:cNvPr id="92" name="Group 91"/>
          <p:cNvGrpSpPr/>
          <p:nvPr/>
        </p:nvGrpSpPr>
        <p:grpSpPr>
          <a:xfrm>
            <a:off x="2929244" y="2208924"/>
            <a:ext cx="748622" cy="868660"/>
            <a:chOff x="4338871" y="2725624"/>
            <a:chExt cx="1199053" cy="1626215"/>
          </a:xfrm>
        </p:grpSpPr>
        <p:sp>
          <p:nvSpPr>
            <p:cNvPr id="9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9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9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9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USF</a:t>
              </a:r>
            </a:p>
          </p:txBody>
        </p:sp>
        <p:sp>
          <p:nvSpPr>
            <p:cNvPr id="9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9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cxnSp>
        <p:nvCxnSpPr>
          <p:cNvPr id="99" name="Elbow Connector 95"/>
          <p:cNvCxnSpPr>
            <a:cxnSpLocks/>
          </p:cNvCxnSpPr>
          <p:nvPr/>
        </p:nvCxnSpPr>
        <p:spPr bwMode="auto">
          <a:xfrm>
            <a:off x="3348215" y="3075002"/>
            <a:ext cx="2023797" cy="649517"/>
          </a:xfrm>
          <a:prstGeom prst="bentConnector3">
            <a:avLst>
              <a:gd name="adj1" fmla="val 710"/>
            </a:avLst>
          </a:prstGeom>
          <a:noFill/>
          <a:ln w="28575">
            <a:solidFill>
              <a:schemeClr val="accent4">
                <a:lumMod val="50000"/>
              </a:schemeClr>
            </a:solidFill>
            <a:prstDash val="dash"/>
            <a:round/>
            <a:headEnd/>
            <a:tailEnd/>
          </a:ln>
        </p:spPr>
      </p:cxnSp>
      <p:sp>
        <p:nvSpPr>
          <p:cNvPr id="100" name="Text Box 144"/>
          <p:cNvSpPr txBox="1">
            <a:spLocks noChangeAspect="1" noChangeArrowheads="1"/>
          </p:cNvSpPr>
          <p:nvPr/>
        </p:nvSpPr>
        <p:spPr bwMode="auto">
          <a:xfrm>
            <a:off x="3468257" y="348269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2</a:t>
            </a:r>
          </a:p>
        </p:txBody>
      </p:sp>
      <p:cxnSp>
        <p:nvCxnSpPr>
          <p:cNvPr id="101" name="Elbow Connector 95"/>
          <p:cNvCxnSpPr>
            <a:cxnSpLocks/>
          </p:cNvCxnSpPr>
          <p:nvPr/>
        </p:nvCxnSpPr>
        <p:spPr bwMode="auto">
          <a:xfrm flipV="1">
            <a:off x="3601312" y="2580514"/>
            <a:ext cx="505186" cy="1394"/>
          </a:xfrm>
          <a:prstGeom prst="bentConnector3">
            <a:avLst>
              <a:gd name="adj1" fmla="val 50000"/>
            </a:avLst>
          </a:prstGeom>
          <a:noFill/>
          <a:ln w="28575">
            <a:solidFill>
              <a:schemeClr val="accent4">
                <a:lumMod val="50000"/>
              </a:schemeClr>
            </a:solidFill>
            <a:prstDash val="dash"/>
            <a:round/>
            <a:headEnd/>
            <a:tailEnd/>
          </a:ln>
        </p:spPr>
      </p:cxnSp>
      <p:sp>
        <p:nvSpPr>
          <p:cNvPr id="102" name="Text Box 144"/>
          <p:cNvSpPr txBox="1">
            <a:spLocks noChangeAspect="1" noChangeArrowheads="1"/>
          </p:cNvSpPr>
          <p:nvPr/>
        </p:nvSpPr>
        <p:spPr bwMode="auto">
          <a:xfrm rot="16200000">
            <a:off x="3323614" y="2093782"/>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3</a:t>
            </a:r>
          </a:p>
        </p:txBody>
      </p:sp>
      <p:sp>
        <p:nvSpPr>
          <p:cNvPr id="103" name="Rectangular Callout 98"/>
          <p:cNvSpPr/>
          <p:nvPr/>
        </p:nvSpPr>
        <p:spPr bwMode="auto">
          <a:xfrm>
            <a:off x="7195824" y="173843"/>
            <a:ext cx="3127084" cy="817366"/>
          </a:xfrm>
          <a:prstGeom prst="wedgeRectCallout">
            <a:avLst>
              <a:gd name="adj1" fmla="val -60500"/>
              <a:gd name="adj2" fmla="val 331966"/>
            </a:avLst>
          </a:prstGeom>
          <a:solidFill>
            <a:schemeClr val="bg1"/>
          </a:solidFill>
          <a:ln w="1905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Policy enforcement</a:t>
            </a:r>
            <a:r>
              <a:rPr kumimoji="0" lang="en-US" sz="1200" b="0" i="0" u="none" strike="noStrike" cap="none" normalizeH="0" dirty="0">
                <a:ln>
                  <a:noFill/>
                </a:ln>
                <a:solidFill>
                  <a:schemeClr val="tx1"/>
                </a:solidFill>
                <a:effectLst/>
                <a:latin typeface="Arial" charset="0"/>
              </a:rPr>
              <a:t> control part:</a:t>
            </a:r>
          </a:p>
          <a:p>
            <a:pPr marL="0" marR="0" indent="0" algn="l" defTabSz="914400" rtl="0" eaLnBrk="1" fontAlgn="base" latinLnBrk="0" hangingPunct="1">
              <a:lnSpc>
                <a:spcPct val="100000"/>
              </a:lnSpc>
              <a:spcBef>
                <a:spcPts val="0"/>
              </a:spcBef>
              <a:spcAft>
                <a:spcPct val="0"/>
              </a:spcAft>
              <a:buClrTx/>
              <a:buSzTx/>
              <a:buFontTx/>
              <a:buNone/>
              <a:tabLst/>
            </a:pPr>
            <a:r>
              <a:rPr lang="en-US" sz="1200" dirty="0"/>
              <a:t> - Request for policy decisions</a:t>
            </a:r>
          </a:p>
          <a:p>
            <a:pPr marR="0" algn="l" defTabSz="914400" rtl="0" eaLnBrk="1" fontAlgn="base" latinLnBrk="0" hangingPunct="1">
              <a:lnSpc>
                <a:spcPct val="100000"/>
              </a:lnSpc>
              <a:spcBef>
                <a:spcPts val="0"/>
              </a:spcBef>
              <a:spcAft>
                <a:spcPct val="0"/>
              </a:spcAft>
              <a:buClrTx/>
              <a:buSzTx/>
              <a:tabLst/>
            </a:pPr>
            <a:r>
              <a:rPr kumimoji="0" lang="en-US" sz="1200" b="0" i="0" u="none" strike="noStrike" cap="none" normalizeH="0" baseline="0" dirty="0">
                <a:ln>
                  <a:noFill/>
                </a:ln>
                <a:solidFill>
                  <a:schemeClr val="tx1"/>
                </a:solidFill>
                <a:effectLst/>
                <a:latin typeface="Arial" charset="0"/>
              </a:rPr>
              <a:t> - Enforces and distributes </a:t>
            </a:r>
          </a:p>
          <a:p>
            <a:pPr marR="0" algn="l" defTabSz="914400" rtl="0" eaLnBrk="1" fontAlgn="base" latinLnBrk="0" hangingPunct="1">
              <a:lnSpc>
                <a:spcPct val="100000"/>
              </a:lnSpc>
              <a:spcBef>
                <a:spcPts val="0"/>
              </a:spcBef>
              <a:spcAft>
                <a:spcPct val="0"/>
              </a:spcAft>
              <a:buClrTx/>
              <a:buSzTx/>
              <a:tabLst/>
            </a:pPr>
            <a:r>
              <a:rPr lang="en-US" sz="1200" dirty="0"/>
              <a:t>   </a:t>
            </a:r>
            <a:r>
              <a:rPr kumimoji="0" lang="en-US" sz="1200" b="0" i="0" u="none" strike="noStrike" cap="none" normalizeH="0" baseline="0" dirty="0">
                <a:ln>
                  <a:noFill/>
                </a:ln>
                <a:solidFill>
                  <a:schemeClr val="tx1"/>
                </a:solidFill>
                <a:effectLst/>
                <a:latin typeface="Arial" charset="0"/>
              </a:rPr>
              <a:t>policy decisions to </a:t>
            </a:r>
            <a:r>
              <a:rPr lang="en-US" sz="1200" dirty="0"/>
              <a:t>5G</a:t>
            </a:r>
            <a:r>
              <a:rPr kumimoji="0" lang="en-US" sz="1200" b="0" i="0" u="none" strike="noStrike" cap="none" normalizeH="0" baseline="0" dirty="0">
                <a:ln>
                  <a:noFill/>
                </a:ln>
                <a:solidFill>
                  <a:schemeClr val="tx1"/>
                </a:solidFill>
                <a:effectLst/>
                <a:latin typeface="Arial" charset="0"/>
              </a:rPr>
              <a:t> UP and 5G RAN.</a:t>
            </a:r>
          </a:p>
        </p:txBody>
      </p:sp>
      <p:grpSp>
        <p:nvGrpSpPr>
          <p:cNvPr id="104" name="Group 103"/>
          <p:cNvGrpSpPr/>
          <p:nvPr/>
        </p:nvGrpSpPr>
        <p:grpSpPr>
          <a:xfrm>
            <a:off x="11027391" y="2044343"/>
            <a:ext cx="1037838" cy="1182202"/>
            <a:chOff x="4338871" y="2725624"/>
            <a:chExt cx="1199053" cy="1626215"/>
          </a:xfrm>
        </p:grpSpPr>
        <p:sp>
          <p:nvSpPr>
            <p:cNvPr id="10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0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0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0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WDA</a:t>
              </a:r>
            </a:p>
          </p:txBody>
        </p:sp>
        <p:sp>
          <p:nvSpPr>
            <p:cNvPr id="10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cxnSp>
        <p:nvCxnSpPr>
          <p:cNvPr id="111" name="Elbow Connector 59"/>
          <p:cNvCxnSpPr>
            <a:cxnSpLocks/>
          </p:cNvCxnSpPr>
          <p:nvPr/>
        </p:nvCxnSpPr>
        <p:spPr bwMode="auto">
          <a:xfrm flipV="1">
            <a:off x="8623857" y="2608721"/>
            <a:ext cx="2385698" cy="19453"/>
          </a:xfrm>
          <a:prstGeom prst="bentConnector3">
            <a:avLst>
              <a:gd name="adj1" fmla="val 50000"/>
            </a:avLst>
          </a:prstGeom>
          <a:noFill/>
          <a:ln w="28575">
            <a:solidFill>
              <a:schemeClr val="accent4">
                <a:lumMod val="50000"/>
              </a:schemeClr>
            </a:solidFill>
            <a:prstDash val="dash"/>
            <a:round/>
            <a:headEnd/>
            <a:tailEnd/>
          </a:ln>
        </p:spPr>
      </p:cxnSp>
      <p:sp>
        <p:nvSpPr>
          <p:cNvPr id="112" name="Text Box 144"/>
          <p:cNvSpPr txBox="1">
            <a:spLocks noChangeAspect="1" noChangeArrowheads="1"/>
          </p:cNvSpPr>
          <p:nvPr/>
        </p:nvSpPr>
        <p:spPr bwMode="auto">
          <a:xfrm>
            <a:off x="9257031" y="2387122"/>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23</a:t>
            </a:r>
          </a:p>
        </p:txBody>
      </p:sp>
      <p:sp>
        <p:nvSpPr>
          <p:cNvPr id="113" name="Rectangular Callout 99"/>
          <p:cNvSpPr/>
          <p:nvPr/>
        </p:nvSpPr>
        <p:spPr bwMode="auto">
          <a:xfrm>
            <a:off x="10750439" y="3484753"/>
            <a:ext cx="1428861" cy="840777"/>
          </a:xfrm>
          <a:prstGeom prst="wedgeRectCallout">
            <a:avLst>
              <a:gd name="adj1" fmla="val 12035"/>
              <a:gd name="adj2" fmla="val -84231"/>
            </a:avLst>
          </a:prstGeom>
          <a:solidFill>
            <a:schemeClr val="bg1"/>
          </a:solidFill>
          <a:ln w="19050" cap="flat" cmpd="sng" algn="ctr">
            <a:solidFill>
              <a:srgbClr val="00A9D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ts val="0"/>
              </a:spcBef>
            </a:pPr>
            <a:r>
              <a:rPr lang="en-GB" sz="1200" dirty="0"/>
              <a:t>network status </a:t>
            </a:r>
          </a:p>
          <a:p>
            <a:pPr>
              <a:spcBef>
                <a:spcPts val="0"/>
              </a:spcBef>
            </a:pPr>
            <a:r>
              <a:rPr lang="en-GB" sz="1200" dirty="0"/>
              <a:t>analytics e.g. </a:t>
            </a:r>
          </a:p>
          <a:p>
            <a:pPr>
              <a:spcBef>
                <a:spcPts val="0"/>
              </a:spcBef>
            </a:pPr>
            <a:r>
              <a:rPr lang="en-GB" sz="1200" dirty="0"/>
              <a:t>congestion info for</a:t>
            </a:r>
          </a:p>
          <a:p>
            <a:pPr>
              <a:spcBef>
                <a:spcPts val="0"/>
              </a:spcBef>
            </a:pPr>
            <a:r>
              <a:rPr lang="en-GB" sz="1200" dirty="0"/>
              <a:t> a specific slice</a:t>
            </a:r>
            <a:endParaRPr lang="en-US" sz="1200" dirty="0"/>
          </a:p>
        </p:txBody>
      </p:sp>
      <p:sp>
        <p:nvSpPr>
          <p:cNvPr id="114" name="Rectangular Callout 102"/>
          <p:cNvSpPr/>
          <p:nvPr/>
        </p:nvSpPr>
        <p:spPr bwMode="auto">
          <a:xfrm>
            <a:off x="9895704" y="2883530"/>
            <a:ext cx="1046905" cy="474361"/>
          </a:xfrm>
          <a:prstGeom prst="wedgeRectCallout">
            <a:avLst>
              <a:gd name="adj1" fmla="val -64048"/>
              <a:gd name="adj2" fmla="val -97557"/>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New i/f for </a:t>
            </a:r>
          </a:p>
          <a:p>
            <a:pPr marL="0" marR="0" indent="0" algn="l"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nalytics in</a:t>
            </a:r>
            <a:r>
              <a:rPr lang="en-US" sz="1200" dirty="0"/>
              <a:t>put</a:t>
            </a:r>
            <a:endParaRPr kumimoji="0" lang="en-US" sz="12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9049580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quality OF SERVICE</a:t>
            </a:r>
            <a:br>
              <a:rPr lang="en-US" dirty="0"/>
            </a:br>
            <a:r>
              <a:rPr lang="en-US" sz="2400" dirty="0">
                <a:latin typeface="+mn-lt"/>
                <a:cs typeface="Times New Roman" panose="02020603050405020304" pitchFamily="18" charset="0"/>
              </a:rPr>
              <a:t>Principals</a:t>
            </a:r>
          </a:p>
        </p:txBody>
      </p:sp>
      <p:sp>
        <p:nvSpPr>
          <p:cNvPr id="4" name="Content Placeholder 2"/>
          <p:cNvSpPr txBox="1">
            <a:spLocks/>
          </p:cNvSpPr>
          <p:nvPr/>
        </p:nvSpPr>
        <p:spPr>
          <a:xfrm>
            <a:off x="5775571" y="1335597"/>
            <a:ext cx="6130321" cy="2225574"/>
          </a:xfrm>
          <a:prstGeom prst="rect">
            <a:avLst/>
          </a:prstGeom>
        </p:spPr>
        <p:txBody>
          <a:bodyPr>
            <a:normAutofit fontScale="55000" lnSpcReduction="20000"/>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3600" b="1" kern="0"/>
              <a:t>Changes from EPS QoS</a:t>
            </a:r>
            <a:r>
              <a:rPr lang="en-US" sz="3400" b="1" kern="0"/>
              <a:t>:</a:t>
            </a:r>
          </a:p>
          <a:p>
            <a:pPr lvl="1"/>
            <a:r>
              <a:rPr lang="en-US" sz="3100" kern="0"/>
              <a:t>One tunnel per session – no dedicated EPS bearers</a:t>
            </a:r>
          </a:p>
          <a:p>
            <a:pPr lvl="1"/>
            <a:r>
              <a:rPr lang="en-US" sz="3100" kern="0"/>
              <a:t>Data Radio Bearers remain to exist but with no CN intervention</a:t>
            </a:r>
          </a:p>
          <a:p>
            <a:pPr lvl="1"/>
            <a:r>
              <a:rPr lang="en-US" sz="3100" kern="0"/>
              <a:t>Possibility to decouple flow priority and service requirements (PDB, PER) for more flexible QoS targets settings. In EPS, QCI indicates both priority and service requirements</a:t>
            </a:r>
            <a:endParaRPr lang="en-US" sz="3100" kern="0" dirty="0"/>
          </a:p>
        </p:txBody>
      </p:sp>
      <p:sp>
        <p:nvSpPr>
          <p:cNvPr id="5" name="Content Placeholder 1"/>
          <p:cNvSpPr txBox="1">
            <a:spLocks/>
          </p:cNvSpPr>
          <p:nvPr/>
        </p:nvSpPr>
        <p:spPr bwMode="auto">
          <a:xfrm>
            <a:off x="524934" y="1356730"/>
            <a:ext cx="4716537" cy="5227190"/>
          </a:xfrm>
          <a:prstGeom prst="rect">
            <a:avLst/>
          </a:prstGeom>
          <a:noFill/>
          <a:ln w="9525">
            <a:noFill/>
            <a:miter lim="800000"/>
            <a:headEnd/>
            <a:tailEnd/>
          </a:ln>
        </p:spPr>
        <p:txBody>
          <a:bodyPr vert="horz" wrap="square" lIns="72000" tIns="0" rIns="72000" bIns="0" numCol="1" anchor="t" anchorCtr="0" compatLnSpc="1">
            <a:prstTxWarp prst="textNoShape">
              <a:avLst/>
            </a:prstTxWarp>
            <a:normAutofit fontScale="85000" lnSpcReduction="20000"/>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b="1" kern="0" dirty="0"/>
              <a:t>Main principles</a:t>
            </a:r>
          </a:p>
          <a:p>
            <a:pPr lvl="1"/>
            <a:r>
              <a:rPr lang="en-US" kern="0" dirty="0"/>
              <a:t>Network controlled </a:t>
            </a:r>
            <a:r>
              <a:rPr lang="en-US" kern="0" dirty="0" err="1"/>
              <a:t>QoS</a:t>
            </a:r>
            <a:endParaRPr lang="en-US" kern="0" dirty="0"/>
          </a:p>
          <a:p>
            <a:pPr lvl="1"/>
            <a:r>
              <a:rPr lang="en-US" kern="0" dirty="0"/>
              <a:t>Per flow U-plane marking, one tunnel per session</a:t>
            </a:r>
          </a:p>
          <a:p>
            <a:pPr lvl="1"/>
            <a:r>
              <a:rPr lang="en-US" kern="0" dirty="0"/>
              <a:t>Separation of concerns between CN and AN</a:t>
            </a:r>
          </a:p>
          <a:p>
            <a:pPr lvl="2"/>
            <a:r>
              <a:rPr lang="en-US" kern="0" dirty="0"/>
              <a:t>Break 1:1 relation between CN </a:t>
            </a:r>
            <a:r>
              <a:rPr lang="en-US" kern="0" dirty="0" err="1"/>
              <a:t>QoS</a:t>
            </a:r>
            <a:r>
              <a:rPr lang="en-US" kern="0" dirty="0"/>
              <a:t> and DRB</a:t>
            </a:r>
          </a:p>
          <a:p>
            <a:pPr lvl="2"/>
            <a:r>
              <a:rPr lang="en-US" kern="0" dirty="0"/>
              <a:t>Per flow U-plane marking in encapsulation header</a:t>
            </a:r>
          </a:p>
          <a:p>
            <a:pPr lvl="3"/>
            <a:r>
              <a:rPr lang="en-US" kern="0" dirty="0"/>
              <a:t>Marking in UE and UPF</a:t>
            </a:r>
          </a:p>
          <a:p>
            <a:pPr lvl="2"/>
            <a:r>
              <a:rPr lang="en-US" kern="0" dirty="0"/>
              <a:t>Per flow authorized </a:t>
            </a:r>
            <a:r>
              <a:rPr lang="en-US" kern="0" dirty="0" err="1"/>
              <a:t>QoS</a:t>
            </a:r>
            <a:r>
              <a:rPr lang="en-US" kern="0" dirty="0"/>
              <a:t> distributed to RAN (over N2) and optionally UE (over N1) </a:t>
            </a:r>
          </a:p>
          <a:p>
            <a:pPr lvl="1"/>
            <a:r>
              <a:rPr lang="en-US" kern="0" dirty="0"/>
              <a:t>Minimize signaling</a:t>
            </a:r>
          </a:p>
          <a:p>
            <a:pPr lvl="2"/>
            <a:r>
              <a:rPr lang="en-US" kern="0" dirty="0"/>
              <a:t>Reflective </a:t>
            </a:r>
            <a:r>
              <a:rPr lang="en-US" kern="0" dirty="0" err="1"/>
              <a:t>QoS</a:t>
            </a:r>
            <a:r>
              <a:rPr lang="en-US" kern="0" dirty="0"/>
              <a:t> for UL traffic</a:t>
            </a:r>
          </a:p>
          <a:p>
            <a:pPr lvl="2"/>
            <a:r>
              <a:rPr lang="en-US" kern="0" dirty="0"/>
              <a:t>Standardized (in addition to dynamic) flow marking</a:t>
            </a:r>
          </a:p>
          <a:p>
            <a:pPr lvl="2"/>
            <a:r>
              <a:rPr lang="en-US" kern="0" dirty="0"/>
              <a:t>Pre-authorization of </a:t>
            </a:r>
            <a:r>
              <a:rPr lang="en-US" kern="0" dirty="0" err="1"/>
              <a:t>QoS</a:t>
            </a:r>
            <a:r>
              <a:rPr lang="en-US" kern="0" dirty="0"/>
              <a:t> flows at PDU session establishmen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5046" y="3325207"/>
            <a:ext cx="6749421" cy="3434576"/>
          </a:xfrm>
          <a:prstGeom prst="rect">
            <a:avLst/>
          </a:prstGeom>
        </p:spPr>
      </p:pic>
    </p:spTree>
    <p:extLst>
      <p:ext uri="{BB962C8B-B14F-4D97-AF65-F5344CB8AC3E}">
        <p14:creationId xmlns:p14="http://schemas.microsoft.com/office/powerpoint/2010/main" val="36672524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Qos</a:t>
            </a:r>
            <a:r>
              <a:rPr lang="en-US" dirty="0"/>
              <a:t> </a:t>
            </a:r>
            <a:r>
              <a:rPr lang="en-US" dirty="0" err="1"/>
              <a:t>fLOWS</a:t>
            </a:r>
            <a:endParaRPr lang="en-US" sz="2400" dirty="0"/>
          </a:p>
        </p:txBody>
      </p:sp>
      <p:sp>
        <p:nvSpPr>
          <p:cNvPr id="4" name="Content Placeholder 8"/>
          <p:cNvSpPr txBox="1">
            <a:spLocks/>
          </p:cNvSpPr>
          <p:nvPr/>
        </p:nvSpPr>
        <p:spPr>
          <a:xfrm>
            <a:off x="6193367" y="2022434"/>
            <a:ext cx="5679034" cy="3149173"/>
          </a:xfrm>
          <a:prstGeom prst="rect">
            <a:avLst/>
          </a:prstGeom>
        </p:spPr>
        <p:txBody>
          <a:bodyPr>
            <a:normAutofit fontScale="47500" lnSpcReduction="20000"/>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3600" kern="0" dirty="0"/>
              <a:t>A </a:t>
            </a:r>
            <a:r>
              <a:rPr lang="en-US" sz="3600" kern="0" dirty="0" err="1"/>
              <a:t>QoS</a:t>
            </a:r>
            <a:r>
              <a:rPr lang="en-US" sz="3600" kern="0" dirty="0"/>
              <a:t> flow is the finest granularity of </a:t>
            </a:r>
            <a:r>
              <a:rPr lang="en-US" sz="3600" kern="0" dirty="0" err="1"/>
              <a:t>QoS</a:t>
            </a:r>
            <a:r>
              <a:rPr lang="en-US" sz="3600" kern="0" dirty="0"/>
              <a:t> differentiation in a PDU session</a:t>
            </a:r>
          </a:p>
          <a:p>
            <a:pPr lvl="1"/>
            <a:r>
              <a:rPr lang="en-US" sz="3200" kern="0" dirty="0"/>
              <a:t>Each </a:t>
            </a:r>
            <a:r>
              <a:rPr lang="en-US" sz="3200" kern="0" dirty="0" err="1"/>
              <a:t>QoS</a:t>
            </a:r>
            <a:r>
              <a:rPr lang="en-US" sz="3200" kern="0" dirty="0"/>
              <a:t> flow is associated with </a:t>
            </a:r>
            <a:r>
              <a:rPr lang="en-US" sz="3200" kern="0" dirty="0" err="1"/>
              <a:t>QoS</a:t>
            </a:r>
            <a:r>
              <a:rPr lang="en-US" sz="3200" kern="0" dirty="0"/>
              <a:t> parameters that are used to enforce the correct traffic forwarding treatment</a:t>
            </a:r>
          </a:p>
          <a:p>
            <a:pPr lvl="1"/>
            <a:r>
              <a:rPr lang="en-US" sz="3200" kern="0" dirty="0"/>
              <a:t>Each packet belongs to a </a:t>
            </a:r>
            <a:r>
              <a:rPr lang="en-US" sz="3200" kern="0" dirty="0" err="1"/>
              <a:t>QoS</a:t>
            </a:r>
            <a:r>
              <a:rPr lang="en-US" sz="3200" kern="0" dirty="0"/>
              <a:t> flow</a:t>
            </a:r>
          </a:p>
          <a:p>
            <a:pPr lvl="1"/>
            <a:endParaRPr lang="en-US" sz="3200" kern="0" dirty="0"/>
          </a:p>
          <a:p>
            <a:r>
              <a:rPr lang="en-US" sz="3600" kern="0" dirty="0"/>
              <a:t>One PDU session can carry one or several </a:t>
            </a:r>
            <a:r>
              <a:rPr lang="en-US" sz="3600" kern="0" dirty="0" err="1"/>
              <a:t>QoS</a:t>
            </a:r>
            <a:r>
              <a:rPr lang="en-US" sz="3600" kern="0" dirty="0"/>
              <a:t> flows</a:t>
            </a:r>
          </a:p>
          <a:p>
            <a:pPr lvl="1"/>
            <a:r>
              <a:rPr lang="en-US" sz="3200" kern="0" dirty="0"/>
              <a:t>All </a:t>
            </a:r>
            <a:r>
              <a:rPr lang="en-US" sz="3200" kern="0" dirty="0" err="1"/>
              <a:t>QoS</a:t>
            </a:r>
            <a:r>
              <a:rPr lang="en-US" sz="3200" kern="0" dirty="0"/>
              <a:t> flows are sent over the same N3 tunnel</a:t>
            </a:r>
          </a:p>
          <a:p>
            <a:pPr lvl="1"/>
            <a:endParaRPr lang="en-US" sz="3200" kern="0" dirty="0"/>
          </a:p>
          <a:p>
            <a:r>
              <a:rPr lang="en-US" sz="3400" kern="0" dirty="0"/>
              <a:t>A Radio Bearer can carry one or several </a:t>
            </a:r>
            <a:r>
              <a:rPr lang="en-US" sz="3400" kern="0" dirty="0" err="1"/>
              <a:t>QoS</a:t>
            </a:r>
            <a:r>
              <a:rPr lang="en-US" sz="3400" kern="0" dirty="0"/>
              <a:t> flows</a:t>
            </a:r>
            <a:endParaRPr lang="en-US" sz="3200" kern="0" dirty="0"/>
          </a:p>
          <a:p>
            <a:pPr lvl="1"/>
            <a:r>
              <a:rPr lang="en-US" sz="3000" kern="0" dirty="0"/>
              <a:t>Each PDU session have a unique set of Radio bearers</a:t>
            </a:r>
          </a:p>
          <a:p>
            <a:pPr lvl="1"/>
            <a:r>
              <a:rPr lang="en-US" sz="3000" kern="0" dirty="0"/>
              <a:t>RAN decide which Radio Bearer a </a:t>
            </a:r>
            <a:r>
              <a:rPr lang="en-US" sz="3000" kern="0" dirty="0" err="1"/>
              <a:t>QoS</a:t>
            </a:r>
            <a:r>
              <a:rPr lang="en-US" sz="3000" kern="0" dirty="0"/>
              <a:t> flow is sent over</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159" y="1812574"/>
            <a:ext cx="5425503" cy="4053536"/>
          </a:xfrm>
          <a:prstGeom prst="rect">
            <a:avLst/>
          </a:prstGeom>
        </p:spPr>
      </p:pic>
      <p:sp>
        <p:nvSpPr>
          <p:cNvPr id="3" name="TextBox 2"/>
          <p:cNvSpPr txBox="1"/>
          <p:nvPr/>
        </p:nvSpPr>
        <p:spPr>
          <a:xfrm>
            <a:off x="3433963" y="3102962"/>
            <a:ext cx="883127" cy="184666"/>
          </a:xfrm>
          <a:prstGeom prst="rect">
            <a:avLst/>
          </a:prstGeom>
          <a:solidFill>
            <a:schemeClr val="bg1"/>
          </a:solidFill>
        </p:spPr>
        <p:txBody>
          <a:bodyPr wrap="none" tIns="0" bIns="0" rtlCol="0">
            <a:spAutoFit/>
          </a:bodyPr>
          <a:lstStyle/>
          <a:p>
            <a:r>
              <a:rPr lang="en-US" sz="1200" dirty="0"/>
              <a:t>N3 Tunnel</a:t>
            </a:r>
          </a:p>
        </p:txBody>
      </p:sp>
    </p:spTree>
    <p:extLst>
      <p:ext uri="{BB962C8B-B14F-4D97-AF65-F5344CB8AC3E}">
        <p14:creationId xmlns:p14="http://schemas.microsoft.com/office/powerpoint/2010/main" val="39601315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ping of </a:t>
            </a:r>
            <a:r>
              <a:rPr lang="en-US" dirty="0" err="1"/>
              <a:t>Qos</a:t>
            </a:r>
            <a:r>
              <a:rPr lang="en-US" dirty="0"/>
              <a:t> flows to AN resources</a:t>
            </a:r>
          </a:p>
        </p:txBody>
      </p:sp>
      <p:sp>
        <p:nvSpPr>
          <p:cNvPr id="42" name="Rectangle 5"/>
          <p:cNvSpPr>
            <a:spLocks noChangeAspect="1" noChangeArrowheads="1"/>
          </p:cNvSpPr>
          <p:nvPr/>
        </p:nvSpPr>
        <p:spPr bwMode="auto">
          <a:xfrm>
            <a:off x="1468423" y="2930593"/>
            <a:ext cx="1587290" cy="2484500"/>
          </a:xfrm>
          <a:prstGeom prst="rect">
            <a:avLst/>
          </a:prstGeom>
          <a:solidFill>
            <a:schemeClr val="bg1"/>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nchorCtr="1"/>
          <a:lstStyle/>
          <a:p>
            <a:pPr eaLnBrk="0" hangingPunct="0">
              <a:spcBef>
                <a:spcPct val="0"/>
              </a:spcBef>
            </a:pPr>
            <a:r>
              <a:rPr lang="en-US" altLang="en-US" sz="1400">
                <a:solidFill>
                  <a:srgbClr val="000000"/>
                </a:solidFill>
              </a:rPr>
              <a:t>UE</a:t>
            </a:r>
          </a:p>
        </p:txBody>
      </p:sp>
      <p:sp>
        <p:nvSpPr>
          <p:cNvPr id="43" name="Line 21"/>
          <p:cNvSpPr>
            <a:spLocks noChangeShapeType="1"/>
          </p:cNvSpPr>
          <p:nvPr/>
        </p:nvSpPr>
        <p:spPr bwMode="auto">
          <a:xfrm flipH="1">
            <a:off x="2725666" y="3153872"/>
            <a:ext cx="0" cy="716707"/>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4" name="Rectangle 3"/>
          <p:cNvSpPr>
            <a:spLocks noChangeAspect="1" noChangeArrowheads="1"/>
          </p:cNvSpPr>
          <p:nvPr/>
        </p:nvSpPr>
        <p:spPr bwMode="auto">
          <a:xfrm>
            <a:off x="6692077" y="2961616"/>
            <a:ext cx="4114628" cy="2453476"/>
          </a:xfrm>
          <a:prstGeom prst="rect">
            <a:avLst/>
          </a:prstGeom>
          <a:solidFill>
            <a:schemeClr val="bg1"/>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nchorCtr="1"/>
          <a:lstStyle/>
          <a:p>
            <a:pPr algn="ctr" eaLnBrk="0" hangingPunct="0">
              <a:spcBef>
                <a:spcPct val="0"/>
              </a:spcBef>
            </a:pPr>
            <a:r>
              <a:rPr lang="en-US" altLang="en-US" sz="1400" dirty="0">
                <a:solidFill>
                  <a:srgbClr val="000000"/>
                </a:solidFill>
              </a:rPr>
              <a:t>CN_UP</a:t>
            </a:r>
          </a:p>
        </p:txBody>
      </p:sp>
      <p:sp>
        <p:nvSpPr>
          <p:cNvPr id="45" name="Rectangle 4"/>
          <p:cNvSpPr>
            <a:spLocks noChangeAspect="1" noChangeArrowheads="1"/>
          </p:cNvSpPr>
          <p:nvPr/>
        </p:nvSpPr>
        <p:spPr bwMode="auto">
          <a:xfrm>
            <a:off x="4295550" y="3956872"/>
            <a:ext cx="1190625" cy="1458218"/>
          </a:xfrm>
          <a:prstGeom prst="rect">
            <a:avLst/>
          </a:prstGeom>
          <a:solidFill>
            <a:schemeClr val="bg1"/>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nchorCtr="1"/>
          <a:lstStyle/>
          <a:p>
            <a:pPr algn="ctr" eaLnBrk="0" hangingPunct="0">
              <a:spcBef>
                <a:spcPct val="0"/>
              </a:spcBef>
            </a:pPr>
            <a:r>
              <a:rPr lang="en-US" altLang="en-US" sz="1400" dirty="0">
                <a:solidFill>
                  <a:srgbClr val="000000"/>
                </a:solidFill>
              </a:rPr>
              <a:t>AN</a:t>
            </a:r>
          </a:p>
        </p:txBody>
      </p:sp>
      <p:grpSp>
        <p:nvGrpSpPr>
          <p:cNvPr id="46" name="Group 6"/>
          <p:cNvGrpSpPr>
            <a:grpSpLocks/>
          </p:cNvGrpSpPr>
          <p:nvPr/>
        </p:nvGrpSpPr>
        <p:grpSpPr bwMode="auto">
          <a:xfrm>
            <a:off x="2827112" y="4683254"/>
            <a:ext cx="1819275" cy="187325"/>
            <a:chOff x="585" y="3711"/>
            <a:chExt cx="1413" cy="171"/>
          </a:xfrm>
          <a:solidFill>
            <a:schemeClr val="bg2"/>
          </a:solidFill>
        </p:grpSpPr>
        <p:sp>
          <p:nvSpPr>
            <p:cNvPr id="47" name="Oval 7"/>
            <p:cNvSpPr>
              <a:spLocks noChangeAspect="1" noChangeArrowheads="1"/>
            </p:cNvSpPr>
            <p:nvPr/>
          </p:nvSpPr>
          <p:spPr bwMode="auto">
            <a:xfrm>
              <a:off x="1927" y="3711"/>
              <a:ext cx="71" cy="171"/>
            </a:xfrm>
            <a:prstGeom prst="ellips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 name="Rectangle 8"/>
            <p:cNvSpPr>
              <a:spLocks noChangeAspect="1" noChangeArrowheads="1"/>
            </p:cNvSpPr>
            <p:nvPr/>
          </p:nvSpPr>
          <p:spPr bwMode="auto">
            <a:xfrm>
              <a:off x="623" y="3711"/>
              <a:ext cx="1350" cy="171"/>
            </a:xfrm>
            <a:prstGeom prst="rect">
              <a:avLst/>
            </a:prstGeom>
            <a:grp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 name="Oval 9"/>
            <p:cNvSpPr>
              <a:spLocks noChangeAspect="1" noChangeArrowheads="1"/>
            </p:cNvSpPr>
            <p:nvPr/>
          </p:nvSpPr>
          <p:spPr bwMode="auto">
            <a:xfrm>
              <a:off x="585" y="3711"/>
              <a:ext cx="71" cy="171"/>
            </a:xfrm>
            <a:prstGeom prst="ellips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 name="Line 10"/>
            <p:cNvSpPr>
              <a:spLocks noChangeAspect="1" noChangeShapeType="1"/>
            </p:cNvSpPr>
            <p:nvPr/>
          </p:nvSpPr>
          <p:spPr bwMode="auto">
            <a:xfrm flipH="1">
              <a:off x="626" y="3712"/>
              <a:ext cx="1347" cy="0"/>
            </a:xfrm>
            <a:prstGeom prst="lin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1" name="Line 11"/>
            <p:cNvSpPr>
              <a:spLocks noChangeAspect="1" noChangeShapeType="1"/>
            </p:cNvSpPr>
            <p:nvPr/>
          </p:nvSpPr>
          <p:spPr bwMode="auto">
            <a:xfrm flipH="1">
              <a:off x="625" y="3882"/>
              <a:ext cx="1348" cy="0"/>
            </a:xfrm>
            <a:prstGeom prst="lin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52" name="Group 12"/>
          <p:cNvGrpSpPr>
            <a:grpSpLocks/>
          </p:cNvGrpSpPr>
          <p:nvPr/>
        </p:nvGrpSpPr>
        <p:grpSpPr bwMode="auto">
          <a:xfrm>
            <a:off x="2827112" y="4930904"/>
            <a:ext cx="1819275" cy="187325"/>
            <a:chOff x="1973" y="3932"/>
            <a:chExt cx="1665" cy="171"/>
          </a:xfrm>
          <a:solidFill>
            <a:schemeClr val="accent3">
              <a:lumMod val="95000"/>
            </a:schemeClr>
          </a:solidFill>
        </p:grpSpPr>
        <p:sp>
          <p:nvSpPr>
            <p:cNvPr id="53" name="Oval 13"/>
            <p:cNvSpPr>
              <a:spLocks noChangeAspect="1" noChangeArrowheads="1"/>
            </p:cNvSpPr>
            <p:nvPr/>
          </p:nvSpPr>
          <p:spPr bwMode="auto">
            <a:xfrm>
              <a:off x="3554" y="3932"/>
              <a:ext cx="84" cy="171"/>
            </a:xfrm>
            <a:prstGeom prst="ellips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 name="Rectangle 14"/>
            <p:cNvSpPr>
              <a:spLocks noChangeAspect="1" noChangeArrowheads="1"/>
            </p:cNvSpPr>
            <p:nvPr/>
          </p:nvSpPr>
          <p:spPr bwMode="auto">
            <a:xfrm>
              <a:off x="2018" y="3932"/>
              <a:ext cx="1591" cy="171"/>
            </a:xfrm>
            <a:prstGeom prst="rect">
              <a:avLst/>
            </a:prstGeom>
            <a:grp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 name="Oval 15"/>
            <p:cNvSpPr>
              <a:spLocks noChangeAspect="1" noChangeArrowheads="1"/>
            </p:cNvSpPr>
            <p:nvPr/>
          </p:nvSpPr>
          <p:spPr bwMode="auto">
            <a:xfrm>
              <a:off x="1973" y="3932"/>
              <a:ext cx="84" cy="171"/>
            </a:xfrm>
            <a:prstGeom prst="ellips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 name="Line 16"/>
            <p:cNvSpPr>
              <a:spLocks noChangeAspect="1" noChangeShapeType="1"/>
            </p:cNvSpPr>
            <p:nvPr/>
          </p:nvSpPr>
          <p:spPr bwMode="auto">
            <a:xfrm flipH="1">
              <a:off x="2021" y="3933"/>
              <a:ext cx="1588" cy="0"/>
            </a:xfrm>
            <a:prstGeom prst="lin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 name="Line 17"/>
            <p:cNvSpPr>
              <a:spLocks noChangeAspect="1" noChangeShapeType="1"/>
            </p:cNvSpPr>
            <p:nvPr/>
          </p:nvSpPr>
          <p:spPr bwMode="auto">
            <a:xfrm flipH="1">
              <a:off x="2020" y="4103"/>
              <a:ext cx="1589" cy="0"/>
            </a:xfrm>
            <a:prstGeom prst="line">
              <a:avLst/>
            </a:prstGeom>
            <a:grp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58" name="Line 21"/>
          <p:cNvSpPr>
            <a:spLocks noChangeShapeType="1"/>
          </p:cNvSpPr>
          <p:nvPr/>
        </p:nvSpPr>
        <p:spPr bwMode="auto">
          <a:xfrm flipH="1">
            <a:off x="2535011" y="4317136"/>
            <a:ext cx="0" cy="45343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Line 22"/>
          <p:cNvSpPr>
            <a:spLocks noChangeShapeType="1"/>
          </p:cNvSpPr>
          <p:nvPr/>
        </p:nvSpPr>
        <p:spPr bwMode="auto">
          <a:xfrm>
            <a:off x="2517550" y="4770565"/>
            <a:ext cx="288925" cy="0"/>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 name="AutoShape 23"/>
          <p:cNvSpPr>
            <a:spLocks noChangeArrowheads="1"/>
          </p:cNvSpPr>
          <p:nvPr/>
        </p:nvSpPr>
        <p:spPr bwMode="auto">
          <a:xfrm>
            <a:off x="2165124" y="4244904"/>
            <a:ext cx="842962" cy="14446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2"/>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61" name="Line 24"/>
          <p:cNvSpPr>
            <a:spLocks noChangeShapeType="1"/>
          </p:cNvSpPr>
          <p:nvPr/>
        </p:nvSpPr>
        <p:spPr bwMode="auto">
          <a:xfrm>
            <a:off x="2114325" y="4606973"/>
            <a:ext cx="0" cy="396359"/>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 name="Line 25"/>
          <p:cNvSpPr>
            <a:spLocks noChangeShapeType="1"/>
          </p:cNvSpPr>
          <p:nvPr/>
        </p:nvSpPr>
        <p:spPr bwMode="auto">
          <a:xfrm>
            <a:off x="2114326" y="5018215"/>
            <a:ext cx="756120" cy="6350"/>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 name="AutoShape 26"/>
          <p:cNvSpPr>
            <a:spLocks noChangeArrowheads="1"/>
          </p:cNvSpPr>
          <p:nvPr/>
        </p:nvSpPr>
        <p:spPr bwMode="auto">
          <a:xfrm>
            <a:off x="1698399" y="4549903"/>
            <a:ext cx="842962" cy="14446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accent3">
              <a:lumMod val="95000"/>
            </a:schemeClr>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64" name="Line 27"/>
          <p:cNvSpPr>
            <a:spLocks noChangeShapeType="1"/>
          </p:cNvSpPr>
          <p:nvPr/>
        </p:nvSpPr>
        <p:spPr bwMode="auto">
          <a:xfrm>
            <a:off x="4970038" y="4389367"/>
            <a:ext cx="0" cy="381199"/>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5" name="Line 28"/>
          <p:cNvSpPr>
            <a:spLocks noChangeShapeType="1"/>
          </p:cNvSpPr>
          <p:nvPr/>
        </p:nvSpPr>
        <p:spPr bwMode="auto">
          <a:xfrm flipH="1">
            <a:off x="4698576" y="4770565"/>
            <a:ext cx="290513" cy="0"/>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6" name="AutoShape 29"/>
          <p:cNvSpPr>
            <a:spLocks noChangeArrowheads="1"/>
          </p:cNvSpPr>
          <p:nvPr/>
        </p:nvSpPr>
        <p:spPr bwMode="auto">
          <a:xfrm>
            <a:off x="4547763" y="4244904"/>
            <a:ext cx="844550" cy="14446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2"/>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67" name="Line 30"/>
          <p:cNvSpPr>
            <a:spLocks noChangeShapeType="1"/>
          </p:cNvSpPr>
          <p:nvPr/>
        </p:nvSpPr>
        <p:spPr bwMode="auto">
          <a:xfrm flipH="1">
            <a:off x="5122438" y="4618165"/>
            <a:ext cx="0" cy="40005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8" name="Line 31"/>
          <p:cNvSpPr>
            <a:spLocks noChangeShapeType="1"/>
          </p:cNvSpPr>
          <p:nvPr/>
        </p:nvSpPr>
        <p:spPr bwMode="auto">
          <a:xfrm flipH="1">
            <a:off x="4698576" y="5018215"/>
            <a:ext cx="441325" cy="0"/>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9" name="AutoShape 32"/>
          <p:cNvSpPr>
            <a:spLocks noChangeArrowheads="1"/>
          </p:cNvSpPr>
          <p:nvPr/>
        </p:nvSpPr>
        <p:spPr bwMode="auto">
          <a:xfrm flipH="1">
            <a:off x="4696988" y="4473703"/>
            <a:ext cx="842962" cy="14446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accent3">
              <a:lumMod val="95000"/>
            </a:schemeClr>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70" name="AutoShape 52"/>
          <p:cNvSpPr>
            <a:spLocks noChangeArrowheads="1"/>
          </p:cNvSpPr>
          <p:nvPr/>
        </p:nvSpPr>
        <p:spPr bwMode="auto">
          <a:xfrm flipH="1">
            <a:off x="2283074" y="2528824"/>
            <a:ext cx="88525" cy="397272"/>
          </a:xfrm>
          <a:prstGeom prst="downArrow">
            <a:avLst>
              <a:gd name="adj1" fmla="val 50000"/>
              <a:gd name="adj2" fmla="val 112346"/>
            </a:avLst>
          </a:prstGeom>
          <a:solidFill>
            <a:srgbClr val="FFFF00"/>
          </a:solidFill>
          <a:ln w="19050">
            <a:solidFill>
              <a:srgbClr val="000000"/>
            </a:solidFill>
            <a:miter lim="800000"/>
            <a:headEnd/>
            <a:tailEnd/>
          </a:ln>
          <a:effectLst/>
        </p:spPr>
        <p:txBody>
          <a:bodyPr wrap="none" anchor="ctr"/>
          <a:lstStyle/>
          <a:p>
            <a:endParaRPr lang="en-US"/>
          </a:p>
        </p:txBody>
      </p:sp>
      <p:sp>
        <p:nvSpPr>
          <p:cNvPr id="71" name="AutoShape 53"/>
          <p:cNvSpPr>
            <a:spLocks noChangeArrowheads="1"/>
          </p:cNvSpPr>
          <p:nvPr/>
        </p:nvSpPr>
        <p:spPr bwMode="auto">
          <a:xfrm flipH="1">
            <a:off x="2559200" y="2528824"/>
            <a:ext cx="88525" cy="397272"/>
          </a:xfrm>
          <a:prstGeom prst="downArrow">
            <a:avLst>
              <a:gd name="adj1" fmla="val 50000"/>
              <a:gd name="adj2" fmla="val 112346"/>
            </a:avLst>
          </a:prstGeom>
          <a:solidFill>
            <a:schemeClr val="accent2"/>
          </a:solidFill>
          <a:ln w="19050">
            <a:solidFill>
              <a:srgbClr val="000000"/>
            </a:solidFill>
            <a:miter lim="800000"/>
            <a:headEnd/>
            <a:tailEnd/>
          </a:ln>
          <a:effectLst/>
        </p:spPr>
        <p:txBody>
          <a:bodyPr wrap="none" anchor="ctr"/>
          <a:lstStyle/>
          <a:p>
            <a:endParaRPr lang="en-US"/>
          </a:p>
        </p:txBody>
      </p:sp>
      <p:sp>
        <p:nvSpPr>
          <p:cNvPr id="72" name="AutoShape 54"/>
          <p:cNvSpPr>
            <a:spLocks noChangeArrowheads="1"/>
          </p:cNvSpPr>
          <p:nvPr/>
        </p:nvSpPr>
        <p:spPr bwMode="auto">
          <a:xfrm flipH="1">
            <a:off x="2423680" y="2528824"/>
            <a:ext cx="88525" cy="397272"/>
          </a:xfrm>
          <a:prstGeom prst="downArrow">
            <a:avLst>
              <a:gd name="adj1" fmla="val 50000"/>
              <a:gd name="adj2" fmla="val 112346"/>
            </a:avLst>
          </a:prstGeom>
          <a:solidFill>
            <a:schemeClr val="hlink"/>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Text Box 57"/>
          <p:cNvSpPr txBox="1">
            <a:spLocks noChangeAspect="1" noChangeArrowheads="1"/>
          </p:cNvSpPr>
          <p:nvPr/>
        </p:nvSpPr>
        <p:spPr bwMode="auto">
          <a:xfrm>
            <a:off x="3829459" y="1980887"/>
            <a:ext cx="263245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en-US" sz="1400" dirty="0">
                <a:solidFill>
                  <a:srgbClr val="000000"/>
                </a:solidFill>
              </a:rPr>
              <a:t>Data packets from applications</a:t>
            </a:r>
          </a:p>
        </p:txBody>
      </p:sp>
      <p:sp>
        <p:nvSpPr>
          <p:cNvPr id="74" name="Line 58"/>
          <p:cNvSpPr>
            <a:spLocks noChangeShapeType="1"/>
          </p:cNvSpPr>
          <p:nvPr/>
        </p:nvSpPr>
        <p:spPr bwMode="auto">
          <a:xfrm flipH="1">
            <a:off x="2684550" y="2191902"/>
            <a:ext cx="1089135" cy="508348"/>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5" name="Text Box 96"/>
          <p:cNvSpPr txBox="1">
            <a:spLocks noChangeArrowheads="1"/>
          </p:cNvSpPr>
          <p:nvPr/>
        </p:nvSpPr>
        <p:spPr bwMode="auto">
          <a:xfrm>
            <a:off x="3008222" y="4617357"/>
            <a:ext cx="134043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0"/>
              </a:spcBef>
            </a:pPr>
            <a:r>
              <a:rPr lang="en-US" altLang="en-US" sz="1400" dirty="0">
                <a:solidFill>
                  <a:srgbClr val="000000"/>
                </a:solidFill>
              </a:rPr>
              <a:t>AN Resources</a:t>
            </a:r>
          </a:p>
        </p:txBody>
      </p:sp>
      <p:sp>
        <p:nvSpPr>
          <p:cNvPr id="76" name="Line 24"/>
          <p:cNvSpPr>
            <a:spLocks noChangeShapeType="1"/>
          </p:cNvSpPr>
          <p:nvPr/>
        </p:nvSpPr>
        <p:spPr bwMode="auto">
          <a:xfrm flipH="1">
            <a:off x="2408482" y="3407230"/>
            <a:ext cx="0" cy="518649"/>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7" name="Freeform 70"/>
          <p:cNvSpPr>
            <a:spLocks/>
          </p:cNvSpPr>
          <p:nvPr/>
        </p:nvSpPr>
        <p:spPr bwMode="auto">
          <a:xfrm rot="5400000" flipH="1">
            <a:off x="2492150" y="2581531"/>
            <a:ext cx="98425" cy="295275"/>
          </a:xfrm>
          <a:custGeom>
            <a:avLst/>
            <a:gdLst>
              <a:gd name="T0" fmla="*/ 95 w 95"/>
              <a:gd name="T1" fmla="*/ 76 h 503"/>
              <a:gd name="T2" fmla="*/ 51 w 95"/>
              <a:gd name="T3" fmla="*/ 7 h 503"/>
              <a:gd name="T4" fmla="*/ 7 w 95"/>
              <a:gd name="T5" fmla="*/ 120 h 503"/>
              <a:gd name="T6" fmla="*/ 7 w 95"/>
              <a:gd name="T7" fmla="*/ 364 h 503"/>
              <a:gd name="T8" fmla="*/ 51 w 95"/>
              <a:gd name="T9" fmla="*/ 489 h 503"/>
              <a:gd name="T10" fmla="*/ 95 w 95"/>
              <a:gd name="T11" fmla="*/ 451 h 503"/>
            </a:gdLst>
            <a:ahLst/>
            <a:cxnLst>
              <a:cxn ang="0">
                <a:pos x="T0" y="T1"/>
              </a:cxn>
              <a:cxn ang="0">
                <a:pos x="T2" y="T3"/>
              </a:cxn>
              <a:cxn ang="0">
                <a:pos x="T4" y="T5"/>
              </a:cxn>
              <a:cxn ang="0">
                <a:pos x="T6" y="T7"/>
              </a:cxn>
              <a:cxn ang="0">
                <a:pos x="T8" y="T9"/>
              </a:cxn>
              <a:cxn ang="0">
                <a:pos x="T10" y="T11"/>
              </a:cxn>
            </a:cxnLst>
            <a:rect l="0" t="0" r="r" b="b"/>
            <a:pathLst>
              <a:path w="95" h="503">
                <a:moveTo>
                  <a:pt x="95" y="76"/>
                </a:moveTo>
                <a:cubicBezTo>
                  <a:pt x="88" y="69"/>
                  <a:pt x="66" y="0"/>
                  <a:pt x="51" y="7"/>
                </a:cubicBezTo>
                <a:cubicBezTo>
                  <a:pt x="36" y="14"/>
                  <a:pt x="14" y="61"/>
                  <a:pt x="7" y="120"/>
                </a:cubicBezTo>
                <a:cubicBezTo>
                  <a:pt x="0" y="179"/>
                  <a:pt x="0" y="303"/>
                  <a:pt x="7" y="364"/>
                </a:cubicBezTo>
                <a:cubicBezTo>
                  <a:pt x="14" y="425"/>
                  <a:pt x="36" y="475"/>
                  <a:pt x="51" y="489"/>
                </a:cubicBezTo>
                <a:cubicBezTo>
                  <a:pt x="66" y="503"/>
                  <a:pt x="86" y="459"/>
                  <a:pt x="95" y="451"/>
                </a:cubicBezTo>
              </a:path>
            </a:pathLst>
          </a:custGeom>
          <a:noFill/>
          <a:ln w="1905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8" name="Text Box 57"/>
          <p:cNvSpPr txBox="1">
            <a:spLocks noChangeAspect="1" noChangeArrowheads="1"/>
          </p:cNvSpPr>
          <p:nvPr/>
        </p:nvSpPr>
        <p:spPr bwMode="auto">
          <a:xfrm>
            <a:off x="3589342" y="2631644"/>
            <a:ext cx="2623598" cy="682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tIns="18000" rIns="18000" bIns="18000">
            <a:spAutoFit/>
          </a:bodyPr>
          <a:lstStyle/>
          <a:p>
            <a:pPr algn="ctr" eaLnBrk="0" hangingPunct="0">
              <a:spcBef>
                <a:spcPts val="0"/>
              </a:spcBef>
            </a:pPr>
            <a:r>
              <a:rPr lang="en-US" altLang="en-US" sz="1400" b="1" dirty="0">
                <a:solidFill>
                  <a:srgbClr val="7030A0"/>
                </a:solidFill>
              </a:rPr>
              <a:t>“NAS” filters</a:t>
            </a:r>
          </a:p>
          <a:p>
            <a:pPr algn="ctr" eaLnBrk="0" hangingPunct="0">
              <a:spcBef>
                <a:spcPts val="0"/>
              </a:spcBef>
            </a:pPr>
            <a:r>
              <a:rPr lang="en-US" altLang="en-US" sz="1400" dirty="0">
                <a:solidFill>
                  <a:srgbClr val="000000"/>
                </a:solidFill>
              </a:rPr>
              <a:t>(mapping packets</a:t>
            </a:r>
            <a:br>
              <a:rPr lang="en-US" altLang="en-US" sz="1400" dirty="0">
                <a:solidFill>
                  <a:srgbClr val="000000"/>
                </a:solidFill>
              </a:rPr>
            </a:br>
            <a:r>
              <a:rPr lang="en-US" altLang="en-US" sz="1400" dirty="0">
                <a:solidFill>
                  <a:srgbClr val="000000"/>
                </a:solidFill>
              </a:rPr>
              <a:t>to </a:t>
            </a:r>
            <a:r>
              <a:rPr lang="en-US" altLang="en-US" sz="1400" dirty="0" err="1">
                <a:solidFill>
                  <a:srgbClr val="000000"/>
                </a:solidFill>
              </a:rPr>
              <a:t>QoS</a:t>
            </a:r>
            <a:r>
              <a:rPr lang="en-US" altLang="en-US" sz="1400" dirty="0">
                <a:solidFill>
                  <a:srgbClr val="000000"/>
                </a:solidFill>
              </a:rPr>
              <a:t> flows and apply marking)</a:t>
            </a:r>
          </a:p>
        </p:txBody>
      </p:sp>
      <p:sp>
        <p:nvSpPr>
          <p:cNvPr id="79" name="Line 58"/>
          <p:cNvSpPr>
            <a:spLocks noChangeShapeType="1"/>
          </p:cNvSpPr>
          <p:nvPr/>
        </p:nvSpPr>
        <p:spPr bwMode="auto">
          <a:xfrm flipH="1" flipV="1">
            <a:off x="5539947" y="2812671"/>
            <a:ext cx="1421152" cy="594559"/>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0" name="Line 58"/>
          <p:cNvSpPr>
            <a:spLocks noChangeShapeType="1"/>
          </p:cNvSpPr>
          <p:nvPr/>
        </p:nvSpPr>
        <p:spPr bwMode="auto">
          <a:xfrm flipH="1">
            <a:off x="2918895" y="2797324"/>
            <a:ext cx="1427834" cy="44111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1" name="AutoShape 52"/>
          <p:cNvSpPr>
            <a:spLocks noChangeArrowheads="1"/>
          </p:cNvSpPr>
          <p:nvPr/>
        </p:nvSpPr>
        <p:spPr bwMode="auto">
          <a:xfrm flipH="1">
            <a:off x="1998452" y="2528824"/>
            <a:ext cx="88525" cy="397272"/>
          </a:xfrm>
          <a:prstGeom prst="downArrow">
            <a:avLst>
              <a:gd name="adj1" fmla="val 50000"/>
              <a:gd name="adj2" fmla="val 112346"/>
            </a:avLst>
          </a:prstGeom>
          <a:solidFill>
            <a:srgbClr val="7030A0"/>
          </a:solidFill>
          <a:ln w="19050">
            <a:solidFill>
              <a:srgbClr val="000000"/>
            </a:solidFill>
            <a:miter lim="800000"/>
            <a:headEnd/>
            <a:tailEnd/>
          </a:ln>
          <a:effectLst/>
        </p:spPr>
        <p:txBody>
          <a:bodyPr wrap="none" anchor="ctr"/>
          <a:lstStyle/>
          <a:p>
            <a:endParaRPr lang="en-US"/>
          </a:p>
        </p:txBody>
      </p:sp>
      <p:sp>
        <p:nvSpPr>
          <p:cNvPr id="82" name="AutoShape 54"/>
          <p:cNvSpPr>
            <a:spLocks noChangeArrowheads="1"/>
          </p:cNvSpPr>
          <p:nvPr/>
        </p:nvSpPr>
        <p:spPr bwMode="auto">
          <a:xfrm flipH="1">
            <a:off x="2139058" y="2528824"/>
            <a:ext cx="88525" cy="397272"/>
          </a:xfrm>
          <a:prstGeom prst="downArrow">
            <a:avLst>
              <a:gd name="adj1" fmla="val 50000"/>
              <a:gd name="adj2" fmla="val 112346"/>
            </a:avLst>
          </a:prstGeom>
          <a:solidFill>
            <a:schemeClr val="accent1"/>
          </a:solidFill>
          <a:ln w="19050">
            <a:solidFill>
              <a:srgbClr val="000000"/>
            </a:solidFill>
            <a:miter lim="800000"/>
            <a:headEnd/>
            <a:tailEnd/>
          </a:ln>
          <a:effectLst/>
        </p:spPr>
        <p:txBody>
          <a:bodyPr wrap="none" anchor="ctr"/>
          <a:lstStyle/>
          <a:p>
            <a:endParaRPr lang="en-US"/>
          </a:p>
        </p:txBody>
      </p:sp>
      <p:sp>
        <p:nvSpPr>
          <p:cNvPr id="83" name="AutoShape 52"/>
          <p:cNvSpPr>
            <a:spLocks noChangeArrowheads="1"/>
          </p:cNvSpPr>
          <p:nvPr/>
        </p:nvSpPr>
        <p:spPr bwMode="auto">
          <a:xfrm flipH="1">
            <a:off x="7245722" y="2533320"/>
            <a:ext cx="88525" cy="397272"/>
          </a:xfrm>
          <a:prstGeom prst="downArrow">
            <a:avLst>
              <a:gd name="adj1" fmla="val 50000"/>
              <a:gd name="adj2" fmla="val 112346"/>
            </a:avLst>
          </a:prstGeom>
          <a:solidFill>
            <a:srgbClr val="FFFF00"/>
          </a:solidFill>
          <a:ln w="19050">
            <a:solidFill>
              <a:srgbClr val="000000"/>
            </a:solidFill>
            <a:miter lim="800000"/>
            <a:headEnd/>
            <a:tailEnd/>
          </a:ln>
          <a:effectLst/>
        </p:spPr>
        <p:txBody>
          <a:bodyPr wrap="none" anchor="ctr"/>
          <a:lstStyle/>
          <a:p>
            <a:endParaRPr lang="en-US"/>
          </a:p>
        </p:txBody>
      </p:sp>
      <p:sp>
        <p:nvSpPr>
          <p:cNvPr id="84" name="AutoShape 53"/>
          <p:cNvSpPr>
            <a:spLocks noChangeArrowheads="1"/>
          </p:cNvSpPr>
          <p:nvPr/>
        </p:nvSpPr>
        <p:spPr bwMode="auto">
          <a:xfrm flipH="1">
            <a:off x="7521848" y="2533320"/>
            <a:ext cx="88525" cy="397272"/>
          </a:xfrm>
          <a:prstGeom prst="downArrow">
            <a:avLst>
              <a:gd name="adj1" fmla="val 50000"/>
              <a:gd name="adj2" fmla="val 112346"/>
            </a:avLst>
          </a:prstGeom>
          <a:solidFill>
            <a:schemeClr val="accent2"/>
          </a:solidFill>
          <a:ln w="19050">
            <a:solidFill>
              <a:srgbClr val="000000"/>
            </a:solidFill>
            <a:miter lim="800000"/>
            <a:headEnd/>
            <a:tailEnd/>
          </a:ln>
          <a:effectLst/>
        </p:spPr>
        <p:txBody>
          <a:bodyPr wrap="none" anchor="ctr"/>
          <a:lstStyle/>
          <a:p>
            <a:endParaRPr lang="en-US"/>
          </a:p>
        </p:txBody>
      </p:sp>
      <p:sp>
        <p:nvSpPr>
          <p:cNvPr id="85" name="AutoShape 54"/>
          <p:cNvSpPr>
            <a:spLocks noChangeArrowheads="1"/>
          </p:cNvSpPr>
          <p:nvPr/>
        </p:nvSpPr>
        <p:spPr bwMode="auto">
          <a:xfrm flipH="1">
            <a:off x="7386328" y="2533320"/>
            <a:ext cx="88525" cy="397272"/>
          </a:xfrm>
          <a:prstGeom prst="downArrow">
            <a:avLst>
              <a:gd name="adj1" fmla="val 50000"/>
              <a:gd name="adj2" fmla="val 112346"/>
            </a:avLst>
          </a:prstGeom>
          <a:solidFill>
            <a:schemeClr val="hlink"/>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AutoShape 52"/>
          <p:cNvSpPr>
            <a:spLocks noChangeArrowheads="1"/>
          </p:cNvSpPr>
          <p:nvPr/>
        </p:nvSpPr>
        <p:spPr bwMode="auto">
          <a:xfrm flipH="1">
            <a:off x="6961100" y="2533320"/>
            <a:ext cx="88525" cy="397272"/>
          </a:xfrm>
          <a:prstGeom prst="downArrow">
            <a:avLst>
              <a:gd name="adj1" fmla="val 50000"/>
              <a:gd name="adj2" fmla="val 112346"/>
            </a:avLst>
          </a:prstGeom>
          <a:solidFill>
            <a:srgbClr val="7030A0"/>
          </a:solidFill>
          <a:ln w="19050">
            <a:solidFill>
              <a:srgbClr val="000000"/>
            </a:solidFill>
            <a:miter lim="800000"/>
            <a:headEnd/>
            <a:tailEnd/>
          </a:ln>
          <a:effectLst/>
        </p:spPr>
        <p:txBody>
          <a:bodyPr wrap="none" anchor="ctr"/>
          <a:lstStyle/>
          <a:p>
            <a:endParaRPr lang="en-US"/>
          </a:p>
        </p:txBody>
      </p:sp>
      <p:sp>
        <p:nvSpPr>
          <p:cNvPr id="87" name="AutoShape 54"/>
          <p:cNvSpPr>
            <a:spLocks noChangeArrowheads="1"/>
          </p:cNvSpPr>
          <p:nvPr/>
        </p:nvSpPr>
        <p:spPr bwMode="auto">
          <a:xfrm flipH="1">
            <a:off x="7101706" y="2533320"/>
            <a:ext cx="88525" cy="397272"/>
          </a:xfrm>
          <a:prstGeom prst="downArrow">
            <a:avLst>
              <a:gd name="adj1" fmla="val 50000"/>
              <a:gd name="adj2" fmla="val 112346"/>
            </a:avLst>
          </a:prstGeom>
          <a:solidFill>
            <a:schemeClr val="accent1"/>
          </a:solidFill>
          <a:ln w="19050">
            <a:solidFill>
              <a:srgbClr val="000000"/>
            </a:solidFill>
            <a:miter lim="800000"/>
            <a:headEnd/>
            <a:tailEnd/>
          </a:ln>
          <a:effectLst/>
        </p:spPr>
        <p:txBody>
          <a:bodyPr wrap="none" anchor="ctr"/>
          <a:lstStyle/>
          <a:p>
            <a:endParaRPr lang="en-US"/>
          </a:p>
        </p:txBody>
      </p:sp>
      <p:sp>
        <p:nvSpPr>
          <p:cNvPr id="88" name="Freeform 70"/>
          <p:cNvSpPr>
            <a:spLocks/>
          </p:cNvSpPr>
          <p:nvPr/>
        </p:nvSpPr>
        <p:spPr bwMode="auto">
          <a:xfrm rot="5400000" flipH="1">
            <a:off x="2065112" y="2579823"/>
            <a:ext cx="98425" cy="295275"/>
          </a:xfrm>
          <a:custGeom>
            <a:avLst/>
            <a:gdLst>
              <a:gd name="T0" fmla="*/ 95 w 95"/>
              <a:gd name="T1" fmla="*/ 76 h 503"/>
              <a:gd name="T2" fmla="*/ 51 w 95"/>
              <a:gd name="T3" fmla="*/ 7 h 503"/>
              <a:gd name="T4" fmla="*/ 7 w 95"/>
              <a:gd name="T5" fmla="*/ 120 h 503"/>
              <a:gd name="T6" fmla="*/ 7 w 95"/>
              <a:gd name="T7" fmla="*/ 364 h 503"/>
              <a:gd name="T8" fmla="*/ 51 w 95"/>
              <a:gd name="T9" fmla="*/ 489 h 503"/>
              <a:gd name="T10" fmla="*/ 95 w 95"/>
              <a:gd name="T11" fmla="*/ 451 h 503"/>
            </a:gdLst>
            <a:ahLst/>
            <a:cxnLst>
              <a:cxn ang="0">
                <a:pos x="T0" y="T1"/>
              </a:cxn>
              <a:cxn ang="0">
                <a:pos x="T2" y="T3"/>
              </a:cxn>
              <a:cxn ang="0">
                <a:pos x="T4" y="T5"/>
              </a:cxn>
              <a:cxn ang="0">
                <a:pos x="T6" y="T7"/>
              </a:cxn>
              <a:cxn ang="0">
                <a:pos x="T8" y="T9"/>
              </a:cxn>
              <a:cxn ang="0">
                <a:pos x="T10" y="T11"/>
              </a:cxn>
            </a:cxnLst>
            <a:rect l="0" t="0" r="r" b="b"/>
            <a:pathLst>
              <a:path w="95" h="503">
                <a:moveTo>
                  <a:pt x="95" y="76"/>
                </a:moveTo>
                <a:cubicBezTo>
                  <a:pt x="88" y="69"/>
                  <a:pt x="66" y="0"/>
                  <a:pt x="51" y="7"/>
                </a:cubicBezTo>
                <a:cubicBezTo>
                  <a:pt x="36" y="14"/>
                  <a:pt x="14" y="61"/>
                  <a:pt x="7" y="120"/>
                </a:cubicBezTo>
                <a:cubicBezTo>
                  <a:pt x="0" y="179"/>
                  <a:pt x="0" y="303"/>
                  <a:pt x="7" y="364"/>
                </a:cubicBezTo>
                <a:cubicBezTo>
                  <a:pt x="14" y="425"/>
                  <a:pt x="36" y="475"/>
                  <a:pt x="51" y="489"/>
                </a:cubicBezTo>
                <a:cubicBezTo>
                  <a:pt x="66" y="503"/>
                  <a:pt x="86" y="459"/>
                  <a:pt x="95" y="451"/>
                </a:cubicBezTo>
              </a:path>
            </a:pathLst>
          </a:custGeom>
          <a:noFill/>
          <a:ln w="1905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9" name="Freeform 70"/>
          <p:cNvSpPr>
            <a:spLocks/>
          </p:cNvSpPr>
          <p:nvPr/>
        </p:nvSpPr>
        <p:spPr bwMode="auto">
          <a:xfrm rot="5400000" flipH="1">
            <a:off x="7447927" y="2581531"/>
            <a:ext cx="98425" cy="295275"/>
          </a:xfrm>
          <a:custGeom>
            <a:avLst/>
            <a:gdLst>
              <a:gd name="T0" fmla="*/ 95 w 95"/>
              <a:gd name="T1" fmla="*/ 76 h 503"/>
              <a:gd name="T2" fmla="*/ 51 w 95"/>
              <a:gd name="T3" fmla="*/ 7 h 503"/>
              <a:gd name="T4" fmla="*/ 7 w 95"/>
              <a:gd name="T5" fmla="*/ 120 h 503"/>
              <a:gd name="T6" fmla="*/ 7 w 95"/>
              <a:gd name="T7" fmla="*/ 364 h 503"/>
              <a:gd name="T8" fmla="*/ 51 w 95"/>
              <a:gd name="T9" fmla="*/ 489 h 503"/>
              <a:gd name="T10" fmla="*/ 95 w 95"/>
              <a:gd name="T11" fmla="*/ 451 h 503"/>
            </a:gdLst>
            <a:ahLst/>
            <a:cxnLst>
              <a:cxn ang="0">
                <a:pos x="T0" y="T1"/>
              </a:cxn>
              <a:cxn ang="0">
                <a:pos x="T2" y="T3"/>
              </a:cxn>
              <a:cxn ang="0">
                <a:pos x="T4" y="T5"/>
              </a:cxn>
              <a:cxn ang="0">
                <a:pos x="T6" y="T7"/>
              </a:cxn>
              <a:cxn ang="0">
                <a:pos x="T8" y="T9"/>
              </a:cxn>
              <a:cxn ang="0">
                <a:pos x="T10" y="T11"/>
              </a:cxn>
            </a:cxnLst>
            <a:rect l="0" t="0" r="r" b="b"/>
            <a:pathLst>
              <a:path w="95" h="503">
                <a:moveTo>
                  <a:pt x="95" y="76"/>
                </a:moveTo>
                <a:cubicBezTo>
                  <a:pt x="88" y="69"/>
                  <a:pt x="66" y="0"/>
                  <a:pt x="51" y="7"/>
                </a:cubicBezTo>
                <a:cubicBezTo>
                  <a:pt x="36" y="14"/>
                  <a:pt x="14" y="61"/>
                  <a:pt x="7" y="120"/>
                </a:cubicBezTo>
                <a:cubicBezTo>
                  <a:pt x="0" y="179"/>
                  <a:pt x="0" y="303"/>
                  <a:pt x="7" y="364"/>
                </a:cubicBezTo>
                <a:cubicBezTo>
                  <a:pt x="14" y="425"/>
                  <a:pt x="36" y="475"/>
                  <a:pt x="51" y="489"/>
                </a:cubicBezTo>
                <a:cubicBezTo>
                  <a:pt x="66" y="503"/>
                  <a:pt x="86" y="459"/>
                  <a:pt x="95" y="451"/>
                </a:cubicBezTo>
              </a:path>
            </a:pathLst>
          </a:custGeom>
          <a:noFill/>
          <a:ln w="1905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0" name="Freeform 70"/>
          <p:cNvSpPr>
            <a:spLocks/>
          </p:cNvSpPr>
          <p:nvPr/>
        </p:nvSpPr>
        <p:spPr bwMode="auto">
          <a:xfrm rot="5400000" flipH="1">
            <a:off x="7035063" y="2584319"/>
            <a:ext cx="98425" cy="295275"/>
          </a:xfrm>
          <a:custGeom>
            <a:avLst/>
            <a:gdLst>
              <a:gd name="T0" fmla="*/ 95 w 95"/>
              <a:gd name="T1" fmla="*/ 76 h 503"/>
              <a:gd name="T2" fmla="*/ 51 w 95"/>
              <a:gd name="T3" fmla="*/ 7 h 503"/>
              <a:gd name="T4" fmla="*/ 7 w 95"/>
              <a:gd name="T5" fmla="*/ 120 h 503"/>
              <a:gd name="T6" fmla="*/ 7 w 95"/>
              <a:gd name="T7" fmla="*/ 364 h 503"/>
              <a:gd name="T8" fmla="*/ 51 w 95"/>
              <a:gd name="T9" fmla="*/ 489 h 503"/>
              <a:gd name="T10" fmla="*/ 95 w 95"/>
              <a:gd name="T11" fmla="*/ 451 h 503"/>
            </a:gdLst>
            <a:ahLst/>
            <a:cxnLst>
              <a:cxn ang="0">
                <a:pos x="T0" y="T1"/>
              </a:cxn>
              <a:cxn ang="0">
                <a:pos x="T2" y="T3"/>
              </a:cxn>
              <a:cxn ang="0">
                <a:pos x="T4" y="T5"/>
              </a:cxn>
              <a:cxn ang="0">
                <a:pos x="T6" y="T7"/>
              </a:cxn>
              <a:cxn ang="0">
                <a:pos x="T8" y="T9"/>
              </a:cxn>
              <a:cxn ang="0">
                <a:pos x="T10" y="T11"/>
              </a:cxn>
            </a:cxnLst>
            <a:rect l="0" t="0" r="r" b="b"/>
            <a:pathLst>
              <a:path w="95" h="503">
                <a:moveTo>
                  <a:pt x="95" y="76"/>
                </a:moveTo>
                <a:cubicBezTo>
                  <a:pt x="88" y="69"/>
                  <a:pt x="66" y="0"/>
                  <a:pt x="51" y="7"/>
                </a:cubicBezTo>
                <a:cubicBezTo>
                  <a:pt x="36" y="14"/>
                  <a:pt x="14" y="61"/>
                  <a:pt x="7" y="120"/>
                </a:cubicBezTo>
                <a:cubicBezTo>
                  <a:pt x="0" y="179"/>
                  <a:pt x="0" y="303"/>
                  <a:pt x="7" y="364"/>
                </a:cubicBezTo>
                <a:cubicBezTo>
                  <a:pt x="14" y="425"/>
                  <a:pt x="36" y="475"/>
                  <a:pt x="51" y="489"/>
                </a:cubicBezTo>
                <a:cubicBezTo>
                  <a:pt x="66" y="503"/>
                  <a:pt x="86" y="459"/>
                  <a:pt x="95" y="451"/>
                </a:cubicBezTo>
              </a:path>
            </a:pathLst>
          </a:custGeom>
          <a:noFill/>
          <a:ln w="1905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1" name="Line 24"/>
          <p:cNvSpPr>
            <a:spLocks noChangeShapeType="1"/>
          </p:cNvSpPr>
          <p:nvPr/>
        </p:nvSpPr>
        <p:spPr bwMode="auto">
          <a:xfrm>
            <a:off x="4846212" y="3743453"/>
            <a:ext cx="0" cy="501452"/>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2" name="Rectangle 37"/>
          <p:cNvSpPr>
            <a:spLocks noChangeArrowheads="1"/>
          </p:cNvSpPr>
          <p:nvPr/>
        </p:nvSpPr>
        <p:spPr bwMode="auto">
          <a:xfrm>
            <a:off x="5621216" y="3668841"/>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Rectangle 38"/>
          <p:cNvSpPr>
            <a:spLocks noChangeArrowheads="1"/>
          </p:cNvSpPr>
          <p:nvPr/>
        </p:nvSpPr>
        <p:spPr bwMode="auto">
          <a:xfrm>
            <a:off x="6021266" y="3668841"/>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Rectangle 39"/>
          <p:cNvSpPr>
            <a:spLocks noChangeArrowheads="1"/>
          </p:cNvSpPr>
          <p:nvPr/>
        </p:nvSpPr>
        <p:spPr bwMode="auto">
          <a:xfrm>
            <a:off x="6421316" y="3668841"/>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Rectangle 40"/>
          <p:cNvSpPr>
            <a:spLocks noChangeArrowheads="1"/>
          </p:cNvSpPr>
          <p:nvPr/>
        </p:nvSpPr>
        <p:spPr bwMode="auto">
          <a:xfrm>
            <a:off x="5297366" y="3870454"/>
            <a:ext cx="320675" cy="149225"/>
          </a:xfrm>
          <a:prstGeom prst="rect">
            <a:avLst/>
          </a:prstGeom>
          <a:solidFill>
            <a:srgbClr val="FFFF00"/>
          </a:solidFill>
          <a:ln>
            <a:noFill/>
          </a:ln>
          <a:effectLst/>
        </p:spPr>
        <p:txBody>
          <a:bodyPr wrap="none" anchor="ctr"/>
          <a:lstStyle/>
          <a:p>
            <a:endParaRPr lang="en-US"/>
          </a:p>
        </p:txBody>
      </p:sp>
      <p:sp>
        <p:nvSpPr>
          <p:cNvPr id="96" name="Rectangle 41"/>
          <p:cNvSpPr>
            <a:spLocks noChangeArrowheads="1"/>
          </p:cNvSpPr>
          <p:nvPr/>
        </p:nvSpPr>
        <p:spPr bwMode="auto">
          <a:xfrm>
            <a:off x="5697416" y="3870454"/>
            <a:ext cx="320675" cy="149225"/>
          </a:xfrm>
          <a:prstGeom prst="rect">
            <a:avLst/>
          </a:prstGeom>
          <a:solidFill>
            <a:srgbClr val="FFFF00"/>
          </a:solidFill>
          <a:ln>
            <a:noFill/>
          </a:ln>
          <a:effectLst/>
        </p:spPr>
        <p:txBody>
          <a:bodyPr wrap="none" anchor="ctr"/>
          <a:lstStyle/>
          <a:p>
            <a:endParaRPr lang="en-US"/>
          </a:p>
        </p:txBody>
      </p:sp>
      <p:sp>
        <p:nvSpPr>
          <p:cNvPr id="97" name="Rectangle 42"/>
          <p:cNvSpPr>
            <a:spLocks noChangeArrowheads="1"/>
          </p:cNvSpPr>
          <p:nvPr/>
        </p:nvSpPr>
        <p:spPr bwMode="auto">
          <a:xfrm>
            <a:off x="6097466" y="3870454"/>
            <a:ext cx="320675" cy="149225"/>
          </a:xfrm>
          <a:prstGeom prst="rect">
            <a:avLst/>
          </a:prstGeom>
          <a:solidFill>
            <a:srgbClr val="FFFF00"/>
          </a:solidFill>
          <a:ln>
            <a:noFill/>
          </a:ln>
          <a:effectLst/>
        </p:spPr>
        <p:txBody>
          <a:bodyPr wrap="none" anchor="ctr"/>
          <a:lstStyle/>
          <a:p>
            <a:endParaRPr lang="en-US"/>
          </a:p>
        </p:txBody>
      </p:sp>
      <p:sp>
        <p:nvSpPr>
          <p:cNvPr id="98" name="Rectangle 43"/>
          <p:cNvSpPr>
            <a:spLocks noChangeArrowheads="1"/>
          </p:cNvSpPr>
          <p:nvPr/>
        </p:nvSpPr>
        <p:spPr bwMode="auto">
          <a:xfrm>
            <a:off x="6497516" y="3870454"/>
            <a:ext cx="320675" cy="149225"/>
          </a:xfrm>
          <a:prstGeom prst="rect">
            <a:avLst/>
          </a:prstGeom>
          <a:solidFill>
            <a:srgbClr val="FFFF00"/>
          </a:solidFill>
          <a:ln>
            <a:noFill/>
          </a:ln>
          <a:effectLst/>
        </p:spPr>
        <p:txBody>
          <a:bodyPr wrap="none" anchor="ctr"/>
          <a:lstStyle/>
          <a:p>
            <a:endParaRPr lang="en-US"/>
          </a:p>
        </p:txBody>
      </p:sp>
      <p:sp>
        <p:nvSpPr>
          <p:cNvPr id="99" name="Rectangle 40"/>
          <p:cNvSpPr>
            <a:spLocks noChangeArrowheads="1"/>
          </p:cNvSpPr>
          <p:nvPr/>
        </p:nvSpPr>
        <p:spPr bwMode="auto">
          <a:xfrm>
            <a:off x="5416817" y="4069839"/>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Rectangle 41"/>
          <p:cNvSpPr>
            <a:spLocks noChangeArrowheads="1"/>
          </p:cNvSpPr>
          <p:nvPr/>
        </p:nvSpPr>
        <p:spPr bwMode="auto">
          <a:xfrm>
            <a:off x="5816867" y="4069839"/>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Rectangle 42"/>
          <p:cNvSpPr>
            <a:spLocks noChangeArrowheads="1"/>
          </p:cNvSpPr>
          <p:nvPr/>
        </p:nvSpPr>
        <p:spPr bwMode="auto">
          <a:xfrm>
            <a:off x="6216917" y="4069839"/>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Rectangle 43"/>
          <p:cNvSpPr>
            <a:spLocks noChangeArrowheads="1"/>
          </p:cNvSpPr>
          <p:nvPr/>
        </p:nvSpPr>
        <p:spPr bwMode="auto">
          <a:xfrm>
            <a:off x="6616967" y="4069839"/>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Line 27"/>
          <p:cNvSpPr>
            <a:spLocks noChangeShapeType="1"/>
          </p:cNvSpPr>
          <p:nvPr/>
        </p:nvSpPr>
        <p:spPr bwMode="auto">
          <a:xfrm>
            <a:off x="7149707" y="3397290"/>
            <a:ext cx="0" cy="346162"/>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4" name="Line 28"/>
          <p:cNvSpPr>
            <a:spLocks noChangeShapeType="1"/>
          </p:cNvSpPr>
          <p:nvPr/>
        </p:nvSpPr>
        <p:spPr bwMode="auto">
          <a:xfrm flipH="1" flipV="1">
            <a:off x="6747257" y="3727965"/>
            <a:ext cx="431490" cy="9943"/>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 name="Line 30"/>
          <p:cNvSpPr>
            <a:spLocks noChangeShapeType="1"/>
          </p:cNvSpPr>
          <p:nvPr/>
        </p:nvSpPr>
        <p:spPr bwMode="auto">
          <a:xfrm flipH="1">
            <a:off x="7562401" y="3718052"/>
            <a:ext cx="5390" cy="27273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6" name="Line 31"/>
          <p:cNvSpPr>
            <a:spLocks noChangeShapeType="1"/>
          </p:cNvSpPr>
          <p:nvPr/>
        </p:nvSpPr>
        <p:spPr bwMode="auto">
          <a:xfrm flipH="1" flipV="1">
            <a:off x="6883877" y="3976034"/>
            <a:ext cx="670023" cy="8218"/>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7" name="Line 31"/>
          <p:cNvSpPr>
            <a:spLocks noChangeShapeType="1"/>
          </p:cNvSpPr>
          <p:nvPr/>
        </p:nvSpPr>
        <p:spPr bwMode="auto">
          <a:xfrm flipH="1">
            <a:off x="6970829" y="4129588"/>
            <a:ext cx="1052658" cy="14860"/>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8" name="Line 30"/>
          <p:cNvSpPr>
            <a:spLocks noChangeShapeType="1"/>
          </p:cNvSpPr>
          <p:nvPr/>
        </p:nvSpPr>
        <p:spPr bwMode="auto">
          <a:xfrm>
            <a:off x="4846212" y="3743454"/>
            <a:ext cx="349286" cy="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9" name="Line 24"/>
          <p:cNvSpPr>
            <a:spLocks noChangeShapeType="1"/>
          </p:cNvSpPr>
          <p:nvPr/>
        </p:nvSpPr>
        <p:spPr bwMode="auto">
          <a:xfrm>
            <a:off x="5035894" y="3956871"/>
            <a:ext cx="10144" cy="288032"/>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0" name="Line 30"/>
          <p:cNvSpPr>
            <a:spLocks noChangeShapeType="1"/>
          </p:cNvSpPr>
          <p:nvPr/>
        </p:nvSpPr>
        <p:spPr bwMode="auto">
          <a:xfrm>
            <a:off x="5035894" y="3956872"/>
            <a:ext cx="272257" cy="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1" name="Line 24"/>
          <p:cNvSpPr>
            <a:spLocks noChangeShapeType="1"/>
          </p:cNvSpPr>
          <p:nvPr/>
        </p:nvSpPr>
        <p:spPr bwMode="auto">
          <a:xfrm flipH="1">
            <a:off x="5139900" y="4134341"/>
            <a:ext cx="0" cy="323982"/>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 name="Line 30"/>
          <p:cNvSpPr>
            <a:spLocks noChangeShapeType="1"/>
          </p:cNvSpPr>
          <p:nvPr/>
        </p:nvSpPr>
        <p:spPr bwMode="auto">
          <a:xfrm>
            <a:off x="5139900" y="4134342"/>
            <a:ext cx="272257" cy="0"/>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3" name="Text Box 57"/>
          <p:cNvSpPr txBox="1">
            <a:spLocks noChangeAspect="1" noChangeArrowheads="1"/>
          </p:cNvSpPr>
          <p:nvPr/>
        </p:nvSpPr>
        <p:spPr bwMode="auto">
          <a:xfrm>
            <a:off x="3063024" y="3825610"/>
            <a:ext cx="1230589" cy="467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tIns="18000" rIns="18000" bIns="18000">
            <a:spAutoFit/>
          </a:bodyPr>
          <a:lstStyle/>
          <a:p>
            <a:pPr algn="ctr" eaLnBrk="0" hangingPunct="0">
              <a:spcBef>
                <a:spcPts val="0"/>
              </a:spcBef>
            </a:pPr>
            <a:r>
              <a:rPr lang="en-US" altLang="en-US" sz="1400" dirty="0">
                <a:solidFill>
                  <a:srgbClr val="000000"/>
                </a:solidFill>
              </a:rPr>
              <a:t>Mapping flows </a:t>
            </a:r>
          </a:p>
          <a:p>
            <a:pPr algn="ctr" eaLnBrk="0" hangingPunct="0">
              <a:spcBef>
                <a:spcPts val="0"/>
              </a:spcBef>
            </a:pPr>
            <a:r>
              <a:rPr lang="en-US" altLang="en-US" sz="1400" dirty="0">
                <a:solidFill>
                  <a:srgbClr val="000000"/>
                </a:solidFill>
              </a:rPr>
              <a:t>to DRBs</a:t>
            </a:r>
          </a:p>
        </p:txBody>
      </p:sp>
      <p:sp>
        <p:nvSpPr>
          <p:cNvPr id="114" name="Line 58"/>
          <p:cNvSpPr>
            <a:spLocks noChangeShapeType="1"/>
          </p:cNvSpPr>
          <p:nvPr/>
        </p:nvSpPr>
        <p:spPr bwMode="auto">
          <a:xfrm flipH="1" flipV="1">
            <a:off x="4171252" y="4069838"/>
            <a:ext cx="383720" cy="137759"/>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5" name="Line 58"/>
          <p:cNvSpPr>
            <a:spLocks noChangeShapeType="1"/>
          </p:cNvSpPr>
          <p:nvPr/>
        </p:nvSpPr>
        <p:spPr bwMode="auto">
          <a:xfrm flipH="1">
            <a:off x="2827111" y="4090664"/>
            <a:ext cx="353626" cy="116931"/>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6" name="Line 60"/>
          <p:cNvSpPr>
            <a:spLocks noChangeShapeType="1"/>
          </p:cNvSpPr>
          <p:nvPr/>
        </p:nvSpPr>
        <p:spPr bwMode="auto">
          <a:xfrm>
            <a:off x="6341941" y="3956872"/>
            <a:ext cx="1007561" cy="740411"/>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7" name="Text Box 61"/>
          <p:cNvSpPr txBox="1">
            <a:spLocks noChangeAspect="1" noChangeArrowheads="1"/>
          </p:cNvSpPr>
          <p:nvPr/>
        </p:nvSpPr>
        <p:spPr bwMode="auto">
          <a:xfrm>
            <a:off x="6832241" y="4710946"/>
            <a:ext cx="2923360" cy="251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tIns="18000" rIns="18000" bIns="18000">
            <a:spAutoFit/>
          </a:bodyPr>
          <a:lstStyle/>
          <a:p>
            <a:pPr algn="ctr" eaLnBrk="0" hangingPunct="0"/>
            <a:r>
              <a:rPr lang="en-US" altLang="en-US" sz="1400" dirty="0">
                <a:solidFill>
                  <a:srgbClr val="000000"/>
                </a:solidFill>
              </a:rPr>
              <a:t>Packets marked with “</a:t>
            </a:r>
            <a:r>
              <a:rPr lang="en-US" altLang="en-US" sz="1400" dirty="0" err="1">
                <a:solidFill>
                  <a:srgbClr val="000000"/>
                </a:solidFill>
              </a:rPr>
              <a:t>QoS</a:t>
            </a:r>
            <a:r>
              <a:rPr lang="en-US" altLang="en-US" sz="1400" dirty="0">
                <a:solidFill>
                  <a:srgbClr val="000000"/>
                </a:solidFill>
              </a:rPr>
              <a:t> Flow ID” </a:t>
            </a:r>
          </a:p>
        </p:txBody>
      </p:sp>
      <p:sp>
        <p:nvSpPr>
          <p:cNvPr id="118" name="Text Box 57"/>
          <p:cNvSpPr txBox="1">
            <a:spLocks noChangeAspect="1" noChangeArrowheads="1"/>
          </p:cNvSpPr>
          <p:nvPr/>
        </p:nvSpPr>
        <p:spPr bwMode="auto">
          <a:xfrm>
            <a:off x="8147819" y="2961616"/>
            <a:ext cx="18485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en-US" altLang="en-US" sz="1400" dirty="0">
                <a:solidFill>
                  <a:srgbClr val="000000"/>
                </a:solidFill>
              </a:rPr>
              <a:t>Packet filters classify</a:t>
            </a:r>
            <a:br>
              <a:rPr lang="en-US" altLang="en-US" sz="1400" dirty="0">
                <a:solidFill>
                  <a:srgbClr val="000000"/>
                </a:solidFill>
              </a:rPr>
            </a:br>
            <a:r>
              <a:rPr lang="en-US" altLang="en-US" sz="1400" dirty="0">
                <a:solidFill>
                  <a:srgbClr val="000000"/>
                </a:solidFill>
              </a:rPr>
              <a:t> packets to SDFs </a:t>
            </a:r>
            <a:br>
              <a:rPr lang="en-US" altLang="en-US" sz="1400" dirty="0">
                <a:solidFill>
                  <a:srgbClr val="000000"/>
                </a:solidFill>
              </a:rPr>
            </a:br>
            <a:endParaRPr lang="en-US" altLang="en-US" sz="1400" dirty="0">
              <a:solidFill>
                <a:srgbClr val="000000"/>
              </a:solidFill>
            </a:endParaRPr>
          </a:p>
        </p:txBody>
      </p:sp>
      <p:sp>
        <p:nvSpPr>
          <p:cNvPr id="119" name="Line 58"/>
          <p:cNvSpPr>
            <a:spLocks noChangeShapeType="1"/>
          </p:cNvSpPr>
          <p:nvPr/>
        </p:nvSpPr>
        <p:spPr bwMode="auto">
          <a:xfrm flipH="1">
            <a:off x="7756845" y="3153872"/>
            <a:ext cx="425152" cy="13850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0" name="Line 58"/>
          <p:cNvSpPr>
            <a:spLocks noChangeShapeType="1"/>
          </p:cNvSpPr>
          <p:nvPr/>
        </p:nvSpPr>
        <p:spPr bwMode="auto">
          <a:xfrm flipH="1" flipV="1">
            <a:off x="6341940" y="2295528"/>
            <a:ext cx="619157" cy="43698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1" name="Line 30"/>
          <p:cNvSpPr>
            <a:spLocks noChangeShapeType="1"/>
          </p:cNvSpPr>
          <p:nvPr/>
        </p:nvSpPr>
        <p:spPr bwMode="auto">
          <a:xfrm>
            <a:off x="8023484" y="3956869"/>
            <a:ext cx="8503" cy="201269"/>
          </a:xfrm>
          <a:prstGeom prst="line">
            <a:avLst/>
          </a:prstGeom>
          <a:noFill/>
          <a:ln w="508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2" name="Rectangle 40"/>
          <p:cNvSpPr>
            <a:spLocks noChangeArrowheads="1"/>
          </p:cNvSpPr>
          <p:nvPr/>
        </p:nvSpPr>
        <p:spPr bwMode="auto">
          <a:xfrm rot="16200000">
            <a:off x="2261962" y="3985463"/>
            <a:ext cx="320675" cy="149225"/>
          </a:xfrm>
          <a:prstGeom prst="rect">
            <a:avLst/>
          </a:prstGeom>
          <a:solidFill>
            <a:srgbClr val="FFFF00"/>
          </a:solidFill>
          <a:ln>
            <a:noFill/>
          </a:ln>
          <a:effectLst/>
        </p:spPr>
        <p:txBody>
          <a:bodyPr wrap="none" anchor="ctr"/>
          <a:lstStyle/>
          <a:p>
            <a:endParaRPr lang="en-US"/>
          </a:p>
        </p:txBody>
      </p:sp>
      <p:sp>
        <p:nvSpPr>
          <p:cNvPr id="123" name="Line 24"/>
          <p:cNvSpPr>
            <a:spLocks noChangeShapeType="1"/>
          </p:cNvSpPr>
          <p:nvPr/>
        </p:nvSpPr>
        <p:spPr bwMode="auto">
          <a:xfrm>
            <a:off x="2014839" y="3678911"/>
            <a:ext cx="0" cy="568176"/>
          </a:xfrm>
          <a:prstGeom prst="line">
            <a:avLst/>
          </a:prstGeom>
          <a:noFill/>
          <a:ln w="508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4" name="Rectangle 40"/>
          <p:cNvSpPr>
            <a:spLocks noChangeArrowheads="1"/>
          </p:cNvSpPr>
          <p:nvPr/>
        </p:nvSpPr>
        <p:spPr bwMode="auto">
          <a:xfrm rot="16200000">
            <a:off x="1846829" y="4312770"/>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Rectangle 37"/>
          <p:cNvSpPr>
            <a:spLocks noChangeArrowheads="1"/>
          </p:cNvSpPr>
          <p:nvPr/>
        </p:nvSpPr>
        <p:spPr bwMode="auto">
          <a:xfrm>
            <a:off x="5240216" y="3668841"/>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Rectangle 40"/>
          <p:cNvSpPr>
            <a:spLocks noChangeArrowheads="1"/>
          </p:cNvSpPr>
          <p:nvPr/>
        </p:nvSpPr>
        <p:spPr bwMode="auto">
          <a:xfrm rot="16200000">
            <a:off x="2560561" y="3960063"/>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Rectangle 40"/>
          <p:cNvSpPr>
            <a:spLocks noChangeArrowheads="1"/>
          </p:cNvSpPr>
          <p:nvPr/>
        </p:nvSpPr>
        <p:spPr bwMode="auto">
          <a:xfrm rot="16200000">
            <a:off x="2261962" y="3985463"/>
            <a:ext cx="320675" cy="149225"/>
          </a:xfrm>
          <a:prstGeom prst="rect">
            <a:avLst/>
          </a:prstGeom>
          <a:solidFill>
            <a:srgbClr val="FFFF00"/>
          </a:solidFill>
          <a:ln>
            <a:noFill/>
          </a:ln>
          <a:effectLst/>
        </p:spPr>
        <p:txBody>
          <a:bodyPr wrap="none" anchor="ctr"/>
          <a:lstStyle/>
          <a:p>
            <a:endParaRPr lang="en-US"/>
          </a:p>
        </p:txBody>
      </p:sp>
      <p:sp>
        <p:nvSpPr>
          <p:cNvPr id="128" name="Rectangle 40"/>
          <p:cNvSpPr>
            <a:spLocks noChangeArrowheads="1"/>
          </p:cNvSpPr>
          <p:nvPr/>
        </p:nvSpPr>
        <p:spPr bwMode="auto">
          <a:xfrm rot="16200000">
            <a:off x="1846829" y="4312770"/>
            <a:ext cx="320675" cy="149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Rectangle 37"/>
          <p:cNvSpPr>
            <a:spLocks noChangeArrowheads="1"/>
          </p:cNvSpPr>
          <p:nvPr/>
        </p:nvSpPr>
        <p:spPr bwMode="auto">
          <a:xfrm>
            <a:off x="5240216" y="3668841"/>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Rectangle 40"/>
          <p:cNvSpPr>
            <a:spLocks noChangeArrowheads="1"/>
          </p:cNvSpPr>
          <p:nvPr/>
        </p:nvSpPr>
        <p:spPr bwMode="auto">
          <a:xfrm rot="16200000">
            <a:off x="2560561" y="3960063"/>
            <a:ext cx="320675" cy="14922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Line 58"/>
          <p:cNvSpPr>
            <a:spLocks noChangeShapeType="1"/>
          </p:cNvSpPr>
          <p:nvPr/>
        </p:nvSpPr>
        <p:spPr bwMode="auto">
          <a:xfrm flipH="1" flipV="1">
            <a:off x="5906359" y="4282679"/>
            <a:ext cx="337089" cy="62528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2" name="Text Box 57"/>
          <p:cNvSpPr txBox="1">
            <a:spLocks noChangeAspect="1" noChangeArrowheads="1"/>
          </p:cNvSpPr>
          <p:nvPr/>
        </p:nvSpPr>
        <p:spPr bwMode="auto">
          <a:xfrm>
            <a:off x="5540413" y="4890932"/>
            <a:ext cx="12218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en-US" sz="1400" dirty="0">
                <a:solidFill>
                  <a:srgbClr val="000000"/>
                </a:solidFill>
              </a:rPr>
              <a:t>PDU session</a:t>
            </a:r>
          </a:p>
        </p:txBody>
      </p:sp>
      <p:sp>
        <p:nvSpPr>
          <p:cNvPr id="133" name="AutoShape 23"/>
          <p:cNvSpPr>
            <a:spLocks noChangeArrowheads="1"/>
          </p:cNvSpPr>
          <p:nvPr/>
        </p:nvSpPr>
        <p:spPr bwMode="auto">
          <a:xfrm>
            <a:off x="2367478" y="3081901"/>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hlink"/>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spcBef>
                <a:spcPct val="0"/>
              </a:spcBef>
            </a:pPr>
            <a:endParaRPr lang="en-US" altLang="en-US" sz="1400">
              <a:solidFill>
                <a:srgbClr val="000000"/>
              </a:solidFill>
            </a:endParaRPr>
          </a:p>
        </p:txBody>
      </p:sp>
      <p:sp>
        <p:nvSpPr>
          <p:cNvPr id="134" name="AutoShape 26"/>
          <p:cNvSpPr>
            <a:spLocks noChangeArrowheads="1"/>
          </p:cNvSpPr>
          <p:nvPr/>
        </p:nvSpPr>
        <p:spPr bwMode="auto">
          <a:xfrm>
            <a:off x="2037020" y="3329099"/>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FFFF00"/>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135" name="AutoShape 26"/>
          <p:cNvSpPr>
            <a:spLocks noChangeArrowheads="1"/>
          </p:cNvSpPr>
          <p:nvPr/>
        </p:nvSpPr>
        <p:spPr bwMode="auto">
          <a:xfrm>
            <a:off x="1672099" y="3570993"/>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accent1"/>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spcBef>
                <a:spcPct val="0"/>
              </a:spcBef>
            </a:pPr>
            <a:endParaRPr lang="en-US" altLang="en-US" sz="1400">
              <a:solidFill>
                <a:srgbClr val="000000"/>
              </a:solidFill>
            </a:endParaRPr>
          </a:p>
        </p:txBody>
      </p:sp>
      <p:sp>
        <p:nvSpPr>
          <p:cNvPr id="136" name="AutoShape 23"/>
          <p:cNvSpPr>
            <a:spLocks noChangeArrowheads="1"/>
          </p:cNvSpPr>
          <p:nvPr/>
        </p:nvSpPr>
        <p:spPr bwMode="auto">
          <a:xfrm>
            <a:off x="6785186" y="3336638"/>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hlink"/>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spcBef>
                <a:spcPct val="0"/>
              </a:spcBef>
            </a:pPr>
            <a:endParaRPr lang="en-US" altLang="en-US" sz="1400">
              <a:solidFill>
                <a:srgbClr val="000000"/>
              </a:solidFill>
            </a:endParaRPr>
          </a:p>
        </p:txBody>
      </p:sp>
      <p:sp>
        <p:nvSpPr>
          <p:cNvPr id="137" name="AutoShape 26"/>
          <p:cNvSpPr>
            <a:spLocks noChangeArrowheads="1"/>
          </p:cNvSpPr>
          <p:nvPr/>
        </p:nvSpPr>
        <p:spPr bwMode="auto">
          <a:xfrm>
            <a:off x="7208689" y="3624046"/>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FFFF00"/>
          </a:solidFill>
          <a:ln w="19050">
            <a:solidFill>
              <a:srgbClr val="000000"/>
            </a:solidFill>
            <a:miter lim="800000"/>
            <a:headEnd/>
            <a:tailEnd/>
          </a:ln>
          <a:effectLst/>
        </p:spPr>
        <p:txBody>
          <a:bodyPr wrap="none" anchor="ctr"/>
          <a:lstStyle/>
          <a:p>
            <a:pPr algn="ctr" eaLnBrk="0" hangingPunct="0">
              <a:spcBef>
                <a:spcPct val="0"/>
              </a:spcBef>
            </a:pPr>
            <a:endParaRPr lang="en-US" altLang="en-US" sz="1400">
              <a:solidFill>
                <a:srgbClr val="000000"/>
              </a:solidFill>
            </a:endParaRPr>
          </a:p>
        </p:txBody>
      </p:sp>
      <p:sp>
        <p:nvSpPr>
          <p:cNvPr id="138" name="AutoShape 26"/>
          <p:cNvSpPr>
            <a:spLocks noChangeArrowheads="1"/>
          </p:cNvSpPr>
          <p:nvPr/>
        </p:nvSpPr>
        <p:spPr bwMode="auto">
          <a:xfrm>
            <a:off x="7734546" y="3824156"/>
            <a:ext cx="669157" cy="15353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accent1"/>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spcBef>
                <a:spcPct val="0"/>
              </a:spcBef>
            </a:pPr>
            <a:endParaRPr lang="en-US" altLang="en-US" sz="1400">
              <a:solidFill>
                <a:srgbClr val="000000"/>
              </a:solidFill>
            </a:endParaRPr>
          </a:p>
        </p:txBody>
      </p:sp>
      <p:sp>
        <p:nvSpPr>
          <p:cNvPr id="139" name="Parallelogram 138"/>
          <p:cNvSpPr/>
          <p:nvPr/>
        </p:nvSpPr>
        <p:spPr bwMode="auto">
          <a:xfrm>
            <a:off x="7348142" y="3156417"/>
            <a:ext cx="374987" cy="119675"/>
          </a:xfrm>
          <a:prstGeom prst="parallelogram">
            <a:avLst/>
          </a:prstGeom>
          <a:solidFill>
            <a:srgbClr val="FFFF00"/>
          </a:solidFill>
          <a:ln>
            <a:solidFill>
              <a:schemeClr val="tx1"/>
            </a:solidFill>
          </a:ln>
          <a:effectLst/>
        </p:spPr>
        <p:txBody>
          <a:bodyPr wrap="none" anchor="ctr"/>
          <a:lstStyle/>
          <a:p>
            <a:endParaRPr lang="en-US"/>
          </a:p>
        </p:txBody>
      </p:sp>
      <p:sp>
        <p:nvSpPr>
          <p:cNvPr id="140" name="Parallelogram 139"/>
          <p:cNvSpPr/>
          <p:nvPr/>
        </p:nvSpPr>
        <p:spPr bwMode="auto">
          <a:xfrm>
            <a:off x="7878258" y="3282885"/>
            <a:ext cx="374987" cy="119675"/>
          </a:xfrm>
          <a:prstGeom prst="parallelogram">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Parallelogram 140"/>
          <p:cNvSpPr/>
          <p:nvPr/>
        </p:nvSpPr>
        <p:spPr bwMode="auto">
          <a:xfrm>
            <a:off x="6877971" y="3037628"/>
            <a:ext cx="374987" cy="119675"/>
          </a:xfrm>
          <a:prstGeom prst="parallelogram">
            <a:avLst/>
          </a:prstGeom>
          <a:solidFill>
            <a:srgbClr val="7030A0"/>
          </a:solidFill>
          <a:ln w="190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Parallelogram 141"/>
          <p:cNvSpPr/>
          <p:nvPr/>
        </p:nvSpPr>
        <p:spPr bwMode="auto">
          <a:xfrm>
            <a:off x="7505827" y="3227837"/>
            <a:ext cx="374987" cy="119675"/>
          </a:xfrm>
          <a:prstGeom prst="parallelogram">
            <a:avLst/>
          </a:prstGeom>
          <a:solidFill>
            <a:schemeClr val="accent2"/>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Freeform 70"/>
          <p:cNvSpPr>
            <a:spLocks/>
          </p:cNvSpPr>
          <p:nvPr/>
        </p:nvSpPr>
        <p:spPr bwMode="auto">
          <a:xfrm flipH="1">
            <a:off x="5797539" y="3527179"/>
            <a:ext cx="174915" cy="832481"/>
          </a:xfrm>
          <a:custGeom>
            <a:avLst/>
            <a:gdLst>
              <a:gd name="T0" fmla="*/ 95 w 95"/>
              <a:gd name="T1" fmla="*/ 76 h 503"/>
              <a:gd name="T2" fmla="*/ 51 w 95"/>
              <a:gd name="T3" fmla="*/ 7 h 503"/>
              <a:gd name="T4" fmla="*/ 7 w 95"/>
              <a:gd name="T5" fmla="*/ 120 h 503"/>
              <a:gd name="T6" fmla="*/ 7 w 95"/>
              <a:gd name="T7" fmla="*/ 364 h 503"/>
              <a:gd name="T8" fmla="*/ 51 w 95"/>
              <a:gd name="T9" fmla="*/ 489 h 503"/>
              <a:gd name="T10" fmla="*/ 95 w 95"/>
              <a:gd name="T11" fmla="*/ 451 h 503"/>
            </a:gdLst>
            <a:ahLst/>
            <a:cxnLst>
              <a:cxn ang="0">
                <a:pos x="T0" y="T1"/>
              </a:cxn>
              <a:cxn ang="0">
                <a:pos x="T2" y="T3"/>
              </a:cxn>
              <a:cxn ang="0">
                <a:pos x="T4" y="T5"/>
              </a:cxn>
              <a:cxn ang="0">
                <a:pos x="T6" y="T7"/>
              </a:cxn>
              <a:cxn ang="0">
                <a:pos x="T8" y="T9"/>
              </a:cxn>
              <a:cxn ang="0">
                <a:pos x="T10" y="T11"/>
              </a:cxn>
            </a:cxnLst>
            <a:rect l="0" t="0" r="r" b="b"/>
            <a:pathLst>
              <a:path w="95" h="503">
                <a:moveTo>
                  <a:pt x="95" y="76"/>
                </a:moveTo>
                <a:cubicBezTo>
                  <a:pt x="88" y="69"/>
                  <a:pt x="66" y="0"/>
                  <a:pt x="51" y="7"/>
                </a:cubicBezTo>
                <a:cubicBezTo>
                  <a:pt x="36" y="14"/>
                  <a:pt x="14" y="61"/>
                  <a:pt x="7" y="120"/>
                </a:cubicBezTo>
                <a:cubicBezTo>
                  <a:pt x="0" y="179"/>
                  <a:pt x="0" y="303"/>
                  <a:pt x="7" y="364"/>
                </a:cubicBezTo>
                <a:cubicBezTo>
                  <a:pt x="14" y="425"/>
                  <a:pt x="36" y="475"/>
                  <a:pt x="51" y="489"/>
                </a:cubicBezTo>
                <a:cubicBezTo>
                  <a:pt x="66" y="503"/>
                  <a:pt x="86" y="459"/>
                  <a:pt x="95" y="451"/>
                </a:cubicBezTo>
              </a:path>
            </a:pathLst>
          </a:custGeom>
          <a:noFill/>
          <a:ln w="1905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4" name="Line 28"/>
          <p:cNvSpPr>
            <a:spLocks noChangeShapeType="1"/>
          </p:cNvSpPr>
          <p:nvPr/>
        </p:nvSpPr>
        <p:spPr bwMode="auto">
          <a:xfrm>
            <a:off x="6976694" y="3156417"/>
            <a:ext cx="1342" cy="184969"/>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5" name="Line 28"/>
          <p:cNvSpPr>
            <a:spLocks noChangeShapeType="1"/>
          </p:cNvSpPr>
          <p:nvPr/>
        </p:nvSpPr>
        <p:spPr bwMode="auto">
          <a:xfrm flipH="1">
            <a:off x="7149707" y="3172523"/>
            <a:ext cx="0" cy="160715"/>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6" name="Parallelogram 145"/>
          <p:cNvSpPr/>
          <p:nvPr/>
        </p:nvSpPr>
        <p:spPr bwMode="auto">
          <a:xfrm>
            <a:off x="7050982" y="3077707"/>
            <a:ext cx="374987" cy="119675"/>
          </a:xfrm>
          <a:prstGeom prst="parallelogram">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Line 28"/>
          <p:cNvSpPr>
            <a:spLocks noChangeShapeType="1"/>
          </p:cNvSpPr>
          <p:nvPr/>
        </p:nvSpPr>
        <p:spPr bwMode="auto">
          <a:xfrm flipH="1">
            <a:off x="7643452" y="3347512"/>
            <a:ext cx="0" cy="275538"/>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8" name="Line 28"/>
          <p:cNvSpPr>
            <a:spLocks noChangeShapeType="1"/>
          </p:cNvSpPr>
          <p:nvPr/>
        </p:nvSpPr>
        <p:spPr bwMode="auto">
          <a:xfrm flipH="1">
            <a:off x="7487501" y="3274647"/>
            <a:ext cx="0" cy="365320"/>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9" name="Line 28"/>
          <p:cNvSpPr>
            <a:spLocks noChangeShapeType="1"/>
          </p:cNvSpPr>
          <p:nvPr/>
        </p:nvSpPr>
        <p:spPr bwMode="auto">
          <a:xfrm flipH="1">
            <a:off x="8063582" y="3402560"/>
            <a:ext cx="0" cy="421596"/>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5352609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pPr lvl="0">
              <a:defRPr/>
            </a:pPr>
            <a:r>
              <a:rPr lang="en-US" dirty="0">
                <a:solidFill>
                  <a:srgbClr val="FFFFFF"/>
                </a:solidFill>
                <a:latin typeface="Ericsson Capital TT" pitchFamily="2" charset="0"/>
                <a:ea typeface="MS PGothic" pitchFamily="34" charset="-128"/>
              </a:rPr>
              <a:t>5g Service provider eco-system</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1"/>
          <p:cNvSpPr txBox="1">
            <a:spLocks/>
          </p:cNvSpPr>
          <p:nvPr/>
        </p:nvSpPr>
        <p:spPr>
          <a:xfrm>
            <a:off x="6920305" y="2134817"/>
            <a:ext cx="5015408" cy="2770469"/>
          </a:xfrm>
          <a:prstGeom prst="rect">
            <a:avLst/>
          </a:prstGeom>
          <a:solidFill>
            <a:srgbClr val="FFFFFF"/>
          </a:solidFill>
          <a:ln w="28575">
            <a:solidFill>
              <a:schemeClr val="bg1"/>
            </a:solidFill>
          </a:ln>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New ecosystem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Delivery Channel model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New customer categorie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New business model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More demanding customer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sz="2400" b="0" i="0" u="none" strike="noStrike" kern="0" cap="none" spc="0" normalizeH="0" baseline="0" noProof="0" dirty="0">
                <a:ln>
                  <a:noFill/>
                </a:ln>
                <a:solidFill>
                  <a:schemeClr val="tx1"/>
                </a:solidFill>
                <a:effectLst/>
                <a:uLnTx/>
                <a:uFillTx/>
                <a:latin typeface="+mn-lt"/>
                <a:ea typeface="+mn-ea"/>
                <a:cs typeface="+mn-cs"/>
              </a:rPr>
              <a:t>New competitive landscape</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5661" y="1435925"/>
            <a:ext cx="5791693" cy="4443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116517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612757" cy="1085371"/>
          </a:xfrm>
        </p:spPr>
        <p:txBody>
          <a:bodyPr>
            <a:normAutofit fontScale="90000"/>
          </a:bodyPr>
          <a:lstStyle/>
          <a:p>
            <a:r>
              <a:rPr lang="en-US" dirty="0"/>
              <a:t>Standardized 5QI to </a:t>
            </a:r>
            <a:r>
              <a:rPr lang="en-US" dirty="0" err="1"/>
              <a:t>QoS</a:t>
            </a:r>
            <a:r>
              <a:rPr lang="en-US" dirty="0"/>
              <a:t> characteristics mapping Example</a:t>
            </a:r>
          </a:p>
        </p:txBody>
      </p:sp>
      <p:graphicFrame>
        <p:nvGraphicFramePr>
          <p:cNvPr id="5" name="Table 4"/>
          <p:cNvGraphicFramePr>
            <a:graphicFrameLocks noGrp="1"/>
          </p:cNvGraphicFramePr>
          <p:nvPr>
            <p:extLst>
              <p:ext uri="{D42A27DB-BD31-4B8C-83A1-F6EECF244321}">
                <p14:modId xmlns:p14="http://schemas.microsoft.com/office/powerpoint/2010/main" val="4015862297"/>
              </p:ext>
            </p:extLst>
          </p:nvPr>
        </p:nvGraphicFramePr>
        <p:xfrm>
          <a:off x="4407108" y="1295106"/>
          <a:ext cx="6580679" cy="5484214"/>
        </p:xfrm>
        <a:graphic>
          <a:graphicData uri="http://schemas.openxmlformats.org/drawingml/2006/table">
            <a:tbl>
              <a:tblPr firstRow="1" firstCol="1" lastRow="1" lastCol="1" bandRow="1" bandCol="1">
                <a:tableStyleId>{5C22544A-7EE6-4342-B048-85BDC9FD1C3A}</a:tableStyleId>
              </a:tblPr>
              <a:tblGrid>
                <a:gridCol w="733703">
                  <a:extLst>
                    <a:ext uri="{9D8B030D-6E8A-4147-A177-3AD203B41FA5}">
                      <a16:colId xmlns:a16="http://schemas.microsoft.com/office/drawing/2014/main" val="1333976941"/>
                    </a:ext>
                  </a:extLst>
                </a:gridCol>
                <a:gridCol w="759693">
                  <a:extLst>
                    <a:ext uri="{9D8B030D-6E8A-4147-A177-3AD203B41FA5}">
                      <a16:colId xmlns:a16="http://schemas.microsoft.com/office/drawing/2014/main" val="1351833487"/>
                    </a:ext>
                  </a:extLst>
                </a:gridCol>
                <a:gridCol w="759693">
                  <a:extLst>
                    <a:ext uri="{9D8B030D-6E8A-4147-A177-3AD203B41FA5}">
                      <a16:colId xmlns:a16="http://schemas.microsoft.com/office/drawing/2014/main" val="837531214"/>
                    </a:ext>
                  </a:extLst>
                </a:gridCol>
                <a:gridCol w="661067">
                  <a:extLst>
                    <a:ext uri="{9D8B030D-6E8A-4147-A177-3AD203B41FA5}">
                      <a16:colId xmlns:a16="http://schemas.microsoft.com/office/drawing/2014/main" val="3835391456"/>
                    </a:ext>
                  </a:extLst>
                </a:gridCol>
                <a:gridCol w="759693">
                  <a:extLst>
                    <a:ext uri="{9D8B030D-6E8A-4147-A177-3AD203B41FA5}">
                      <a16:colId xmlns:a16="http://schemas.microsoft.com/office/drawing/2014/main" val="4077863871"/>
                    </a:ext>
                  </a:extLst>
                </a:gridCol>
                <a:gridCol w="2906830">
                  <a:extLst>
                    <a:ext uri="{9D8B030D-6E8A-4147-A177-3AD203B41FA5}">
                      <a16:colId xmlns:a16="http://schemas.microsoft.com/office/drawing/2014/main" val="254104988"/>
                    </a:ext>
                  </a:extLst>
                </a:gridCol>
              </a:tblGrid>
              <a:tr h="494115">
                <a:tc>
                  <a:txBody>
                    <a:bodyPr/>
                    <a:lstStyle/>
                    <a:p>
                      <a:pPr algn="ctr">
                        <a:spcAft>
                          <a:spcPts val="0"/>
                        </a:spcAft>
                      </a:pPr>
                      <a:r>
                        <a:rPr lang="en-GB" sz="1000">
                          <a:effectLst/>
                        </a:rPr>
                        <a:t>5QI</a:t>
                      </a:r>
                      <a:endParaRPr lang="sv-SE" sz="1000">
                        <a:effectLst/>
                      </a:endParaRPr>
                    </a:p>
                    <a:p>
                      <a:pPr algn="ctr">
                        <a:spcAft>
                          <a:spcPts val="0"/>
                        </a:spcAft>
                      </a:pPr>
                      <a:r>
                        <a:rPr lang="en-GB" sz="1000">
                          <a:effectLst/>
                        </a:rPr>
                        <a:t>Value &amp; QFI</a:t>
                      </a:r>
                      <a:endParaRPr lang="sv-SE" sz="1000" b="1">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Resource Type</a:t>
                      </a:r>
                      <a:endParaRPr lang="sv-SE" sz="1000" b="1">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Priority Level</a:t>
                      </a:r>
                      <a:endParaRPr lang="sv-SE" sz="1000" b="1">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Packet Delay Budget</a:t>
                      </a:r>
                      <a:endParaRPr lang="sv-SE" sz="1000" b="1">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dirty="0">
                          <a:effectLst/>
                        </a:rPr>
                        <a:t>Packet Error</a:t>
                      </a:r>
                      <a:endParaRPr lang="sv-SE" sz="1000" dirty="0">
                        <a:effectLst/>
                      </a:endParaRPr>
                    </a:p>
                    <a:p>
                      <a:pPr algn="ctr">
                        <a:spcAft>
                          <a:spcPts val="0"/>
                        </a:spcAft>
                      </a:pPr>
                      <a:r>
                        <a:rPr lang="en-GB" sz="1000" dirty="0">
                          <a:effectLst/>
                        </a:rPr>
                        <a:t>Rate </a:t>
                      </a:r>
                      <a:endParaRPr lang="sv-SE"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Example Services</a:t>
                      </a:r>
                      <a:endParaRPr lang="sv-SE" sz="1000" b="1">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333144732"/>
                  </a:ext>
                </a:extLst>
              </a:tr>
              <a:tr h="329410">
                <a:tc>
                  <a:txBody>
                    <a:bodyPr/>
                    <a:lstStyle/>
                    <a:p>
                      <a:pPr algn="ctr">
                        <a:spcAft>
                          <a:spcPts val="0"/>
                        </a:spcAft>
                      </a:pPr>
                      <a:r>
                        <a:rPr lang="en-GB" sz="1000">
                          <a:effectLst/>
                        </a:rPr>
                        <a:t>1</a:t>
                      </a:r>
                      <a:br>
                        <a:rPr lang="en-GB" sz="1000">
                          <a:effectLst/>
                        </a:rPr>
                      </a:b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rowSpan="7">
                  <a:txBody>
                    <a:bodyPr/>
                    <a:lstStyle/>
                    <a:p>
                      <a:pPr algn="ctr">
                        <a:spcAft>
                          <a:spcPts val="0"/>
                        </a:spcAft>
                      </a:pPr>
                      <a:br>
                        <a:rPr lang="en-GB" sz="1000">
                          <a:effectLst/>
                        </a:rPr>
                      </a:br>
                      <a:r>
                        <a:rPr lang="en-GB" sz="1000">
                          <a:effectLst/>
                        </a:rPr>
                        <a:t>GBR</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2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2</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Conversational Voice</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100070464"/>
                  </a:ext>
                </a:extLst>
              </a:tr>
              <a:tr h="329410">
                <a:tc>
                  <a:txBody>
                    <a:bodyPr/>
                    <a:lstStyle/>
                    <a:p>
                      <a:pPr algn="ctr">
                        <a:spcAft>
                          <a:spcPts val="0"/>
                        </a:spcAft>
                      </a:pPr>
                      <a:r>
                        <a:rPr lang="en-GB" sz="1000">
                          <a:effectLst/>
                        </a:rPr>
                        <a:t>2</a:t>
                      </a:r>
                      <a:br>
                        <a:rPr lang="en-GB" sz="1000">
                          <a:effectLst/>
                        </a:rPr>
                      </a:b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4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5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3</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Conversational Video (Live Streaming)</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711443440"/>
                  </a:ext>
                </a:extLst>
              </a:tr>
              <a:tr h="165035">
                <a:tc>
                  <a:txBody>
                    <a:bodyPr/>
                    <a:lstStyle/>
                    <a:p>
                      <a:pPr algn="ctr">
                        <a:spcAft>
                          <a:spcPts val="0"/>
                        </a:spcAft>
                      </a:pPr>
                      <a:r>
                        <a:rPr lang="en-GB" sz="1000">
                          <a:effectLst/>
                        </a:rPr>
                        <a:t>3</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3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5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3</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Real Time Gaming, V2X message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146693211"/>
                  </a:ext>
                </a:extLst>
              </a:tr>
              <a:tr h="329410">
                <a:tc>
                  <a:txBody>
                    <a:bodyPr/>
                    <a:lstStyle/>
                    <a:p>
                      <a:pPr algn="ctr">
                        <a:spcAft>
                          <a:spcPts val="0"/>
                        </a:spcAft>
                      </a:pPr>
                      <a:r>
                        <a:rPr lang="en-GB" sz="1000">
                          <a:effectLst/>
                        </a:rPr>
                        <a:t>4</a:t>
                      </a:r>
                      <a:br>
                        <a:rPr lang="en-GB" sz="1000">
                          <a:effectLst/>
                        </a:rPr>
                      </a:b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5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3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Non-Conversational Video (Buffered Streaming)</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993320190"/>
                  </a:ext>
                </a:extLst>
              </a:tr>
              <a:tr h="331628">
                <a:tc>
                  <a:txBody>
                    <a:bodyPr/>
                    <a:lstStyle/>
                    <a:p>
                      <a:pPr algn="ctr">
                        <a:spcAft>
                          <a:spcPts val="0"/>
                        </a:spcAft>
                      </a:pPr>
                      <a:r>
                        <a:rPr lang="en-GB" sz="1000">
                          <a:effectLst/>
                        </a:rPr>
                        <a:t>6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7</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dirty="0">
                          <a:effectLst/>
                        </a:rPr>
                        <a:t>75 ms</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10</a:t>
                      </a:r>
                      <a:r>
                        <a:rPr lang="x-none" sz="1100" baseline="30000">
                          <a:effectLst/>
                        </a:rPr>
                        <a:t>-2</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Mission Critical user plane Push To Talk voice (e.g., MCPTT)</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377698439"/>
                  </a:ext>
                </a:extLst>
              </a:tr>
              <a:tr h="331628">
                <a:tc>
                  <a:txBody>
                    <a:bodyPr/>
                    <a:lstStyle/>
                    <a:p>
                      <a:pPr algn="ctr">
                        <a:spcAft>
                          <a:spcPts val="0"/>
                        </a:spcAft>
                      </a:pPr>
                      <a:r>
                        <a:rPr lang="en-GB" sz="1000" dirty="0">
                          <a:effectLst/>
                        </a:rPr>
                        <a:t>66</a:t>
                      </a:r>
                      <a:br>
                        <a:rPr lang="en-GB" sz="1000" dirty="0">
                          <a:effectLst/>
                        </a:rPr>
                      </a:b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br>
                        <a:rPr lang="x-none" sz="1000">
                          <a:effectLst/>
                        </a:rPr>
                      </a:br>
                      <a:r>
                        <a:rPr lang="x-none" sz="1000">
                          <a:effectLst/>
                        </a:rPr>
                        <a:t>2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10</a:t>
                      </a:r>
                      <a:r>
                        <a:rPr lang="x-none" sz="1100" baseline="30000">
                          <a:effectLst/>
                        </a:rPr>
                        <a:t>-2</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Non-Mission-Critical user plane Push To Talk voice</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602164670"/>
                  </a:ext>
                </a:extLst>
              </a:tr>
              <a:tr h="165035">
                <a:tc>
                  <a:txBody>
                    <a:bodyPr/>
                    <a:lstStyle/>
                    <a:p>
                      <a:pPr algn="ctr">
                        <a:spcAft>
                          <a:spcPts val="0"/>
                        </a:spcAft>
                      </a:pPr>
                      <a:r>
                        <a:rPr lang="en-GB" sz="1000">
                          <a:effectLst/>
                        </a:rPr>
                        <a:t>7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2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5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2</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V2X messages</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86395439"/>
                  </a:ext>
                </a:extLst>
              </a:tr>
              <a:tr h="165035">
                <a:tc>
                  <a:txBody>
                    <a:bodyPr/>
                    <a:lstStyle/>
                    <a:p>
                      <a:pPr algn="ctr">
                        <a:spcAft>
                          <a:spcPts val="0"/>
                        </a:spcAft>
                      </a:pPr>
                      <a:r>
                        <a:rPr lang="en-GB" sz="1000">
                          <a:effectLst/>
                        </a:rPr>
                        <a:t>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rowSpan="9">
                  <a:txBody>
                    <a:bodyPr/>
                    <a:lstStyle/>
                    <a:p>
                      <a:pPr algn="ctr">
                        <a:spcAft>
                          <a:spcPts val="0"/>
                        </a:spcAft>
                      </a:pPr>
                      <a:r>
                        <a:rPr lang="en-GB" sz="1000" dirty="0">
                          <a:effectLst/>
                        </a:rPr>
                        <a:t>Non-GBR</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IMS Signalling</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448773878"/>
                  </a:ext>
                </a:extLst>
              </a:tr>
              <a:tr h="494115">
                <a:tc>
                  <a:txBody>
                    <a:bodyPr/>
                    <a:lstStyle/>
                    <a:p>
                      <a:pPr algn="ctr">
                        <a:spcAft>
                          <a:spcPts val="0"/>
                        </a:spcAft>
                      </a:pPr>
                      <a:r>
                        <a:rPr lang="en-GB" sz="1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br>
                        <a:rPr lang="x-none" sz="1000">
                          <a:effectLst/>
                        </a:rPr>
                      </a:br>
                      <a:r>
                        <a:rPr lang="x-none" sz="1000">
                          <a:effectLst/>
                        </a:rPr>
                        <a:t>6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3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Video (Buffered Streaming)</a:t>
                      </a:r>
                      <a:br>
                        <a:rPr lang="x-none" sz="1000" dirty="0">
                          <a:effectLst/>
                        </a:rPr>
                      </a:br>
                      <a:r>
                        <a:rPr lang="x-none" sz="1000" dirty="0">
                          <a:effectLst/>
                        </a:rPr>
                        <a:t>TCP-based (e.g., www, e-mail, chat, ftp, p2p file sharing, progressive video, etc.)</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4235784903"/>
                  </a:ext>
                </a:extLst>
              </a:tr>
              <a:tr h="494115">
                <a:tc>
                  <a:txBody>
                    <a:bodyPr/>
                    <a:lstStyle/>
                    <a:p>
                      <a:pPr algn="ctr">
                        <a:spcAft>
                          <a:spcPts val="0"/>
                        </a:spcAft>
                      </a:pPr>
                      <a:r>
                        <a:rPr lang="en-GB" sz="1000">
                          <a:effectLst/>
                        </a:rPr>
                        <a:t>7</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br>
                        <a:rPr lang="x-none" sz="1000" dirty="0">
                          <a:effectLst/>
                        </a:rPr>
                      </a:br>
                      <a:r>
                        <a:rPr lang="x-none" sz="1000" dirty="0">
                          <a:effectLst/>
                        </a:rPr>
                        <a:t>70</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1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10</a:t>
                      </a:r>
                      <a:r>
                        <a:rPr lang="x-none" sz="1100" baseline="30000">
                          <a:effectLst/>
                        </a:rPr>
                        <a:t>-3</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Voice,</a:t>
                      </a:r>
                      <a:br>
                        <a:rPr lang="x-none" sz="1000">
                          <a:effectLst/>
                        </a:rPr>
                      </a:br>
                      <a:r>
                        <a:rPr lang="x-none" sz="1000">
                          <a:effectLst/>
                        </a:rPr>
                        <a:t>Video (Live Streaming)</a:t>
                      </a:r>
                      <a:br>
                        <a:rPr lang="x-none" sz="1000">
                          <a:effectLst/>
                        </a:rPr>
                      </a:br>
                      <a:r>
                        <a:rPr lang="x-none" sz="1000">
                          <a:effectLst/>
                        </a:rPr>
                        <a:t>Interactive Gaming</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830995824"/>
                  </a:ext>
                </a:extLst>
              </a:tr>
              <a:tr h="496332">
                <a:tc>
                  <a:txBody>
                    <a:bodyPr/>
                    <a:lstStyle/>
                    <a:p>
                      <a:pPr algn="ctr">
                        <a:spcAft>
                          <a:spcPts val="0"/>
                        </a:spcAft>
                      </a:pPr>
                      <a:r>
                        <a:rPr lang="en-GB" sz="1000">
                          <a:effectLst/>
                        </a:rPr>
                        <a:t>8</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br>
                        <a:rPr lang="x-none" sz="1000">
                          <a:effectLst/>
                        </a:rPr>
                      </a:br>
                      <a:r>
                        <a:rPr lang="x-none" sz="1000">
                          <a:effectLst/>
                        </a:rPr>
                        <a:t>8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r>
                        <a:rPr lang="x-none" sz="1000">
                          <a:effectLst/>
                        </a:rPr>
                        <a:t>3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br>
                        <a:rPr lang="x-none" sz="1000">
                          <a:effectLst/>
                        </a:rPr>
                      </a:br>
                      <a:br>
                        <a:rPr lang="x-none" sz="1000">
                          <a:effectLst/>
                        </a:rPr>
                      </a:b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x-none" sz="1000" dirty="0">
                          <a:effectLst/>
                        </a:rPr>
                      </a:br>
                      <a:r>
                        <a:rPr lang="x-none" sz="1000" dirty="0">
                          <a:effectLst/>
                        </a:rPr>
                        <a:t>Video (Buffered Streaming)</a:t>
                      </a:r>
                      <a:br>
                        <a:rPr lang="x-none" sz="1000" dirty="0">
                          <a:effectLst/>
                        </a:rPr>
                      </a:br>
                      <a:r>
                        <a:rPr lang="x-none" sz="1000" dirty="0">
                          <a:effectLst/>
                        </a:rPr>
                        <a:t>TCP-based (e.g., www, e-mail, chat, ftp, p2p file</a:t>
                      </a:r>
                      <a:r>
                        <a:rPr lang="sv-SE" sz="1000" dirty="0">
                          <a:effectLst/>
                        </a:rPr>
                        <a:t> </a:t>
                      </a:r>
                      <a:r>
                        <a:rPr lang="x-none" sz="1000" dirty="0">
                          <a:effectLst/>
                        </a:rPr>
                        <a:t>sharing, progressive video, etc.)</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704078840"/>
                  </a:ext>
                </a:extLst>
              </a:tr>
              <a:tr h="164705">
                <a:tc>
                  <a:txBody>
                    <a:bodyPr/>
                    <a:lstStyle/>
                    <a:p>
                      <a:pPr algn="ctr">
                        <a:spcAft>
                          <a:spcPts val="0"/>
                        </a:spcAft>
                      </a:pPr>
                      <a:r>
                        <a:rPr lang="en-GB" sz="1000" dirty="0">
                          <a:effectLst/>
                        </a:rPr>
                        <a:t> 9</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9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 </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1000">
                          <a:effectLst/>
                        </a:rPr>
                        <a:t> </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3524858782"/>
                  </a:ext>
                </a:extLst>
              </a:tr>
              <a:tr h="329410">
                <a:tc>
                  <a:txBody>
                    <a:bodyPr/>
                    <a:lstStyle/>
                    <a:p>
                      <a:pPr algn="ctr">
                        <a:spcAft>
                          <a:spcPts val="0"/>
                        </a:spcAft>
                      </a:pPr>
                      <a:r>
                        <a:rPr lang="en-GB" sz="1000">
                          <a:effectLst/>
                        </a:rPr>
                        <a:t>69</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6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Mission Critical delay sensitive signalling (e.g., MC-PTT signalling)</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1054683261"/>
                  </a:ext>
                </a:extLst>
              </a:tr>
              <a:tr h="329410">
                <a:tc>
                  <a:txBody>
                    <a:bodyPr/>
                    <a:lstStyle/>
                    <a:p>
                      <a:pPr algn="ctr">
                        <a:spcAft>
                          <a:spcPts val="0"/>
                        </a:spcAft>
                      </a:pPr>
                      <a:r>
                        <a:rPr lang="en-GB" sz="1000">
                          <a:effectLst/>
                        </a:rPr>
                        <a:t>70</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5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20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6</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a:effectLst/>
                        </a:rPr>
                        <a:t>Mission Critical Data (e.g. example services are the same as QCI 6/8/9)</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647106898"/>
                  </a:ext>
                </a:extLst>
              </a:tr>
              <a:tr h="165035">
                <a:tc>
                  <a:txBody>
                    <a:bodyPr/>
                    <a:lstStyle/>
                    <a:p>
                      <a:pPr algn="ctr">
                        <a:spcAft>
                          <a:spcPts val="0"/>
                        </a:spcAft>
                      </a:pPr>
                      <a:r>
                        <a:rPr lang="en-GB" sz="1000">
                          <a:effectLst/>
                        </a:rPr>
                        <a:t>79</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x-none" sz="1000">
                          <a:effectLst/>
                        </a:rPr>
                        <a:t>65</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50 ms</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x-none" sz="1000">
                          <a:effectLst/>
                        </a:rPr>
                        <a:t>10</a:t>
                      </a:r>
                      <a:r>
                        <a:rPr lang="x-none" sz="1100" baseline="30000">
                          <a:effectLst/>
                        </a:rPr>
                        <a:t>-2</a:t>
                      </a:r>
                      <a:endParaRPr lang="sv-SE" sz="100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x-none" sz="1000" dirty="0">
                          <a:effectLst/>
                        </a:rPr>
                        <a:t>V2X messages</a:t>
                      </a:r>
                      <a:endParaRPr lang="sv-S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2498965766"/>
                  </a:ext>
                </a:extLst>
              </a:tr>
              <a:tr h="123349">
                <a:tc>
                  <a:txBody>
                    <a:bodyPr/>
                    <a:lstStyle/>
                    <a:p>
                      <a:pPr algn="ctr">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vMerge="1">
                  <a:txBody>
                    <a:bodyPr/>
                    <a:lstStyle/>
                    <a:p>
                      <a:endParaRPr lang="en-US"/>
                    </a:p>
                  </a:txBody>
                  <a:tcPr/>
                </a:tc>
                <a:tc>
                  <a:txBody>
                    <a:bodyPr/>
                    <a:lstStyle/>
                    <a:p>
                      <a:pPr algn="ctr">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lgn="ctr">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a:txBody>
                    <a:bodyPr/>
                    <a:lstStyle/>
                    <a:p>
                      <a:pPr>
                        <a:spcAft>
                          <a:spcPts val="0"/>
                        </a:spcAft>
                      </a:pPr>
                      <a:r>
                        <a:rPr lang="en-GB" sz="70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extLst>
                  <a:ext uri="{0D108BD9-81ED-4DB2-BD59-A6C34878D82A}">
                    <a16:rowId xmlns:a16="http://schemas.microsoft.com/office/drawing/2014/main" val="1814679122"/>
                  </a:ext>
                </a:extLst>
              </a:tr>
              <a:tr h="123349">
                <a:tc gridSpan="6">
                  <a:txBody>
                    <a:bodyPr/>
                    <a:lstStyle/>
                    <a:p>
                      <a:pPr marL="540385" indent="-540385">
                        <a:spcAft>
                          <a:spcPts val="0"/>
                        </a:spcAft>
                      </a:pPr>
                      <a:r>
                        <a:rPr lang="en-GB" sz="700" dirty="0">
                          <a:effectLst/>
                        </a:rPr>
                        <a:t> </a:t>
                      </a:r>
                      <a:endParaRPr lang="sv-SE"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726" marR="55726"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13351508"/>
                  </a:ext>
                </a:extLst>
              </a:tr>
            </a:tbl>
          </a:graphicData>
        </a:graphic>
      </p:graphicFrame>
      <p:sp>
        <p:nvSpPr>
          <p:cNvPr id="6" name="TextBox 5"/>
          <p:cNvSpPr txBox="1"/>
          <p:nvPr/>
        </p:nvSpPr>
        <p:spPr>
          <a:xfrm>
            <a:off x="524934" y="6011056"/>
            <a:ext cx="2127249" cy="523220"/>
          </a:xfrm>
          <a:prstGeom prst="rect">
            <a:avLst/>
          </a:prstGeom>
          <a:noFill/>
        </p:spPr>
        <p:txBody>
          <a:bodyPr wrap="none" rtlCol="0">
            <a:spAutoFit/>
          </a:bodyPr>
          <a:lstStyle/>
          <a:p>
            <a:r>
              <a:rPr lang="en-US" sz="1400" dirty="0"/>
              <a:t>QFI: </a:t>
            </a:r>
            <a:r>
              <a:rPr lang="en-US" sz="1400" dirty="0" err="1"/>
              <a:t>QoS</a:t>
            </a:r>
            <a:r>
              <a:rPr lang="en-US" sz="1400" dirty="0"/>
              <a:t> Flow ID </a:t>
            </a:r>
            <a:br>
              <a:rPr lang="en-US" sz="1400" dirty="0"/>
            </a:br>
            <a:r>
              <a:rPr lang="en-US" sz="1400" dirty="0"/>
              <a:t>V2X: Vehicle to anything</a:t>
            </a:r>
          </a:p>
        </p:txBody>
      </p:sp>
    </p:spTree>
    <p:extLst>
      <p:ext uri="{BB962C8B-B14F-4D97-AF65-F5344CB8AC3E}">
        <p14:creationId xmlns:p14="http://schemas.microsoft.com/office/powerpoint/2010/main" val="298584550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5G terms and definitions (5/5)</a:t>
            </a:r>
            <a:br>
              <a:rPr lang="en-US" dirty="0"/>
            </a:br>
            <a:r>
              <a:rPr lang="en-US" sz="2400" dirty="0">
                <a:latin typeface="+mn-lt"/>
              </a:rPr>
              <a:t>3GPP TS 23.501</a:t>
            </a:r>
            <a:r>
              <a:rPr lang="en-US" sz="2400" dirty="0"/>
              <a:t> </a:t>
            </a:r>
          </a:p>
        </p:txBody>
      </p:sp>
      <p:sp>
        <p:nvSpPr>
          <p:cNvPr id="3" name="Text Placeholder 2"/>
          <p:cNvSpPr>
            <a:spLocks noGrp="1"/>
          </p:cNvSpPr>
          <p:nvPr>
            <p:ph type="body" idx="1"/>
          </p:nvPr>
        </p:nvSpPr>
        <p:spPr>
          <a:xfrm>
            <a:off x="524935" y="1696167"/>
            <a:ext cx="11135785" cy="4374849"/>
          </a:xfrm>
        </p:spPr>
        <p:txBody>
          <a:bodyPr/>
          <a:lstStyle/>
          <a:p>
            <a:r>
              <a:rPr lang="en-US" dirty="0"/>
              <a:t>Local Area Data Network</a:t>
            </a:r>
          </a:p>
          <a:p>
            <a:pPr lvl="1"/>
            <a:r>
              <a:rPr lang="en-US" dirty="0"/>
              <a:t>DN accessible by the UE in only specific locations that provides connectivity to a specific DNN </a:t>
            </a:r>
          </a:p>
          <a:p>
            <a:r>
              <a:rPr lang="en-US" dirty="0"/>
              <a:t>Service Continuity</a:t>
            </a:r>
          </a:p>
          <a:p>
            <a:pPr lvl="1"/>
            <a:r>
              <a:rPr lang="en-GB" dirty="0"/>
              <a:t>The uninterrupted user experience of a service, including the cases where the IP address and/or anchoring point changes</a:t>
            </a:r>
            <a:r>
              <a:rPr lang="en-US" dirty="0"/>
              <a:t>. </a:t>
            </a:r>
          </a:p>
          <a:p>
            <a:r>
              <a:rPr lang="en-US" dirty="0"/>
              <a:t>Session Continuity</a:t>
            </a:r>
          </a:p>
          <a:p>
            <a:pPr lvl="1"/>
            <a:r>
              <a:rPr lang="en-GB" dirty="0"/>
              <a:t>The continuity of a PDU session. For PDU session of IP type, "session continuity" implies that the IP address is preserved for the lifetime of the PDU session</a:t>
            </a:r>
            <a:r>
              <a:rPr lang="en-US" dirty="0"/>
              <a:t>.</a:t>
            </a:r>
          </a:p>
          <a:p>
            <a:r>
              <a:rPr lang="en-US" dirty="0"/>
              <a:t>PDU Session Anchor</a:t>
            </a:r>
          </a:p>
          <a:p>
            <a:pPr lvl="1"/>
            <a:r>
              <a:rPr lang="en-US" dirty="0"/>
              <a:t>An UP Function that provides the interface to a Data Network</a:t>
            </a:r>
          </a:p>
        </p:txBody>
      </p:sp>
    </p:spTree>
    <p:extLst>
      <p:ext uri="{BB962C8B-B14F-4D97-AF65-F5344CB8AC3E}">
        <p14:creationId xmlns:p14="http://schemas.microsoft.com/office/powerpoint/2010/main" val="16097165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4934" y="239714"/>
            <a:ext cx="10579181" cy="1085371"/>
          </a:xfrm>
        </p:spPr>
        <p:txBody>
          <a:bodyPr>
            <a:normAutofit fontScale="90000"/>
          </a:bodyPr>
          <a:lstStyle/>
          <a:p>
            <a:r>
              <a:rPr lang="en-US" sz="4900" dirty="0"/>
              <a:t>5G Core architecture Overview</a:t>
            </a:r>
            <a:br>
              <a:rPr lang="en-US" sz="4800" dirty="0"/>
            </a:br>
            <a:r>
              <a:rPr lang="en-US" sz="3100" dirty="0">
                <a:latin typeface="+mn-lt"/>
              </a:rPr>
              <a:t>Distributed User Plane Function in serial</a:t>
            </a:r>
          </a:p>
        </p:txBody>
      </p:sp>
      <p:cxnSp>
        <p:nvCxnSpPr>
          <p:cNvPr id="113" name="Straight Connector 112"/>
          <p:cNvCxnSpPr>
            <a:cxnSpLocks/>
            <a:stCxn id="176" idx="2"/>
            <a:endCxn id="118" idx="0"/>
          </p:cNvCxnSpPr>
          <p:nvPr/>
        </p:nvCxnSpPr>
        <p:spPr bwMode="auto">
          <a:xfrm>
            <a:off x="9127544" y="2368058"/>
            <a:ext cx="1316784" cy="2778516"/>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14" name="Line 30"/>
          <p:cNvSpPr>
            <a:spLocks noChangeShapeType="1"/>
          </p:cNvSpPr>
          <p:nvPr/>
        </p:nvSpPr>
        <p:spPr bwMode="auto">
          <a:xfrm>
            <a:off x="3498324" y="6036039"/>
            <a:ext cx="5915754" cy="2816"/>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sp>
        <p:nvSpPr>
          <p:cNvPr id="115" name="Freeform 33"/>
          <p:cNvSpPr>
            <a:spLocks noChangeAspect="1"/>
          </p:cNvSpPr>
          <p:nvPr/>
        </p:nvSpPr>
        <p:spPr bwMode="auto">
          <a:xfrm>
            <a:off x="9090987" y="4593558"/>
            <a:ext cx="2513217" cy="1892666"/>
          </a:xfrm>
          <a:custGeom>
            <a:avLst/>
            <a:gdLst>
              <a:gd name="T0" fmla="*/ 23212394 w 583"/>
              <a:gd name="T1" fmla="*/ 24752448 h 439"/>
              <a:gd name="T2" fmla="*/ 40875666 w 583"/>
              <a:gd name="T3" fmla="*/ 15336394 h 439"/>
              <a:gd name="T4" fmla="*/ 70776747 w 583"/>
              <a:gd name="T5" fmla="*/ 17683385 h 439"/>
              <a:gd name="T6" fmla="*/ 86095846 w 583"/>
              <a:gd name="T7" fmla="*/ 33018500 h 439"/>
              <a:gd name="T8" fmla="*/ 86781414 w 583"/>
              <a:gd name="T9" fmla="*/ 53028597 h 439"/>
              <a:gd name="T10" fmla="*/ 67551617 w 583"/>
              <a:gd name="T11" fmla="*/ 62444583 h 439"/>
              <a:gd name="T12" fmla="*/ 49401852 w 583"/>
              <a:gd name="T13" fmla="*/ 65680410 h 439"/>
              <a:gd name="T14" fmla="*/ 27913807 w 583"/>
              <a:gd name="T15" fmla="*/ 62818800 h 439"/>
              <a:gd name="T16" fmla="*/ 14432446 w 583"/>
              <a:gd name="T17" fmla="*/ 49348522 h 439"/>
              <a:gd name="T18" fmla="*/ 23212394 w 583"/>
              <a:gd name="T19" fmla="*/ 2475244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nvGrpSpPr>
          <p:cNvPr id="116" name="Group 115"/>
          <p:cNvGrpSpPr/>
          <p:nvPr/>
        </p:nvGrpSpPr>
        <p:grpSpPr>
          <a:xfrm>
            <a:off x="9310004" y="4710367"/>
            <a:ext cx="2250397" cy="1719278"/>
            <a:chOff x="9038846" y="4514377"/>
            <a:chExt cx="2250397" cy="1719278"/>
          </a:xfrm>
        </p:grpSpPr>
        <p:sp>
          <p:nvSpPr>
            <p:cNvPr id="117"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118" name="Text Box 35"/>
            <p:cNvSpPr txBox="1">
              <a:spLocks noChangeAspect="1" noChangeArrowheads="1"/>
            </p:cNvSpPr>
            <p:nvPr/>
          </p:nvSpPr>
          <p:spPr bwMode="auto">
            <a:xfrm>
              <a:off x="9513382" y="4950584"/>
              <a:ext cx="1319576" cy="928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2000" dirty="0">
                  <a:ea typeface="MS PGothic" pitchFamily="34" charset="-128"/>
                </a:rPr>
                <a:t>IP services </a:t>
              </a:r>
            </a:p>
            <a:p>
              <a:pPr algn="ctr" eaLnBrk="1" hangingPunct="1">
                <a:lnSpc>
                  <a:spcPct val="80000"/>
                </a:lnSpc>
                <a:spcBef>
                  <a:spcPct val="0"/>
                </a:spcBef>
                <a:buClrTx/>
                <a:buFontTx/>
                <a:buNone/>
              </a:pPr>
              <a:r>
                <a:rPr lang="en-US" altLang="en-US" sz="2000" dirty="0">
                  <a:ea typeface="MS PGothic" pitchFamily="34" charset="-128"/>
                </a:rPr>
                <a:t>network </a:t>
              </a:r>
            </a:p>
            <a:p>
              <a:pPr algn="ctr" eaLnBrk="1" hangingPunct="1">
                <a:lnSpc>
                  <a:spcPct val="80000"/>
                </a:lnSpc>
                <a:spcBef>
                  <a:spcPct val="0"/>
                </a:spcBef>
                <a:buClrTx/>
                <a:buFontTx/>
                <a:buNone/>
              </a:pPr>
              <a:r>
                <a:rPr lang="en-US" altLang="en-US" sz="1400" dirty="0">
                  <a:ea typeface="MS PGothic" pitchFamily="34" charset="-128"/>
                </a:rPr>
                <a:t>(e.g. operator </a:t>
              </a:r>
            </a:p>
            <a:p>
              <a:pPr algn="ctr" eaLnBrk="1" hangingPunct="1">
                <a:lnSpc>
                  <a:spcPct val="80000"/>
                </a:lnSpc>
                <a:spcBef>
                  <a:spcPct val="0"/>
                </a:spcBef>
                <a:buClrTx/>
                <a:buFontTx/>
                <a:buNone/>
              </a:pPr>
              <a:r>
                <a:rPr lang="en-US" altLang="en-US" sz="1400" dirty="0">
                  <a:ea typeface="MS PGothic" pitchFamily="34" charset="-128"/>
                </a:rPr>
                <a:t>or Internet)</a:t>
              </a:r>
            </a:p>
          </p:txBody>
        </p:sp>
      </p:grpSp>
      <p:cxnSp>
        <p:nvCxnSpPr>
          <p:cNvPr id="119" name="Elbow Connector 37"/>
          <p:cNvCxnSpPr>
            <a:cxnSpLocks/>
            <a:stCxn id="150" idx="0"/>
            <a:endCxn id="205" idx="1"/>
          </p:cNvCxnSpPr>
          <p:nvPr/>
        </p:nvCxnSpPr>
        <p:spPr bwMode="auto">
          <a:xfrm rot="5400000" flipH="1" flipV="1">
            <a:off x="3934304" y="2678360"/>
            <a:ext cx="1736994" cy="3347356"/>
          </a:xfrm>
          <a:prstGeom prst="bentConnector2">
            <a:avLst/>
          </a:prstGeom>
          <a:noFill/>
          <a:ln w="19050">
            <a:solidFill>
              <a:schemeClr val="accent4">
                <a:lumMod val="50000"/>
              </a:schemeClr>
            </a:solidFill>
            <a:prstDash val="dash"/>
            <a:round/>
            <a:headEnd/>
            <a:tailEnd/>
          </a:ln>
        </p:spPr>
      </p:cxnSp>
      <p:sp>
        <p:nvSpPr>
          <p:cNvPr id="120" name="Freeform 4"/>
          <p:cNvSpPr>
            <a:spLocks noChangeAspect="1" noEditPoints="1"/>
          </p:cNvSpPr>
          <p:nvPr/>
        </p:nvSpPr>
        <p:spPr bwMode="auto">
          <a:xfrm>
            <a:off x="803936" y="5194338"/>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cxnSp>
        <p:nvCxnSpPr>
          <p:cNvPr id="121" name="Elbow Connector 69"/>
          <p:cNvCxnSpPr>
            <a:cxnSpLocks/>
            <a:stCxn id="125" idx="0"/>
            <a:endCxn id="164" idx="2"/>
          </p:cNvCxnSpPr>
          <p:nvPr/>
        </p:nvCxnSpPr>
        <p:spPr bwMode="auto">
          <a:xfrm rot="5400000" flipH="1" flipV="1">
            <a:off x="5576786" y="2576082"/>
            <a:ext cx="1511961" cy="3778806"/>
          </a:xfrm>
          <a:prstGeom prst="bentConnector3">
            <a:avLst>
              <a:gd name="adj1" fmla="val 71167"/>
            </a:avLst>
          </a:prstGeom>
          <a:noFill/>
          <a:ln w="19050">
            <a:solidFill>
              <a:schemeClr val="accent4">
                <a:lumMod val="50000"/>
              </a:schemeClr>
            </a:solidFill>
            <a:prstDash val="dash"/>
            <a:round/>
            <a:headEnd/>
            <a:tailEnd/>
          </a:ln>
        </p:spPr>
      </p:cxnSp>
      <p:grpSp>
        <p:nvGrpSpPr>
          <p:cNvPr id="122" name="Group 121"/>
          <p:cNvGrpSpPr/>
          <p:nvPr/>
        </p:nvGrpSpPr>
        <p:grpSpPr>
          <a:xfrm>
            <a:off x="4063673" y="5207634"/>
            <a:ext cx="761477" cy="1027425"/>
            <a:chOff x="5979156" y="5040856"/>
            <a:chExt cx="1101600" cy="1587600"/>
          </a:xfrm>
        </p:grpSpPr>
        <p:cxnSp>
          <p:nvCxnSpPr>
            <p:cNvPr id="123" name="Straight Connector 122"/>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124"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25"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26"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UPF</a:t>
              </a:r>
            </a:p>
          </p:txBody>
        </p:sp>
        <p:sp>
          <p:nvSpPr>
            <p:cNvPr id="127"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28"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a:p>
          </p:txBody>
        </p:sp>
      </p:grpSp>
      <p:grpSp>
        <p:nvGrpSpPr>
          <p:cNvPr id="129" name="Group 128"/>
          <p:cNvGrpSpPr/>
          <p:nvPr/>
        </p:nvGrpSpPr>
        <p:grpSpPr>
          <a:xfrm>
            <a:off x="7856210" y="5191627"/>
            <a:ext cx="782303" cy="1025449"/>
            <a:chOff x="5979156" y="5040856"/>
            <a:chExt cx="1101600" cy="1587600"/>
          </a:xfrm>
        </p:grpSpPr>
        <p:cxnSp>
          <p:nvCxnSpPr>
            <p:cNvPr id="130" name="Straight Connector 129"/>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131"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32"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33"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UPF</a:t>
              </a:r>
            </a:p>
          </p:txBody>
        </p:sp>
        <p:sp>
          <p:nvSpPr>
            <p:cNvPr id="134"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900"/>
            </a:p>
          </p:txBody>
        </p:sp>
        <p:sp>
          <p:nvSpPr>
            <p:cNvPr id="135"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a:p>
          </p:txBody>
        </p:sp>
      </p:grpSp>
      <p:cxnSp>
        <p:nvCxnSpPr>
          <p:cNvPr id="136" name="Straight Connector 23"/>
          <p:cNvCxnSpPr>
            <a:stCxn id="124" idx="3"/>
          </p:cNvCxnSpPr>
          <p:nvPr/>
        </p:nvCxnSpPr>
        <p:spPr bwMode="auto">
          <a:xfrm flipV="1">
            <a:off x="4812564" y="5289523"/>
            <a:ext cx="544949" cy="572107"/>
          </a:xfrm>
          <a:prstGeom prst="bentConnector2">
            <a:avLst/>
          </a:prstGeom>
          <a:solidFill>
            <a:schemeClr val="accent1"/>
          </a:solidFill>
          <a:ln w="31750" cap="flat" cmpd="sng" algn="ctr">
            <a:solidFill>
              <a:schemeClr val="tx1"/>
            </a:solidFill>
            <a:prstDash val="solid"/>
            <a:round/>
            <a:headEnd type="none" w="med" len="med"/>
            <a:tailEnd type="none" w="med" len="med"/>
          </a:ln>
          <a:effectLst/>
        </p:spPr>
      </p:cxnSp>
      <p:grpSp>
        <p:nvGrpSpPr>
          <p:cNvPr id="137" name="Group 136"/>
          <p:cNvGrpSpPr/>
          <p:nvPr/>
        </p:nvGrpSpPr>
        <p:grpSpPr>
          <a:xfrm>
            <a:off x="4657573" y="4345072"/>
            <a:ext cx="1388613" cy="1031810"/>
            <a:chOff x="9038846" y="4514377"/>
            <a:chExt cx="2250397" cy="1719278"/>
          </a:xfrm>
        </p:grpSpPr>
        <p:sp>
          <p:nvSpPr>
            <p:cNvPr id="138"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139" name="Text Box 35"/>
            <p:cNvSpPr txBox="1">
              <a:spLocks noChangeAspect="1" noChangeArrowheads="1"/>
            </p:cNvSpPr>
            <p:nvPr/>
          </p:nvSpPr>
          <p:spPr bwMode="auto">
            <a:xfrm>
              <a:off x="9563981" y="4845829"/>
              <a:ext cx="1218387" cy="1138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dirty="0">
                  <a:ea typeface="MS PGothic" pitchFamily="34" charset="-128"/>
                </a:rPr>
                <a:t>Local </a:t>
              </a:r>
              <a:br>
                <a:rPr lang="en-US" altLang="en-US" sz="1600" dirty="0">
                  <a:ea typeface="MS PGothic" pitchFamily="34" charset="-128"/>
                </a:rPr>
              </a:br>
              <a:r>
                <a:rPr lang="en-US" altLang="en-US" sz="1600" dirty="0">
                  <a:ea typeface="MS PGothic" pitchFamily="34" charset="-128"/>
                </a:rPr>
                <a:t>Data </a:t>
              </a:r>
              <a:br>
                <a:rPr lang="en-US" altLang="en-US" sz="1600" dirty="0">
                  <a:ea typeface="MS PGothic" pitchFamily="34" charset="-128"/>
                </a:rPr>
              </a:br>
              <a:r>
                <a:rPr lang="en-US" altLang="en-US" sz="1600" dirty="0">
                  <a:ea typeface="MS PGothic" pitchFamily="34" charset="-128"/>
                </a:rPr>
                <a:t>Network</a:t>
              </a:r>
              <a:endParaRPr lang="en-US" altLang="en-US" sz="1100" dirty="0">
                <a:ea typeface="MS PGothic" pitchFamily="34" charset="-128"/>
              </a:endParaRPr>
            </a:p>
          </p:txBody>
        </p:sp>
      </p:grpSp>
      <p:sp>
        <p:nvSpPr>
          <p:cNvPr id="140" name="Text Box 35"/>
          <p:cNvSpPr txBox="1">
            <a:spLocks noChangeAspect="1" noChangeArrowheads="1"/>
          </p:cNvSpPr>
          <p:nvPr/>
        </p:nvSpPr>
        <p:spPr bwMode="auto">
          <a:xfrm>
            <a:off x="3369780" y="6251455"/>
            <a:ext cx="2173810" cy="2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dirty="0">
                <a:ea typeface="MS PGothic" pitchFamily="34" charset="-128"/>
              </a:rPr>
              <a:t>Remote Location</a:t>
            </a:r>
            <a:endParaRPr lang="en-US" altLang="en-US" sz="1100" dirty="0">
              <a:ea typeface="MS PGothic" pitchFamily="34" charset="-128"/>
            </a:endParaRPr>
          </a:p>
        </p:txBody>
      </p:sp>
      <p:sp>
        <p:nvSpPr>
          <p:cNvPr id="142" name="Text Box 144"/>
          <p:cNvSpPr txBox="1">
            <a:spLocks noChangeAspect="1" noChangeArrowheads="1"/>
          </p:cNvSpPr>
          <p:nvPr/>
        </p:nvSpPr>
        <p:spPr bwMode="auto">
          <a:xfrm>
            <a:off x="560967" y="588807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G UE</a:t>
            </a:r>
          </a:p>
        </p:txBody>
      </p:sp>
      <p:sp>
        <p:nvSpPr>
          <p:cNvPr id="143" name="Text Box 144"/>
          <p:cNvSpPr txBox="1">
            <a:spLocks noChangeAspect="1" noChangeArrowheads="1"/>
          </p:cNvSpPr>
          <p:nvPr/>
        </p:nvSpPr>
        <p:spPr bwMode="auto">
          <a:xfrm>
            <a:off x="2780900" y="329748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sp>
        <p:nvSpPr>
          <p:cNvPr id="144" name="Text Box 144"/>
          <p:cNvSpPr txBox="1">
            <a:spLocks noChangeAspect="1" noChangeArrowheads="1"/>
          </p:cNvSpPr>
          <p:nvPr/>
        </p:nvSpPr>
        <p:spPr bwMode="auto">
          <a:xfrm>
            <a:off x="5706040" y="584895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9</a:t>
            </a:r>
          </a:p>
        </p:txBody>
      </p:sp>
      <p:sp>
        <p:nvSpPr>
          <p:cNvPr id="145" name="Text Box 144"/>
          <p:cNvSpPr txBox="1">
            <a:spLocks noChangeAspect="1" noChangeArrowheads="1"/>
          </p:cNvSpPr>
          <p:nvPr/>
        </p:nvSpPr>
        <p:spPr bwMode="auto">
          <a:xfrm>
            <a:off x="8524737" y="586455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6</a:t>
            </a:r>
          </a:p>
        </p:txBody>
      </p:sp>
      <p:sp>
        <p:nvSpPr>
          <p:cNvPr id="146" name="Text Box 144"/>
          <p:cNvSpPr txBox="1">
            <a:spLocks noChangeAspect="1" noChangeArrowheads="1"/>
          </p:cNvSpPr>
          <p:nvPr/>
        </p:nvSpPr>
        <p:spPr bwMode="auto">
          <a:xfrm>
            <a:off x="5864548" y="394882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sp>
        <p:nvSpPr>
          <p:cNvPr id="147" name="Text Box 144"/>
          <p:cNvSpPr txBox="1">
            <a:spLocks noChangeAspect="1" noChangeArrowheads="1"/>
          </p:cNvSpPr>
          <p:nvPr/>
        </p:nvSpPr>
        <p:spPr bwMode="auto">
          <a:xfrm>
            <a:off x="4611621" y="566875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6</a:t>
            </a:r>
          </a:p>
        </p:txBody>
      </p:sp>
      <p:grpSp>
        <p:nvGrpSpPr>
          <p:cNvPr id="148" name="Group 147"/>
          <p:cNvGrpSpPr/>
          <p:nvPr/>
        </p:nvGrpSpPr>
        <p:grpSpPr>
          <a:xfrm>
            <a:off x="2749433" y="5206842"/>
            <a:ext cx="761477" cy="1017207"/>
            <a:chOff x="936376" y="2900085"/>
            <a:chExt cx="864096" cy="1240668"/>
          </a:xfrm>
        </p:grpSpPr>
        <p:sp>
          <p:nvSpPr>
            <p:cNvPr id="149"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50"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51"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ea typeface="Segoe UI" panose="020B0502040204020203" pitchFamily="34" charset="0"/>
                  <a:cs typeface="Arial" panose="020B0604020202020204" pitchFamily="34" charset="0"/>
                </a:rPr>
                <a:t> 5G RAN</a:t>
              </a:r>
            </a:p>
          </p:txBody>
        </p:sp>
        <p:sp>
          <p:nvSpPr>
            <p:cNvPr id="152"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53"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a:solidFill>
                  <a:srgbClr val="58585A"/>
                </a:solidFill>
              </a:endParaRPr>
            </a:p>
          </p:txBody>
        </p:sp>
      </p:grpSp>
      <p:sp>
        <p:nvSpPr>
          <p:cNvPr id="154" name="Text Box 144"/>
          <p:cNvSpPr txBox="1">
            <a:spLocks noChangeAspect="1" noChangeArrowheads="1"/>
          </p:cNvSpPr>
          <p:nvPr/>
        </p:nvSpPr>
        <p:spPr bwMode="auto">
          <a:xfrm>
            <a:off x="3274640" y="582357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sp>
        <p:nvSpPr>
          <p:cNvPr id="155" name="Freeform 88"/>
          <p:cNvSpPr>
            <a:spLocks/>
          </p:cNvSpPr>
          <p:nvPr/>
        </p:nvSpPr>
        <p:spPr bwMode="auto">
          <a:xfrm rot="2583056" flipH="1">
            <a:off x="1501879" y="5511723"/>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dirty="0">
              <a:cs typeface="+mn-cs"/>
            </a:endParaRPr>
          </a:p>
        </p:txBody>
      </p:sp>
      <p:sp>
        <p:nvSpPr>
          <p:cNvPr id="156" name="Text Box 35"/>
          <p:cNvSpPr txBox="1">
            <a:spLocks noChangeAspect="1" noChangeArrowheads="1"/>
          </p:cNvSpPr>
          <p:nvPr/>
        </p:nvSpPr>
        <p:spPr bwMode="auto">
          <a:xfrm>
            <a:off x="7158301" y="6251455"/>
            <a:ext cx="2173810" cy="28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dirty="0">
                <a:ea typeface="MS PGothic" pitchFamily="34" charset="-128"/>
              </a:rPr>
              <a:t>Central Location</a:t>
            </a:r>
            <a:endParaRPr lang="en-US" altLang="en-US" sz="1100" dirty="0">
              <a:ea typeface="MS PGothic" pitchFamily="34" charset="-128"/>
            </a:endParaRPr>
          </a:p>
        </p:txBody>
      </p:sp>
      <p:sp>
        <p:nvSpPr>
          <p:cNvPr id="157" name="Content Placeholder 1"/>
          <p:cNvSpPr txBox="1">
            <a:spLocks/>
          </p:cNvSpPr>
          <p:nvPr/>
        </p:nvSpPr>
        <p:spPr bwMode="auto">
          <a:xfrm>
            <a:off x="393327" y="1643705"/>
            <a:ext cx="4420642" cy="1077232"/>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2000" kern="0" dirty="0"/>
              <a:t>Leverage new CP / UP split</a:t>
            </a:r>
          </a:p>
          <a:p>
            <a:r>
              <a:rPr lang="en-US" sz="2000" kern="0" dirty="0"/>
              <a:t>Enables flexible deployment options</a:t>
            </a:r>
          </a:p>
          <a:p>
            <a:r>
              <a:rPr lang="en-US" sz="2000" kern="0" dirty="0"/>
              <a:t>Local service network support</a:t>
            </a:r>
          </a:p>
        </p:txBody>
      </p:sp>
      <p:cxnSp>
        <p:nvCxnSpPr>
          <p:cNvPr id="158" name="Elbow Connector 59"/>
          <p:cNvCxnSpPr>
            <a:cxnSpLocks/>
            <a:endCxn id="204" idx="2"/>
          </p:cNvCxnSpPr>
          <p:nvPr/>
        </p:nvCxnSpPr>
        <p:spPr bwMode="auto">
          <a:xfrm flipV="1">
            <a:off x="1057142" y="3077107"/>
            <a:ext cx="5392769" cy="2136278"/>
          </a:xfrm>
          <a:prstGeom prst="bentConnector3">
            <a:avLst>
              <a:gd name="adj1" fmla="val -20"/>
            </a:avLst>
          </a:prstGeom>
          <a:noFill/>
          <a:ln w="19050">
            <a:solidFill>
              <a:schemeClr val="accent4">
                <a:lumMod val="50000"/>
              </a:schemeClr>
            </a:solidFill>
            <a:prstDash val="dash"/>
            <a:round/>
            <a:headEnd/>
            <a:tailEnd/>
          </a:ln>
        </p:spPr>
      </p:cxnSp>
      <p:sp>
        <p:nvSpPr>
          <p:cNvPr id="159" name="Text Box 144"/>
          <p:cNvSpPr txBox="1">
            <a:spLocks noChangeAspect="1" noChangeArrowheads="1"/>
          </p:cNvSpPr>
          <p:nvPr/>
        </p:nvSpPr>
        <p:spPr bwMode="auto">
          <a:xfrm>
            <a:off x="8142338" y="247520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7</a:t>
            </a:r>
          </a:p>
        </p:txBody>
      </p:sp>
      <p:sp>
        <p:nvSpPr>
          <p:cNvPr id="160" name="Text Box 144"/>
          <p:cNvSpPr txBox="1">
            <a:spLocks noChangeAspect="1" noChangeArrowheads="1"/>
          </p:cNvSpPr>
          <p:nvPr/>
        </p:nvSpPr>
        <p:spPr bwMode="auto">
          <a:xfrm>
            <a:off x="9023597" y="247275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5</a:t>
            </a:r>
          </a:p>
        </p:txBody>
      </p:sp>
      <p:sp>
        <p:nvSpPr>
          <p:cNvPr id="161" name="Text Box 144"/>
          <p:cNvSpPr txBox="1">
            <a:spLocks noChangeAspect="1" noChangeArrowheads="1"/>
          </p:cNvSpPr>
          <p:nvPr/>
        </p:nvSpPr>
        <p:spPr bwMode="auto">
          <a:xfrm>
            <a:off x="7971581" y="436135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grpSp>
        <p:nvGrpSpPr>
          <p:cNvPr id="162" name="Group 161"/>
          <p:cNvGrpSpPr/>
          <p:nvPr/>
        </p:nvGrpSpPr>
        <p:grpSpPr>
          <a:xfrm>
            <a:off x="7819687" y="2719425"/>
            <a:ext cx="873768" cy="1026000"/>
            <a:chOff x="4338871" y="2725624"/>
            <a:chExt cx="1199053" cy="1626215"/>
          </a:xfrm>
        </p:grpSpPr>
        <p:sp>
          <p:nvSpPr>
            <p:cNvPr id="16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SMF</a:t>
              </a:r>
            </a:p>
          </p:txBody>
        </p:sp>
        <p:sp>
          <p:nvSpPr>
            <p:cNvPr id="16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grpSp>
        <p:nvGrpSpPr>
          <p:cNvPr id="169" name="Group 168"/>
          <p:cNvGrpSpPr/>
          <p:nvPr/>
        </p:nvGrpSpPr>
        <p:grpSpPr>
          <a:xfrm>
            <a:off x="8690452" y="1273658"/>
            <a:ext cx="831600" cy="1094400"/>
            <a:chOff x="2530204" y="1718022"/>
            <a:chExt cx="1186277" cy="1647323"/>
          </a:xfrm>
        </p:grpSpPr>
        <p:sp>
          <p:nvSpPr>
            <p:cNvPr id="17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7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7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73" name="Group 274"/>
            <p:cNvGrpSpPr>
              <a:grpSpLocks noChangeAspect="1"/>
            </p:cNvGrpSpPr>
            <p:nvPr/>
          </p:nvGrpSpPr>
          <p:grpSpPr bwMode="auto">
            <a:xfrm>
              <a:off x="2590950" y="1853233"/>
              <a:ext cx="1125531" cy="1512112"/>
              <a:chOff x="3147" y="3024"/>
              <a:chExt cx="257" cy="366"/>
            </a:xfrm>
          </p:grpSpPr>
          <p:grpSp>
            <p:nvGrpSpPr>
              <p:cNvPr id="174" name="Group 7"/>
              <p:cNvGrpSpPr>
                <a:grpSpLocks noChangeAspect="1"/>
              </p:cNvGrpSpPr>
              <p:nvPr/>
            </p:nvGrpSpPr>
            <p:grpSpPr bwMode="auto">
              <a:xfrm>
                <a:off x="3147" y="3024"/>
                <a:ext cx="257" cy="366"/>
                <a:chOff x="2283" y="1698"/>
                <a:chExt cx="983" cy="1402"/>
              </a:xfrm>
            </p:grpSpPr>
            <p:pic>
              <p:nvPicPr>
                <p:cNvPr id="17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7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600" dirty="0">
                    <a:ea typeface="MS PGothic" charset="-128"/>
                  </a:rPr>
                  <a:t>PCF</a:t>
                </a:r>
              </a:p>
            </p:txBody>
          </p:sp>
        </p:grpSp>
      </p:grpSp>
      <p:sp>
        <p:nvSpPr>
          <p:cNvPr id="178" name="Text Box 144"/>
          <p:cNvSpPr txBox="1">
            <a:spLocks noChangeAspect="1" noChangeArrowheads="1"/>
          </p:cNvSpPr>
          <p:nvPr/>
        </p:nvSpPr>
        <p:spPr bwMode="auto">
          <a:xfrm>
            <a:off x="803936" y="2894941"/>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cxnSp>
        <p:nvCxnSpPr>
          <p:cNvPr id="179" name="Straight Connector 178"/>
          <p:cNvCxnSpPr>
            <a:cxnSpLocks/>
            <a:stCxn id="166" idx="2"/>
            <a:endCxn id="132" idx="0"/>
          </p:cNvCxnSpPr>
          <p:nvPr/>
        </p:nvCxnSpPr>
        <p:spPr bwMode="auto">
          <a:xfrm>
            <a:off x="8218851" y="3697948"/>
            <a:ext cx="27434" cy="150748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80" name="Straight Connector 179"/>
          <p:cNvCxnSpPr>
            <a:cxnSpLocks/>
            <a:stCxn id="166" idx="1"/>
            <a:endCxn id="205" idx="3"/>
          </p:cNvCxnSpPr>
          <p:nvPr/>
        </p:nvCxnSpPr>
        <p:spPr bwMode="auto">
          <a:xfrm flipH="1">
            <a:off x="7200474" y="3481248"/>
            <a:ext cx="656807" cy="2293"/>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81" name="Text Box 144"/>
          <p:cNvSpPr txBox="1">
            <a:spLocks noChangeAspect="1" noChangeArrowheads="1"/>
          </p:cNvSpPr>
          <p:nvPr/>
        </p:nvSpPr>
        <p:spPr bwMode="auto">
          <a:xfrm>
            <a:off x="7055237" y="330956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1</a:t>
            </a:r>
          </a:p>
        </p:txBody>
      </p:sp>
      <p:grpSp>
        <p:nvGrpSpPr>
          <p:cNvPr id="182" name="Group 181"/>
          <p:cNvGrpSpPr/>
          <p:nvPr/>
        </p:nvGrpSpPr>
        <p:grpSpPr>
          <a:xfrm>
            <a:off x="7124925" y="1273658"/>
            <a:ext cx="831600" cy="1094400"/>
            <a:chOff x="2530204" y="1718022"/>
            <a:chExt cx="1186277" cy="1647323"/>
          </a:xfrm>
        </p:grpSpPr>
        <p:sp>
          <p:nvSpPr>
            <p:cNvPr id="18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8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8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86" name="Group 274"/>
            <p:cNvGrpSpPr>
              <a:grpSpLocks noChangeAspect="1"/>
            </p:cNvGrpSpPr>
            <p:nvPr/>
          </p:nvGrpSpPr>
          <p:grpSpPr bwMode="auto">
            <a:xfrm>
              <a:off x="2590950" y="1853233"/>
              <a:ext cx="1125531" cy="1512112"/>
              <a:chOff x="3147" y="3024"/>
              <a:chExt cx="257" cy="366"/>
            </a:xfrm>
          </p:grpSpPr>
          <p:grpSp>
            <p:nvGrpSpPr>
              <p:cNvPr id="187" name="Group 7"/>
              <p:cNvGrpSpPr>
                <a:grpSpLocks noChangeAspect="1"/>
              </p:cNvGrpSpPr>
              <p:nvPr/>
            </p:nvGrpSpPr>
            <p:grpSpPr bwMode="auto">
              <a:xfrm>
                <a:off x="3147" y="3024"/>
                <a:ext cx="257" cy="366"/>
                <a:chOff x="2283" y="1698"/>
                <a:chExt cx="983" cy="1402"/>
              </a:xfrm>
            </p:grpSpPr>
            <p:pic>
              <p:nvPicPr>
                <p:cNvPr id="189"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8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600" dirty="0">
                    <a:ea typeface="MS PGothic" pitchFamily="34" charset="-128"/>
                  </a:rPr>
                  <a:t>UDM</a:t>
                </a:r>
                <a:endParaRPr lang="en-US" altLang="en-US" sz="1600" dirty="0">
                  <a:ea typeface="MS PGothic" charset="-128"/>
                </a:endParaRPr>
              </a:p>
            </p:txBody>
          </p:sp>
        </p:grpSp>
      </p:grpSp>
      <p:cxnSp>
        <p:nvCxnSpPr>
          <p:cNvPr id="191" name="Straight Connector 190"/>
          <p:cNvCxnSpPr>
            <a:cxnSpLocks/>
            <a:stCxn id="189" idx="2"/>
            <a:endCxn id="204" idx="7"/>
          </p:cNvCxnSpPr>
          <p:nvPr/>
        </p:nvCxnSpPr>
        <p:spPr bwMode="auto">
          <a:xfrm flipH="1">
            <a:off x="7115124" y="2368058"/>
            <a:ext cx="446893" cy="467286"/>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92" name="Straight Connector 191"/>
          <p:cNvCxnSpPr>
            <a:cxnSpLocks/>
            <a:endCxn id="204" idx="1"/>
          </p:cNvCxnSpPr>
          <p:nvPr/>
        </p:nvCxnSpPr>
        <p:spPr bwMode="auto">
          <a:xfrm>
            <a:off x="6261012" y="2365616"/>
            <a:ext cx="303032" cy="46972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93" name="Straight Connector 192"/>
          <p:cNvCxnSpPr>
            <a:cxnSpLocks/>
            <a:endCxn id="188" idx="1"/>
          </p:cNvCxnSpPr>
          <p:nvPr/>
        </p:nvCxnSpPr>
        <p:spPr bwMode="auto">
          <a:xfrm>
            <a:off x="6603328" y="2090452"/>
            <a:ext cx="607162" cy="38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94" name="Text Box 144"/>
          <p:cNvSpPr txBox="1">
            <a:spLocks noChangeAspect="1" noChangeArrowheads="1"/>
          </p:cNvSpPr>
          <p:nvPr/>
        </p:nvSpPr>
        <p:spPr bwMode="auto">
          <a:xfrm>
            <a:off x="6419914" y="189306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3</a:t>
            </a:r>
          </a:p>
        </p:txBody>
      </p:sp>
      <p:sp>
        <p:nvSpPr>
          <p:cNvPr id="195" name="Text Box 144"/>
          <p:cNvSpPr txBox="1">
            <a:spLocks noChangeAspect="1" noChangeArrowheads="1"/>
          </p:cNvSpPr>
          <p:nvPr/>
        </p:nvSpPr>
        <p:spPr bwMode="auto">
          <a:xfrm>
            <a:off x="6625213" y="248425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8</a:t>
            </a:r>
          </a:p>
        </p:txBody>
      </p:sp>
      <p:sp>
        <p:nvSpPr>
          <p:cNvPr id="196" name="Text Box 144"/>
          <p:cNvSpPr txBox="1">
            <a:spLocks noChangeAspect="1" noChangeArrowheads="1"/>
          </p:cNvSpPr>
          <p:nvPr/>
        </p:nvSpPr>
        <p:spPr bwMode="auto">
          <a:xfrm>
            <a:off x="5655457" y="247718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2</a:t>
            </a:r>
          </a:p>
        </p:txBody>
      </p:sp>
      <p:sp>
        <p:nvSpPr>
          <p:cNvPr id="197" name="Text Box 144"/>
          <p:cNvSpPr txBox="1">
            <a:spLocks noChangeAspect="1" noChangeArrowheads="1"/>
          </p:cNvSpPr>
          <p:nvPr/>
        </p:nvSpPr>
        <p:spPr bwMode="auto">
          <a:xfrm>
            <a:off x="7532387" y="246959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0</a:t>
            </a:r>
          </a:p>
        </p:txBody>
      </p:sp>
      <p:cxnSp>
        <p:nvCxnSpPr>
          <p:cNvPr id="198" name="Straight Connector 197"/>
          <p:cNvCxnSpPr>
            <a:cxnSpLocks/>
            <a:stCxn id="165" idx="1"/>
            <a:endCxn id="189" idx="2"/>
          </p:cNvCxnSpPr>
          <p:nvPr/>
        </p:nvCxnSpPr>
        <p:spPr bwMode="auto">
          <a:xfrm flipH="1" flipV="1">
            <a:off x="7562017" y="2368058"/>
            <a:ext cx="382726" cy="46499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99" name="Straight Connector 198"/>
          <p:cNvCxnSpPr>
            <a:cxnSpLocks/>
            <a:stCxn id="176" idx="2"/>
            <a:endCxn id="165" idx="7"/>
          </p:cNvCxnSpPr>
          <p:nvPr/>
        </p:nvCxnSpPr>
        <p:spPr bwMode="auto">
          <a:xfrm flipH="1">
            <a:off x="8495174" y="2368058"/>
            <a:ext cx="632370" cy="46499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00" name="Straight Connector 95"/>
          <p:cNvCxnSpPr>
            <a:cxnSpLocks/>
            <a:stCxn id="176" idx="2"/>
            <a:endCxn id="205" idx="2"/>
          </p:cNvCxnSpPr>
          <p:nvPr/>
        </p:nvCxnSpPr>
        <p:spPr bwMode="auto">
          <a:xfrm rot="5400000">
            <a:off x="7316920" y="1889616"/>
            <a:ext cx="1332183" cy="2289067"/>
          </a:xfrm>
          <a:prstGeom prst="bentConnector3">
            <a:avLst>
              <a:gd name="adj1" fmla="val 117160"/>
            </a:avLst>
          </a:prstGeom>
          <a:solidFill>
            <a:schemeClr val="accent1"/>
          </a:solidFill>
          <a:ln w="19050" cap="flat" cmpd="sng" algn="ctr">
            <a:solidFill>
              <a:schemeClr val="tx1"/>
            </a:solidFill>
            <a:prstDash val="dash"/>
            <a:round/>
            <a:headEnd type="none" w="med" len="med"/>
            <a:tailEnd type="none" w="med" len="med"/>
          </a:ln>
          <a:effectLst/>
        </p:spPr>
      </p:cxnSp>
      <p:grpSp>
        <p:nvGrpSpPr>
          <p:cNvPr id="201" name="Group 200"/>
          <p:cNvGrpSpPr/>
          <p:nvPr/>
        </p:nvGrpSpPr>
        <p:grpSpPr>
          <a:xfrm>
            <a:off x="6438840" y="2721718"/>
            <a:ext cx="874800" cy="1026000"/>
            <a:chOff x="4338871" y="2725624"/>
            <a:chExt cx="1199053" cy="1626215"/>
          </a:xfrm>
        </p:grpSpPr>
        <p:sp>
          <p:nvSpPr>
            <p:cNvPr id="20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AMF</a:t>
              </a:r>
            </a:p>
          </p:txBody>
        </p:sp>
        <p:sp>
          <p:nvSpPr>
            <p:cNvPr id="20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
        <p:nvSpPr>
          <p:cNvPr id="208" name="Text Box 144"/>
          <p:cNvSpPr txBox="1">
            <a:spLocks noChangeAspect="1" noChangeArrowheads="1"/>
          </p:cNvSpPr>
          <p:nvPr/>
        </p:nvSpPr>
        <p:spPr bwMode="auto">
          <a:xfrm>
            <a:off x="7058512" y="376354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5</a:t>
            </a:r>
          </a:p>
        </p:txBody>
      </p:sp>
      <p:grpSp>
        <p:nvGrpSpPr>
          <p:cNvPr id="209" name="Group 208"/>
          <p:cNvGrpSpPr/>
          <p:nvPr/>
        </p:nvGrpSpPr>
        <p:grpSpPr>
          <a:xfrm>
            <a:off x="5830570" y="1353323"/>
            <a:ext cx="886263" cy="1028365"/>
            <a:chOff x="4338871" y="2725624"/>
            <a:chExt cx="1199053" cy="1626215"/>
          </a:xfrm>
        </p:grpSpPr>
        <p:sp>
          <p:nvSpPr>
            <p:cNvPr id="210"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1"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2"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3"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USF</a:t>
              </a:r>
            </a:p>
          </p:txBody>
        </p:sp>
        <p:sp>
          <p:nvSpPr>
            <p:cNvPr id="214"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5"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
        <p:nvSpPr>
          <p:cNvPr id="2" name="Oval 1"/>
          <p:cNvSpPr/>
          <p:nvPr/>
        </p:nvSpPr>
        <p:spPr bwMode="auto">
          <a:xfrm>
            <a:off x="3773250" y="3948826"/>
            <a:ext cx="2871552" cy="1800882"/>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40828473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and service continuity</a:t>
            </a:r>
          </a:p>
        </p:txBody>
      </p:sp>
      <p:sp>
        <p:nvSpPr>
          <p:cNvPr id="4" name="Content Placeholder 1"/>
          <p:cNvSpPr txBox="1">
            <a:spLocks/>
          </p:cNvSpPr>
          <p:nvPr/>
        </p:nvSpPr>
        <p:spPr bwMode="auto">
          <a:xfrm>
            <a:off x="529167"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GB" sz="2800" kern="0"/>
              <a:t>Session and Service Continuity (SSC) mode</a:t>
            </a:r>
          </a:p>
          <a:p>
            <a:pPr lvl="1"/>
            <a:r>
              <a:rPr lang="en-US" sz="2400" kern="0"/>
              <a:t>SSC mode is associated with the lifetime of a PDU session</a:t>
            </a:r>
          </a:p>
          <a:p>
            <a:pPr lvl="2"/>
            <a:r>
              <a:rPr lang="en-US" sz="2400" kern="0"/>
              <a:t>Meet the various continuity requirements</a:t>
            </a:r>
          </a:p>
          <a:p>
            <a:pPr lvl="1"/>
            <a:r>
              <a:rPr lang="en-US" sz="2400" kern="0"/>
              <a:t>Three types of SSC mode</a:t>
            </a:r>
          </a:p>
          <a:p>
            <a:pPr lvl="2"/>
            <a:r>
              <a:rPr lang="en-US" sz="2400" kern="0"/>
              <a:t>SSC mode1</a:t>
            </a:r>
          </a:p>
          <a:p>
            <a:pPr lvl="2"/>
            <a:r>
              <a:rPr lang="en-US" sz="2400" kern="0"/>
              <a:t>SSC mode2</a:t>
            </a:r>
          </a:p>
          <a:p>
            <a:pPr lvl="2"/>
            <a:r>
              <a:rPr lang="en-US" sz="2400" kern="0"/>
              <a:t>SSC mode3</a:t>
            </a:r>
            <a:endParaRPr lang="en-US" sz="2400" kern="0" dirty="0"/>
          </a:p>
        </p:txBody>
      </p:sp>
    </p:spTree>
    <p:extLst>
      <p:ext uri="{BB962C8B-B14F-4D97-AF65-F5344CB8AC3E}">
        <p14:creationId xmlns:p14="http://schemas.microsoft.com/office/powerpoint/2010/main" val="368508655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and Service Continuity (SSC) mode 1</a:t>
            </a:r>
          </a:p>
        </p:txBody>
      </p:sp>
      <p:sp>
        <p:nvSpPr>
          <p:cNvPr id="3" name="Text Placeholder 2"/>
          <p:cNvSpPr>
            <a:spLocks noGrp="1"/>
          </p:cNvSpPr>
          <p:nvPr>
            <p:ph type="body" idx="1"/>
          </p:nvPr>
        </p:nvSpPr>
        <p:spPr>
          <a:xfrm>
            <a:off x="356890" y="1627721"/>
            <a:ext cx="11135785" cy="4640558"/>
          </a:xfrm>
        </p:spPr>
        <p:txBody>
          <a:bodyPr/>
          <a:lstStyle/>
          <a:p>
            <a:r>
              <a:rPr lang="en-US" dirty="0"/>
              <a:t>SSC Mode 1</a:t>
            </a:r>
          </a:p>
          <a:p>
            <a:pPr lvl="1"/>
            <a:r>
              <a:rPr lang="en-US" dirty="0"/>
              <a:t>The UPF acting as PDU session anchor at PDU session establishment is maintained regardless of access technology </a:t>
            </a:r>
          </a:p>
          <a:p>
            <a:pPr lvl="1"/>
            <a:r>
              <a:rPr lang="en-GB" dirty="0"/>
              <a:t>IP continuity is supported regardless of UE mobility events</a:t>
            </a:r>
          </a:p>
        </p:txBody>
      </p:sp>
      <p:sp>
        <p:nvSpPr>
          <p:cNvPr id="4" name="Rectangle 17"/>
          <p:cNvSpPr>
            <a:spLocks noChangeArrowheads="1"/>
          </p:cNvSpPr>
          <p:nvPr/>
        </p:nvSpPr>
        <p:spPr bwMode="auto">
          <a:xfrm>
            <a:off x="5133322" y="4672947"/>
            <a:ext cx="1656987" cy="671512"/>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b="1" dirty="0"/>
              <a:t>UPF</a:t>
            </a:r>
          </a:p>
        </p:txBody>
      </p:sp>
      <p:sp>
        <p:nvSpPr>
          <p:cNvPr id="5" name="Freeform 9"/>
          <p:cNvSpPr>
            <a:spLocks noEditPoints="1"/>
          </p:cNvSpPr>
          <p:nvPr/>
        </p:nvSpPr>
        <p:spPr bwMode="auto">
          <a:xfrm>
            <a:off x="1586270" y="5044872"/>
            <a:ext cx="4765792" cy="583131"/>
          </a:xfrm>
          <a:custGeom>
            <a:avLst/>
            <a:gdLst>
              <a:gd name="T0" fmla="*/ 72 w 6377"/>
              <a:gd name="T1" fmla="*/ 822 h 859"/>
              <a:gd name="T2" fmla="*/ 217 w 6377"/>
              <a:gd name="T3" fmla="*/ 855 h 859"/>
              <a:gd name="T4" fmla="*/ 289 w 6377"/>
              <a:gd name="T5" fmla="*/ 853 h 859"/>
              <a:gd name="T6" fmla="*/ 431 w 6377"/>
              <a:gd name="T7" fmla="*/ 813 h 859"/>
              <a:gd name="T8" fmla="*/ 611 w 6377"/>
              <a:gd name="T9" fmla="*/ 807 h 859"/>
              <a:gd name="T10" fmla="*/ 756 w 6377"/>
              <a:gd name="T11" fmla="*/ 837 h 859"/>
              <a:gd name="T12" fmla="*/ 790 w 6377"/>
              <a:gd name="T13" fmla="*/ 799 h 859"/>
              <a:gd name="T14" fmla="*/ 971 w 6377"/>
              <a:gd name="T15" fmla="*/ 826 h 859"/>
              <a:gd name="T16" fmla="*/ 1007 w 6377"/>
              <a:gd name="T17" fmla="*/ 824 h 859"/>
              <a:gd name="T18" fmla="*/ 1187 w 6377"/>
              <a:gd name="T19" fmla="*/ 813 h 859"/>
              <a:gd name="T20" fmla="*/ 1220 w 6377"/>
              <a:gd name="T21" fmla="*/ 775 h 859"/>
              <a:gd name="T22" fmla="*/ 1402 w 6377"/>
              <a:gd name="T23" fmla="*/ 797 h 859"/>
              <a:gd name="T24" fmla="*/ 1438 w 6377"/>
              <a:gd name="T25" fmla="*/ 794 h 859"/>
              <a:gd name="T26" fmla="*/ 1578 w 6377"/>
              <a:gd name="T27" fmla="*/ 745 h 859"/>
              <a:gd name="T28" fmla="*/ 1761 w 6377"/>
              <a:gd name="T29" fmla="*/ 762 h 859"/>
              <a:gd name="T30" fmla="*/ 1796 w 6377"/>
              <a:gd name="T31" fmla="*/ 758 h 859"/>
              <a:gd name="T32" fmla="*/ 1934 w 6377"/>
              <a:gd name="T33" fmla="*/ 704 h 859"/>
              <a:gd name="T34" fmla="*/ 2117 w 6377"/>
              <a:gd name="T35" fmla="*/ 712 h 859"/>
              <a:gd name="T36" fmla="*/ 2153 w 6377"/>
              <a:gd name="T37" fmla="*/ 705 h 859"/>
              <a:gd name="T38" fmla="*/ 2306 w 6377"/>
              <a:gd name="T39" fmla="*/ 672 h 859"/>
              <a:gd name="T40" fmla="*/ 2397 w 6377"/>
              <a:gd name="T41" fmla="*/ 642 h 859"/>
              <a:gd name="T42" fmla="*/ 2450 w 6377"/>
              <a:gd name="T43" fmla="*/ 579 h 859"/>
              <a:gd name="T44" fmla="*/ 2480 w 6377"/>
              <a:gd name="T45" fmla="*/ 562 h 859"/>
              <a:gd name="T46" fmla="*/ 2617 w 6377"/>
              <a:gd name="T47" fmla="*/ 506 h 859"/>
              <a:gd name="T48" fmla="*/ 2665 w 6377"/>
              <a:gd name="T49" fmla="*/ 421 h 859"/>
              <a:gd name="T50" fmla="*/ 2709 w 6377"/>
              <a:gd name="T51" fmla="*/ 389 h 859"/>
              <a:gd name="T52" fmla="*/ 2789 w 6377"/>
              <a:gd name="T53" fmla="*/ 383 h 859"/>
              <a:gd name="T54" fmla="*/ 2852 w 6377"/>
              <a:gd name="T55" fmla="*/ 353 h 859"/>
              <a:gd name="T56" fmla="*/ 2918 w 6377"/>
              <a:gd name="T57" fmla="*/ 328 h 859"/>
              <a:gd name="T58" fmla="*/ 2986 w 6377"/>
              <a:gd name="T59" fmla="*/ 308 h 859"/>
              <a:gd name="T60" fmla="*/ 3147 w 6377"/>
              <a:gd name="T61" fmla="*/ 271 h 859"/>
              <a:gd name="T62" fmla="*/ 3225 w 6377"/>
              <a:gd name="T63" fmla="*/ 222 h 859"/>
              <a:gd name="T64" fmla="*/ 3336 w 6377"/>
              <a:gd name="T65" fmla="*/ 241 h 859"/>
              <a:gd name="T66" fmla="*/ 3438 w 6377"/>
              <a:gd name="T67" fmla="*/ 190 h 859"/>
              <a:gd name="T68" fmla="*/ 3479 w 6377"/>
              <a:gd name="T69" fmla="*/ 220 h 859"/>
              <a:gd name="T70" fmla="*/ 3651 w 6377"/>
              <a:gd name="T71" fmla="*/ 159 h 859"/>
              <a:gd name="T72" fmla="*/ 3763 w 6377"/>
              <a:gd name="T73" fmla="*/ 180 h 859"/>
              <a:gd name="T74" fmla="*/ 3865 w 6377"/>
              <a:gd name="T75" fmla="*/ 131 h 859"/>
              <a:gd name="T76" fmla="*/ 4013 w 6377"/>
              <a:gd name="T77" fmla="*/ 149 h 859"/>
              <a:gd name="T78" fmla="*/ 4120 w 6377"/>
              <a:gd name="T79" fmla="*/ 137 h 859"/>
              <a:gd name="T80" fmla="*/ 4226 w 6377"/>
              <a:gd name="T81" fmla="*/ 126 h 859"/>
              <a:gd name="T82" fmla="*/ 4262 w 6377"/>
              <a:gd name="T83" fmla="*/ 122 h 859"/>
              <a:gd name="T84" fmla="*/ 4402 w 6377"/>
              <a:gd name="T85" fmla="*/ 72 h 859"/>
              <a:gd name="T86" fmla="*/ 4548 w 6377"/>
              <a:gd name="T87" fmla="*/ 96 h 859"/>
              <a:gd name="T88" fmla="*/ 4620 w 6377"/>
              <a:gd name="T89" fmla="*/ 90 h 859"/>
              <a:gd name="T90" fmla="*/ 4799 w 6377"/>
              <a:gd name="T91" fmla="*/ 77 h 859"/>
              <a:gd name="T92" fmla="*/ 4906 w 6377"/>
              <a:gd name="T93" fmla="*/ 70 h 859"/>
              <a:gd name="T94" fmla="*/ 5012 w 6377"/>
              <a:gd name="T95" fmla="*/ 28 h 859"/>
              <a:gd name="T96" fmla="*/ 5128 w 6377"/>
              <a:gd name="T97" fmla="*/ 58 h 859"/>
              <a:gd name="T98" fmla="*/ 5192 w 6377"/>
              <a:gd name="T99" fmla="*/ 19 h 859"/>
              <a:gd name="T100" fmla="*/ 5373 w 6377"/>
              <a:gd name="T101" fmla="*/ 47 h 859"/>
              <a:gd name="T102" fmla="*/ 5409 w 6377"/>
              <a:gd name="T103" fmla="*/ 46 h 859"/>
              <a:gd name="T104" fmla="*/ 5551 w 6377"/>
              <a:gd name="T105" fmla="*/ 6 h 859"/>
              <a:gd name="T106" fmla="*/ 5731 w 6377"/>
              <a:gd name="T107" fmla="*/ 38 h 859"/>
              <a:gd name="T108" fmla="*/ 5767 w 6377"/>
              <a:gd name="T109" fmla="*/ 38 h 859"/>
              <a:gd name="T110" fmla="*/ 5947 w 6377"/>
              <a:gd name="T111" fmla="*/ 36 h 859"/>
              <a:gd name="T112" fmla="*/ 6055 w 6377"/>
              <a:gd name="T113" fmla="*/ 36 h 859"/>
              <a:gd name="T114" fmla="*/ 6127 w 6377"/>
              <a:gd name="T115" fmla="*/ 36 h 859"/>
              <a:gd name="T116" fmla="*/ 6271 w 6377"/>
              <a:gd name="T117" fmla="*/ 1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77" h="859">
                <a:moveTo>
                  <a:pt x="1" y="859"/>
                </a:moveTo>
                <a:lnTo>
                  <a:pt x="37" y="859"/>
                </a:lnTo>
                <a:lnTo>
                  <a:pt x="36" y="823"/>
                </a:lnTo>
                <a:lnTo>
                  <a:pt x="0" y="823"/>
                </a:lnTo>
                <a:lnTo>
                  <a:pt x="1" y="859"/>
                </a:lnTo>
                <a:close/>
                <a:moveTo>
                  <a:pt x="73" y="858"/>
                </a:moveTo>
                <a:lnTo>
                  <a:pt x="109" y="857"/>
                </a:lnTo>
                <a:lnTo>
                  <a:pt x="108" y="821"/>
                </a:lnTo>
                <a:lnTo>
                  <a:pt x="72" y="822"/>
                </a:lnTo>
                <a:lnTo>
                  <a:pt x="73" y="858"/>
                </a:lnTo>
                <a:close/>
                <a:moveTo>
                  <a:pt x="145" y="857"/>
                </a:moveTo>
                <a:lnTo>
                  <a:pt x="167" y="856"/>
                </a:lnTo>
                <a:lnTo>
                  <a:pt x="181" y="856"/>
                </a:lnTo>
                <a:lnTo>
                  <a:pt x="180" y="820"/>
                </a:lnTo>
                <a:lnTo>
                  <a:pt x="166" y="820"/>
                </a:lnTo>
                <a:lnTo>
                  <a:pt x="144" y="821"/>
                </a:lnTo>
                <a:lnTo>
                  <a:pt x="145" y="857"/>
                </a:lnTo>
                <a:close/>
                <a:moveTo>
                  <a:pt x="217" y="855"/>
                </a:moveTo>
                <a:lnTo>
                  <a:pt x="253" y="854"/>
                </a:lnTo>
                <a:lnTo>
                  <a:pt x="252" y="818"/>
                </a:lnTo>
                <a:lnTo>
                  <a:pt x="216" y="819"/>
                </a:lnTo>
                <a:lnTo>
                  <a:pt x="217" y="855"/>
                </a:lnTo>
                <a:close/>
                <a:moveTo>
                  <a:pt x="289" y="853"/>
                </a:moveTo>
                <a:lnTo>
                  <a:pt x="325" y="852"/>
                </a:lnTo>
                <a:lnTo>
                  <a:pt x="323" y="816"/>
                </a:lnTo>
                <a:lnTo>
                  <a:pt x="288" y="817"/>
                </a:lnTo>
                <a:lnTo>
                  <a:pt x="289" y="853"/>
                </a:lnTo>
                <a:close/>
                <a:moveTo>
                  <a:pt x="360" y="851"/>
                </a:moveTo>
                <a:lnTo>
                  <a:pt x="396" y="850"/>
                </a:lnTo>
                <a:lnTo>
                  <a:pt x="395" y="814"/>
                </a:lnTo>
                <a:lnTo>
                  <a:pt x="359" y="815"/>
                </a:lnTo>
                <a:lnTo>
                  <a:pt x="360" y="851"/>
                </a:lnTo>
                <a:close/>
                <a:moveTo>
                  <a:pt x="432" y="849"/>
                </a:moveTo>
                <a:lnTo>
                  <a:pt x="468" y="848"/>
                </a:lnTo>
                <a:lnTo>
                  <a:pt x="467" y="812"/>
                </a:lnTo>
                <a:lnTo>
                  <a:pt x="431" y="813"/>
                </a:lnTo>
                <a:lnTo>
                  <a:pt x="432" y="849"/>
                </a:lnTo>
                <a:close/>
                <a:moveTo>
                  <a:pt x="504" y="847"/>
                </a:moveTo>
                <a:lnTo>
                  <a:pt x="540" y="845"/>
                </a:lnTo>
                <a:lnTo>
                  <a:pt x="539" y="809"/>
                </a:lnTo>
                <a:lnTo>
                  <a:pt x="503" y="811"/>
                </a:lnTo>
                <a:lnTo>
                  <a:pt x="504" y="847"/>
                </a:lnTo>
                <a:close/>
                <a:moveTo>
                  <a:pt x="576" y="844"/>
                </a:moveTo>
                <a:lnTo>
                  <a:pt x="612" y="843"/>
                </a:lnTo>
                <a:lnTo>
                  <a:pt x="611" y="807"/>
                </a:lnTo>
                <a:lnTo>
                  <a:pt x="575" y="808"/>
                </a:lnTo>
                <a:lnTo>
                  <a:pt x="576" y="844"/>
                </a:lnTo>
                <a:close/>
                <a:moveTo>
                  <a:pt x="648" y="841"/>
                </a:moveTo>
                <a:lnTo>
                  <a:pt x="684" y="840"/>
                </a:lnTo>
                <a:lnTo>
                  <a:pt x="682" y="804"/>
                </a:lnTo>
                <a:lnTo>
                  <a:pt x="647" y="805"/>
                </a:lnTo>
                <a:lnTo>
                  <a:pt x="648" y="841"/>
                </a:lnTo>
                <a:close/>
                <a:moveTo>
                  <a:pt x="720" y="838"/>
                </a:moveTo>
                <a:lnTo>
                  <a:pt x="756" y="837"/>
                </a:lnTo>
                <a:lnTo>
                  <a:pt x="754" y="801"/>
                </a:lnTo>
                <a:lnTo>
                  <a:pt x="718" y="802"/>
                </a:lnTo>
                <a:lnTo>
                  <a:pt x="720" y="838"/>
                </a:lnTo>
                <a:close/>
                <a:moveTo>
                  <a:pt x="792" y="835"/>
                </a:moveTo>
                <a:lnTo>
                  <a:pt x="797" y="835"/>
                </a:lnTo>
                <a:lnTo>
                  <a:pt x="828" y="834"/>
                </a:lnTo>
                <a:lnTo>
                  <a:pt x="826" y="798"/>
                </a:lnTo>
                <a:lnTo>
                  <a:pt x="795" y="799"/>
                </a:lnTo>
                <a:lnTo>
                  <a:pt x="790" y="799"/>
                </a:lnTo>
                <a:lnTo>
                  <a:pt x="792" y="835"/>
                </a:lnTo>
                <a:close/>
                <a:moveTo>
                  <a:pt x="864" y="832"/>
                </a:moveTo>
                <a:lnTo>
                  <a:pt x="900" y="830"/>
                </a:lnTo>
                <a:lnTo>
                  <a:pt x="898" y="794"/>
                </a:lnTo>
                <a:lnTo>
                  <a:pt x="862" y="796"/>
                </a:lnTo>
                <a:lnTo>
                  <a:pt x="864" y="832"/>
                </a:lnTo>
                <a:close/>
                <a:moveTo>
                  <a:pt x="936" y="828"/>
                </a:moveTo>
                <a:lnTo>
                  <a:pt x="945" y="828"/>
                </a:lnTo>
                <a:lnTo>
                  <a:pt x="971" y="826"/>
                </a:lnTo>
                <a:lnTo>
                  <a:pt x="969" y="790"/>
                </a:lnTo>
                <a:lnTo>
                  <a:pt x="943" y="792"/>
                </a:lnTo>
                <a:lnTo>
                  <a:pt x="934" y="792"/>
                </a:lnTo>
                <a:lnTo>
                  <a:pt x="936" y="828"/>
                </a:lnTo>
                <a:close/>
                <a:moveTo>
                  <a:pt x="1007" y="824"/>
                </a:moveTo>
                <a:lnTo>
                  <a:pt x="1043" y="822"/>
                </a:lnTo>
                <a:lnTo>
                  <a:pt x="1041" y="786"/>
                </a:lnTo>
                <a:lnTo>
                  <a:pt x="1005" y="788"/>
                </a:lnTo>
                <a:lnTo>
                  <a:pt x="1007" y="824"/>
                </a:lnTo>
                <a:close/>
                <a:moveTo>
                  <a:pt x="1079" y="820"/>
                </a:moveTo>
                <a:lnTo>
                  <a:pt x="1090" y="820"/>
                </a:lnTo>
                <a:lnTo>
                  <a:pt x="1115" y="818"/>
                </a:lnTo>
                <a:lnTo>
                  <a:pt x="1113" y="782"/>
                </a:lnTo>
                <a:lnTo>
                  <a:pt x="1088" y="784"/>
                </a:lnTo>
                <a:lnTo>
                  <a:pt x="1077" y="784"/>
                </a:lnTo>
                <a:lnTo>
                  <a:pt x="1079" y="820"/>
                </a:lnTo>
                <a:close/>
                <a:moveTo>
                  <a:pt x="1151" y="816"/>
                </a:moveTo>
                <a:lnTo>
                  <a:pt x="1187" y="813"/>
                </a:lnTo>
                <a:lnTo>
                  <a:pt x="1184" y="777"/>
                </a:lnTo>
                <a:lnTo>
                  <a:pt x="1149" y="780"/>
                </a:lnTo>
                <a:lnTo>
                  <a:pt x="1151" y="816"/>
                </a:lnTo>
                <a:close/>
                <a:moveTo>
                  <a:pt x="1223" y="811"/>
                </a:moveTo>
                <a:lnTo>
                  <a:pt x="1230" y="810"/>
                </a:lnTo>
                <a:lnTo>
                  <a:pt x="1259" y="808"/>
                </a:lnTo>
                <a:lnTo>
                  <a:pt x="1256" y="773"/>
                </a:lnTo>
                <a:lnTo>
                  <a:pt x="1228" y="775"/>
                </a:lnTo>
                <a:lnTo>
                  <a:pt x="1220" y="775"/>
                </a:lnTo>
                <a:lnTo>
                  <a:pt x="1223" y="811"/>
                </a:lnTo>
                <a:close/>
                <a:moveTo>
                  <a:pt x="1295" y="806"/>
                </a:moveTo>
                <a:lnTo>
                  <a:pt x="1330" y="803"/>
                </a:lnTo>
                <a:lnTo>
                  <a:pt x="1328" y="767"/>
                </a:lnTo>
                <a:lnTo>
                  <a:pt x="1292" y="770"/>
                </a:lnTo>
                <a:lnTo>
                  <a:pt x="1295" y="806"/>
                </a:lnTo>
                <a:close/>
                <a:moveTo>
                  <a:pt x="1366" y="800"/>
                </a:moveTo>
                <a:lnTo>
                  <a:pt x="1367" y="800"/>
                </a:lnTo>
                <a:lnTo>
                  <a:pt x="1402" y="797"/>
                </a:lnTo>
                <a:lnTo>
                  <a:pt x="1399" y="761"/>
                </a:lnTo>
                <a:lnTo>
                  <a:pt x="1364" y="764"/>
                </a:lnTo>
                <a:lnTo>
                  <a:pt x="1364" y="764"/>
                </a:lnTo>
                <a:lnTo>
                  <a:pt x="1366" y="800"/>
                </a:lnTo>
                <a:close/>
                <a:moveTo>
                  <a:pt x="1438" y="794"/>
                </a:moveTo>
                <a:lnTo>
                  <a:pt x="1474" y="791"/>
                </a:lnTo>
                <a:lnTo>
                  <a:pt x="1471" y="755"/>
                </a:lnTo>
                <a:lnTo>
                  <a:pt x="1435" y="758"/>
                </a:lnTo>
                <a:lnTo>
                  <a:pt x="1438" y="794"/>
                </a:lnTo>
                <a:close/>
                <a:moveTo>
                  <a:pt x="1510" y="788"/>
                </a:moveTo>
                <a:lnTo>
                  <a:pt x="1546" y="785"/>
                </a:lnTo>
                <a:lnTo>
                  <a:pt x="1542" y="749"/>
                </a:lnTo>
                <a:lnTo>
                  <a:pt x="1506" y="752"/>
                </a:lnTo>
                <a:lnTo>
                  <a:pt x="1510" y="788"/>
                </a:lnTo>
                <a:close/>
                <a:moveTo>
                  <a:pt x="1581" y="781"/>
                </a:moveTo>
                <a:lnTo>
                  <a:pt x="1617" y="778"/>
                </a:lnTo>
                <a:lnTo>
                  <a:pt x="1614" y="742"/>
                </a:lnTo>
                <a:lnTo>
                  <a:pt x="1578" y="745"/>
                </a:lnTo>
                <a:lnTo>
                  <a:pt x="1581" y="781"/>
                </a:lnTo>
                <a:close/>
                <a:moveTo>
                  <a:pt x="1653" y="774"/>
                </a:moveTo>
                <a:lnTo>
                  <a:pt x="1689" y="770"/>
                </a:lnTo>
                <a:lnTo>
                  <a:pt x="1685" y="734"/>
                </a:lnTo>
                <a:lnTo>
                  <a:pt x="1649" y="738"/>
                </a:lnTo>
                <a:lnTo>
                  <a:pt x="1653" y="774"/>
                </a:lnTo>
                <a:close/>
                <a:moveTo>
                  <a:pt x="1725" y="766"/>
                </a:moveTo>
                <a:lnTo>
                  <a:pt x="1749" y="764"/>
                </a:lnTo>
                <a:lnTo>
                  <a:pt x="1761" y="762"/>
                </a:lnTo>
                <a:lnTo>
                  <a:pt x="1756" y="727"/>
                </a:lnTo>
                <a:lnTo>
                  <a:pt x="1745" y="728"/>
                </a:lnTo>
                <a:lnTo>
                  <a:pt x="1721" y="731"/>
                </a:lnTo>
                <a:lnTo>
                  <a:pt x="1725" y="766"/>
                </a:lnTo>
                <a:close/>
                <a:moveTo>
                  <a:pt x="1796" y="758"/>
                </a:moveTo>
                <a:lnTo>
                  <a:pt x="1832" y="753"/>
                </a:lnTo>
                <a:lnTo>
                  <a:pt x="1827" y="718"/>
                </a:lnTo>
                <a:lnTo>
                  <a:pt x="1792" y="722"/>
                </a:lnTo>
                <a:lnTo>
                  <a:pt x="1796" y="758"/>
                </a:lnTo>
                <a:close/>
                <a:moveTo>
                  <a:pt x="1868" y="749"/>
                </a:moveTo>
                <a:lnTo>
                  <a:pt x="1904" y="744"/>
                </a:lnTo>
                <a:lnTo>
                  <a:pt x="1899" y="708"/>
                </a:lnTo>
                <a:lnTo>
                  <a:pt x="1863" y="713"/>
                </a:lnTo>
                <a:lnTo>
                  <a:pt x="1868" y="749"/>
                </a:lnTo>
                <a:close/>
                <a:moveTo>
                  <a:pt x="1939" y="739"/>
                </a:moveTo>
                <a:lnTo>
                  <a:pt x="1975" y="734"/>
                </a:lnTo>
                <a:lnTo>
                  <a:pt x="1970" y="699"/>
                </a:lnTo>
                <a:lnTo>
                  <a:pt x="1934" y="704"/>
                </a:lnTo>
                <a:lnTo>
                  <a:pt x="1939" y="739"/>
                </a:lnTo>
                <a:close/>
                <a:moveTo>
                  <a:pt x="2011" y="729"/>
                </a:moveTo>
                <a:lnTo>
                  <a:pt x="2046" y="723"/>
                </a:lnTo>
                <a:lnTo>
                  <a:pt x="2040" y="688"/>
                </a:lnTo>
                <a:lnTo>
                  <a:pt x="2005" y="693"/>
                </a:lnTo>
                <a:lnTo>
                  <a:pt x="2011" y="729"/>
                </a:lnTo>
                <a:close/>
                <a:moveTo>
                  <a:pt x="2082" y="718"/>
                </a:moveTo>
                <a:lnTo>
                  <a:pt x="2089" y="717"/>
                </a:lnTo>
                <a:lnTo>
                  <a:pt x="2117" y="712"/>
                </a:lnTo>
                <a:lnTo>
                  <a:pt x="2111" y="676"/>
                </a:lnTo>
                <a:lnTo>
                  <a:pt x="2083" y="681"/>
                </a:lnTo>
                <a:lnTo>
                  <a:pt x="2076" y="682"/>
                </a:lnTo>
                <a:lnTo>
                  <a:pt x="2082" y="718"/>
                </a:lnTo>
                <a:close/>
                <a:moveTo>
                  <a:pt x="2153" y="705"/>
                </a:moveTo>
                <a:lnTo>
                  <a:pt x="2188" y="699"/>
                </a:lnTo>
                <a:lnTo>
                  <a:pt x="2182" y="664"/>
                </a:lnTo>
                <a:lnTo>
                  <a:pt x="2146" y="670"/>
                </a:lnTo>
                <a:lnTo>
                  <a:pt x="2153" y="705"/>
                </a:lnTo>
                <a:close/>
                <a:moveTo>
                  <a:pt x="2224" y="692"/>
                </a:moveTo>
                <a:lnTo>
                  <a:pt x="2241" y="689"/>
                </a:lnTo>
                <a:lnTo>
                  <a:pt x="2259" y="684"/>
                </a:lnTo>
                <a:lnTo>
                  <a:pt x="2252" y="649"/>
                </a:lnTo>
                <a:lnTo>
                  <a:pt x="2233" y="653"/>
                </a:lnTo>
                <a:lnTo>
                  <a:pt x="2216" y="657"/>
                </a:lnTo>
                <a:lnTo>
                  <a:pt x="2224" y="692"/>
                </a:lnTo>
                <a:close/>
                <a:moveTo>
                  <a:pt x="2295" y="675"/>
                </a:moveTo>
                <a:lnTo>
                  <a:pt x="2306" y="672"/>
                </a:lnTo>
                <a:lnTo>
                  <a:pt x="2326" y="667"/>
                </a:lnTo>
                <a:lnTo>
                  <a:pt x="2330" y="666"/>
                </a:lnTo>
                <a:lnTo>
                  <a:pt x="2319" y="631"/>
                </a:lnTo>
                <a:lnTo>
                  <a:pt x="2316" y="632"/>
                </a:lnTo>
                <a:lnTo>
                  <a:pt x="2296" y="638"/>
                </a:lnTo>
                <a:lnTo>
                  <a:pt x="2286" y="641"/>
                </a:lnTo>
                <a:lnTo>
                  <a:pt x="2295" y="675"/>
                </a:lnTo>
                <a:close/>
                <a:moveTo>
                  <a:pt x="2365" y="654"/>
                </a:moveTo>
                <a:lnTo>
                  <a:pt x="2397" y="642"/>
                </a:lnTo>
                <a:lnTo>
                  <a:pt x="2400" y="641"/>
                </a:lnTo>
                <a:lnTo>
                  <a:pt x="2386" y="608"/>
                </a:lnTo>
                <a:lnTo>
                  <a:pt x="2385" y="609"/>
                </a:lnTo>
                <a:lnTo>
                  <a:pt x="2353" y="620"/>
                </a:lnTo>
                <a:lnTo>
                  <a:pt x="2365" y="654"/>
                </a:lnTo>
                <a:close/>
                <a:moveTo>
                  <a:pt x="2433" y="627"/>
                </a:moveTo>
                <a:lnTo>
                  <a:pt x="2457" y="616"/>
                </a:lnTo>
                <a:lnTo>
                  <a:pt x="2466" y="611"/>
                </a:lnTo>
                <a:lnTo>
                  <a:pt x="2450" y="579"/>
                </a:lnTo>
                <a:lnTo>
                  <a:pt x="2442" y="583"/>
                </a:lnTo>
                <a:lnTo>
                  <a:pt x="2418" y="595"/>
                </a:lnTo>
                <a:lnTo>
                  <a:pt x="2433" y="627"/>
                </a:lnTo>
                <a:close/>
                <a:moveTo>
                  <a:pt x="2499" y="593"/>
                </a:moveTo>
                <a:lnTo>
                  <a:pt x="2508" y="587"/>
                </a:lnTo>
                <a:lnTo>
                  <a:pt x="2530" y="573"/>
                </a:lnTo>
                <a:lnTo>
                  <a:pt x="2510" y="543"/>
                </a:lnTo>
                <a:lnTo>
                  <a:pt x="2490" y="556"/>
                </a:lnTo>
                <a:lnTo>
                  <a:pt x="2480" y="562"/>
                </a:lnTo>
                <a:lnTo>
                  <a:pt x="2499" y="593"/>
                </a:lnTo>
                <a:close/>
                <a:moveTo>
                  <a:pt x="2560" y="552"/>
                </a:moveTo>
                <a:lnTo>
                  <a:pt x="2573" y="542"/>
                </a:lnTo>
                <a:lnTo>
                  <a:pt x="2589" y="529"/>
                </a:lnTo>
                <a:lnTo>
                  <a:pt x="2566" y="501"/>
                </a:lnTo>
                <a:lnTo>
                  <a:pt x="2551" y="513"/>
                </a:lnTo>
                <a:lnTo>
                  <a:pt x="2538" y="523"/>
                </a:lnTo>
                <a:lnTo>
                  <a:pt x="2560" y="552"/>
                </a:lnTo>
                <a:close/>
                <a:moveTo>
                  <a:pt x="2617" y="506"/>
                </a:moveTo>
                <a:lnTo>
                  <a:pt x="2644" y="483"/>
                </a:lnTo>
                <a:lnTo>
                  <a:pt x="2621" y="456"/>
                </a:lnTo>
                <a:lnTo>
                  <a:pt x="2594" y="479"/>
                </a:lnTo>
                <a:lnTo>
                  <a:pt x="2617" y="506"/>
                </a:lnTo>
                <a:close/>
                <a:moveTo>
                  <a:pt x="2671" y="461"/>
                </a:moveTo>
                <a:lnTo>
                  <a:pt x="2687" y="449"/>
                </a:lnTo>
                <a:lnTo>
                  <a:pt x="2700" y="439"/>
                </a:lnTo>
                <a:lnTo>
                  <a:pt x="2678" y="411"/>
                </a:lnTo>
                <a:lnTo>
                  <a:pt x="2665" y="421"/>
                </a:lnTo>
                <a:lnTo>
                  <a:pt x="2649" y="432"/>
                </a:lnTo>
                <a:lnTo>
                  <a:pt x="2671" y="461"/>
                </a:lnTo>
                <a:close/>
                <a:moveTo>
                  <a:pt x="2729" y="419"/>
                </a:moveTo>
                <a:lnTo>
                  <a:pt x="2729" y="418"/>
                </a:lnTo>
                <a:lnTo>
                  <a:pt x="2753" y="403"/>
                </a:lnTo>
                <a:lnTo>
                  <a:pt x="2758" y="401"/>
                </a:lnTo>
                <a:lnTo>
                  <a:pt x="2740" y="370"/>
                </a:lnTo>
                <a:lnTo>
                  <a:pt x="2734" y="373"/>
                </a:lnTo>
                <a:lnTo>
                  <a:pt x="2709" y="389"/>
                </a:lnTo>
                <a:lnTo>
                  <a:pt x="2708" y="389"/>
                </a:lnTo>
                <a:lnTo>
                  <a:pt x="2729" y="419"/>
                </a:lnTo>
                <a:close/>
                <a:moveTo>
                  <a:pt x="2789" y="383"/>
                </a:moveTo>
                <a:lnTo>
                  <a:pt x="2806" y="374"/>
                </a:lnTo>
                <a:lnTo>
                  <a:pt x="2820" y="368"/>
                </a:lnTo>
                <a:lnTo>
                  <a:pt x="2805" y="335"/>
                </a:lnTo>
                <a:lnTo>
                  <a:pt x="2789" y="342"/>
                </a:lnTo>
                <a:lnTo>
                  <a:pt x="2772" y="352"/>
                </a:lnTo>
                <a:lnTo>
                  <a:pt x="2789" y="383"/>
                </a:lnTo>
                <a:close/>
                <a:moveTo>
                  <a:pt x="2852" y="353"/>
                </a:moveTo>
                <a:lnTo>
                  <a:pt x="2852" y="353"/>
                </a:lnTo>
                <a:lnTo>
                  <a:pt x="2869" y="346"/>
                </a:lnTo>
                <a:lnTo>
                  <a:pt x="2885" y="340"/>
                </a:lnTo>
                <a:lnTo>
                  <a:pt x="2872" y="306"/>
                </a:lnTo>
                <a:lnTo>
                  <a:pt x="2856" y="313"/>
                </a:lnTo>
                <a:lnTo>
                  <a:pt x="2838" y="320"/>
                </a:lnTo>
                <a:lnTo>
                  <a:pt x="2838" y="320"/>
                </a:lnTo>
                <a:lnTo>
                  <a:pt x="2852" y="353"/>
                </a:lnTo>
                <a:close/>
                <a:moveTo>
                  <a:pt x="2918" y="328"/>
                </a:moveTo>
                <a:lnTo>
                  <a:pt x="2925" y="326"/>
                </a:lnTo>
                <a:lnTo>
                  <a:pt x="2946" y="319"/>
                </a:lnTo>
                <a:lnTo>
                  <a:pt x="2952" y="317"/>
                </a:lnTo>
                <a:lnTo>
                  <a:pt x="2941" y="283"/>
                </a:lnTo>
                <a:lnTo>
                  <a:pt x="2935" y="285"/>
                </a:lnTo>
                <a:lnTo>
                  <a:pt x="2914" y="292"/>
                </a:lnTo>
                <a:lnTo>
                  <a:pt x="2906" y="294"/>
                </a:lnTo>
                <a:lnTo>
                  <a:pt x="2918" y="328"/>
                </a:lnTo>
                <a:close/>
                <a:moveTo>
                  <a:pt x="2986" y="308"/>
                </a:moveTo>
                <a:lnTo>
                  <a:pt x="2990" y="306"/>
                </a:lnTo>
                <a:lnTo>
                  <a:pt x="3013" y="300"/>
                </a:lnTo>
                <a:lnTo>
                  <a:pt x="3020" y="299"/>
                </a:lnTo>
                <a:lnTo>
                  <a:pt x="3011" y="264"/>
                </a:lnTo>
                <a:lnTo>
                  <a:pt x="3004" y="266"/>
                </a:lnTo>
                <a:lnTo>
                  <a:pt x="2980" y="272"/>
                </a:lnTo>
                <a:lnTo>
                  <a:pt x="2976" y="273"/>
                </a:lnTo>
                <a:lnTo>
                  <a:pt x="2986" y="308"/>
                </a:lnTo>
                <a:close/>
                <a:moveTo>
                  <a:pt x="3055" y="290"/>
                </a:moveTo>
                <a:lnTo>
                  <a:pt x="3063" y="288"/>
                </a:lnTo>
                <a:lnTo>
                  <a:pt x="3090" y="282"/>
                </a:lnTo>
                <a:lnTo>
                  <a:pt x="3082" y="247"/>
                </a:lnTo>
                <a:lnTo>
                  <a:pt x="3055" y="253"/>
                </a:lnTo>
                <a:lnTo>
                  <a:pt x="3046" y="255"/>
                </a:lnTo>
                <a:lnTo>
                  <a:pt x="3055" y="290"/>
                </a:lnTo>
                <a:close/>
                <a:moveTo>
                  <a:pt x="3124" y="275"/>
                </a:moveTo>
                <a:lnTo>
                  <a:pt x="3147" y="271"/>
                </a:lnTo>
                <a:lnTo>
                  <a:pt x="3159" y="269"/>
                </a:lnTo>
                <a:lnTo>
                  <a:pt x="3153" y="233"/>
                </a:lnTo>
                <a:lnTo>
                  <a:pt x="3141" y="236"/>
                </a:lnTo>
                <a:lnTo>
                  <a:pt x="3118" y="240"/>
                </a:lnTo>
                <a:lnTo>
                  <a:pt x="3124" y="275"/>
                </a:lnTo>
                <a:close/>
                <a:moveTo>
                  <a:pt x="3195" y="263"/>
                </a:moveTo>
                <a:lnTo>
                  <a:pt x="3210" y="260"/>
                </a:lnTo>
                <a:lnTo>
                  <a:pt x="3230" y="257"/>
                </a:lnTo>
                <a:lnTo>
                  <a:pt x="3225" y="222"/>
                </a:lnTo>
                <a:lnTo>
                  <a:pt x="3204" y="225"/>
                </a:lnTo>
                <a:lnTo>
                  <a:pt x="3189" y="227"/>
                </a:lnTo>
                <a:lnTo>
                  <a:pt x="3195" y="263"/>
                </a:lnTo>
                <a:close/>
                <a:moveTo>
                  <a:pt x="3265" y="252"/>
                </a:moveTo>
                <a:lnTo>
                  <a:pt x="3301" y="247"/>
                </a:lnTo>
                <a:lnTo>
                  <a:pt x="3296" y="211"/>
                </a:lnTo>
                <a:lnTo>
                  <a:pt x="3260" y="216"/>
                </a:lnTo>
                <a:lnTo>
                  <a:pt x="3265" y="252"/>
                </a:lnTo>
                <a:close/>
                <a:moveTo>
                  <a:pt x="3336" y="241"/>
                </a:moveTo>
                <a:lnTo>
                  <a:pt x="3345" y="240"/>
                </a:lnTo>
                <a:lnTo>
                  <a:pt x="3372" y="236"/>
                </a:lnTo>
                <a:lnTo>
                  <a:pt x="3367" y="200"/>
                </a:lnTo>
                <a:lnTo>
                  <a:pt x="3339" y="205"/>
                </a:lnTo>
                <a:lnTo>
                  <a:pt x="3331" y="206"/>
                </a:lnTo>
                <a:lnTo>
                  <a:pt x="3336" y="241"/>
                </a:lnTo>
                <a:close/>
                <a:moveTo>
                  <a:pt x="3407" y="230"/>
                </a:moveTo>
                <a:lnTo>
                  <a:pt x="3443" y="225"/>
                </a:lnTo>
                <a:lnTo>
                  <a:pt x="3438" y="190"/>
                </a:lnTo>
                <a:lnTo>
                  <a:pt x="3402" y="195"/>
                </a:lnTo>
                <a:lnTo>
                  <a:pt x="3407" y="230"/>
                </a:lnTo>
                <a:close/>
                <a:moveTo>
                  <a:pt x="3479" y="220"/>
                </a:moveTo>
                <a:lnTo>
                  <a:pt x="3486" y="219"/>
                </a:lnTo>
                <a:lnTo>
                  <a:pt x="3514" y="215"/>
                </a:lnTo>
                <a:lnTo>
                  <a:pt x="3509" y="179"/>
                </a:lnTo>
                <a:lnTo>
                  <a:pt x="3481" y="183"/>
                </a:lnTo>
                <a:lnTo>
                  <a:pt x="3473" y="184"/>
                </a:lnTo>
                <a:lnTo>
                  <a:pt x="3479" y="220"/>
                </a:lnTo>
                <a:close/>
                <a:moveTo>
                  <a:pt x="3550" y="210"/>
                </a:moveTo>
                <a:lnTo>
                  <a:pt x="3585" y="205"/>
                </a:lnTo>
                <a:lnTo>
                  <a:pt x="3580" y="169"/>
                </a:lnTo>
                <a:lnTo>
                  <a:pt x="3545" y="174"/>
                </a:lnTo>
                <a:lnTo>
                  <a:pt x="3550" y="210"/>
                </a:lnTo>
                <a:close/>
                <a:moveTo>
                  <a:pt x="3621" y="200"/>
                </a:moveTo>
                <a:lnTo>
                  <a:pt x="3635" y="197"/>
                </a:lnTo>
                <a:lnTo>
                  <a:pt x="3656" y="194"/>
                </a:lnTo>
                <a:lnTo>
                  <a:pt x="3651" y="159"/>
                </a:lnTo>
                <a:lnTo>
                  <a:pt x="3630" y="162"/>
                </a:lnTo>
                <a:lnTo>
                  <a:pt x="3616" y="164"/>
                </a:lnTo>
                <a:lnTo>
                  <a:pt x="3621" y="200"/>
                </a:lnTo>
                <a:close/>
                <a:moveTo>
                  <a:pt x="3692" y="190"/>
                </a:moveTo>
                <a:lnTo>
                  <a:pt x="3727" y="185"/>
                </a:lnTo>
                <a:lnTo>
                  <a:pt x="3723" y="149"/>
                </a:lnTo>
                <a:lnTo>
                  <a:pt x="3687" y="154"/>
                </a:lnTo>
                <a:lnTo>
                  <a:pt x="3692" y="190"/>
                </a:lnTo>
                <a:close/>
                <a:moveTo>
                  <a:pt x="3763" y="180"/>
                </a:moveTo>
                <a:lnTo>
                  <a:pt x="3791" y="177"/>
                </a:lnTo>
                <a:lnTo>
                  <a:pt x="3799" y="175"/>
                </a:lnTo>
                <a:lnTo>
                  <a:pt x="3794" y="140"/>
                </a:lnTo>
                <a:lnTo>
                  <a:pt x="3787" y="141"/>
                </a:lnTo>
                <a:lnTo>
                  <a:pt x="3758" y="145"/>
                </a:lnTo>
                <a:lnTo>
                  <a:pt x="3763" y="180"/>
                </a:lnTo>
                <a:close/>
                <a:moveTo>
                  <a:pt x="3834" y="171"/>
                </a:moveTo>
                <a:lnTo>
                  <a:pt x="3870" y="167"/>
                </a:lnTo>
                <a:lnTo>
                  <a:pt x="3865" y="131"/>
                </a:lnTo>
                <a:lnTo>
                  <a:pt x="3830" y="136"/>
                </a:lnTo>
                <a:lnTo>
                  <a:pt x="3834" y="171"/>
                </a:lnTo>
                <a:close/>
                <a:moveTo>
                  <a:pt x="3906" y="162"/>
                </a:moveTo>
                <a:lnTo>
                  <a:pt x="3941" y="158"/>
                </a:lnTo>
                <a:lnTo>
                  <a:pt x="3937" y="122"/>
                </a:lnTo>
                <a:lnTo>
                  <a:pt x="3901" y="127"/>
                </a:lnTo>
                <a:lnTo>
                  <a:pt x="3906" y="162"/>
                </a:lnTo>
                <a:close/>
                <a:moveTo>
                  <a:pt x="3977" y="154"/>
                </a:moveTo>
                <a:lnTo>
                  <a:pt x="4013" y="149"/>
                </a:lnTo>
                <a:lnTo>
                  <a:pt x="4008" y="114"/>
                </a:lnTo>
                <a:lnTo>
                  <a:pt x="3973" y="118"/>
                </a:lnTo>
                <a:lnTo>
                  <a:pt x="3977" y="154"/>
                </a:lnTo>
                <a:close/>
                <a:moveTo>
                  <a:pt x="4048" y="145"/>
                </a:moveTo>
                <a:lnTo>
                  <a:pt x="4084" y="141"/>
                </a:lnTo>
                <a:lnTo>
                  <a:pt x="4080" y="106"/>
                </a:lnTo>
                <a:lnTo>
                  <a:pt x="4044" y="109"/>
                </a:lnTo>
                <a:lnTo>
                  <a:pt x="4048" y="145"/>
                </a:lnTo>
                <a:close/>
                <a:moveTo>
                  <a:pt x="4120" y="137"/>
                </a:moveTo>
                <a:lnTo>
                  <a:pt x="4129" y="136"/>
                </a:lnTo>
                <a:lnTo>
                  <a:pt x="4155" y="133"/>
                </a:lnTo>
                <a:lnTo>
                  <a:pt x="4151" y="98"/>
                </a:lnTo>
                <a:lnTo>
                  <a:pt x="4125" y="100"/>
                </a:lnTo>
                <a:lnTo>
                  <a:pt x="4115" y="102"/>
                </a:lnTo>
                <a:lnTo>
                  <a:pt x="4120" y="137"/>
                </a:lnTo>
                <a:close/>
                <a:moveTo>
                  <a:pt x="4191" y="130"/>
                </a:moveTo>
                <a:lnTo>
                  <a:pt x="4219" y="127"/>
                </a:lnTo>
                <a:lnTo>
                  <a:pt x="4226" y="126"/>
                </a:lnTo>
                <a:lnTo>
                  <a:pt x="4223" y="90"/>
                </a:lnTo>
                <a:lnTo>
                  <a:pt x="4215" y="91"/>
                </a:lnTo>
                <a:lnTo>
                  <a:pt x="4187" y="94"/>
                </a:lnTo>
                <a:lnTo>
                  <a:pt x="4191" y="130"/>
                </a:lnTo>
                <a:close/>
                <a:moveTo>
                  <a:pt x="4262" y="122"/>
                </a:moveTo>
                <a:lnTo>
                  <a:pt x="4298" y="118"/>
                </a:lnTo>
                <a:lnTo>
                  <a:pt x="4294" y="83"/>
                </a:lnTo>
                <a:lnTo>
                  <a:pt x="4259" y="86"/>
                </a:lnTo>
                <a:lnTo>
                  <a:pt x="4262" y="122"/>
                </a:lnTo>
                <a:close/>
                <a:moveTo>
                  <a:pt x="4334" y="115"/>
                </a:moveTo>
                <a:lnTo>
                  <a:pt x="4369" y="112"/>
                </a:lnTo>
                <a:lnTo>
                  <a:pt x="4366" y="76"/>
                </a:lnTo>
                <a:lnTo>
                  <a:pt x="4330" y="79"/>
                </a:lnTo>
                <a:lnTo>
                  <a:pt x="4334" y="115"/>
                </a:lnTo>
                <a:close/>
                <a:moveTo>
                  <a:pt x="4405" y="108"/>
                </a:moveTo>
                <a:lnTo>
                  <a:pt x="4441" y="105"/>
                </a:lnTo>
                <a:lnTo>
                  <a:pt x="4438" y="69"/>
                </a:lnTo>
                <a:lnTo>
                  <a:pt x="4402" y="72"/>
                </a:lnTo>
                <a:lnTo>
                  <a:pt x="4405" y="108"/>
                </a:lnTo>
                <a:close/>
                <a:moveTo>
                  <a:pt x="4477" y="102"/>
                </a:moveTo>
                <a:lnTo>
                  <a:pt x="4500" y="100"/>
                </a:lnTo>
                <a:lnTo>
                  <a:pt x="4513" y="99"/>
                </a:lnTo>
                <a:lnTo>
                  <a:pt x="4509" y="63"/>
                </a:lnTo>
                <a:lnTo>
                  <a:pt x="4497" y="64"/>
                </a:lnTo>
                <a:lnTo>
                  <a:pt x="4474" y="66"/>
                </a:lnTo>
                <a:lnTo>
                  <a:pt x="4477" y="102"/>
                </a:lnTo>
                <a:close/>
                <a:moveTo>
                  <a:pt x="4548" y="96"/>
                </a:moveTo>
                <a:lnTo>
                  <a:pt x="4584" y="93"/>
                </a:lnTo>
                <a:lnTo>
                  <a:pt x="4581" y="57"/>
                </a:lnTo>
                <a:lnTo>
                  <a:pt x="4545" y="60"/>
                </a:lnTo>
                <a:lnTo>
                  <a:pt x="4548" y="96"/>
                </a:lnTo>
                <a:close/>
                <a:moveTo>
                  <a:pt x="4620" y="90"/>
                </a:moveTo>
                <a:lnTo>
                  <a:pt x="4656" y="87"/>
                </a:lnTo>
                <a:lnTo>
                  <a:pt x="4653" y="51"/>
                </a:lnTo>
                <a:lnTo>
                  <a:pt x="4617" y="54"/>
                </a:lnTo>
                <a:lnTo>
                  <a:pt x="4620" y="90"/>
                </a:lnTo>
                <a:close/>
                <a:moveTo>
                  <a:pt x="4692" y="84"/>
                </a:moveTo>
                <a:lnTo>
                  <a:pt x="4700" y="84"/>
                </a:lnTo>
                <a:lnTo>
                  <a:pt x="4727" y="82"/>
                </a:lnTo>
                <a:lnTo>
                  <a:pt x="4725" y="46"/>
                </a:lnTo>
                <a:lnTo>
                  <a:pt x="4697" y="48"/>
                </a:lnTo>
                <a:lnTo>
                  <a:pt x="4689" y="49"/>
                </a:lnTo>
                <a:lnTo>
                  <a:pt x="4692" y="84"/>
                </a:lnTo>
                <a:close/>
                <a:moveTo>
                  <a:pt x="4763" y="79"/>
                </a:moveTo>
                <a:lnTo>
                  <a:pt x="4799" y="77"/>
                </a:lnTo>
                <a:lnTo>
                  <a:pt x="4796" y="41"/>
                </a:lnTo>
                <a:lnTo>
                  <a:pt x="4761" y="43"/>
                </a:lnTo>
                <a:lnTo>
                  <a:pt x="4763" y="79"/>
                </a:lnTo>
                <a:close/>
                <a:moveTo>
                  <a:pt x="4835" y="75"/>
                </a:moveTo>
                <a:lnTo>
                  <a:pt x="4870" y="72"/>
                </a:lnTo>
                <a:lnTo>
                  <a:pt x="4868" y="36"/>
                </a:lnTo>
                <a:lnTo>
                  <a:pt x="4832" y="39"/>
                </a:lnTo>
                <a:lnTo>
                  <a:pt x="4835" y="75"/>
                </a:lnTo>
                <a:close/>
                <a:moveTo>
                  <a:pt x="4906" y="70"/>
                </a:moveTo>
                <a:lnTo>
                  <a:pt x="4909" y="70"/>
                </a:lnTo>
                <a:lnTo>
                  <a:pt x="4942" y="68"/>
                </a:lnTo>
                <a:lnTo>
                  <a:pt x="4940" y="32"/>
                </a:lnTo>
                <a:lnTo>
                  <a:pt x="4907" y="34"/>
                </a:lnTo>
                <a:lnTo>
                  <a:pt x="4904" y="34"/>
                </a:lnTo>
                <a:lnTo>
                  <a:pt x="4906" y="70"/>
                </a:lnTo>
                <a:close/>
                <a:moveTo>
                  <a:pt x="4978" y="66"/>
                </a:moveTo>
                <a:lnTo>
                  <a:pt x="5014" y="64"/>
                </a:lnTo>
                <a:lnTo>
                  <a:pt x="5012" y="28"/>
                </a:lnTo>
                <a:lnTo>
                  <a:pt x="4976" y="30"/>
                </a:lnTo>
                <a:lnTo>
                  <a:pt x="4978" y="66"/>
                </a:lnTo>
                <a:close/>
                <a:moveTo>
                  <a:pt x="5050" y="62"/>
                </a:moveTo>
                <a:lnTo>
                  <a:pt x="5086" y="60"/>
                </a:lnTo>
                <a:lnTo>
                  <a:pt x="5084" y="24"/>
                </a:lnTo>
                <a:lnTo>
                  <a:pt x="5048" y="26"/>
                </a:lnTo>
                <a:lnTo>
                  <a:pt x="5050" y="62"/>
                </a:lnTo>
                <a:close/>
                <a:moveTo>
                  <a:pt x="5122" y="58"/>
                </a:moveTo>
                <a:lnTo>
                  <a:pt x="5128" y="58"/>
                </a:lnTo>
                <a:lnTo>
                  <a:pt x="5157" y="56"/>
                </a:lnTo>
                <a:lnTo>
                  <a:pt x="5156" y="20"/>
                </a:lnTo>
                <a:lnTo>
                  <a:pt x="5126" y="22"/>
                </a:lnTo>
                <a:lnTo>
                  <a:pt x="5120" y="22"/>
                </a:lnTo>
                <a:lnTo>
                  <a:pt x="5122" y="58"/>
                </a:lnTo>
                <a:close/>
                <a:moveTo>
                  <a:pt x="5193" y="55"/>
                </a:moveTo>
                <a:lnTo>
                  <a:pt x="5229" y="53"/>
                </a:lnTo>
                <a:lnTo>
                  <a:pt x="5227" y="17"/>
                </a:lnTo>
                <a:lnTo>
                  <a:pt x="5192" y="19"/>
                </a:lnTo>
                <a:lnTo>
                  <a:pt x="5193" y="55"/>
                </a:lnTo>
                <a:close/>
                <a:moveTo>
                  <a:pt x="5265" y="51"/>
                </a:moveTo>
                <a:lnTo>
                  <a:pt x="5301" y="50"/>
                </a:lnTo>
                <a:lnTo>
                  <a:pt x="5299" y="14"/>
                </a:lnTo>
                <a:lnTo>
                  <a:pt x="5263" y="15"/>
                </a:lnTo>
                <a:lnTo>
                  <a:pt x="5265" y="51"/>
                </a:lnTo>
                <a:close/>
                <a:moveTo>
                  <a:pt x="5337" y="49"/>
                </a:moveTo>
                <a:lnTo>
                  <a:pt x="5356" y="48"/>
                </a:lnTo>
                <a:lnTo>
                  <a:pt x="5373" y="47"/>
                </a:lnTo>
                <a:lnTo>
                  <a:pt x="5371" y="11"/>
                </a:lnTo>
                <a:lnTo>
                  <a:pt x="5355" y="12"/>
                </a:lnTo>
                <a:lnTo>
                  <a:pt x="5335" y="13"/>
                </a:lnTo>
                <a:lnTo>
                  <a:pt x="5337" y="49"/>
                </a:lnTo>
                <a:close/>
                <a:moveTo>
                  <a:pt x="5409" y="46"/>
                </a:moveTo>
                <a:lnTo>
                  <a:pt x="5444" y="45"/>
                </a:lnTo>
                <a:lnTo>
                  <a:pt x="5443" y="9"/>
                </a:lnTo>
                <a:lnTo>
                  <a:pt x="5407" y="10"/>
                </a:lnTo>
                <a:lnTo>
                  <a:pt x="5409" y="46"/>
                </a:lnTo>
                <a:close/>
                <a:moveTo>
                  <a:pt x="5480" y="44"/>
                </a:moveTo>
                <a:lnTo>
                  <a:pt x="5516" y="43"/>
                </a:lnTo>
                <a:lnTo>
                  <a:pt x="5515" y="7"/>
                </a:lnTo>
                <a:lnTo>
                  <a:pt x="5479" y="8"/>
                </a:lnTo>
                <a:lnTo>
                  <a:pt x="5480" y="44"/>
                </a:lnTo>
                <a:close/>
                <a:moveTo>
                  <a:pt x="5552" y="42"/>
                </a:moveTo>
                <a:lnTo>
                  <a:pt x="5588" y="41"/>
                </a:lnTo>
                <a:lnTo>
                  <a:pt x="5587" y="5"/>
                </a:lnTo>
                <a:lnTo>
                  <a:pt x="5551" y="6"/>
                </a:lnTo>
                <a:lnTo>
                  <a:pt x="5552" y="42"/>
                </a:lnTo>
                <a:close/>
                <a:moveTo>
                  <a:pt x="5624" y="40"/>
                </a:moveTo>
                <a:lnTo>
                  <a:pt x="5660" y="39"/>
                </a:lnTo>
                <a:lnTo>
                  <a:pt x="5659" y="4"/>
                </a:lnTo>
                <a:lnTo>
                  <a:pt x="5623" y="4"/>
                </a:lnTo>
                <a:lnTo>
                  <a:pt x="5624" y="40"/>
                </a:lnTo>
                <a:close/>
                <a:moveTo>
                  <a:pt x="5696" y="39"/>
                </a:moveTo>
                <a:lnTo>
                  <a:pt x="5719" y="38"/>
                </a:lnTo>
                <a:lnTo>
                  <a:pt x="5731" y="38"/>
                </a:lnTo>
                <a:lnTo>
                  <a:pt x="5731" y="2"/>
                </a:lnTo>
                <a:lnTo>
                  <a:pt x="5718" y="2"/>
                </a:lnTo>
                <a:lnTo>
                  <a:pt x="5695" y="3"/>
                </a:lnTo>
                <a:lnTo>
                  <a:pt x="5696" y="39"/>
                </a:lnTo>
                <a:close/>
                <a:moveTo>
                  <a:pt x="5767" y="38"/>
                </a:moveTo>
                <a:lnTo>
                  <a:pt x="5803" y="37"/>
                </a:lnTo>
                <a:lnTo>
                  <a:pt x="5803" y="1"/>
                </a:lnTo>
                <a:lnTo>
                  <a:pt x="5767" y="2"/>
                </a:lnTo>
                <a:lnTo>
                  <a:pt x="5767" y="38"/>
                </a:lnTo>
                <a:close/>
                <a:moveTo>
                  <a:pt x="5839" y="37"/>
                </a:moveTo>
                <a:lnTo>
                  <a:pt x="5845" y="37"/>
                </a:lnTo>
                <a:lnTo>
                  <a:pt x="5875" y="36"/>
                </a:lnTo>
                <a:lnTo>
                  <a:pt x="5875" y="0"/>
                </a:lnTo>
                <a:lnTo>
                  <a:pt x="5844" y="1"/>
                </a:lnTo>
                <a:lnTo>
                  <a:pt x="5839" y="1"/>
                </a:lnTo>
                <a:lnTo>
                  <a:pt x="5839" y="37"/>
                </a:lnTo>
                <a:close/>
                <a:moveTo>
                  <a:pt x="5911" y="36"/>
                </a:moveTo>
                <a:lnTo>
                  <a:pt x="5947" y="36"/>
                </a:lnTo>
                <a:lnTo>
                  <a:pt x="5947" y="0"/>
                </a:lnTo>
                <a:lnTo>
                  <a:pt x="5911" y="0"/>
                </a:lnTo>
                <a:lnTo>
                  <a:pt x="5911" y="36"/>
                </a:lnTo>
                <a:close/>
                <a:moveTo>
                  <a:pt x="5983" y="36"/>
                </a:moveTo>
                <a:lnTo>
                  <a:pt x="6019" y="36"/>
                </a:lnTo>
                <a:lnTo>
                  <a:pt x="6019" y="0"/>
                </a:lnTo>
                <a:lnTo>
                  <a:pt x="5983" y="0"/>
                </a:lnTo>
                <a:lnTo>
                  <a:pt x="5983" y="36"/>
                </a:lnTo>
                <a:close/>
                <a:moveTo>
                  <a:pt x="6055" y="36"/>
                </a:moveTo>
                <a:lnTo>
                  <a:pt x="6091" y="36"/>
                </a:lnTo>
                <a:lnTo>
                  <a:pt x="6091" y="0"/>
                </a:lnTo>
                <a:lnTo>
                  <a:pt x="6055" y="0"/>
                </a:lnTo>
                <a:lnTo>
                  <a:pt x="6055" y="36"/>
                </a:lnTo>
                <a:close/>
                <a:moveTo>
                  <a:pt x="6127" y="36"/>
                </a:moveTo>
                <a:lnTo>
                  <a:pt x="6162" y="36"/>
                </a:lnTo>
                <a:lnTo>
                  <a:pt x="6163" y="0"/>
                </a:lnTo>
                <a:lnTo>
                  <a:pt x="6127" y="0"/>
                </a:lnTo>
                <a:lnTo>
                  <a:pt x="6127" y="36"/>
                </a:lnTo>
                <a:close/>
                <a:moveTo>
                  <a:pt x="6198" y="36"/>
                </a:moveTo>
                <a:lnTo>
                  <a:pt x="6234" y="36"/>
                </a:lnTo>
                <a:lnTo>
                  <a:pt x="6235" y="0"/>
                </a:lnTo>
                <a:lnTo>
                  <a:pt x="6199" y="0"/>
                </a:lnTo>
                <a:lnTo>
                  <a:pt x="6198" y="36"/>
                </a:lnTo>
                <a:close/>
                <a:moveTo>
                  <a:pt x="6270" y="37"/>
                </a:moveTo>
                <a:lnTo>
                  <a:pt x="6306" y="37"/>
                </a:lnTo>
                <a:lnTo>
                  <a:pt x="6306" y="1"/>
                </a:lnTo>
                <a:lnTo>
                  <a:pt x="6271" y="1"/>
                </a:lnTo>
                <a:lnTo>
                  <a:pt x="6270" y="37"/>
                </a:lnTo>
                <a:close/>
                <a:moveTo>
                  <a:pt x="6342" y="37"/>
                </a:moveTo>
                <a:lnTo>
                  <a:pt x="6377" y="38"/>
                </a:lnTo>
                <a:lnTo>
                  <a:pt x="6377" y="2"/>
                </a:lnTo>
                <a:lnTo>
                  <a:pt x="6342" y="1"/>
                </a:lnTo>
                <a:lnTo>
                  <a:pt x="6342" y="37"/>
                </a:lnTo>
                <a:close/>
              </a:path>
            </a:pathLst>
          </a:custGeom>
          <a:solidFill>
            <a:srgbClr val="009999"/>
          </a:solidFill>
          <a:ln w="0" cap="flat">
            <a:solidFill>
              <a:srgbClr val="009999"/>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Rectangle 10"/>
          <p:cNvSpPr>
            <a:spLocks noChangeArrowheads="1"/>
          </p:cNvSpPr>
          <p:nvPr/>
        </p:nvSpPr>
        <p:spPr bwMode="auto">
          <a:xfrm>
            <a:off x="6582248" y="4998835"/>
            <a:ext cx="238125"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zh-CN" sz="700" b="0" i="0" u="none" strike="noStrike" cap="none" normalizeH="0" baseline="0">
                <a:ln>
                  <a:noFill/>
                </a:ln>
                <a:solidFill>
                  <a:srgbClr val="FFFFFF"/>
                </a:solidFill>
                <a:effectLst/>
                <a:latin typeface="Arial" panose="020B0604020202020204" pitchFamily="34" charset="0"/>
                <a:ea typeface="DengXian" panose="02010600030101010101" pitchFamily="2" charset="-122"/>
              </a:rPr>
              <a:t>IP@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Freeform 11"/>
          <p:cNvSpPr>
            <a:spLocks/>
          </p:cNvSpPr>
          <p:nvPr/>
        </p:nvSpPr>
        <p:spPr bwMode="auto">
          <a:xfrm>
            <a:off x="6905380" y="4441137"/>
            <a:ext cx="2463209" cy="1122697"/>
          </a:xfrm>
          <a:custGeom>
            <a:avLst/>
            <a:gdLst>
              <a:gd name="T0" fmla="*/ 391 w 3837"/>
              <a:gd name="T1" fmla="*/ 419 h 1254"/>
              <a:gd name="T2" fmla="*/ 887 w 3837"/>
              <a:gd name="T3" fmla="*/ 131 h 1254"/>
              <a:gd name="T4" fmla="*/ 1257 w 3837"/>
              <a:gd name="T5" fmla="*/ 164 h 1254"/>
              <a:gd name="T6" fmla="*/ 1876 w 3837"/>
              <a:gd name="T7" fmla="*/ 80 h 1254"/>
              <a:gd name="T8" fmla="*/ 1982 w 3837"/>
              <a:gd name="T9" fmla="*/ 115 h 1254"/>
              <a:gd name="T10" fmla="*/ 2484 w 3837"/>
              <a:gd name="T11" fmla="*/ 41 h 1254"/>
              <a:gd name="T12" fmla="*/ 2614 w 3837"/>
              <a:gd name="T13" fmla="*/ 88 h 1254"/>
              <a:gd name="T14" fmla="*/ 3201 w 3837"/>
              <a:gd name="T15" fmla="*/ 67 h 1254"/>
              <a:gd name="T16" fmla="*/ 3342 w 3837"/>
              <a:gd name="T17" fmla="*/ 174 h 1254"/>
              <a:gd name="T18" fmla="*/ 3663 w 3837"/>
              <a:gd name="T19" fmla="*/ 422 h 1254"/>
              <a:gd name="T20" fmla="*/ 3642 w 3837"/>
              <a:gd name="T21" fmla="*/ 449 h 1254"/>
              <a:gd name="T22" fmla="*/ 3535 w 3837"/>
              <a:gd name="T23" fmla="*/ 808 h 1254"/>
              <a:gd name="T24" fmla="*/ 3264 w 3837"/>
              <a:gd name="T25" fmla="*/ 858 h 1254"/>
              <a:gd name="T26" fmla="*/ 2764 w 3837"/>
              <a:gd name="T27" fmla="*/ 1075 h 1254"/>
              <a:gd name="T28" fmla="*/ 2505 w 3837"/>
              <a:gd name="T29" fmla="*/ 1042 h 1254"/>
              <a:gd name="T30" fmla="*/ 1783 w 3837"/>
              <a:gd name="T31" fmla="*/ 1213 h 1254"/>
              <a:gd name="T32" fmla="*/ 1470 w 3837"/>
              <a:gd name="T33" fmla="*/ 1110 h 1254"/>
              <a:gd name="T34" fmla="*/ 561 w 3837"/>
              <a:gd name="T35" fmla="*/ 1010 h 1254"/>
              <a:gd name="T36" fmla="*/ 554 w 3837"/>
              <a:gd name="T37" fmla="*/ 1005 h 1254"/>
              <a:gd name="T38" fmla="*/ 139 w 3837"/>
              <a:gd name="T39" fmla="*/ 861 h 1254"/>
              <a:gd name="T40" fmla="*/ 238 w 3837"/>
              <a:gd name="T41" fmla="*/ 729 h 1254"/>
              <a:gd name="T42" fmla="*/ 104 w 3837"/>
              <a:gd name="T43" fmla="*/ 503 h 1254"/>
              <a:gd name="T44" fmla="*/ 388 w 3837"/>
              <a:gd name="T45" fmla="*/ 422 h 1254"/>
              <a:gd name="T46" fmla="*/ 391 w 3837"/>
              <a:gd name="T47" fmla="*/ 419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7" h="1254">
                <a:moveTo>
                  <a:pt x="391" y="419"/>
                </a:moveTo>
                <a:cubicBezTo>
                  <a:pt x="348" y="279"/>
                  <a:pt x="570" y="150"/>
                  <a:pt x="887" y="131"/>
                </a:cubicBezTo>
                <a:cubicBezTo>
                  <a:pt x="1015" y="124"/>
                  <a:pt x="1145" y="135"/>
                  <a:pt x="1257" y="164"/>
                </a:cubicBezTo>
                <a:cubicBezTo>
                  <a:pt x="1376" y="66"/>
                  <a:pt x="1653" y="28"/>
                  <a:pt x="1876" y="80"/>
                </a:cubicBezTo>
                <a:cubicBezTo>
                  <a:pt x="1915" y="90"/>
                  <a:pt x="1950" y="101"/>
                  <a:pt x="1982" y="115"/>
                </a:cubicBezTo>
                <a:cubicBezTo>
                  <a:pt x="2074" y="33"/>
                  <a:pt x="2299" y="0"/>
                  <a:pt x="2484" y="41"/>
                </a:cubicBezTo>
                <a:cubicBezTo>
                  <a:pt x="2535" y="52"/>
                  <a:pt x="2580" y="68"/>
                  <a:pt x="2614" y="88"/>
                </a:cubicBezTo>
                <a:cubicBezTo>
                  <a:pt x="2763" y="11"/>
                  <a:pt x="3026" y="2"/>
                  <a:pt x="3201" y="67"/>
                </a:cubicBezTo>
                <a:cubicBezTo>
                  <a:pt x="3275" y="95"/>
                  <a:pt x="3325" y="133"/>
                  <a:pt x="3342" y="174"/>
                </a:cubicBezTo>
                <a:cubicBezTo>
                  <a:pt x="3586" y="204"/>
                  <a:pt x="3729" y="315"/>
                  <a:pt x="3663" y="422"/>
                </a:cubicBezTo>
                <a:cubicBezTo>
                  <a:pt x="3657" y="431"/>
                  <a:pt x="3650" y="440"/>
                  <a:pt x="3642" y="449"/>
                </a:cubicBezTo>
                <a:cubicBezTo>
                  <a:pt x="3837" y="561"/>
                  <a:pt x="3790" y="722"/>
                  <a:pt x="3535" y="808"/>
                </a:cubicBezTo>
                <a:cubicBezTo>
                  <a:pt x="3456" y="835"/>
                  <a:pt x="3362" y="852"/>
                  <a:pt x="3264" y="858"/>
                </a:cubicBezTo>
                <a:cubicBezTo>
                  <a:pt x="3261" y="979"/>
                  <a:pt x="3038" y="1076"/>
                  <a:pt x="2764" y="1075"/>
                </a:cubicBezTo>
                <a:cubicBezTo>
                  <a:pt x="2672" y="1075"/>
                  <a:pt x="2583" y="1063"/>
                  <a:pt x="2505" y="1042"/>
                </a:cubicBezTo>
                <a:cubicBezTo>
                  <a:pt x="2412" y="1177"/>
                  <a:pt x="2089" y="1254"/>
                  <a:pt x="1783" y="1213"/>
                </a:cubicBezTo>
                <a:cubicBezTo>
                  <a:pt x="1655" y="1196"/>
                  <a:pt x="1544" y="1159"/>
                  <a:pt x="1470" y="1110"/>
                </a:cubicBezTo>
                <a:cubicBezTo>
                  <a:pt x="1156" y="1193"/>
                  <a:pt x="750" y="1149"/>
                  <a:pt x="561" y="1010"/>
                </a:cubicBezTo>
                <a:cubicBezTo>
                  <a:pt x="559" y="1008"/>
                  <a:pt x="556" y="1007"/>
                  <a:pt x="554" y="1005"/>
                </a:cubicBezTo>
                <a:cubicBezTo>
                  <a:pt x="349" y="1015"/>
                  <a:pt x="163" y="951"/>
                  <a:pt x="139" y="861"/>
                </a:cubicBezTo>
                <a:cubicBezTo>
                  <a:pt x="127" y="813"/>
                  <a:pt x="162" y="764"/>
                  <a:pt x="238" y="729"/>
                </a:cubicBezTo>
                <a:cubicBezTo>
                  <a:pt x="60" y="683"/>
                  <a:pt x="0" y="582"/>
                  <a:pt x="104" y="503"/>
                </a:cubicBezTo>
                <a:cubicBezTo>
                  <a:pt x="164" y="458"/>
                  <a:pt x="270" y="428"/>
                  <a:pt x="388" y="422"/>
                </a:cubicBezTo>
                <a:lnTo>
                  <a:pt x="391" y="419"/>
                </a:lnTo>
                <a:close/>
              </a:path>
            </a:pathLst>
          </a:custGeom>
          <a:noFill/>
          <a:ln w="10795"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12"/>
          <p:cNvSpPr>
            <a:spLocks noChangeArrowheads="1"/>
          </p:cNvSpPr>
          <p:nvPr/>
        </p:nvSpPr>
        <p:spPr bwMode="auto">
          <a:xfrm>
            <a:off x="7204163" y="4592602"/>
            <a:ext cx="176559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ts val="800"/>
              </a:spcAft>
              <a:buClrTx/>
              <a:buSzTx/>
              <a:buFontTx/>
              <a:buNone/>
              <a:tabLst/>
            </a:pPr>
            <a:r>
              <a:rPr kumimoji="0" lang="en-US" altLang="en-US" sz="18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DN</a:t>
            </a:r>
            <a:br>
              <a:rPr kumimoji="0" lang="en-US" altLang="en-US" sz="18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br>
            <a:r>
              <a:rPr kumimoji="0" lang="en-US" altLang="en-US" sz="18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Example: IMS)</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
        <p:nvSpPr>
          <p:cNvPr id="9" name="Oval 13"/>
          <p:cNvSpPr>
            <a:spLocks noChangeArrowheads="1"/>
          </p:cNvSpPr>
          <p:nvPr/>
        </p:nvSpPr>
        <p:spPr bwMode="auto">
          <a:xfrm>
            <a:off x="6021975" y="4721039"/>
            <a:ext cx="805388" cy="35563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t" anchorCtr="0" compatLnSpc="1">
            <a:prstTxWarp prst="textNoShape">
              <a:avLst/>
            </a:prstTxWarp>
          </a:bodyPr>
          <a:lstStyle/>
          <a:p>
            <a:r>
              <a:rPr lang="en-US" sz="1100" b="1" dirty="0">
                <a:solidFill>
                  <a:srgbClr val="FF0000"/>
                </a:solidFill>
              </a:rPr>
              <a:t>IP@X</a:t>
            </a:r>
          </a:p>
        </p:txBody>
      </p:sp>
      <p:sp>
        <p:nvSpPr>
          <p:cNvPr id="10" name="Freeform 16"/>
          <p:cNvSpPr>
            <a:spLocks/>
          </p:cNvSpPr>
          <p:nvPr/>
        </p:nvSpPr>
        <p:spPr bwMode="auto">
          <a:xfrm flipH="1">
            <a:off x="1366066" y="4408999"/>
            <a:ext cx="253207" cy="693817"/>
          </a:xfrm>
          <a:custGeom>
            <a:avLst/>
            <a:gdLst>
              <a:gd name="T0" fmla="*/ 0 w 253"/>
              <a:gd name="T1" fmla="*/ 374 h 501"/>
              <a:gd name="T2" fmla="*/ 63 w 253"/>
              <a:gd name="T3" fmla="*/ 374 h 501"/>
              <a:gd name="T4" fmla="*/ 63 w 253"/>
              <a:gd name="T5" fmla="*/ 0 h 501"/>
              <a:gd name="T6" fmla="*/ 190 w 253"/>
              <a:gd name="T7" fmla="*/ 0 h 501"/>
              <a:gd name="T8" fmla="*/ 190 w 253"/>
              <a:gd name="T9" fmla="*/ 374 h 501"/>
              <a:gd name="T10" fmla="*/ 253 w 253"/>
              <a:gd name="T11" fmla="*/ 374 h 501"/>
              <a:gd name="T12" fmla="*/ 126 w 253"/>
              <a:gd name="T13" fmla="*/ 501 h 501"/>
              <a:gd name="T14" fmla="*/ 0 w 253"/>
              <a:gd name="T15" fmla="*/ 374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501">
                <a:moveTo>
                  <a:pt x="0" y="374"/>
                </a:moveTo>
                <a:lnTo>
                  <a:pt x="63" y="374"/>
                </a:lnTo>
                <a:lnTo>
                  <a:pt x="63" y="0"/>
                </a:lnTo>
                <a:lnTo>
                  <a:pt x="190" y="0"/>
                </a:lnTo>
                <a:lnTo>
                  <a:pt x="190" y="374"/>
                </a:lnTo>
                <a:lnTo>
                  <a:pt x="253" y="374"/>
                </a:lnTo>
                <a:lnTo>
                  <a:pt x="126" y="501"/>
                </a:lnTo>
                <a:lnTo>
                  <a:pt x="0" y="374"/>
                </a:lnTo>
                <a:close/>
              </a:path>
            </a:pathLst>
          </a:custGeom>
          <a:solidFill>
            <a:schemeClr val="tx2">
              <a:lumMod val="50000"/>
              <a:lumOff val="50000"/>
            </a:schemeClr>
          </a:solidFill>
          <a:ln w="10795" cap="flat">
            <a:solidFill>
              <a:srgbClr val="58585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56"/>
          <p:cNvSpPr>
            <a:spLocks noChangeAspect="1" noEditPoints="1"/>
          </p:cNvSpPr>
          <p:nvPr/>
        </p:nvSpPr>
        <p:spPr bwMode="auto">
          <a:xfrm>
            <a:off x="2285654" y="3899986"/>
            <a:ext cx="589585" cy="493026"/>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prstClr val="black"/>
              </a:solidFill>
              <a:effectLst/>
              <a:uLnTx/>
              <a:uFillTx/>
              <a:latin typeface="Calibri"/>
              <a:ea typeface="宋体"/>
            </a:endParaRPr>
          </a:p>
        </p:txBody>
      </p:sp>
      <p:sp>
        <p:nvSpPr>
          <p:cNvPr id="12" name="Freeform 8"/>
          <p:cNvSpPr>
            <a:spLocks/>
          </p:cNvSpPr>
          <p:nvPr/>
        </p:nvSpPr>
        <p:spPr bwMode="auto">
          <a:xfrm>
            <a:off x="1586270" y="4110455"/>
            <a:ext cx="5354754" cy="955056"/>
          </a:xfrm>
          <a:custGeom>
            <a:avLst/>
            <a:gdLst>
              <a:gd name="T0" fmla="*/ 0 w 7211"/>
              <a:gd name="T1" fmla="*/ 2 h 455"/>
              <a:gd name="T2" fmla="*/ 1680 w 7211"/>
              <a:gd name="T3" fmla="*/ 71 h 455"/>
              <a:gd name="T4" fmla="*/ 2986 w 7211"/>
              <a:gd name="T5" fmla="*/ 394 h 455"/>
              <a:gd name="T6" fmla="*/ 7211 w 7211"/>
              <a:gd name="T7" fmla="*/ 415 h 455"/>
            </a:gdLst>
            <a:ahLst/>
            <a:cxnLst>
              <a:cxn ang="0">
                <a:pos x="T0" y="T1"/>
              </a:cxn>
              <a:cxn ang="0">
                <a:pos x="T2" y="T3"/>
              </a:cxn>
              <a:cxn ang="0">
                <a:pos x="T4" y="T5"/>
              </a:cxn>
              <a:cxn ang="0">
                <a:pos x="T6" y="T7"/>
              </a:cxn>
            </a:cxnLst>
            <a:rect l="0" t="0" r="r" b="b"/>
            <a:pathLst>
              <a:path w="7211" h="455">
                <a:moveTo>
                  <a:pt x="0" y="2"/>
                </a:moveTo>
                <a:cubicBezTo>
                  <a:pt x="317" y="0"/>
                  <a:pt x="1183" y="5"/>
                  <a:pt x="1680" y="71"/>
                </a:cubicBezTo>
                <a:cubicBezTo>
                  <a:pt x="2178" y="136"/>
                  <a:pt x="2205" y="334"/>
                  <a:pt x="2986" y="394"/>
                </a:cubicBezTo>
                <a:cubicBezTo>
                  <a:pt x="3767" y="455"/>
                  <a:pt x="5731" y="430"/>
                  <a:pt x="7211" y="415"/>
                </a:cubicBezTo>
              </a:path>
            </a:pathLst>
          </a:custGeom>
          <a:noFill/>
          <a:ln w="22860" cap="flat">
            <a:solidFill>
              <a:srgbClr val="00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TextBox 12"/>
          <p:cNvSpPr txBox="1"/>
          <p:nvPr/>
        </p:nvSpPr>
        <p:spPr>
          <a:xfrm>
            <a:off x="2438053" y="4169592"/>
            <a:ext cx="295274" cy="276999"/>
          </a:xfrm>
          <a:prstGeom prst="rect">
            <a:avLst/>
          </a:prstGeom>
          <a:noFill/>
        </p:spPr>
        <p:txBody>
          <a:bodyPr wrap="none" rtlCol="0">
            <a:spAutoFit/>
          </a:bodyPr>
          <a:lstStyle/>
          <a:p>
            <a:r>
              <a:rPr lang="en-US" sz="1200" b="1" dirty="0">
                <a:solidFill>
                  <a:schemeClr val="accent2"/>
                </a:solidFill>
              </a:rPr>
              <a:t>A</a:t>
            </a:r>
          </a:p>
        </p:txBody>
      </p:sp>
      <p:sp>
        <p:nvSpPr>
          <p:cNvPr id="14" name="Freeform 56"/>
          <p:cNvSpPr>
            <a:spLocks noChangeAspect="1" noEditPoints="1"/>
          </p:cNvSpPr>
          <p:nvPr/>
        </p:nvSpPr>
        <p:spPr bwMode="auto">
          <a:xfrm>
            <a:off x="2272150" y="5188753"/>
            <a:ext cx="589585" cy="493026"/>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prstClr val="black"/>
              </a:solidFill>
              <a:effectLst/>
              <a:uLnTx/>
              <a:uFillTx/>
              <a:latin typeface="Calibri"/>
              <a:ea typeface="宋体"/>
            </a:endParaRPr>
          </a:p>
        </p:txBody>
      </p:sp>
      <p:sp>
        <p:nvSpPr>
          <p:cNvPr id="15" name="TextBox 14"/>
          <p:cNvSpPr txBox="1"/>
          <p:nvPr/>
        </p:nvSpPr>
        <p:spPr>
          <a:xfrm>
            <a:off x="2455146" y="5431470"/>
            <a:ext cx="223591" cy="276999"/>
          </a:xfrm>
          <a:prstGeom prst="rect">
            <a:avLst/>
          </a:prstGeom>
          <a:noFill/>
        </p:spPr>
        <p:txBody>
          <a:bodyPr wrap="square" rtlCol="0">
            <a:spAutoFit/>
          </a:bodyPr>
          <a:lstStyle/>
          <a:p>
            <a:r>
              <a:rPr lang="en-US" sz="1200" b="1" dirty="0">
                <a:solidFill>
                  <a:schemeClr val="accent2"/>
                </a:solidFill>
              </a:rPr>
              <a:t>B</a:t>
            </a:r>
          </a:p>
        </p:txBody>
      </p:sp>
      <p:sp>
        <p:nvSpPr>
          <p:cNvPr id="16" name="Freeform 4"/>
          <p:cNvSpPr>
            <a:spLocks noChangeAspect="1" noEditPoints="1"/>
          </p:cNvSpPr>
          <p:nvPr/>
        </p:nvSpPr>
        <p:spPr bwMode="auto">
          <a:xfrm>
            <a:off x="1382064" y="3872508"/>
            <a:ext cx="204205" cy="40810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a:p>
        </p:txBody>
      </p:sp>
      <p:sp>
        <p:nvSpPr>
          <p:cNvPr id="17" name="Freeform 4"/>
          <p:cNvSpPr>
            <a:spLocks noChangeAspect="1" noEditPoints="1"/>
          </p:cNvSpPr>
          <p:nvPr/>
        </p:nvSpPr>
        <p:spPr bwMode="auto">
          <a:xfrm>
            <a:off x="1365060" y="5365916"/>
            <a:ext cx="221209" cy="40810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a:p>
        </p:txBody>
      </p:sp>
    </p:spTree>
    <p:extLst>
      <p:ext uri="{BB962C8B-B14F-4D97-AF65-F5344CB8AC3E}">
        <p14:creationId xmlns:p14="http://schemas.microsoft.com/office/powerpoint/2010/main" val="341430111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and Service Continuity (SSC) mode 2</a:t>
            </a:r>
          </a:p>
        </p:txBody>
      </p:sp>
      <p:sp>
        <p:nvSpPr>
          <p:cNvPr id="3" name="Text Placeholder 2"/>
          <p:cNvSpPr>
            <a:spLocks noGrp="1"/>
          </p:cNvSpPr>
          <p:nvPr>
            <p:ph type="body" idx="1"/>
          </p:nvPr>
        </p:nvSpPr>
        <p:spPr>
          <a:xfrm>
            <a:off x="356890" y="1627721"/>
            <a:ext cx="11135785" cy="4640558"/>
          </a:xfrm>
        </p:spPr>
        <p:txBody>
          <a:bodyPr/>
          <a:lstStyle/>
          <a:p>
            <a:r>
              <a:rPr lang="en-GB" dirty="0"/>
              <a:t>SSC Mode 2 </a:t>
            </a:r>
            <a:r>
              <a:rPr lang="en-GB" i="1" dirty="0"/>
              <a:t>(Break before make)</a:t>
            </a:r>
          </a:p>
          <a:p>
            <a:pPr lvl="1"/>
            <a:r>
              <a:rPr lang="en-GB" dirty="0"/>
              <a:t>The network can trigger a release of a PDU session and instruct the UE to establish a new PDU session to the same data network immediately.</a:t>
            </a:r>
          </a:p>
          <a:p>
            <a:pPr lvl="2"/>
            <a:r>
              <a:rPr lang="en-GB" dirty="0"/>
              <a:t>At establishment of the new PDU Session, a new UPF acting as PDU session anchor can be selected based on UE mobility, local policy (e.g. information about the serving area of the assigned Target UPF)</a:t>
            </a:r>
          </a:p>
          <a:p>
            <a:pPr lvl="2"/>
            <a:r>
              <a:rPr lang="en-US" dirty="0"/>
              <a:t>IP continuity is not supported. A different IP is assigned for the target UPF</a:t>
            </a:r>
          </a:p>
          <a:p>
            <a:pPr lvl="2"/>
            <a:endParaRPr lang="en-GB" dirty="0"/>
          </a:p>
        </p:txBody>
      </p:sp>
      <p:sp>
        <p:nvSpPr>
          <p:cNvPr id="4" name="Rectangle 17"/>
          <p:cNvSpPr>
            <a:spLocks noChangeArrowheads="1"/>
          </p:cNvSpPr>
          <p:nvPr/>
        </p:nvSpPr>
        <p:spPr bwMode="auto">
          <a:xfrm>
            <a:off x="5593404" y="5242904"/>
            <a:ext cx="1866193" cy="671512"/>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b="1" dirty="0"/>
              <a:t>T-UPF2</a:t>
            </a:r>
          </a:p>
        </p:txBody>
      </p:sp>
      <p:sp>
        <p:nvSpPr>
          <p:cNvPr id="5" name="Freeform 9"/>
          <p:cNvSpPr>
            <a:spLocks noEditPoints="1"/>
          </p:cNvSpPr>
          <p:nvPr/>
        </p:nvSpPr>
        <p:spPr bwMode="auto">
          <a:xfrm>
            <a:off x="2255558" y="5289517"/>
            <a:ext cx="6059670" cy="918312"/>
          </a:xfrm>
          <a:custGeom>
            <a:avLst/>
            <a:gdLst>
              <a:gd name="T0" fmla="*/ 72 w 6377"/>
              <a:gd name="T1" fmla="*/ 822 h 859"/>
              <a:gd name="T2" fmla="*/ 217 w 6377"/>
              <a:gd name="T3" fmla="*/ 855 h 859"/>
              <a:gd name="T4" fmla="*/ 289 w 6377"/>
              <a:gd name="T5" fmla="*/ 853 h 859"/>
              <a:gd name="T6" fmla="*/ 431 w 6377"/>
              <a:gd name="T7" fmla="*/ 813 h 859"/>
              <a:gd name="T8" fmla="*/ 611 w 6377"/>
              <a:gd name="T9" fmla="*/ 807 h 859"/>
              <a:gd name="T10" fmla="*/ 756 w 6377"/>
              <a:gd name="T11" fmla="*/ 837 h 859"/>
              <a:gd name="T12" fmla="*/ 790 w 6377"/>
              <a:gd name="T13" fmla="*/ 799 h 859"/>
              <a:gd name="T14" fmla="*/ 971 w 6377"/>
              <a:gd name="T15" fmla="*/ 826 h 859"/>
              <a:gd name="T16" fmla="*/ 1007 w 6377"/>
              <a:gd name="T17" fmla="*/ 824 h 859"/>
              <a:gd name="T18" fmla="*/ 1187 w 6377"/>
              <a:gd name="T19" fmla="*/ 813 h 859"/>
              <a:gd name="T20" fmla="*/ 1220 w 6377"/>
              <a:gd name="T21" fmla="*/ 775 h 859"/>
              <a:gd name="T22" fmla="*/ 1402 w 6377"/>
              <a:gd name="T23" fmla="*/ 797 h 859"/>
              <a:gd name="T24" fmla="*/ 1438 w 6377"/>
              <a:gd name="T25" fmla="*/ 794 h 859"/>
              <a:gd name="T26" fmla="*/ 1578 w 6377"/>
              <a:gd name="T27" fmla="*/ 745 h 859"/>
              <a:gd name="T28" fmla="*/ 1761 w 6377"/>
              <a:gd name="T29" fmla="*/ 762 h 859"/>
              <a:gd name="T30" fmla="*/ 1796 w 6377"/>
              <a:gd name="T31" fmla="*/ 758 h 859"/>
              <a:gd name="T32" fmla="*/ 1934 w 6377"/>
              <a:gd name="T33" fmla="*/ 704 h 859"/>
              <a:gd name="T34" fmla="*/ 2117 w 6377"/>
              <a:gd name="T35" fmla="*/ 712 h 859"/>
              <a:gd name="T36" fmla="*/ 2153 w 6377"/>
              <a:gd name="T37" fmla="*/ 705 h 859"/>
              <a:gd name="T38" fmla="*/ 2306 w 6377"/>
              <a:gd name="T39" fmla="*/ 672 h 859"/>
              <a:gd name="T40" fmla="*/ 2397 w 6377"/>
              <a:gd name="T41" fmla="*/ 642 h 859"/>
              <a:gd name="T42" fmla="*/ 2450 w 6377"/>
              <a:gd name="T43" fmla="*/ 579 h 859"/>
              <a:gd name="T44" fmla="*/ 2480 w 6377"/>
              <a:gd name="T45" fmla="*/ 562 h 859"/>
              <a:gd name="T46" fmla="*/ 2617 w 6377"/>
              <a:gd name="T47" fmla="*/ 506 h 859"/>
              <a:gd name="T48" fmla="*/ 2665 w 6377"/>
              <a:gd name="T49" fmla="*/ 421 h 859"/>
              <a:gd name="T50" fmla="*/ 2709 w 6377"/>
              <a:gd name="T51" fmla="*/ 389 h 859"/>
              <a:gd name="T52" fmla="*/ 2789 w 6377"/>
              <a:gd name="T53" fmla="*/ 383 h 859"/>
              <a:gd name="T54" fmla="*/ 2852 w 6377"/>
              <a:gd name="T55" fmla="*/ 353 h 859"/>
              <a:gd name="T56" fmla="*/ 2918 w 6377"/>
              <a:gd name="T57" fmla="*/ 328 h 859"/>
              <a:gd name="T58" fmla="*/ 2986 w 6377"/>
              <a:gd name="T59" fmla="*/ 308 h 859"/>
              <a:gd name="T60" fmla="*/ 3147 w 6377"/>
              <a:gd name="T61" fmla="*/ 271 h 859"/>
              <a:gd name="T62" fmla="*/ 3225 w 6377"/>
              <a:gd name="T63" fmla="*/ 222 h 859"/>
              <a:gd name="T64" fmla="*/ 3336 w 6377"/>
              <a:gd name="T65" fmla="*/ 241 h 859"/>
              <a:gd name="T66" fmla="*/ 3438 w 6377"/>
              <a:gd name="T67" fmla="*/ 190 h 859"/>
              <a:gd name="T68" fmla="*/ 3479 w 6377"/>
              <a:gd name="T69" fmla="*/ 220 h 859"/>
              <a:gd name="T70" fmla="*/ 3651 w 6377"/>
              <a:gd name="T71" fmla="*/ 159 h 859"/>
              <a:gd name="T72" fmla="*/ 3763 w 6377"/>
              <a:gd name="T73" fmla="*/ 180 h 859"/>
              <a:gd name="T74" fmla="*/ 3865 w 6377"/>
              <a:gd name="T75" fmla="*/ 131 h 859"/>
              <a:gd name="T76" fmla="*/ 4013 w 6377"/>
              <a:gd name="T77" fmla="*/ 149 h 859"/>
              <a:gd name="T78" fmla="*/ 4120 w 6377"/>
              <a:gd name="T79" fmla="*/ 137 h 859"/>
              <a:gd name="T80" fmla="*/ 4226 w 6377"/>
              <a:gd name="T81" fmla="*/ 126 h 859"/>
              <a:gd name="T82" fmla="*/ 4262 w 6377"/>
              <a:gd name="T83" fmla="*/ 122 h 859"/>
              <a:gd name="T84" fmla="*/ 4402 w 6377"/>
              <a:gd name="T85" fmla="*/ 72 h 859"/>
              <a:gd name="T86" fmla="*/ 4548 w 6377"/>
              <a:gd name="T87" fmla="*/ 96 h 859"/>
              <a:gd name="T88" fmla="*/ 4620 w 6377"/>
              <a:gd name="T89" fmla="*/ 90 h 859"/>
              <a:gd name="T90" fmla="*/ 4799 w 6377"/>
              <a:gd name="T91" fmla="*/ 77 h 859"/>
              <a:gd name="T92" fmla="*/ 4906 w 6377"/>
              <a:gd name="T93" fmla="*/ 70 h 859"/>
              <a:gd name="T94" fmla="*/ 5012 w 6377"/>
              <a:gd name="T95" fmla="*/ 28 h 859"/>
              <a:gd name="T96" fmla="*/ 5128 w 6377"/>
              <a:gd name="T97" fmla="*/ 58 h 859"/>
              <a:gd name="T98" fmla="*/ 5192 w 6377"/>
              <a:gd name="T99" fmla="*/ 19 h 859"/>
              <a:gd name="T100" fmla="*/ 5373 w 6377"/>
              <a:gd name="T101" fmla="*/ 47 h 859"/>
              <a:gd name="T102" fmla="*/ 5409 w 6377"/>
              <a:gd name="T103" fmla="*/ 46 h 859"/>
              <a:gd name="T104" fmla="*/ 5551 w 6377"/>
              <a:gd name="T105" fmla="*/ 6 h 859"/>
              <a:gd name="T106" fmla="*/ 5731 w 6377"/>
              <a:gd name="T107" fmla="*/ 38 h 859"/>
              <a:gd name="T108" fmla="*/ 5767 w 6377"/>
              <a:gd name="T109" fmla="*/ 38 h 859"/>
              <a:gd name="T110" fmla="*/ 5947 w 6377"/>
              <a:gd name="T111" fmla="*/ 36 h 859"/>
              <a:gd name="T112" fmla="*/ 6055 w 6377"/>
              <a:gd name="T113" fmla="*/ 36 h 859"/>
              <a:gd name="T114" fmla="*/ 6127 w 6377"/>
              <a:gd name="T115" fmla="*/ 36 h 859"/>
              <a:gd name="T116" fmla="*/ 6271 w 6377"/>
              <a:gd name="T117" fmla="*/ 1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77" h="859">
                <a:moveTo>
                  <a:pt x="1" y="859"/>
                </a:moveTo>
                <a:lnTo>
                  <a:pt x="37" y="859"/>
                </a:lnTo>
                <a:lnTo>
                  <a:pt x="36" y="823"/>
                </a:lnTo>
                <a:lnTo>
                  <a:pt x="0" y="823"/>
                </a:lnTo>
                <a:lnTo>
                  <a:pt x="1" y="859"/>
                </a:lnTo>
                <a:close/>
                <a:moveTo>
                  <a:pt x="73" y="858"/>
                </a:moveTo>
                <a:lnTo>
                  <a:pt x="109" y="857"/>
                </a:lnTo>
                <a:lnTo>
                  <a:pt x="108" y="821"/>
                </a:lnTo>
                <a:lnTo>
                  <a:pt x="72" y="822"/>
                </a:lnTo>
                <a:lnTo>
                  <a:pt x="73" y="858"/>
                </a:lnTo>
                <a:close/>
                <a:moveTo>
                  <a:pt x="145" y="857"/>
                </a:moveTo>
                <a:lnTo>
                  <a:pt x="167" y="856"/>
                </a:lnTo>
                <a:lnTo>
                  <a:pt x="181" y="856"/>
                </a:lnTo>
                <a:lnTo>
                  <a:pt x="180" y="820"/>
                </a:lnTo>
                <a:lnTo>
                  <a:pt x="166" y="820"/>
                </a:lnTo>
                <a:lnTo>
                  <a:pt x="144" y="821"/>
                </a:lnTo>
                <a:lnTo>
                  <a:pt x="145" y="857"/>
                </a:lnTo>
                <a:close/>
                <a:moveTo>
                  <a:pt x="217" y="855"/>
                </a:moveTo>
                <a:lnTo>
                  <a:pt x="253" y="854"/>
                </a:lnTo>
                <a:lnTo>
                  <a:pt x="252" y="818"/>
                </a:lnTo>
                <a:lnTo>
                  <a:pt x="216" y="819"/>
                </a:lnTo>
                <a:lnTo>
                  <a:pt x="217" y="855"/>
                </a:lnTo>
                <a:close/>
                <a:moveTo>
                  <a:pt x="289" y="853"/>
                </a:moveTo>
                <a:lnTo>
                  <a:pt x="325" y="852"/>
                </a:lnTo>
                <a:lnTo>
                  <a:pt x="323" y="816"/>
                </a:lnTo>
                <a:lnTo>
                  <a:pt x="288" y="817"/>
                </a:lnTo>
                <a:lnTo>
                  <a:pt x="289" y="853"/>
                </a:lnTo>
                <a:close/>
                <a:moveTo>
                  <a:pt x="360" y="851"/>
                </a:moveTo>
                <a:lnTo>
                  <a:pt x="396" y="850"/>
                </a:lnTo>
                <a:lnTo>
                  <a:pt x="395" y="814"/>
                </a:lnTo>
                <a:lnTo>
                  <a:pt x="359" y="815"/>
                </a:lnTo>
                <a:lnTo>
                  <a:pt x="360" y="851"/>
                </a:lnTo>
                <a:close/>
                <a:moveTo>
                  <a:pt x="432" y="849"/>
                </a:moveTo>
                <a:lnTo>
                  <a:pt x="468" y="848"/>
                </a:lnTo>
                <a:lnTo>
                  <a:pt x="467" y="812"/>
                </a:lnTo>
                <a:lnTo>
                  <a:pt x="431" y="813"/>
                </a:lnTo>
                <a:lnTo>
                  <a:pt x="432" y="849"/>
                </a:lnTo>
                <a:close/>
                <a:moveTo>
                  <a:pt x="504" y="847"/>
                </a:moveTo>
                <a:lnTo>
                  <a:pt x="540" y="845"/>
                </a:lnTo>
                <a:lnTo>
                  <a:pt x="539" y="809"/>
                </a:lnTo>
                <a:lnTo>
                  <a:pt x="503" y="811"/>
                </a:lnTo>
                <a:lnTo>
                  <a:pt x="504" y="847"/>
                </a:lnTo>
                <a:close/>
                <a:moveTo>
                  <a:pt x="576" y="844"/>
                </a:moveTo>
                <a:lnTo>
                  <a:pt x="612" y="843"/>
                </a:lnTo>
                <a:lnTo>
                  <a:pt x="611" y="807"/>
                </a:lnTo>
                <a:lnTo>
                  <a:pt x="575" y="808"/>
                </a:lnTo>
                <a:lnTo>
                  <a:pt x="576" y="844"/>
                </a:lnTo>
                <a:close/>
                <a:moveTo>
                  <a:pt x="648" y="841"/>
                </a:moveTo>
                <a:lnTo>
                  <a:pt x="684" y="840"/>
                </a:lnTo>
                <a:lnTo>
                  <a:pt x="682" y="804"/>
                </a:lnTo>
                <a:lnTo>
                  <a:pt x="647" y="805"/>
                </a:lnTo>
                <a:lnTo>
                  <a:pt x="648" y="841"/>
                </a:lnTo>
                <a:close/>
                <a:moveTo>
                  <a:pt x="720" y="838"/>
                </a:moveTo>
                <a:lnTo>
                  <a:pt x="756" y="837"/>
                </a:lnTo>
                <a:lnTo>
                  <a:pt x="754" y="801"/>
                </a:lnTo>
                <a:lnTo>
                  <a:pt x="718" y="802"/>
                </a:lnTo>
                <a:lnTo>
                  <a:pt x="720" y="838"/>
                </a:lnTo>
                <a:close/>
                <a:moveTo>
                  <a:pt x="792" y="835"/>
                </a:moveTo>
                <a:lnTo>
                  <a:pt x="797" y="835"/>
                </a:lnTo>
                <a:lnTo>
                  <a:pt x="828" y="834"/>
                </a:lnTo>
                <a:lnTo>
                  <a:pt x="826" y="798"/>
                </a:lnTo>
                <a:lnTo>
                  <a:pt x="795" y="799"/>
                </a:lnTo>
                <a:lnTo>
                  <a:pt x="790" y="799"/>
                </a:lnTo>
                <a:lnTo>
                  <a:pt x="792" y="835"/>
                </a:lnTo>
                <a:close/>
                <a:moveTo>
                  <a:pt x="864" y="832"/>
                </a:moveTo>
                <a:lnTo>
                  <a:pt x="900" y="830"/>
                </a:lnTo>
                <a:lnTo>
                  <a:pt x="898" y="794"/>
                </a:lnTo>
                <a:lnTo>
                  <a:pt x="862" y="796"/>
                </a:lnTo>
                <a:lnTo>
                  <a:pt x="864" y="832"/>
                </a:lnTo>
                <a:close/>
                <a:moveTo>
                  <a:pt x="936" y="828"/>
                </a:moveTo>
                <a:lnTo>
                  <a:pt x="945" y="828"/>
                </a:lnTo>
                <a:lnTo>
                  <a:pt x="971" y="826"/>
                </a:lnTo>
                <a:lnTo>
                  <a:pt x="969" y="790"/>
                </a:lnTo>
                <a:lnTo>
                  <a:pt x="943" y="792"/>
                </a:lnTo>
                <a:lnTo>
                  <a:pt x="934" y="792"/>
                </a:lnTo>
                <a:lnTo>
                  <a:pt x="936" y="828"/>
                </a:lnTo>
                <a:close/>
                <a:moveTo>
                  <a:pt x="1007" y="824"/>
                </a:moveTo>
                <a:lnTo>
                  <a:pt x="1043" y="822"/>
                </a:lnTo>
                <a:lnTo>
                  <a:pt x="1041" y="786"/>
                </a:lnTo>
                <a:lnTo>
                  <a:pt x="1005" y="788"/>
                </a:lnTo>
                <a:lnTo>
                  <a:pt x="1007" y="824"/>
                </a:lnTo>
                <a:close/>
                <a:moveTo>
                  <a:pt x="1079" y="820"/>
                </a:moveTo>
                <a:lnTo>
                  <a:pt x="1090" y="820"/>
                </a:lnTo>
                <a:lnTo>
                  <a:pt x="1115" y="818"/>
                </a:lnTo>
                <a:lnTo>
                  <a:pt x="1113" y="782"/>
                </a:lnTo>
                <a:lnTo>
                  <a:pt x="1088" y="784"/>
                </a:lnTo>
                <a:lnTo>
                  <a:pt x="1077" y="784"/>
                </a:lnTo>
                <a:lnTo>
                  <a:pt x="1079" y="820"/>
                </a:lnTo>
                <a:close/>
                <a:moveTo>
                  <a:pt x="1151" y="816"/>
                </a:moveTo>
                <a:lnTo>
                  <a:pt x="1187" y="813"/>
                </a:lnTo>
                <a:lnTo>
                  <a:pt x="1184" y="777"/>
                </a:lnTo>
                <a:lnTo>
                  <a:pt x="1149" y="780"/>
                </a:lnTo>
                <a:lnTo>
                  <a:pt x="1151" y="816"/>
                </a:lnTo>
                <a:close/>
                <a:moveTo>
                  <a:pt x="1223" y="811"/>
                </a:moveTo>
                <a:lnTo>
                  <a:pt x="1230" y="810"/>
                </a:lnTo>
                <a:lnTo>
                  <a:pt x="1259" y="808"/>
                </a:lnTo>
                <a:lnTo>
                  <a:pt x="1256" y="773"/>
                </a:lnTo>
                <a:lnTo>
                  <a:pt x="1228" y="775"/>
                </a:lnTo>
                <a:lnTo>
                  <a:pt x="1220" y="775"/>
                </a:lnTo>
                <a:lnTo>
                  <a:pt x="1223" y="811"/>
                </a:lnTo>
                <a:close/>
                <a:moveTo>
                  <a:pt x="1295" y="806"/>
                </a:moveTo>
                <a:lnTo>
                  <a:pt x="1330" y="803"/>
                </a:lnTo>
                <a:lnTo>
                  <a:pt x="1328" y="767"/>
                </a:lnTo>
                <a:lnTo>
                  <a:pt x="1292" y="770"/>
                </a:lnTo>
                <a:lnTo>
                  <a:pt x="1295" y="806"/>
                </a:lnTo>
                <a:close/>
                <a:moveTo>
                  <a:pt x="1366" y="800"/>
                </a:moveTo>
                <a:lnTo>
                  <a:pt x="1367" y="800"/>
                </a:lnTo>
                <a:lnTo>
                  <a:pt x="1402" y="797"/>
                </a:lnTo>
                <a:lnTo>
                  <a:pt x="1399" y="761"/>
                </a:lnTo>
                <a:lnTo>
                  <a:pt x="1364" y="764"/>
                </a:lnTo>
                <a:lnTo>
                  <a:pt x="1364" y="764"/>
                </a:lnTo>
                <a:lnTo>
                  <a:pt x="1366" y="800"/>
                </a:lnTo>
                <a:close/>
                <a:moveTo>
                  <a:pt x="1438" y="794"/>
                </a:moveTo>
                <a:lnTo>
                  <a:pt x="1474" y="791"/>
                </a:lnTo>
                <a:lnTo>
                  <a:pt x="1471" y="755"/>
                </a:lnTo>
                <a:lnTo>
                  <a:pt x="1435" y="758"/>
                </a:lnTo>
                <a:lnTo>
                  <a:pt x="1438" y="794"/>
                </a:lnTo>
                <a:close/>
                <a:moveTo>
                  <a:pt x="1510" y="788"/>
                </a:moveTo>
                <a:lnTo>
                  <a:pt x="1546" y="785"/>
                </a:lnTo>
                <a:lnTo>
                  <a:pt x="1542" y="749"/>
                </a:lnTo>
                <a:lnTo>
                  <a:pt x="1506" y="752"/>
                </a:lnTo>
                <a:lnTo>
                  <a:pt x="1510" y="788"/>
                </a:lnTo>
                <a:close/>
                <a:moveTo>
                  <a:pt x="1581" y="781"/>
                </a:moveTo>
                <a:lnTo>
                  <a:pt x="1617" y="778"/>
                </a:lnTo>
                <a:lnTo>
                  <a:pt x="1614" y="742"/>
                </a:lnTo>
                <a:lnTo>
                  <a:pt x="1578" y="745"/>
                </a:lnTo>
                <a:lnTo>
                  <a:pt x="1581" y="781"/>
                </a:lnTo>
                <a:close/>
                <a:moveTo>
                  <a:pt x="1653" y="774"/>
                </a:moveTo>
                <a:lnTo>
                  <a:pt x="1689" y="770"/>
                </a:lnTo>
                <a:lnTo>
                  <a:pt x="1685" y="734"/>
                </a:lnTo>
                <a:lnTo>
                  <a:pt x="1649" y="738"/>
                </a:lnTo>
                <a:lnTo>
                  <a:pt x="1653" y="774"/>
                </a:lnTo>
                <a:close/>
                <a:moveTo>
                  <a:pt x="1725" y="766"/>
                </a:moveTo>
                <a:lnTo>
                  <a:pt x="1749" y="764"/>
                </a:lnTo>
                <a:lnTo>
                  <a:pt x="1761" y="762"/>
                </a:lnTo>
                <a:lnTo>
                  <a:pt x="1756" y="727"/>
                </a:lnTo>
                <a:lnTo>
                  <a:pt x="1745" y="728"/>
                </a:lnTo>
                <a:lnTo>
                  <a:pt x="1721" y="731"/>
                </a:lnTo>
                <a:lnTo>
                  <a:pt x="1725" y="766"/>
                </a:lnTo>
                <a:close/>
                <a:moveTo>
                  <a:pt x="1796" y="758"/>
                </a:moveTo>
                <a:lnTo>
                  <a:pt x="1832" y="753"/>
                </a:lnTo>
                <a:lnTo>
                  <a:pt x="1827" y="718"/>
                </a:lnTo>
                <a:lnTo>
                  <a:pt x="1792" y="722"/>
                </a:lnTo>
                <a:lnTo>
                  <a:pt x="1796" y="758"/>
                </a:lnTo>
                <a:close/>
                <a:moveTo>
                  <a:pt x="1868" y="749"/>
                </a:moveTo>
                <a:lnTo>
                  <a:pt x="1904" y="744"/>
                </a:lnTo>
                <a:lnTo>
                  <a:pt x="1899" y="708"/>
                </a:lnTo>
                <a:lnTo>
                  <a:pt x="1863" y="713"/>
                </a:lnTo>
                <a:lnTo>
                  <a:pt x="1868" y="749"/>
                </a:lnTo>
                <a:close/>
                <a:moveTo>
                  <a:pt x="1939" y="739"/>
                </a:moveTo>
                <a:lnTo>
                  <a:pt x="1975" y="734"/>
                </a:lnTo>
                <a:lnTo>
                  <a:pt x="1970" y="699"/>
                </a:lnTo>
                <a:lnTo>
                  <a:pt x="1934" y="704"/>
                </a:lnTo>
                <a:lnTo>
                  <a:pt x="1939" y="739"/>
                </a:lnTo>
                <a:close/>
                <a:moveTo>
                  <a:pt x="2011" y="729"/>
                </a:moveTo>
                <a:lnTo>
                  <a:pt x="2046" y="723"/>
                </a:lnTo>
                <a:lnTo>
                  <a:pt x="2040" y="688"/>
                </a:lnTo>
                <a:lnTo>
                  <a:pt x="2005" y="693"/>
                </a:lnTo>
                <a:lnTo>
                  <a:pt x="2011" y="729"/>
                </a:lnTo>
                <a:close/>
                <a:moveTo>
                  <a:pt x="2082" y="718"/>
                </a:moveTo>
                <a:lnTo>
                  <a:pt x="2089" y="717"/>
                </a:lnTo>
                <a:lnTo>
                  <a:pt x="2117" y="712"/>
                </a:lnTo>
                <a:lnTo>
                  <a:pt x="2111" y="676"/>
                </a:lnTo>
                <a:lnTo>
                  <a:pt x="2083" y="681"/>
                </a:lnTo>
                <a:lnTo>
                  <a:pt x="2076" y="682"/>
                </a:lnTo>
                <a:lnTo>
                  <a:pt x="2082" y="718"/>
                </a:lnTo>
                <a:close/>
                <a:moveTo>
                  <a:pt x="2153" y="705"/>
                </a:moveTo>
                <a:lnTo>
                  <a:pt x="2188" y="699"/>
                </a:lnTo>
                <a:lnTo>
                  <a:pt x="2182" y="664"/>
                </a:lnTo>
                <a:lnTo>
                  <a:pt x="2146" y="670"/>
                </a:lnTo>
                <a:lnTo>
                  <a:pt x="2153" y="705"/>
                </a:lnTo>
                <a:close/>
                <a:moveTo>
                  <a:pt x="2224" y="692"/>
                </a:moveTo>
                <a:lnTo>
                  <a:pt x="2241" y="689"/>
                </a:lnTo>
                <a:lnTo>
                  <a:pt x="2259" y="684"/>
                </a:lnTo>
                <a:lnTo>
                  <a:pt x="2252" y="649"/>
                </a:lnTo>
                <a:lnTo>
                  <a:pt x="2233" y="653"/>
                </a:lnTo>
                <a:lnTo>
                  <a:pt x="2216" y="657"/>
                </a:lnTo>
                <a:lnTo>
                  <a:pt x="2224" y="692"/>
                </a:lnTo>
                <a:close/>
                <a:moveTo>
                  <a:pt x="2295" y="675"/>
                </a:moveTo>
                <a:lnTo>
                  <a:pt x="2306" y="672"/>
                </a:lnTo>
                <a:lnTo>
                  <a:pt x="2326" y="667"/>
                </a:lnTo>
                <a:lnTo>
                  <a:pt x="2330" y="666"/>
                </a:lnTo>
                <a:lnTo>
                  <a:pt x="2319" y="631"/>
                </a:lnTo>
                <a:lnTo>
                  <a:pt x="2316" y="632"/>
                </a:lnTo>
                <a:lnTo>
                  <a:pt x="2296" y="638"/>
                </a:lnTo>
                <a:lnTo>
                  <a:pt x="2286" y="641"/>
                </a:lnTo>
                <a:lnTo>
                  <a:pt x="2295" y="675"/>
                </a:lnTo>
                <a:close/>
                <a:moveTo>
                  <a:pt x="2365" y="654"/>
                </a:moveTo>
                <a:lnTo>
                  <a:pt x="2397" y="642"/>
                </a:lnTo>
                <a:lnTo>
                  <a:pt x="2400" y="641"/>
                </a:lnTo>
                <a:lnTo>
                  <a:pt x="2386" y="608"/>
                </a:lnTo>
                <a:lnTo>
                  <a:pt x="2385" y="609"/>
                </a:lnTo>
                <a:lnTo>
                  <a:pt x="2353" y="620"/>
                </a:lnTo>
                <a:lnTo>
                  <a:pt x="2365" y="654"/>
                </a:lnTo>
                <a:close/>
                <a:moveTo>
                  <a:pt x="2433" y="627"/>
                </a:moveTo>
                <a:lnTo>
                  <a:pt x="2457" y="616"/>
                </a:lnTo>
                <a:lnTo>
                  <a:pt x="2466" y="611"/>
                </a:lnTo>
                <a:lnTo>
                  <a:pt x="2450" y="579"/>
                </a:lnTo>
                <a:lnTo>
                  <a:pt x="2442" y="583"/>
                </a:lnTo>
                <a:lnTo>
                  <a:pt x="2418" y="595"/>
                </a:lnTo>
                <a:lnTo>
                  <a:pt x="2433" y="627"/>
                </a:lnTo>
                <a:close/>
                <a:moveTo>
                  <a:pt x="2499" y="593"/>
                </a:moveTo>
                <a:lnTo>
                  <a:pt x="2508" y="587"/>
                </a:lnTo>
                <a:lnTo>
                  <a:pt x="2530" y="573"/>
                </a:lnTo>
                <a:lnTo>
                  <a:pt x="2510" y="543"/>
                </a:lnTo>
                <a:lnTo>
                  <a:pt x="2490" y="556"/>
                </a:lnTo>
                <a:lnTo>
                  <a:pt x="2480" y="562"/>
                </a:lnTo>
                <a:lnTo>
                  <a:pt x="2499" y="593"/>
                </a:lnTo>
                <a:close/>
                <a:moveTo>
                  <a:pt x="2560" y="552"/>
                </a:moveTo>
                <a:lnTo>
                  <a:pt x="2573" y="542"/>
                </a:lnTo>
                <a:lnTo>
                  <a:pt x="2589" y="529"/>
                </a:lnTo>
                <a:lnTo>
                  <a:pt x="2566" y="501"/>
                </a:lnTo>
                <a:lnTo>
                  <a:pt x="2551" y="513"/>
                </a:lnTo>
                <a:lnTo>
                  <a:pt x="2538" y="523"/>
                </a:lnTo>
                <a:lnTo>
                  <a:pt x="2560" y="552"/>
                </a:lnTo>
                <a:close/>
                <a:moveTo>
                  <a:pt x="2617" y="506"/>
                </a:moveTo>
                <a:lnTo>
                  <a:pt x="2644" y="483"/>
                </a:lnTo>
                <a:lnTo>
                  <a:pt x="2621" y="456"/>
                </a:lnTo>
                <a:lnTo>
                  <a:pt x="2594" y="479"/>
                </a:lnTo>
                <a:lnTo>
                  <a:pt x="2617" y="506"/>
                </a:lnTo>
                <a:close/>
                <a:moveTo>
                  <a:pt x="2671" y="461"/>
                </a:moveTo>
                <a:lnTo>
                  <a:pt x="2687" y="449"/>
                </a:lnTo>
                <a:lnTo>
                  <a:pt x="2700" y="439"/>
                </a:lnTo>
                <a:lnTo>
                  <a:pt x="2678" y="411"/>
                </a:lnTo>
                <a:lnTo>
                  <a:pt x="2665" y="421"/>
                </a:lnTo>
                <a:lnTo>
                  <a:pt x="2649" y="432"/>
                </a:lnTo>
                <a:lnTo>
                  <a:pt x="2671" y="461"/>
                </a:lnTo>
                <a:close/>
                <a:moveTo>
                  <a:pt x="2729" y="419"/>
                </a:moveTo>
                <a:lnTo>
                  <a:pt x="2729" y="418"/>
                </a:lnTo>
                <a:lnTo>
                  <a:pt x="2753" y="403"/>
                </a:lnTo>
                <a:lnTo>
                  <a:pt x="2758" y="401"/>
                </a:lnTo>
                <a:lnTo>
                  <a:pt x="2740" y="370"/>
                </a:lnTo>
                <a:lnTo>
                  <a:pt x="2734" y="373"/>
                </a:lnTo>
                <a:lnTo>
                  <a:pt x="2709" y="389"/>
                </a:lnTo>
                <a:lnTo>
                  <a:pt x="2708" y="389"/>
                </a:lnTo>
                <a:lnTo>
                  <a:pt x="2729" y="419"/>
                </a:lnTo>
                <a:close/>
                <a:moveTo>
                  <a:pt x="2789" y="383"/>
                </a:moveTo>
                <a:lnTo>
                  <a:pt x="2806" y="374"/>
                </a:lnTo>
                <a:lnTo>
                  <a:pt x="2820" y="368"/>
                </a:lnTo>
                <a:lnTo>
                  <a:pt x="2805" y="335"/>
                </a:lnTo>
                <a:lnTo>
                  <a:pt x="2789" y="342"/>
                </a:lnTo>
                <a:lnTo>
                  <a:pt x="2772" y="352"/>
                </a:lnTo>
                <a:lnTo>
                  <a:pt x="2789" y="383"/>
                </a:lnTo>
                <a:close/>
                <a:moveTo>
                  <a:pt x="2852" y="353"/>
                </a:moveTo>
                <a:lnTo>
                  <a:pt x="2852" y="353"/>
                </a:lnTo>
                <a:lnTo>
                  <a:pt x="2869" y="346"/>
                </a:lnTo>
                <a:lnTo>
                  <a:pt x="2885" y="340"/>
                </a:lnTo>
                <a:lnTo>
                  <a:pt x="2872" y="306"/>
                </a:lnTo>
                <a:lnTo>
                  <a:pt x="2856" y="313"/>
                </a:lnTo>
                <a:lnTo>
                  <a:pt x="2838" y="320"/>
                </a:lnTo>
                <a:lnTo>
                  <a:pt x="2838" y="320"/>
                </a:lnTo>
                <a:lnTo>
                  <a:pt x="2852" y="353"/>
                </a:lnTo>
                <a:close/>
                <a:moveTo>
                  <a:pt x="2918" y="328"/>
                </a:moveTo>
                <a:lnTo>
                  <a:pt x="2925" y="326"/>
                </a:lnTo>
                <a:lnTo>
                  <a:pt x="2946" y="319"/>
                </a:lnTo>
                <a:lnTo>
                  <a:pt x="2952" y="317"/>
                </a:lnTo>
                <a:lnTo>
                  <a:pt x="2941" y="283"/>
                </a:lnTo>
                <a:lnTo>
                  <a:pt x="2935" y="285"/>
                </a:lnTo>
                <a:lnTo>
                  <a:pt x="2914" y="292"/>
                </a:lnTo>
                <a:lnTo>
                  <a:pt x="2906" y="294"/>
                </a:lnTo>
                <a:lnTo>
                  <a:pt x="2918" y="328"/>
                </a:lnTo>
                <a:close/>
                <a:moveTo>
                  <a:pt x="2986" y="308"/>
                </a:moveTo>
                <a:lnTo>
                  <a:pt x="2990" y="306"/>
                </a:lnTo>
                <a:lnTo>
                  <a:pt x="3013" y="300"/>
                </a:lnTo>
                <a:lnTo>
                  <a:pt x="3020" y="299"/>
                </a:lnTo>
                <a:lnTo>
                  <a:pt x="3011" y="264"/>
                </a:lnTo>
                <a:lnTo>
                  <a:pt x="3004" y="266"/>
                </a:lnTo>
                <a:lnTo>
                  <a:pt x="2980" y="272"/>
                </a:lnTo>
                <a:lnTo>
                  <a:pt x="2976" y="273"/>
                </a:lnTo>
                <a:lnTo>
                  <a:pt x="2986" y="308"/>
                </a:lnTo>
                <a:close/>
                <a:moveTo>
                  <a:pt x="3055" y="290"/>
                </a:moveTo>
                <a:lnTo>
                  <a:pt x="3063" y="288"/>
                </a:lnTo>
                <a:lnTo>
                  <a:pt x="3090" y="282"/>
                </a:lnTo>
                <a:lnTo>
                  <a:pt x="3082" y="247"/>
                </a:lnTo>
                <a:lnTo>
                  <a:pt x="3055" y="253"/>
                </a:lnTo>
                <a:lnTo>
                  <a:pt x="3046" y="255"/>
                </a:lnTo>
                <a:lnTo>
                  <a:pt x="3055" y="290"/>
                </a:lnTo>
                <a:close/>
                <a:moveTo>
                  <a:pt x="3124" y="275"/>
                </a:moveTo>
                <a:lnTo>
                  <a:pt x="3147" y="271"/>
                </a:lnTo>
                <a:lnTo>
                  <a:pt x="3159" y="269"/>
                </a:lnTo>
                <a:lnTo>
                  <a:pt x="3153" y="233"/>
                </a:lnTo>
                <a:lnTo>
                  <a:pt x="3141" y="236"/>
                </a:lnTo>
                <a:lnTo>
                  <a:pt x="3118" y="240"/>
                </a:lnTo>
                <a:lnTo>
                  <a:pt x="3124" y="275"/>
                </a:lnTo>
                <a:close/>
                <a:moveTo>
                  <a:pt x="3195" y="263"/>
                </a:moveTo>
                <a:lnTo>
                  <a:pt x="3210" y="260"/>
                </a:lnTo>
                <a:lnTo>
                  <a:pt x="3230" y="257"/>
                </a:lnTo>
                <a:lnTo>
                  <a:pt x="3225" y="222"/>
                </a:lnTo>
                <a:lnTo>
                  <a:pt x="3204" y="225"/>
                </a:lnTo>
                <a:lnTo>
                  <a:pt x="3189" y="227"/>
                </a:lnTo>
                <a:lnTo>
                  <a:pt x="3195" y="263"/>
                </a:lnTo>
                <a:close/>
                <a:moveTo>
                  <a:pt x="3265" y="252"/>
                </a:moveTo>
                <a:lnTo>
                  <a:pt x="3301" y="247"/>
                </a:lnTo>
                <a:lnTo>
                  <a:pt x="3296" y="211"/>
                </a:lnTo>
                <a:lnTo>
                  <a:pt x="3260" y="216"/>
                </a:lnTo>
                <a:lnTo>
                  <a:pt x="3265" y="252"/>
                </a:lnTo>
                <a:close/>
                <a:moveTo>
                  <a:pt x="3336" y="241"/>
                </a:moveTo>
                <a:lnTo>
                  <a:pt x="3345" y="240"/>
                </a:lnTo>
                <a:lnTo>
                  <a:pt x="3372" y="236"/>
                </a:lnTo>
                <a:lnTo>
                  <a:pt x="3367" y="200"/>
                </a:lnTo>
                <a:lnTo>
                  <a:pt x="3339" y="205"/>
                </a:lnTo>
                <a:lnTo>
                  <a:pt x="3331" y="206"/>
                </a:lnTo>
                <a:lnTo>
                  <a:pt x="3336" y="241"/>
                </a:lnTo>
                <a:close/>
                <a:moveTo>
                  <a:pt x="3407" y="230"/>
                </a:moveTo>
                <a:lnTo>
                  <a:pt x="3443" y="225"/>
                </a:lnTo>
                <a:lnTo>
                  <a:pt x="3438" y="190"/>
                </a:lnTo>
                <a:lnTo>
                  <a:pt x="3402" y="195"/>
                </a:lnTo>
                <a:lnTo>
                  <a:pt x="3407" y="230"/>
                </a:lnTo>
                <a:close/>
                <a:moveTo>
                  <a:pt x="3479" y="220"/>
                </a:moveTo>
                <a:lnTo>
                  <a:pt x="3486" y="219"/>
                </a:lnTo>
                <a:lnTo>
                  <a:pt x="3514" y="215"/>
                </a:lnTo>
                <a:lnTo>
                  <a:pt x="3509" y="179"/>
                </a:lnTo>
                <a:lnTo>
                  <a:pt x="3481" y="183"/>
                </a:lnTo>
                <a:lnTo>
                  <a:pt x="3473" y="184"/>
                </a:lnTo>
                <a:lnTo>
                  <a:pt x="3479" y="220"/>
                </a:lnTo>
                <a:close/>
                <a:moveTo>
                  <a:pt x="3550" y="210"/>
                </a:moveTo>
                <a:lnTo>
                  <a:pt x="3585" y="205"/>
                </a:lnTo>
                <a:lnTo>
                  <a:pt x="3580" y="169"/>
                </a:lnTo>
                <a:lnTo>
                  <a:pt x="3545" y="174"/>
                </a:lnTo>
                <a:lnTo>
                  <a:pt x="3550" y="210"/>
                </a:lnTo>
                <a:close/>
                <a:moveTo>
                  <a:pt x="3621" y="200"/>
                </a:moveTo>
                <a:lnTo>
                  <a:pt x="3635" y="197"/>
                </a:lnTo>
                <a:lnTo>
                  <a:pt x="3656" y="194"/>
                </a:lnTo>
                <a:lnTo>
                  <a:pt x="3651" y="159"/>
                </a:lnTo>
                <a:lnTo>
                  <a:pt x="3630" y="162"/>
                </a:lnTo>
                <a:lnTo>
                  <a:pt x="3616" y="164"/>
                </a:lnTo>
                <a:lnTo>
                  <a:pt x="3621" y="200"/>
                </a:lnTo>
                <a:close/>
                <a:moveTo>
                  <a:pt x="3692" y="190"/>
                </a:moveTo>
                <a:lnTo>
                  <a:pt x="3727" y="185"/>
                </a:lnTo>
                <a:lnTo>
                  <a:pt x="3723" y="149"/>
                </a:lnTo>
                <a:lnTo>
                  <a:pt x="3687" y="154"/>
                </a:lnTo>
                <a:lnTo>
                  <a:pt x="3692" y="190"/>
                </a:lnTo>
                <a:close/>
                <a:moveTo>
                  <a:pt x="3763" y="180"/>
                </a:moveTo>
                <a:lnTo>
                  <a:pt x="3791" y="177"/>
                </a:lnTo>
                <a:lnTo>
                  <a:pt x="3799" y="175"/>
                </a:lnTo>
                <a:lnTo>
                  <a:pt x="3794" y="140"/>
                </a:lnTo>
                <a:lnTo>
                  <a:pt x="3787" y="141"/>
                </a:lnTo>
                <a:lnTo>
                  <a:pt x="3758" y="145"/>
                </a:lnTo>
                <a:lnTo>
                  <a:pt x="3763" y="180"/>
                </a:lnTo>
                <a:close/>
                <a:moveTo>
                  <a:pt x="3834" y="171"/>
                </a:moveTo>
                <a:lnTo>
                  <a:pt x="3870" y="167"/>
                </a:lnTo>
                <a:lnTo>
                  <a:pt x="3865" y="131"/>
                </a:lnTo>
                <a:lnTo>
                  <a:pt x="3830" y="136"/>
                </a:lnTo>
                <a:lnTo>
                  <a:pt x="3834" y="171"/>
                </a:lnTo>
                <a:close/>
                <a:moveTo>
                  <a:pt x="3906" y="162"/>
                </a:moveTo>
                <a:lnTo>
                  <a:pt x="3941" y="158"/>
                </a:lnTo>
                <a:lnTo>
                  <a:pt x="3937" y="122"/>
                </a:lnTo>
                <a:lnTo>
                  <a:pt x="3901" y="127"/>
                </a:lnTo>
                <a:lnTo>
                  <a:pt x="3906" y="162"/>
                </a:lnTo>
                <a:close/>
                <a:moveTo>
                  <a:pt x="3977" y="154"/>
                </a:moveTo>
                <a:lnTo>
                  <a:pt x="4013" y="149"/>
                </a:lnTo>
                <a:lnTo>
                  <a:pt x="4008" y="114"/>
                </a:lnTo>
                <a:lnTo>
                  <a:pt x="3973" y="118"/>
                </a:lnTo>
                <a:lnTo>
                  <a:pt x="3977" y="154"/>
                </a:lnTo>
                <a:close/>
                <a:moveTo>
                  <a:pt x="4048" y="145"/>
                </a:moveTo>
                <a:lnTo>
                  <a:pt x="4084" y="141"/>
                </a:lnTo>
                <a:lnTo>
                  <a:pt x="4080" y="106"/>
                </a:lnTo>
                <a:lnTo>
                  <a:pt x="4044" y="109"/>
                </a:lnTo>
                <a:lnTo>
                  <a:pt x="4048" y="145"/>
                </a:lnTo>
                <a:close/>
                <a:moveTo>
                  <a:pt x="4120" y="137"/>
                </a:moveTo>
                <a:lnTo>
                  <a:pt x="4129" y="136"/>
                </a:lnTo>
                <a:lnTo>
                  <a:pt x="4155" y="133"/>
                </a:lnTo>
                <a:lnTo>
                  <a:pt x="4151" y="98"/>
                </a:lnTo>
                <a:lnTo>
                  <a:pt x="4125" y="100"/>
                </a:lnTo>
                <a:lnTo>
                  <a:pt x="4115" y="102"/>
                </a:lnTo>
                <a:lnTo>
                  <a:pt x="4120" y="137"/>
                </a:lnTo>
                <a:close/>
                <a:moveTo>
                  <a:pt x="4191" y="130"/>
                </a:moveTo>
                <a:lnTo>
                  <a:pt x="4219" y="127"/>
                </a:lnTo>
                <a:lnTo>
                  <a:pt x="4226" y="126"/>
                </a:lnTo>
                <a:lnTo>
                  <a:pt x="4223" y="90"/>
                </a:lnTo>
                <a:lnTo>
                  <a:pt x="4215" y="91"/>
                </a:lnTo>
                <a:lnTo>
                  <a:pt x="4187" y="94"/>
                </a:lnTo>
                <a:lnTo>
                  <a:pt x="4191" y="130"/>
                </a:lnTo>
                <a:close/>
                <a:moveTo>
                  <a:pt x="4262" y="122"/>
                </a:moveTo>
                <a:lnTo>
                  <a:pt x="4298" y="118"/>
                </a:lnTo>
                <a:lnTo>
                  <a:pt x="4294" y="83"/>
                </a:lnTo>
                <a:lnTo>
                  <a:pt x="4259" y="86"/>
                </a:lnTo>
                <a:lnTo>
                  <a:pt x="4262" y="122"/>
                </a:lnTo>
                <a:close/>
                <a:moveTo>
                  <a:pt x="4334" y="115"/>
                </a:moveTo>
                <a:lnTo>
                  <a:pt x="4369" y="112"/>
                </a:lnTo>
                <a:lnTo>
                  <a:pt x="4366" y="76"/>
                </a:lnTo>
                <a:lnTo>
                  <a:pt x="4330" y="79"/>
                </a:lnTo>
                <a:lnTo>
                  <a:pt x="4334" y="115"/>
                </a:lnTo>
                <a:close/>
                <a:moveTo>
                  <a:pt x="4405" y="108"/>
                </a:moveTo>
                <a:lnTo>
                  <a:pt x="4441" y="105"/>
                </a:lnTo>
                <a:lnTo>
                  <a:pt x="4438" y="69"/>
                </a:lnTo>
                <a:lnTo>
                  <a:pt x="4402" y="72"/>
                </a:lnTo>
                <a:lnTo>
                  <a:pt x="4405" y="108"/>
                </a:lnTo>
                <a:close/>
                <a:moveTo>
                  <a:pt x="4477" y="102"/>
                </a:moveTo>
                <a:lnTo>
                  <a:pt x="4500" y="100"/>
                </a:lnTo>
                <a:lnTo>
                  <a:pt x="4513" y="99"/>
                </a:lnTo>
                <a:lnTo>
                  <a:pt x="4509" y="63"/>
                </a:lnTo>
                <a:lnTo>
                  <a:pt x="4497" y="64"/>
                </a:lnTo>
                <a:lnTo>
                  <a:pt x="4474" y="66"/>
                </a:lnTo>
                <a:lnTo>
                  <a:pt x="4477" y="102"/>
                </a:lnTo>
                <a:close/>
                <a:moveTo>
                  <a:pt x="4548" y="96"/>
                </a:moveTo>
                <a:lnTo>
                  <a:pt x="4584" y="93"/>
                </a:lnTo>
                <a:lnTo>
                  <a:pt x="4581" y="57"/>
                </a:lnTo>
                <a:lnTo>
                  <a:pt x="4545" y="60"/>
                </a:lnTo>
                <a:lnTo>
                  <a:pt x="4548" y="96"/>
                </a:lnTo>
                <a:close/>
                <a:moveTo>
                  <a:pt x="4620" y="90"/>
                </a:moveTo>
                <a:lnTo>
                  <a:pt x="4656" y="87"/>
                </a:lnTo>
                <a:lnTo>
                  <a:pt x="4653" y="51"/>
                </a:lnTo>
                <a:lnTo>
                  <a:pt x="4617" y="54"/>
                </a:lnTo>
                <a:lnTo>
                  <a:pt x="4620" y="90"/>
                </a:lnTo>
                <a:close/>
                <a:moveTo>
                  <a:pt x="4692" y="84"/>
                </a:moveTo>
                <a:lnTo>
                  <a:pt x="4700" y="84"/>
                </a:lnTo>
                <a:lnTo>
                  <a:pt x="4727" y="82"/>
                </a:lnTo>
                <a:lnTo>
                  <a:pt x="4725" y="46"/>
                </a:lnTo>
                <a:lnTo>
                  <a:pt x="4697" y="48"/>
                </a:lnTo>
                <a:lnTo>
                  <a:pt x="4689" y="49"/>
                </a:lnTo>
                <a:lnTo>
                  <a:pt x="4692" y="84"/>
                </a:lnTo>
                <a:close/>
                <a:moveTo>
                  <a:pt x="4763" y="79"/>
                </a:moveTo>
                <a:lnTo>
                  <a:pt x="4799" y="77"/>
                </a:lnTo>
                <a:lnTo>
                  <a:pt x="4796" y="41"/>
                </a:lnTo>
                <a:lnTo>
                  <a:pt x="4761" y="43"/>
                </a:lnTo>
                <a:lnTo>
                  <a:pt x="4763" y="79"/>
                </a:lnTo>
                <a:close/>
                <a:moveTo>
                  <a:pt x="4835" y="75"/>
                </a:moveTo>
                <a:lnTo>
                  <a:pt x="4870" y="72"/>
                </a:lnTo>
                <a:lnTo>
                  <a:pt x="4868" y="36"/>
                </a:lnTo>
                <a:lnTo>
                  <a:pt x="4832" y="39"/>
                </a:lnTo>
                <a:lnTo>
                  <a:pt x="4835" y="75"/>
                </a:lnTo>
                <a:close/>
                <a:moveTo>
                  <a:pt x="4906" y="70"/>
                </a:moveTo>
                <a:lnTo>
                  <a:pt x="4909" y="70"/>
                </a:lnTo>
                <a:lnTo>
                  <a:pt x="4942" y="68"/>
                </a:lnTo>
                <a:lnTo>
                  <a:pt x="4940" y="32"/>
                </a:lnTo>
                <a:lnTo>
                  <a:pt x="4907" y="34"/>
                </a:lnTo>
                <a:lnTo>
                  <a:pt x="4904" y="34"/>
                </a:lnTo>
                <a:lnTo>
                  <a:pt x="4906" y="70"/>
                </a:lnTo>
                <a:close/>
                <a:moveTo>
                  <a:pt x="4978" y="66"/>
                </a:moveTo>
                <a:lnTo>
                  <a:pt x="5014" y="64"/>
                </a:lnTo>
                <a:lnTo>
                  <a:pt x="5012" y="28"/>
                </a:lnTo>
                <a:lnTo>
                  <a:pt x="4976" y="30"/>
                </a:lnTo>
                <a:lnTo>
                  <a:pt x="4978" y="66"/>
                </a:lnTo>
                <a:close/>
                <a:moveTo>
                  <a:pt x="5050" y="62"/>
                </a:moveTo>
                <a:lnTo>
                  <a:pt x="5086" y="60"/>
                </a:lnTo>
                <a:lnTo>
                  <a:pt x="5084" y="24"/>
                </a:lnTo>
                <a:lnTo>
                  <a:pt x="5048" y="26"/>
                </a:lnTo>
                <a:lnTo>
                  <a:pt x="5050" y="62"/>
                </a:lnTo>
                <a:close/>
                <a:moveTo>
                  <a:pt x="5122" y="58"/>
                </a:moveTo>
                <a:lnTo>
                  <a:pt x="5128" y="58"/>
                </a:lnTo>
                <a:lnTo>
                  <a:pt x="5157" y="56"/>
                </a:lnTo>
                <a:lnTo>
                  <a:pt x="5156" y="20"/>
                </a:lnTo>
                <a:lnTo>
                  <a:pt x="5126" y="22"/>
                </a:lnTo>
                <a:lnTo>
                  <a:pt x="5120" y="22"/>
                </a:lnTo>
                <a:lnTo>
                  <a:pt x="5122" y="58"/>
                </a:lnTo>
                <a:close/>
                <a:moveTo>
                  <a:pt x="5193" y="55"/>
                </a:moveTo>
                <a:lnTo>
                  <a:pt x="5229" y="53"/>
                </a:lnTo>
                <a:lnTo>
                  <a:pt x="5227" y="17"/>
                </a:lnTo>
                <a:lnTo>
                  <a:pt x="5192" y="19"/>
                </a:lnTo>
                <a:lnTo>
                  <a:pt x="5193" y="55"/>
                </a:lnTo>
                <a:close/>
                <a:moveTo>
                  <a:pt x="5265" y="51"/>
                </a:moveTo>
                <a:lnTo>
                  <a:pt x="5301" y="50"/>
                </a:lnTo>
                <a:lnTo>
                  <a:pt x="5299" y="14"/>
                </a:lnTo>
                <a:lnTo>
                  <a:pt x="5263" y="15"/>
                </a:lnTo>
                <a:lnTo>
                  <a:pt x="5265" y="51"/>
                </a:lnTo>
                <a:close/>
                <a:moveTo>
                  <a:pt x="5337" y="49"/>
                </a:moveTo>
                <a:lnTo>
                  <a:pt x="5356" y="48"/>
                </a:lnTo>
                <a:lnTo>
                  <a:pt x="5373" y="47"/>
                </a:lnTo>
                <a:lnTo>
                  <a:pt x="5371" y="11"/>
                </a:lnTo>
                <a:lnTo>
                  <a:pt x="5355" y="12"/>
                </a:lnTo>
                <a:lnTo>
                  <a:pt x="5335" y="13"/>
                </a:lnTo>
                <a:lnTo>
                  <a:pt x="5337" y="49"/>
                </a:lnTo>
                <a:close/>
                <a:moveTo>
                  <a:pt x="5409" y="46"/>
                </a:moveTo>
                <a:lnTo>
                  <a:pt x="5444" y="45"/>
                </a:lnTo>
                <a:lnTo>
                  <a:pt x="5443" y="9"/>
                </a:lnTo>
                <a:lnTo>
                  <a:pt x="5407" y="10"/>
                </a:lnTo>
                <a:lnTo>
                  <a:pt x="5409" y="46"/>
                </a:lnTo>
                <a:close/>
                <a:moveTo>
                  <a:pt x="5480" y="44"/>
                </a:moveTo>
                <a:lnTo>
                  <a:pt x="5516" y="43"/>
                </a:lnTo>
                <a:lnTo>
                  <a:pt x="5515" y="7"/>
                </a:lnTo>
                <a:lnTo>
                  <a:pt x="5479" y="8"/>
                </a:lnTo>
                <a:lnTo>
                  <a:pt x="5480" y="44"/>
                </a:lnTo>
                <a:close/>
                <a:moveTo>
                  <a:pt x="5552" y="42"/>
                </a:moveTo>
                <a:lnTo>
                  <a:pt x="5588" y="41"/>
                </a:lnTo>
                <a:lnTo>
                  <a:pt x="5587" y="5"/>
                </a:lnTo>
                <a:lnTo>
                  <a:pt x="5551" y="6"/>
                </a:lnTo>
                <a:lnTo>
                  <a:pt x="5552" y="42"/>
                </a:lnTo>
                <a:close/>
                <a:moveTo>
                  <a:pt x="5624" y="40"/>
                </a:moveTo>
                <a:lnTo>
                  <a:pt x="5660" y="39"/>
                </a:lnTo>
                <a:lnTo>
                  <a:pt x="5659" y="4"/>
                </a:lnTo>
                <a:lnTo>
                  <a:pt x="5623" y="4"/>
                </a:lnTo>
                <a:lnTo>
                  <a:pt x="5624" y="40"/>
                </a:lnTo>
                <a:close/>
                <a:moveTo>
                  <a:pt x="5696" y="39"/>
                </a:moveTo>
                <a:lnTo>
                  <a:pt x="5719" y="38"/>
                </a:lnTo>
                <a:lnTo>
                  <a:pt x="5731" y="38"/>
                </a:lnTo>
                <a:lnTo>
                  <a:pt x="5731" y="2"/>
                </a:lnTo>
                <a:lnTo>
                  <a:pt x="5718" y="2"/>
                </a:lnTo>
                <a:lnTo>
                  <a:pt x="5695" y="3"/>
                </a:lnTo>
                <a:lnTo>
                  <a:pt x="5696" y="39"/>
                </a:lnTo>
                <a:close/>
                <a:moveTo>
                  <a:pt x="5767" y="38"/>
                </a:moveTo>
                <a:lnTo>
                  <a:pt x="5803" y="37"/>
                </a:lnTo>
                <a:lnTo>
                  <a:pt x="5803" y="1"/>
                </a:lnTo>
                <a:lnTo>
                  <a:pt x="5767" y="2"/>
                </a:lnTo>
                <a:lnTo>
                  <a:pt x="5767" y="38"/>
                </a:lnTo>
                <a:close/>
                <a:moveTo>
                  <a:pt x="5839" y="37"/>
                </a:moveTo>
                <a:lnTo>
                  <a:pt x="5845" y="37"/>
                </a:lnTo>
                <a:lnTo>
                  <a:pt x="5875" y="36"/>
                </a:lnTo>
                <a:lnTo>
                  <a:pt x="5875" y="0"/>
                </a:lnTo>
                <a:lnTo>
                  <a:pt x="5844" y="1"/>
                </a:lnTo>
                <a:lnTo>
                  <a:pt x="5839" y="1"/>
                </a:lnTo>
                <a:lnTo>
                  <a:pt x="5839" y="37"/>
                </a:lnTo>
                <a:close/>
                <a:moveTo>
                  <a:pt x="5911" y="36"/>
                </a:moveTo>
                <a:lnTo>
                  <a:pt x="5947" y="36"/>
                </a:lnTo>
                <a:lnTo>
                  <a:pt x="5947" y="0"/>
                </a:lnTo>
                <a:lnTo>
                  <a:pt x="5911" y="0"/>
                </a:lnTo>
                <a:lnTo>
                  <a:pt x="5911" y="36"/>
                </a:lnTo>
                <a:close/>
                <a:moveTo>
                  <a:pt x="5983" y="36"/>
                </a:moveTo>
                <a:lnTo>
                  <a:pt x="6019" y="36"/>
                </a:lnTo>
                <a:lnTo>
                  <a:pt x="6019" y="0"/>
                </a:lnTo>
                <a:lnTo>
                  <a:pt x="5983" y="0"/>
                </a:lnTo>
                <a:lnTo>
                  <a:pt x="5983" y="36"/>
                </a:lnTo>
                <a:close/>
                <a:moveTo>
                  <a:pt x="6055" y="36"/>
                </a:moveTo>
                <a:lnTo>
                  <a:pt x="6091" y="36"/>
                </a:lnTo>
                <a:lnTo>
                  <a:pt x="6091" y="0"/>
                </a:lnTo>
                <a:lnTo>
                  <a:pt x="6055" y="0"/>
                </a:lnTo>
                <a:lnTo>
                  <a:pt x="6055" y="36"/>
                </a:lnTo>
                <a:close/>
                <a:moveTo>
                  <a:pt x="6127" y="36"/>
                </a:moveTo>
                <a:lnTo>
                  <a:pt x="6162" y="36"/>
                </a:lnTo>
                <a:lnTo>
                  <a:pt x="6163" y="0"/>
                </a:lnTo>
                <a:lnTo>
                  <a:pt x="6127" y="0"/>
                </a:lnTo>
                <a:lnTo>
                  <a:pt x="6127" y="36"/>
                </a:lnTo>
                <a:close/>
                <a:moveTo>
                  <a:pt x="6198" y="36"/>
                </a:moveTo>
                <a:lnTo>
                  <a:pt x="6234" y="36"/>
                </a:lnTo>
                <a:lnTo>
                  <a:pt x="6235" y="0"/>
                </a:lnTo>
                <a:lnTo>
                  <a:pt x="6199" y="0"/>
                </a:lnTo>
                <a:lnTo>
                  <a:pt x="6198" y="36"/>
                </a:lnTo>
                <a:close/>
                <a:moveTo>
                  <a:pt x="6270" y="37"/>
                </a:moveTo>
                <a:lnTo>
                  <a:pt x="6306" y="37"/>
                </a:lnTo>
                <a:lnTo>
                  <a:pt x="6306" y="1"/>
                </a:lnTo>
                <a:lnTo>
                  <a:pt x="6271" y="1"/>
                </a:lnTo>
                <a:lnTo>
                  <a:pt x="6270" y="37"/>
                </a:lnTo>
                <a:close/>
                <a:moveTo>
                  <a:pt x="6342" y="37"/>
                </a:moveTo>
                <a:lnTo>
                  <a:pt x="6377" y="38"/>
                </a:lnTo>
                <a:lnTo>
                  <a:pt x="6377" y="2"/>
                </a:lnTo>
                <a:lnTo>
                  <a:pt x="6342" y="1"/>
                </a:lnTo>
                <a:lnTo>
                  <a:pt x="6342" y="37"/>
                </a:lnTo>
                <a:close/>
              </a:path>
            </a:pathLst>
          </a:custGeom>
          <a:solidFill>
            <a:srgbClr val="009999"/>
          </a:solidFill>
          <a:ln w="0" cap="flat">
            <a:solidFill>
              <a:srgbClr val="00999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Rectangle 10"/>
          <p:cNvSpPr>
            <a:spLocks noChangeArrowheads="1"/>
          </p:cNvSpPr>
          <p:nvPr/>
        </p:nvSpPr>
        <p:spPr bwMode="auto">
          <a:xfrm>
            <a:off x="7251536" y="5578660"/>
            <a:ext cx="238125"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zh-CN" sz="700" b="0" i="0" u="none" strike="noStrike" cap="none" normalizeH="0" baseline="0">
                <a:ln>
                  <a:noFill/>
                </a:ln>
                <a:solidFill>
                  <a:srgbClr val="FFFFFF"/>
                </a:solidFill>
                <a:effectLst/>
                <a:latin typeface="Arial" panose="020B0604020202020204" pitchFamily="34" charset="0"/>
                <a:ea typeface="DengXian" panose="02010600030101010101" pitchFamily="2" charset="-122"/>
              </a:rPr>
              <a:t>IP@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Freeform 11"/>
          <p:cNvSpPr>
            <a:spLocks/>
          </p:cNvSpPr>
          <p:nvPr/>
        </p:nvSpPr>
        <p:spPr bwMode="auto">
          <a:xfrm>
            <a:off x="8080002" y="4710767"/>
            <a:ext cx="1807701" cy="735806"/>
          </a:xfrm>
          <a:custGeom>
            <a:avLst/>
            <a:gdLst>
              <a:gd name="T0" fmla="*/ 391 w 3837"/>
              <a:gd name="T1" fmla="*/ 419 h 1254"/>
              <a:gd name="T2" fmla="*/ 887 w 3837"/>
              <a:gd name="T3" fmla="*/ 131 h 1254"/>
              <a:gd name="T4" fmla="*/ 1257 w 3837"/>
              <a:gd name="T5" fmla="*/ 164 h 1254"/>
              <a:gd name="T6" fmla="*/ 1876 w 3837"/>
              <a:gd name="T7" fmla="*/ 80 h 1254"/>
              <a:gd name="T8" fmla="*/ 1982 w 3837"/>
              <a:gd name="T9" fmla="*/ 115 h 1254"/>
              <a:gd name="T10" fmla="*/ 2484 w 3837"/>
              <a:gd name="T11" fmla="*/ 41 h 1254"/>
              <a:gd name="T12" fmla="*/ 2614 w 3837"/>
              <a:gd name="T13" fmla="*/ 88 h 1254"/>
              <a:gd name="T14" fmla="*/ 3201 w 3837"/>
              <a:gd name="T15" fmla="*/ 67 h 1254"/>
              <a:gd name="T16" fmla="*/ 3342 w 3837"/>
              <a:gd name="T17" fmla="*/ 174 h 1254"/>
              <a:gd name="T18" fmla="*/ 3663 w 3837"/>
              <a:gd name="T19" fmla="*/ 422 h 1254"/>
              <a:gd name="T20" fmla="*/ 3642 w 3837"/>
              <a:gd name="T21" fmla="*/ 449 h 1254"/>
              <a:gd name="T22" fmla="*/ 3535 w 3837"/>
              <a:gd name="T23" fmla="*/ 808 h 1254"/>
              <a:gd name="T24" fmla="*/ 3264 w 3837"/>
              <a:gd name="T25" fmla="*/ 858 h 1254"/>
              <a:gd name="T26" fmla="*/ 2764 w 3837"/>
              <a:gd name="T27" fmla="*/ 1075 h 1254"/>
              <a:gd name="T28" fmla="*/ 2505 w 3837"/>
              <a:gd name="T29" fmla="*/ 1042 h 1254"/>
              <a:gd name="T30" fmla="*/ 1783 w 3837"/>
              <a:gd name="T31" fmla="*/ 1213 h 1254"/>
              <a:gd name="T32" fmla="*/ 1470 w 3837"/>
              <a:gd name="T33" fmla="*/ 1110 h 1254"/>
              <a:gd name="T34" fmla="*/ 561 w 3837"/>
              <a:gd name="T35" fmla="*/ 1010 h 1254"/>
              <a:gd name="T36" fmla="*/ 554 w 3837"/>
              <a:gd name="T37" fmla="*/ 1005 h 1254"/>
              <a:gd name="T38" fmla="*/ 139 w 3837"/>
              <a:gd name="T39" fmla="*/ 861 h 1254"/>
              <a:gd name="T40" fmla="*/ 238 w 3837"/>
              <a:gd name="T41" fmla="*/ 729 h 1254"/>
              <a:gd name="T42" fmla="*/ 104 w 3837"/>
              <a:gd name="T43" fmla="*/ 503 h 1254"/>
              <a:gd name="T44" fmla="*/ 388 w 3837"/>
              <a:gd name="T45" fmla="*/ 422 h 1254"/>
              <a:gd name="T46" fmla="*/ 391 w 3837"/>
              <a:gd name="T47" fmla="*/ 419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7" h="1254">
                <a:moveTo>
                  <a:pt x="391" y="419"/>
                </a:moveTo>
                <a:cubicBezTo>
                  <a:pt x="348" y="279"/>
                  <a:pt x="570" y="150"/>
                  <a:pt x="887" y="131"/>
                </a:cubicBezTo>
                <a:cubicBezTo>
                  <a:pt x="1015" y="124"/>
                  <a:pt x="1145" y="135"/>
                  <a:pt x="1257" y="164"/>
                </a:cubicBezTo>
                <a:cubicBezTo>
                  <a:pt x="1376" y="66"/>
                  <a:pt x="1653" y="28"/>
                  <a:pt x="1876" y="80"/>
                </a:cubicBezTo>
                <a:cubicBezTo>
                  <a:pt x="1915" y="90"/>
                  <a:pt x="1950" y="101"/>
                  <a:pt x="1982" y="115"/>
                </a:cubicBezTo>
                <a:cubicBezTo>
                  <a:pt x="2074" y="33"/>
                  <a:pt x="2299" y="0"/>
                  <a:pt x="2484" y="41"/>
                </a:cubicBezTo>
                <a:cubicBezTo>
                  <a:pt x="2535" y="52"/>
                  <a:pt x="2580" y="68"/>
                  <a:pt x="2614" y="88"/>
                </a:cubicBezTo>
                <a:cubicBezTo>
                  <a:pt x="2763" y="11"/>
                  <a:pt x="3026" y="2"/>
                  <a:pt x="3201" y="67"/>
                </a:cubicBezTo>
                <a:cubicBezTo>
                  <a:pt x="3275" y="95"/>
                  <a:pt x="3325" y="133"/>
                  <a:pt x="3342" y="174"/>
                </a:cubicBezTo>
                <a:cubicBezTo>
                  <a:pt x="3586" y="204"/>
                  <a:pt x="3729" y="315"/>
                  <a:pt x="3663" y="422"/>
                </a:cubicBezTo>
                <a:cubicBezTo>
                  <a:pt x="3657" y="431"/>
                  <a:pt x="3650" y="440"/>
                  <a:pt x="3642" y="449"/>
                </a:cubicBezTo>
                <a:cubicBezTo>
                  <a:pt x="3837" y="561"/>
                  <a:pt x="3790" y="722"/>
                  <a:pt x="3535" y="808"/>
                </a:cubicBezTo>
                <a:cubicBezTo>
                  <a:pt x="3456" y="835"/>
                  <a:pt x="3362" y="852"/>
                  <a:pt x="3264" y="858"/>
                </a:cubicBezTo>
                <a:cubicBezTo>
                  <a:pt x="3261" y="979"/>
                  <a:pt x="3038" y="1076"/>
                  <a:pt x="2764" y="1075"/>
                </a:cubicBezTo>
                <a:cubicBezTo>
                  <a:pt x="2672" y="1075"/>
                  <a:pt x="2583" y="1063"/>
                  <a:pt x="2505" y="1042"/>
                </a:cubicBezTo>
                <a:cubicBezTo>
                  <a:pt x="2412" y="1177"/>
                  <a:pt x="2089" y="1254"/>
                  <a:pt x="1783" y="1213"/>
                </a:cubicBezTo>
                <a:cubicBezTo>
                  <a:pt x="1655" y="1196"/>
                  <a:pt x="1544" y="1159"/>
                  <a:pt x="1470" y="1110"/>
                </a:cubicBezTo>
                <a:cubicBezTo>
                  <a:pt x="1156" y="1193"/>
                  <a:pt x="750" y="1149"/>
                  <a:pt x="561" y="1010"/>
                </a:cubicBezTo>
                <a:cubicBezTo>
                  <a:pt x="559" y="1008"/>
                  <a:pt x="556" y="1007"/>
                  <a:pt x="554" y="1005"/>
                </a:cubicBezTo>
                <a:cubicBezTo>
                  <a:pt x="349" y="1015"/>
                  <a:pt x="163" y="951"/>
                  <a:pt x="139" y="861"/>
                </a:cubicBezTo>
                <a:cubicBezTo>
                  <a:pt x="127" y="813"/>
                  <a:pt x="162" y="764"/>
                  <a:pt x="238" y="729"/>
                </a:cubicBezTo>
                <a:cubicBezTo>
                  <a:pt x="60" y="683"/>
                  <a:pt x="0" y="582"/>
                  <a:pt x="104" y="503"/>
                </a:cubicBezTo>
                <a:cubicBezTo>
                  <a:pt x="164" y="458"/>
                  <a:pt x="270" y="428"/>
                  <a:pt x="388" y="422"/>
                </a:cubicBezTo>
                <a:lnTo>
                  <a:pt x="391" y="419"/>
                </a:lnTo>
                <a:close/>
              </a:path>
            </a:pathLst>
          </a:custGeom>
          <a:noFill/>
          <a:ln w="10795"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12"/>
          <p:cNvSpPr>
            <a:spLocks noChangeArrowheads="1"/>
          </p:cNvSpPr>
          <p:nvPr/>
        </p:nvSpPr>
        <p:spPr bwMode="auto">
          <a:xfrm>
            <a:off x="8608444" y="4887916"/>
            <a:ext cx="7508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ts val="800"/>
              </a:spcAft>
              <a:buClrTx/>
              <a:buSzTx/>
              <a:buFontTx/>
              <a:buNone/>
              <a:tabLst/>
            </a:pPr>
            <a:r>
              <a:rPr kumimoji="0" lang="en-US" altLang="en-US" sz="18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DN -1</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
        <p:nvSpPr>
          <p:cNvPr id="9" name="Oval 13"/>
          <p:cNvSpPr>
            <a:spLocks noChangeArrowheads="1"/>
          </p:cNvSpPr>
          <p:nvPr/>
        </p:nvSpPr>
        <p:spPr bwMode="auto">
          <a:xfrm>
            <a:off x="6691263" y="5300864"/>
            <a:ext cx="805388" cy="35563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t" anchorCtr="0" compatLnSpc="1">
            <a:prstTxWarp prst="textNoShape">
              <a:avLst/>
            </a:prstTxWarp>
          </a:bodyPr>
          <a:lstStyle/>
          <a:p>
            <a:r>
              <a:rPr lang="en-US" sz="1100" b="1" dirty="0">
                <a:solidFill>
                  <a:srgbClr val="FF0000"/>
                </a:solidFill>
              </a:rPr>
              <a:t>IP@Y</a:t>
            </a:r>
          </a:p>
        </p:txBody>
      </p:sp>
      <p:sp>
        <p:nvSpPr>
          <p:cNvPr id="10" name="Freeform 16"/>
          <p:cNvSpPr>
            <a:spLocks/>
          </p:cNvSpPr>
          <p:nvPr/>
        </p:nvSpPr>
        <p:spPr bwMode="auto">
          <a:xfrm flipH="1">
            <a:off x="2035354" y="4988824"/>
            <a:ext cx="253207" cy="693817"/>
          </a:xfrm>
          <a:custGeom>
            <a:avLst/>
            <a:gdLst>
              <a:gd name="T0" fmla="*/ 0 w 253"/>
              <a:gd name="T1" fmla="*/ 374 h 501"/>
              <a:gd name="T2" fmla="*/ 63 w 253"/>
              <a:gd name="T3" fmla="*/ 374 h 501"/>
              <a:gd name="T4" fmla="*/ 63 w 253"/>
              <a:gd name="T5" fmla="*/ 0 h 501"/>
              <a:gd name="T6" fmla="*/ 190 w 253"/>
              <a:gd name="T7" fmla="*/ 0 h 501"/>
              <a:gd name="T8" fmla="*/ 190 w 253"/>
              <a:gd name="T9" fmla="*/ 374 h 501"/>
              <a:gd name="T10" fmla="*/ 253 w 253"/>
              <a:gd name="T11" fmla="*/ 374 h 501"/>
              <a:gd name="T12" fmla="*/ 126 w 253"/>
              <a:gd name="T13" fmla="*/ 501 h 501"/>
              <a:gd name="T14" fmla="*/ 0 w 253"/>
              <a:gd name="T15" fmla="*/ 374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501">
                <a:moveTo>
                  <a:pt x="0" y="374"/>
                </a:moveTo>
                <a:lnTo>
                  <a:pt x="63" y="374"/>
                </a:lnTo>
                <a:lnTo>
                  <a:pt x="63" y="0"/>
                </a:lnTo>
                <a:lnTo>
                  <a:pt x="190" y="0"/>
                </a:lnTo>
                <a:lnTo>
                  <a:pt x="190" y="374"/>
                </a:lnTo>
                <a:lnTo>
                  <a:pt x="253" y="374"/>
                </a:lnTo>
                <a:lnTo>
                  <a:pt x="126" y="501"/>
                </a:lnTo>
                <a:lnTo>
                  <a:pt x="0" y="374"/>
                </a:lnTo>
                <a:close/>
              </a:path>
            </a:pathLst>
          </a:custGeom>
          <a:solidFill>
            <a:schemeClr val="tx2">
              <a:lumMod val="50000"/>
              <a:lumOff val="50000"/>
            </a:schemeClr>
          </a:solidFill>
          <a:ln w="10795" cap="flat">
            <a:solidFill>
              <a:srgbClr val="58585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56"/>
          <p:cNvSpPr>
            <a:spLocks noChangeAspect="1" noEditPoints="1"/>
          </p:cNvSpPr>
          <p:nvPr/>
        </p:nvSpPr>
        <p:spPr bwMode="auto">
          <a:xfrm>
            <a:off x="2954942" y="4479811"/>
            <a:ext cx="589585" cy="493026"/>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prstClr val="black"/>
              </a:solidFill>
              <a:effectLst/>
              <a:uLnTx/>
              <a:uFillTx/>
              <a:latin typeface="Calibri"/>
              <a:ea typeface="宋体"/>
            </a:endParaRPr>
          </a:p>
        </p:txBody>
      </p:sp>
      <p:sp>
        <p:nvSpPr>
          <p:cNvPr id="12" name="TextBox 11"/>
          <p:cNvSpPr txBox="1"/>
          <p:nvPr/>
        </p:nvSpPr>
        <p:spPr>
          <a:xfrm>
            <a:off x="3107341" y="4749417"/>
            <a:ext cx="295274" cy="276999"/>
          </a:xfrm>
          <a:prstGeom prst="rect">
            <a:avLst/>
          </a:prstGeom>
          <a:noFill/>
        </p:spPr>
        <p:txBody>
          <a:bodyPr wrap="none" rtlCol="0">
            <a:spAutoFit/>
          </a:bodyPr>
          <a:lstStyle/>
          <a:p>
            <a:r>
              <a:rPr lang="en-US" sz="1200" b="1" dirty="0">
                <a:solidFill>
                  <a:schemeClr val="accent2"/>
                </a:solidFill>
              </a:rPr>
              <a:t>A</a:t>
            </a:r>
          </a:p>
        </p:txBody>
      </p:sp>
      <p:sp>
        <p:nvSpPr>
          <p:cNvPr id="13" name="Freeform 56"/>
          <p:cNvSpPr>
            <a:spLocks noChangeAspect="1" noEditPoints="1"/>
          </p:cNvSpPr>
          <p:nvPr/>
        </p:nvSpPr>
        <p:spPr bwMode="auto">
          <a:xfrm>
            <a:off x="2941438" y="5768578"/>
            <a:ext cx="589585" cy="493026"/>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prstClr val="black"/>
              </a:solidFill>
              <a:effectLst/>
              <a:uLnTx/>
              <a:uFillTx/>
              <a:latin typeface="Calibri"/>
              <a:ea typeface="宋体"/>
            </a:endParaRPr>
          </a:p>
        </p:txBody>
      </p:sp>
      <p:sp>
        <p:nvSpPr>
          <p:cNvPr id="14" name="TextBox 13"/>
          <p:cNvSpPr txBox="1"/>
          <p:nvPr/>
        </p:nvSpPr>
        <p:spPr>
          <a:xfrm>
            <a:off x="3124434" y="6011295"/>
            <a:ext cx="223591" cy="276999"/>
          </a:xfrm>
          <a:prstGeom prst="rect">
            <a:avLst/>
          </a:prstGeom>
          <a:noFill/>
        </p:spPr>
        <p:txBody>
          <a:bodyPr wrap="square" rtlCol="0">
            <a:spAutoFit/>
          </a:bodyPr>
          <a:lstStyle/>
          <a:p>
            <a:r>
              <a:rPr lang="en-US" sz="1200" b="1" dirty="0">
                <a:solidFill>
                  <a:schemeClr val="accent2"/>
                </a:solidFill>
              </a:rPr>
              <a:t>B</a:t>
            </a:r>
          </a:p>
        </p:txBody>
      </p:sp>
      <p:sp>
        <p:nvSpPr>
          <p:cNvPr id="15" name="Freeform 4"/>
          <p:cNvSpPr>
            <a:spLocks noChangeAspect="1" noEditPoints="1"/>
          </p:cNvSpPr>
          <p:nvPr/>
        </p:nvSpPr>
        <p:spPr bwMode="auto">
          <a:xfrm>
            <a:off x="2051352" y="4452333"/>
            <a:ext cx="221209" cy="40810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a:p>
        </p:txBody>
      </p:sp>
      <p:sp>
        <p:nvSpPr>
          <p:cNvPr id="16" name="Freeform 4"/>
          <p:cNvSpPr>
            <a:spLocks noChangeAspect="1" noEditPoints="1"/>
          </p:cNvSpPr>
          <p:nvPr/>
        </p:nvSpPr>
        <p:spPr bwMode="auto">
          <a:xfrm>
            <a:off x="2034348" y="5945741"/>
            <a:ext cx="221209" cy="40810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a:p>
        </p:txBody>
      </p:sp>
      <p:sp>
        <p:nvSpPr>
          <p:cNvPr id="17" name="Rectangle 17"/>
          <p:cNvSpPr>
            <a:spLocks noChangeArrowheads="1"/>
          </p:cNvSpPr>
          <p:nvPr/>
        </p:nvSpPr>
        <p:spPr bwMode="auto">
          <a:xfrm>
            <a:off x="5593404" y="4412910"/>
            <a:ext cx="1823845" cy="671512"/>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b="1" dirty="0"/>
              <a:t>S-UPF1</a:t>
            </a:r>
          </a:p>
        </p:txBody>
      </p:sp>
      <p:sp>
        <p:nvSpPr>
          <p:cNvPr id="18" name="Oval 13"/>
          <p:cNvSpPr>
            <a:spLocks noChangeArrowheads="1"/>
          </p:cNvSpPr>
          <p:nvPr/>
        </p:nvSpPr>
        <p:spPr bwMode="auto">
          <a:xfrm>
            <a:off x="6648915" y="4461002"/>
            <a:ext cx="805388" cy="35563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t" anchorCtr="0" compatLnSpc="1">
            <a:prstTxWarp prst="textNoShape">
              <a:avLst/>
            </a:prstTxWarp>
          </a:bodyPr>
          <a:lstStyle/>
          <a:p>
            <a:r>
              <a:rPr lang="en-US" sz="1100" b="1" dirty="0">
                <a:solidFill>
                  <a:srgbClr val="FF0000"/>
                </a:solidFill>
              </a:rPr>
              <a:t>IP@X</a:t>
            </a:r>
          </a:p>
        </p:txBody>
      </p:sp>
      <p:sp>
        <p:nvSpPr>
          <p:cNvPr id="19" name="Freeform 8"/>
          <p:cNvSpPr>
            <a:spLocks/>
          </p:cNvSpPr>
          <p:nvPr/>
        </p:nvSpPr>
        <p:spPr bwMode="auto">
          <a:xfrm>
            <a:off x="2285654" y="4622010"/>
            <a:ext cx="6029574" cy="257647"/>
          </a:xfrm>
          <a:custGeom>
            <a:avLst/>
            <a:gdLst>
              <a:gd name="T0" fmla="*/ 0 w 7211"/>
              <a:gd name="T1" fmla="*/ 2 h 455"/>
              <a:gd name="T2" fmla="*/ 1680 w 7211"/>
              <a:gd name="T3" fmla="*/ 71 h 455"/>
              <a:gd name="T4" fmla="*/ 2986 w 7211"/>
              <a:gd name="T5" fmla="*/ 394 h 455"/>
              <a:gd name="T6" fmla="*/ 7211 w 7211"/>
              <a:gd name="T7" fmla="*/ 415 h 455"/>
            </a:gdLst>
            <a:ahLst/>
            <a:cxnLst>
              <a:cxn ang="0">
                <a:pos x="T0" y="T1"/>
              </a:cxn>
              <a:cxn ang="0">
                <a:pos x="T2" y="T3"/>
              </a:cxn>
              <a:cxn ang="0">
                <a:pos x="T4" y="T5"/>
              </a:cxn>
              <a:cxn ang="0">
                <a:pos x="T6" y="T7"/>
              </a:cxn>
            </a:cxnLst>
            <a:rect l="0" t="0" r="r" b="b"/>
            <a:pathLst>
              <a:path w="7211" h="455">
                <a:moveTo>
                  <a:pt x="0" y="2"/>
                </a:moveTo>
                <a:cubicBezTo>
                  <a:pt x="317" y="0"/>
                  <a:pt x="1183" y="5"/>
                  <a:pt x="1680" y="71"/>
                </a:cubicBezTo>
                <a:cubicBezTo>
                  <a:pt x="2178" y="136"/>
                  <a:pt x="2205" y="334"/>
                  <a:pt x="2986" y="394"/>
                </a:cubicBezTo>
                <a:cubicBezTo>
                  <a:pt x="3767" y="455"/>
                  <a:pt x="5731" y="430"/>
                  <a:pt x="7211" y="415"/>
                </a:cubicBezTo>
              </a:path>
            </a:pathLst>
          </a:custGeom>
          <a:noFill/>
          <a:ln w="22860" cap="flat">
            <a:solidFill>
              <a:srgbClr val="00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Multiplication Sign 19"/>
          <p:cNvSpPr/>
          <p:nvPr/>
        </p:nvSpPr>
        <p:spPr bwMode="auto">
          <a:xfrm>
            <a:off x="7160518" y="4401866"/>
            <a:ext cx="817111" cy="826447"/>
          </a:xfrm>
          <a:prstGeom prst="mathMultiply">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96672126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and Service Continuity (SSC) mode 3</a:t>
            </a:r>
          </a:p>
        </p:txBody>
      </p:sp>
      <p:sp>
        <p:nvSpPr>
          <p:cNvPr id="3" name="Text Placeholder 2"/>
          <p:cNvSpPr>
            <a:spLocks noGrp="1"/>
          </p:cNvSpPr>
          <p:nvPr>
            <p:ph type="body" idx="1"/>
          </p:nvPr>
        </p:nvSpPr>
        <p:spPr>
          <a:xfrm>
            <a:off x="356890" y="1627721"/>
            <a:ext cx="11135785" cy="4640558"/>
          </a:xfrm>
        </p:spPr>
        <p:txBody>
          <a:bodyPr/>
          <a:lstStyle/>
          <a:p>
            <a:r>
              <a:rPr lang="en-GB" dirty="0"/>
              <a:t>SSC Mode 3</a:t>
            </a:r>
            <a:r>
              <a:rPr lang="en-US" dirty="0"/>
              <a:t> </a:t>
            </a:r>
            <a:r>
              <a:rPr lang="en-US" i="1" dirty="0"/>
              <a:t>(Make before break)</a:t>
            </a:r>
          </a:p>
          <a:p>
            <a:pPr lvl="1"/>
            <a:r>
              <a:rPr lang="en-US" dirty="0"/>
              <a:t>Allows establishment of UE connectivity via a new Target UPF before the previous Serving UPF is released</a:t>
            </a:r>
          </a:p>
          <a:p>
            <a:pPr lvl="1"/>
            <a:r>
              <a:rPr lang="en-US" dirty="0"/>
              <a:t>When trigger conditions apply the network decides whether to select a UPF suitable for the UEs new conditions (e.g. network attachment point)</a:t>
            </a:r>
          </a:p>
        </p:txBody>
      </p:sp>
      <p:sp>
        <p:nvSpPr>
          <p:cNvPr id="4" name="Freeform: Shape 3"/>
          <p:cNvSpPr/>
          <p:nvPr/>
        </p:nvSpPr>
        <p:spPr bwMode="auto">
          <a:xfrm>
            <a:off x="4873557" y="4594696"/>
            <a:ext cx="2140086" cy="509486"/>
          </a:xfrm>
          <a:custGeom>
            <a:avLst/>
            <a:gdLst>
              <a:gd name="connsiteX0" fmla="*/ 0 w 2140086"/>
              <a:gd name="connsiteY0" fmla="*/ 262647 h 509486"/>
              <a:gd name="connsiteX1" fmla="*/ 369652 w 2140086"/>
              <a:gd name="connsiteY1" fmla="*/ 428017 h 509486"/>
              <a:gd name="connsiteX2" fmla="*/ 846307 w 2140086"/>
              <a:gd name="connsiteY2" fmla="*/ 496111 h 509486"/>
              <a:gd name="connsiteX3" fmla="*/ 1040860 w 2140086"/>
              <a:gd name="connsiteY3" fmla="*/ 457200 h 509486"/>
              <a:gd name="connsiteX4" fmla="*/ 2140086 w 2140086"/>
              <a:gd name="connsiteY4" fmla="*/ 0 h 509486"/>
              <a:gd name="connsiteX5" fmla="*/ 2140086 w 2140086"/>
              <a:gd name="connsiteY5" fmla="*/ 0 h 50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86" h="509486">
                <a:moveTo>
                  <a:pt x="0" y="262647"/>
                </a:moveTo>
                <a:cubicBezTo>
                  <a:pt x="114300" y="325876"/>
                  <a:pt x="228601" y="389106"/>
                  <a:pt x="369652" y="428017"/>
                </a:cubicBezTo>
                <a:cubicBezTo>
                  <a:pt x="510703" y="466928"/>
                  <a:pt x="734439" y="491247"/>
                  <a:pt x="846307" y="496111"/>
                </a:cubicBezTo>
                <a:cubicBezTo>
                  <a:pt x="958175" y="500975"/>
                  <a:pt x="825230" y="539885"/>
                  <a:pt x="1040860" y="457200"/>
                </a:cubicBezTo>
                <a:cubicBezTo>
                  <a:pt x="1256490" y="374515"/>
                  <a:pt x="2140086" y="0"/>
                  <a:pt x="2140086" y="0"/>
                </a:cubicBezTo>
                <a:lnTo>
                  <a:pt x="2140086" y="0"/>
                </a:lnTo>
              </a:path>
            </a:pathLst>
          </a:custGeom>
          <a:noFill/>
          <a:ln w="28575" cap="flat" cmpd="sng" algn="ctr">
            <a:solidFill>
              <a:srgbClr val="92D050"/>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 name="Rectangle 10"/>
          <p:cNvSpPr>
            <a:spLocks noChangeArrowheads="1"/>
          </p:cNvSpPr>
          <p:nvPr/>
        </p:nvSpPr>
        <p:spPr bwMode="auto">
          <a:xfrm>
            <a:off x="7806013" y="4825229"/>
            <a:ext cx="208073"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zh-CN" sz="400" b="0" i="0" u="none" strike="noStrike" cap="none" normalizeH="0" baseline="0">
                <a:ln>
                  <a:noFill/>
                </a:ln>
                <a:solidFill>
                  <a:srgbClr val="FFFFFF"/>
                </a:solidFill>
                <a:effectLst/>
                <a:latin typeface="Arial" panose="020B0604020202020204" pitchFamily="34" charset="0"/>
                <a:ea typeface="DengXian" panose="02010600030101010101" pitchFamily="2" charset="-122"/>
              </a:rPr>
              <a:t>IP@C</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6" name="Freeform 11"/>
          <p:cNvSpPr>
            <a:spLocks/>
          </p:cNvSpPr>
          <p:nvPr/>
        </p:nvSpPr>
        <p:spPr bwMode="auto">
          <a:xfrm>
            <a:off x="2717392" y="4091218"/>
            <a:ext cx="665164" cy="420157"/>
          </a:xfrm>
          <a:custGeom>
            <a:avLst/>
            <a:gdLst>
              <a:gd name="T0" fmla="*/ 391 w 3837"/>
              <a:gd name="T1" fmla="*/ 419 h 1254"/>
              <a:gd name="T2" fmla="*/ 887 w 3837"/>
              <a:gd name="T3" fmla="*/ 131 h 1254"/>
              <a:gd name="T4" fmla="*/ 1257 w 3837"/>
              <a:gd name="T5" fmla="*/ 164 h 1254"/>
              <a:gd name="T6" fmla="*/ 1876 w 3837"/>
              <a:gd name="T7" fmla="*/ 80 h 1254"/>
              <a:gd name="T8" fmla="*/ 1982 w 3837"/>
              <a:gd name="T9" fmla="*/ 115 h 1254"/>
              <a:gd name="T10" fmla="*/ 2484 w 3837"/>
              <a:gd name="T11" fmla="*/ 41 h 1254"/>
              <a:gd name="T12" fmla="*/ 2614 w 3837"/>
              <a:gd name="T13" fmla="*/ 88 h 1254"/>
              <a:gd name="T14" fmla="*/ 3201 w 3837"/>
              <a:gd name="T15" fmla="*/ 67 h 1254"/>
              <a:gd name="T16" fmla="*/ 3342 w 3837"/>
              <a:gd name="T17" fmla="*/ 174 h 1254"/>
              <a:gd name="T18" fmla="*/ 3663 w 3837"/>
              <a:gd name="T19" fmla="*/ 422 h 1254"/>
              <a:gd name="T20" fmla="*/ 3642 w 3837"/>
              <a:gd name="T21" fmla="*/ 449 h 1254"/>
              <a:gd name="T22" fmla="*/ 3535 w 3837"/>
              <a:gd name="T23" fmla="*/ 808 h 1254"/>
              <a:gd name="T24" fmla="*/ 3264 w 3837"/>
              <a:gd name="T25" fmla="*/ 858 h 1254"/>
              <a:gd name="T26" fmla="*/ 2764 w 3837"/>
              <a:gd name="T27" fmla="*/ 1075 h 1254"/>
              <a:gd name="T28" fmla="*/ 2505 w 3837"/>
              <a:gd name="T29" fmla="*/ 1042 h 1254"/>
              <a:gd name="T30" fmla="*/ 1783 w 3837"/>
              <a:gd name="T31" fmla="*/ 1213 h 1254"/>
              <a:gd name="T32" fmla="*/ 1470 w 3837"/>
              <a:gd name="T33" fmla="*/ 1110 h 1254"/>
              <a:gd name="T34" fmla="*/ 561 w 3837"/>
              <a:gd name="T35" fmla="*/ 1010 h 1254"/>
              <a:gd name="T36" fmla="*/ 554 w 3837"/>
              <a:gd name="T37" fmla="*/ 1005 h 1254"/>
              <a:gd name="T38" fmla="*/ 139 w 3837"/>
              <a:gd name="T39" fmla="*/ 861 h 1254"/>
              <a:gd name="T40" fmla="*/ 238 w 3837"/>
              <a:gd name="T41" fmla="*/ 729 h 1254"/>
              <a:gd name="T42" fmla="*/ 104 w 3837"/>
              <a:gd name="T43" fmla="*/ 503 h 1254"/>
              <a:gd name="T44" fmla="*/ 388 w 3837"/>
              <a:gd name="T45" fmla="*/ 422 h 1254"/>
              <a:gd name="T46" fmla="*/ 391 w 3837"/>
              <a:gd name="T47" fmla="*/ 419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7" h="1254">
                <a:moveTo>
                  <a:pt x="391" y="419"/>
                </a:moveTo>
                <a:cubicBezTo>
                  <a:pt x="348" y="279"/>
                  <a:pt x="570" y="150"/>
                  <a:pt x="887" y="131"/>
                </a:cubicBezTo>
                <a:cubicBezTo>
                  <a:pt x="1015" y="124"/>
                  <a:pt x="1145" y="135"/>
                  <a:pt x="1257" y="164"/>
                </a:cubicBezTo>
                <a:cubicBezTo>
                  <a:pt x="1376" y="66"/>
                  <a:pt x="1653" y="28"/>
                  <a:pt x="1876" y="80"/>
                </a:cubicBezTo>
                <a:cubicBezTo>
                  <a:pt x="1915" y="90"/>
                  <a:pt x="1950" y="101"/>
                  <a:pt x="1982" y="115"/>
                </a:cubicBezTo>
                <a:cubicBezTo>
                  <a:pt x="2074" y="33"/>
                  <a:pt x="2299" y="0"/>
                  <a:pt x="2484" y="41"/>
                </a:cubicBezTo>
                <a:cubicBezTo>
                  <a:pt x="2535" y="52"/>
                  <a:pt x="2580" y="68"/>
                  <a:pt x="2614" y="88"/>
                </a:cubicBezTo>
                <a:cubicBezTo>
                  <a:pt x="2763" y="11"/>
                  <a:pt x="3026" y="2"/>
                  <a:pt x="3201" y="67"/>
                </a:cubicBezTo>
                <a:cubicBezTo>
                  <a:pt x="3275" y="95"/>
                  <a:pt x="3325" y="133"/>
                  <a:pt x="3342" y="174"/>
                </a:cubicBezTo>
                <a:cubicBezTo>
                  <a:pt x="3586" y="204"/>
                  <a:pt x="3729" y="315"/>
                  <a:pt x="3663" y="422"/>
                </a:cubicBezTo>
                <a:cubicBezTo>
                  <a:pt x="3657" y="431"/>
                  <a:pt x="3650" y="440"/>
                  <a:pt x="3642" y="449"/>
                </a:cubicBezTo>
                <a:cubicBezTo>
                  <a:pt x="3837" y="561"/>
                  <a:pt x="3790" y="722"/>
                  <a:pt x="3535" y="808"/>
                </a:cubicBezTo>
                <a:cubicBezTo>
                  <a:pt x="3456" y="835"/>
                  <a:pt x="3362" y="852"/>
                  <a:pt x="3264" y="858"/>
                </a:cubicBezTo>
                <a:cubicBezTo>
                  <a:pt x="3261" y="979"/>
                  <a:pt x="3038" y="1076"/>
                  <a:pt x="2764" y="1075"/>
                </a:cubicBezTo>
                <a:cubicBezTo>
                  <a:pt x="2672" y="1075"/>
                  <a:pt x="2583" y="1063"/>
                  <a:pt x="2505" y="1042"/>
                </a:cubicBezTo>
                <a:cubicBezTo>
                  <a:pt x="2412" y="1177"/>
                  <a:pt x="2089" y="1254"/>
                  <a:pt x="1783" y="1213"/>
                </a:cubicBezTo>
                <a:cubicBezTo>
                  <a:pt x="1655" y="1196"/>
                  <a:pt x="1544" y="1159"/>
                  <a:pt x="1470" y="1110"/>
                </a:cubicBezTo>
                <a:cubicBezTo>
                  <a:pt x="1156" y="1193"/>
                  <a:pt x="750" y="1149"/>
                  <a:pt x="561" y="1010"/>
                </a:cubicBezTo>
                <a:cubicBezTo>
                  <a:pt x="559" y="1008"/>
                  <a:pt x="556" y="1007"/>
                  <a:pt x="554" y="1005"/>
                </a:cubicBezTo>
                <a:cubicBezTo>
                  <a:pt x="349" y="1015"/>
                  <a:pt x="163" y="951"/>
                  <a:pt x="139" y="861"/>
                </a:cubicBezTo>
                <a:cubicBezTo>
                  <a:pt x="127" y="813"/>
                  <a:pt x="162" y="764"/>
                  <a:pt x="238" y="729"/>
                </a:cubicBezTo>
                <a:cubicBezTo>
                  <a:pt x="60" y="683"/>
                  <a:pt x="0" y="582"/>
                  <a:pt x="104" y="503"/>
                </a:cubicBezTo>
                <a:cubicBezTo>
                  <a:pt x="164" y="458"/>
                  <a:pt x="270" y="428"/>
                  <a:pt x="388" y="422"/>
                </a:cubicBezTo>
                <a:lnTo>
                  <a:pt x="391" y="419"/>
                </a:lnTo>
                <a:close/>
              </a:path>
            </a:pathLst>
          </a:custGeom>
          <a:noFill/>
          <a:ln w="10795"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7" name="Rectangle 12"/>
          <p:cNvSpPr>
            <a:spLocks noChangeArrowheads="1"/>
          </p:cNvSpPr>
          <p:nvPr/>
        </p:nvSpPr>
        <p:spPr bwMode="auto">
          <a:xfrm>
            <a:off x="2793945" y="4190379"/>
            <a:ext cx="65606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ts val="800"/>
              </a:spcAft>
              <a:buClrTx/>
              <a:buSzTx/>
              <a:buFontTx/>
              <a:buNone/>
              <a:tabLst/>
            </a:pPr>
            <a:r>
              <a:rPr kumimoji="0" lang="en-US" altLang="en-US" sz="12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DN -1</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
        <p:nvSpPr>
          <p:cNvPr id="8" name="Freeform 16"/>
          <p:cNvSpPr>
            <a:spLocks/>
          </p:cNvSpPr>
          <p:nvPr/>
        </p:nvSpPr>
        <p:spPr bwMode="auto">
          <a:xfrm flipH="1">
            <a:off x="573068" y="4734832"/>
            <a:ext cx="221251" cy="396181"/>
          </a:xfrm>
          <a:custGeom>
            <a:avLst/>
            <a:gdLst>
              <a:gd name="T0" fmla="*/ 0 w 253"/>
              <a:gd name="T1" fmla="*/ 374 h 501"/>
              <a:gd name="T2" fmla="*/ 63 w 253"/>
              <a:gd name="T3" fmla="*/ 374 h 501"/>
              <a:gd name="T4" fmla="*/ 63 w 253"/>
              <a:gd name="T5" fmla="*/ 0 h 501"/>
              <a:gd name="T6" fmla="*/ 190 w 253"/>
              <a:gd name="T7" fmla="*/ 0 h 501"/>
              <a:gd name="T8" fmla="*/ 190 w 253"/>
              <a:gd name="T9" fmla="*/ 374 h 501"/>
              <a:gd name="T10" fmla="*/ 253 w 253"/>
              <a:gd name="T11" fmla="*/ 374 h 501"/>
              <a:gd name="T12" fmla="*/ 126 w 253"/>
              <a:gd name="T13" fmla="*/ 501 h 501"/>
              <a:gd name="T14" fmla="*/ 0 w 253"/>
              <a:gd name="T15" fmla="*/ 374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501">
                <a:moveTo>
                  <a:pt x="0" y="374"/>
                </a:moveTo>
                <a:lnTo>
                  <a:pt x="63" y="374"/>
                </a:lnTo>
                <a:lnTo>
                  <a:pt x="63" y="0"/>
                </a:lnTo>
                <a:lnTo>
                  <a:pt x="190" y="0"/>
                </a:lnTo>
                <a:lnTo>
                  <a:pt x="190" y="374"/>
                </a:lnTo>
                <a:lnTo>
                  <a:pt x="253" y="374"/>
                </a:lnTo>
                <a:lnTo>
                  <a:pt x="126" y="501"/>
                </a:lnTo>
                <a:lnTo>
                  <a:pt x="0" y="374"/>
                </a:lnTo>
                <a:close/>
              </a:path>
            </a:pathLst>
          </a:custGeom>
          <a:solidFill>
            <a:schemeClr val="tx2">
              <a:lumMod val="50000"/>
              <a:lumOff val="50000"/>
            </a:schemeClr>
          </a:solidFill>
          <a:ln w="10795" cap="flat">
            <a:solidFill>
              <a:srgbClr val="58585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9" name="Freeform 56"/>
          <p:cNvSpPr>
            <a:spLocks noChangeAspect="1" noEditPoints="1"/>
          </p:cNvSpPr>
          <p:nvPr/>
        </p:nvSpPr>
        <p:spPr bwMode="auto">
          <a:xfrm>
            <a:off x="1065615" y="4017634"/>
            <a:ext cx="332502" cy="430805"/>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prstClr val="black"/>
              </a:solidFill>
              <a:effectLst/>
              <a:uLnTx/>
              <a:uFillTx/>
              <a:latin typeface="Calibri"/>
              <a:ea typeface="宋体"/>
            </a:endParaRPr>
          </a:p>
        </p:txBody>
      </p:sp>
      <p:sp>
        <p:nvSpPr>
          <p:cNvPr id="10" name="TextBox 9"/>
          <p:cNvSpPr txBox="1"/>
          <p:nvPr/>
        </p:nvSpPr>
        <p:spPr>
          <a:xfrm>
            <a:off x="1131866" y="4212035"/>
            <a:ext cx="386594" cy="246221"/>
          </a:xfrm>
          <a:prstGeom prst="rect">
            <a:avLst/>
          </a:prstGeom>
          <a:noFill/>
        </p:spPr>
        <p:txBody>
          <a:bodyPr wrap="square" rtlCol="0">
            <a:spAutoFit/>
          </a:bodyPr>
          <a:lstStyle/>
          <a:p>
            <a:r>
              <a:rPr lang="en-US" sz="1000" b="1" dirty="0">
                <a:solidFill>
                  <a:schemeClr val="accent2"/>
                </a:solidFill>
              </a:rPr>
              <a:t>A</a:t>
            </a:r>
          </a:p>
        </p:txBody>
      </p:sp>
      <p:sp>
        <p:nvSpPr>
          <p:cNvPr id="11" name="Freeform 56"/>
          <p:cNvSpPr>
            <a:spLocks noChangeAspect="1" noEditPoints="1"/>
          </p:cNvSpPr>
          <p:nvPr/>
        </p:nvSpPr>
        <p:spPr bwMode="auto">
          <a:xfrm>
            <a:off x="1075208" y="4967463"/>
            <a:ext cx="313316" cy="430805"/>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prstClr val="black"/>
              </a:solidFill>
              <a:effectLst/>
              <a:uLnTx/>
              <a:uFillTx/>
              <a:latin typeface="Calibri"/>
              <a:ea typeface="宋体"/>
            </a:endParaRPr>
          </a:p>
        </p:txBody>
      </p:sp>
      <p:sp>
        <p:nvSpPr>
          <p:cNvPr id="12" name="TextBox 11"/>
          <p:cNvSpPr txBox="1"/>
          <p:nvPr/>
        </p:nvSpPr>
        <p:spPr>
          <a:xfrm>
            <a:off x="1129789" y="5202193"/>
            <a:ext cx="195374" cy="246221"/>
          </a:xfrm>
          <a:prstGeom prst="rect">
            <a:avLst/>
          </a:prstGeom>
          <a:noFill/>
        </p:spPr>
        <p:txBody>
          <a:bodyPr wrap="square" rtlCol="0">
            <a:spAutoFit/>
          </a:bodyPr>
          <a:lstStyle/>
          <a:p>
            <a:r>
              <a:rPr lang="en-US" sz="1000" b="1" dirty="0">
                <a:solidFill>
                  <a:schemeClr val="accent2"/>
                </a:solidFill>
              </a:rPr>
              <a:t>B</a:t>
            </a:r>
          </a:p>
        </p:txBody>
      </p:sp>
      <p:sp>
        <p:nvSpPr>
          <p:cNvPr id="13" name="Freeform 4"/>
          <p:cNvSpPr>
            <a:spLocks noChangeAspect="1" noEditPoints="1"/>
          </p:cNvSpPr>
          <p:nvPr/>
        </p:nvSpPr>
        <p:spPr bwMode="auto">
          <a:xfrm>
            <a:off x="601027" y="4078416"/>
            <a:ext cx="193292" cy="356602"/>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sz="1400"/>
          </a:p>
        </p:txBody>
      </p:sp>
      <p:sp>
        <p:nvSpPr>
          <p:cNvPr id="14" name="Freeform 4"/>
          <p:cNvSpPr>
            <a:spLocks noChangeAspect="1" noEditPoints="1"/>
          </p:cNvSpPr>
          <p:nvPr/>
        </p:nvSpPr>
        <p:spPr bwMode="auto">
          <a:xfrm>
            <a:off x="4749176" y="4721784"/>
            <a:ext cx="178674" cy="356602"/>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sz="1400"/>
          </a:p>
        </p:txBody>
      </p:sp>
      <p:sp>
        <p:nvSpPr>
          <p:cNvPr id="15" name="Rectangle 17"/>
          <p:cNvSpPr>
            <a:spLocks noChangeArrowheads="1"/>
          </p:cNvSpPr>
          <p:nvPr/>
        </p:nvSpPr>
        <p:spPr bwMode="auto">
          <a:xfrm>
            <a:off x="1642752" y="4049731"/>
            <a:ext cx="877070" cy="383444"/>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sz="1400" b="1" dirty="0"/>
              <a:t>S-UPF1</a:t>
            </a:r>
          </a:p>
        </p:txBody>
      </p:sp>
      <p:sp>
        <p:nvSpPr>
          <p:cNvPr id="16" name="Oval 13"/>
          <p:cNvSpPr>
            <a:spLocks noChangeArrowheads="1"/>
          </p:cNvSpPr>
          <p:nvPr/>
        </p:nvSpPr>
        <p:spPr bwMode="auto">
          <a:xfrm>
            <a:off x="2013645" y="3938976"/>
            <a:ext cx="804135" cy="20307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ctr" anchorCtr="0" compatLnSpc="1">
            <a:prstTxWarp prst="textNoShape">
              <a:avLst/>
            </a:prstTxWarp>
          </a:bodyPr>
          <a:lstStyle/>
          <a:p>
            <a:r>
              <a:rPr lang="en-US" sz="900" b="1" dirty="0">
                <a:solidFill>
                  <a:srgbClr val="FF0000"/>
                </a:solidFill>
              </a:rPr>
              <a:t>IP@X</a:t>
            </a:r>
          </a:p>
        </p:txBody>
      </p:sp>
      <p:sp>
        <p:nvSpPr>
          <p:cNvPr id="17" name="Freeform 8"/>
          <p:cNvSpPr>
            <a:spLocks/>
          </p:cNvSpPr>
          <p:nvPr/>
        </p:nvSpPr>
        <p:spPr bwMode="auto">
          <a:xfrm>
            <a:off x="794319" y="4202316"/>
            <a:ext cx="1999627" cy="45719"/>
          </a:xfrm>
          <a:custGeom>
            <a:avLst/>
            <a:gdLst>
              <a:gd name="T0" fmla="*/ 0 w 7211"/>
              <a:gd name="T1" fmla="*/ 2 h 455"/>
              <a:gd name="T2" fmla="*/ 1680 w 7211"/>
              <a:gd name="T3" fmla="*/ 71 h 455"/>
              <a:gd name="T4" fmla="*/ 2986 w 7211"/>
              <a:gd name="T5" fmla="*/ 394 h 455"/>
              <a:gd name="T6" fmla="*/ 7211 w 7211"/>
              <a:gd name="T7" fmla="*/ 415 h 455"/>
            </a:gdLst>
            <a:ahLst/>
            <a:cxnLst>
              <a:cxn ang="0">
                <a:pos x="T0" y="T1"/>
              </a:cxn>
              <a:cxn ang="0">
                <a:pos x="T2" y="T3"/>
              </a:cxn>
              <a:cxn ang="0">
                <a:pos x="T4" y="T5"/>
              </a:cxn>
              <a:cxn ang="0">
                <a:pos x="T6" y="T7"/>
              </a:cxn>
            </a:cxnLst>
            <a:rect l="0" t="0" r="r" b="b"/>
            <a:pathLst>
              <a:path w="7211" h="455">
                <a:moveTo>
                  <a:pt x="0" y="2"/>
                </a:moveTo>
                <a:cubicBezTo>
                  <a:pt x="317" y="0"/>
                  <a:pt x="1183" y="5"/>
                  <a:pt x="1680" y="71"/>
                </a:cubicBezTo>
                <a:cubicBezTo>
                  <a:pt x="2178" y="136"/>
                  <a:pt x="2205" y="334"/>
                  <a:pt x="2986" y="394"/>
                </a:cubicBezTo>
                <a:cubicBezTo>
                  <a:pt x="3767" y="455"/>
                  <a:pt x="5731" y="430"/>
                  <a:pt x="7211" y="415"/>
                </a:cubicBezTo>
              </a:path>
            </a:pathLst>
          </a:custGeom>
          <a:noFill/>
          <a:ln w="22860" cap="flat">
            <a:solidFill>
              <a:srgbClr val="00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18" name="Arrow: Notched Right 17"/>
          <p:cNvSpPr/>
          <p:nvPr/>
        </p:nvSpPr>
        <p:spPr bwMode="auto">
          <a:xfrm>
            <a:off x="3562972" y="4359495"/>
            <a:ext cx="716380" cy="285501"/>
          </a:xfrm>
          <a:prstGeom prst="notchedRightArrow">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9" name="Freeform 11"/>
          <p:cNvSpPr>
            <a:spLocks/>
          </p:cNvSpPr>
          <p:nvPr/>
        </p:nvSpPr>
        <p:spPr bwMode="auto">
          <a:xfrm>
            <a:off x="6685986" y="4202316"/>
            <a:ext cx="665164" cy="481597"/>
          </a:xfrm>
          <a:custGeom>
            <a:avLst/>
            <a:gdLst>
              <a:gd name="T0" fmla="*/ 391 w 3837"/>
              <a:gd name="T1" fmla="*/ 419 h 1254"/>
              <a:gd name="T2" fmla="*/ 887 w 3837"/>
              <a:gd name="T3" fmla="*/ 131 h 1254"/>
              <a:gd name="T4" fmla="*/ 1257 w 3837"/>
              <a:gd name="T5" fmla="*/ 164 h 1254"/>
              <a:gd name="T6" fmla="*/ 1876 w 3837"/>
              <a:gd name="T7" fmla="*/ 80 h 1254"/>
              <a:gd name="T8" fmla="*/ 1982 w 3837"/>
              <a:gd name="T9" fmla="*/ 115 h 1254"/>
              <a:gd name="T10" fmla="*/ 2484 w 3837"/>
              <a:gd name="T11" fmla="*/ 41 h 1254"/>
              <a:gd name="T12" fmla="*/ 2614 w 3837"/>
              <a:gd name="T13" fmla="*/ 88 h 1254"/>
              <a:gd name="T14" fmla="*/ 3201 w 3837"/>
              <a:gd name="T15" fmla="*/ 67 h 1254"/>
              <a:gd name="T16" fmla="*/ 3342 w 3837"/>
              <a:gd name="T17" fmla="*/ 174 h 1254"/>
              <a:gd name="T18" fmla="*/ 3663 w 3837"/>
              <a:gd name="T19" fmla="*/ 422 h 1254"/>
              <a:gd name="T20" fmla="*/ 3642 w 3837"/>
              <a:gd name="T21" fmla="*/ 449 h 1254"/>
              <a:gd name="T22" fmla="*/ 3535 w 3837"/>
              <a:gd name="T23" fmla="*/ 808 h 1254"/>
              <a:gd name="T24" fmla="*/ 3264 w 3837"/>
              <a:gd name="T25" fmla="*/ 858 h 1254"/>
              <a:gd name="T26" fmla="*/ 2764 w 3837"/>
              <a:gd name="T27" fmla="*/ 1075 h 1254"/>
              <a:gd name="T28" fmla="*/ 2505 w 3837"/>
              <a:gd name="T29" fmla="*/ 1042 h 1254"/>
              <a:gd name="T30" fmla="*/ 1783 w 3837"/>
              <a:gd name="T31" fmla="*/ 1213 h 1254"/>
              <a:gd name="T32" fmla="*/ 1470 w 3837"/>
              <a:gd name="T33" fmla="*/ 1110 h 1254"/>
              <a:gd name="T34" fmla="*/ 561 w 3837"/>
              <a:gd name="T35" fmla="*/ 1010 h 1254"/>
              <a:gd name="T36" fmla="*/ 554 w 3837"/>
              <a:gd name="T37" fmla="*/ 1005 h 1254"/>
              <a:gd name="T38" fmla="*/ 139 w 3837"/>
              <a:gd name="T39" fmla="*/ 861 h 1254"/>
              <a:gd name="T40" fmla="*/ 238 w 3837"/>
              <a:gd name="T41" fmla="*/ 729 h 1254"/>
              <a:gd name="T42" fmla="*/ 104 w 3837"/>
              <a:gd name="T43" fmla="*/ 503 h 1254"/>
              <a:gd name="T44" fmla="*/ 388 w 3837"/>
              <a:gd name="T45" fmla="*/ 422 h 1254"/>
              <a:gd name="T46" fmla="*/ 391 w 3837"/>
              <a:gd name="T47" fmla="*/ 419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7" h="1254">
                <a:moveTo>
                  <a:pt x="391" y="419"/>
                </a:moveTo>
                <a:cubicBezTo>
                  <a:pt x="348" y="279"/>
                  <a:pt x="570" y="150"/>
                  <a:pt x="887" y="131"/>
                </a:cubicBezTo>
                <a:cubicBezTo>
                  <a:pt x="1015" y="124"/>
                  <a:pt x="1145" y="135"/>
                  <a:pt x="1257" y="164"/>
                </a:cubicBezTo>
                <a:cubicBezTo>
                  <a:pt x="1376" y="66"/>
                  <a:pt x="1653" y="28"/>
                  <a:pt x="1876" y="80"/>
                </a:cubicBezTo>
                <a:cubicBezTo>
                  <a:pt x="1915" y="90"/>
                  <a:pt x="1950" y="101"/>
                  <a:pt x="1982" y="115"/>
                </a:cubicBezTo>
                <a:cubicBezTo>
                  <a:pt x="2074" y="33"/>
                  <a:pt x="2299" y="0"/>
                  <a:pt x="2484" y="41"/>
                </a:cubicBezTo>
                <a:cubicBezTo>
                  <a:pt x="2535" y="52"/>
                  <a:pt x="2580" y="68"/>
                  <a:pt x="2614" y="88"/>
                </a:cubicBezTo>
                <a:cubicBezTo>
                  <a:pt x="2763" y="11"/>
                  <a:pt x="3026" y="2"/>
                  <a:pt x="3201" y="67"/>
                </a:cubicBezTo>
                <a:cubicBezTo>
                  <a:pt x="3275" y="95"/>
                  <a:pt x="3325" y="133"/>
                  <a:pt x="3342" y="174"/>
                </a:cubicBezTo>
                <a:cubicBezTo>
                  <a:pt x="3586" y="204"/>
                  <a:pt x="3729" y="315"/>
                  <a:pt x="3663" y="422"/>
                </a:cubicBezTo>
                <a:cubicBezTo>
                  <a:pt x="3657" y="431"/>
                  <a:pt x="3650" y="440"/>
                  <a:pt x="3642" y="449"/>
                </a:cubicBezTo>
                <a:cubicBezTo>
                  <a:pt x="3837" y="561"/>
                  <a:pt x="3790" y="722"/>
                  <a:pt x="3535" y="808"/>
                </a:cubicBezTo>
                <a:cubicBezTo>
                  <a:pt x="3456" y="835"/>
                  <a:pt x="3362" y="852"/>
                  <a:pt x="3264" y="858"/>
                </a:cubicBezTo>
                <a:cubicBezTo>
                  <a:pt x="3261" y="979"/>
                  <a:pt x="3038" y="1076"/>
                  <a:pt x="2764" y="1075"/>
                </a:cubicBezTo>
                <a:cubicBezTo>
                  <a:pt x="2672" y="1075"/>
                  <a:pt x="2583" y="1063"/>
                  <a:pt x="2505" y="1042"/>
                </a:cubicBezTo>
                <a:cubicBezTo>
                  <a:pt x="2412" y="1177"/>
                  <a:pt x="2089" y="1254"/>
                  <a:pt x="1783" y="1213"/>
                </a:cubicBezTo>
                <a:cubicBezTo>
                  <a:pt x="1655" y="1196"/>
                  <a:pt x="1544" y="1159"/>
                  <a:pt x="1470" y="1110"/>
                </a:cubicBezTo>
                <a:cubicBezTo>
                  <a:pt x="1156" y="1193"/>
                  <a:pt x="750" y="1149"/>
                  <a:pt x="561" y="1010"/>
                </a:cubicBezTo>
                <a:cubicBezTo>
                  <a:pt x="559" y="1008"/>
                  <a:pt x="556" y="1007"/>
                  <a:pt x="554" y="1005"/>
                </a:cubicBezTo>
                <a:cubicBezTo>
                  <a:pt x="349" y="1015"/>
                  <a:pt x="163" y="951"/>
                  <a:pt x="139" y="861"/>
                </a:cubicBezTo>
                <a:cubicBezTo>
                  <a:pt x="127" y="813"/>
                  <a:pt x="162" y="764"/>
                  <a:pt x="238" y="729"/>
                </a:cubicBezTo>
                <a:cubicBezTo>
                  <a:pt x="60" y="683"/>
                  <a:pt x="0" y="582"/>
                  <a:pt x="104" y="503"/>
                </a:cubicBezTo>
                <a:cubicBezTo>
                  <a:pt x="164" y="458"/>
                  <a:pt x="270" y="428"/>
                  <a:pt x="388" y="422"/>
                </a:cubicBezTo>
                <a:lnTo>
                  <a:pt x="391" y="419"/>
                </a:lnTo>
                <a:close/>
              </a:path>
            </a:pathLst>
          </a:custGeom>
          <a:noFill/>
          <a:ln w="10795"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0" name="Freeform 16"/>
          <p:cNvSpPr>
            <a:spLocks/>
          </p:cNvSpPr>
          <p:nvPr/>
        </p:nvSpPr>
        <p:spPr bwMode="auto">
          <a:xfrm flipH="1">
            <a:off x="4749176" y="4392826"/>
            <a:ext cx="221251" cy="252171"/>
          </a:xfrm>
          <a:custGeom>
            <a:avLst/>
            <a:gdLst>
              <a:gd name="T0" fmla="*/ 0 w 253"/>
              <a:gd name="T1" fmla="*/ 374 h 501"/>
              <a:gd name="T2" fmla="*/ 63 w 253"/>
              <a:gd name="T3" fmla="*/ 374 h 501"/>
              <a:gd name="T4" fmla="*/ 63 w 253"/>
              <a:gd name="T5" fmla="*/ 0 h 501"/>
              <a:gd name="T6" fmla="*/ 190 w 253"/>
              <a:gd name="T7" fmla="*/ 0 h 501"/>
              <a:gd name="T8" fmla="*/ 190 w 253"/>
              <a:gd name="T9" fmla="*/ 374 h 501"/>
              <a:gd name="T10" fmla="*/ 253 w 253"/>
              <a:gd name="T11" fmla="*/ 374 h 501"/>
              <a:gd name="T12" fmla="*/ 126 w 253"/>
              <a:gd name="T13" fmla="*/ 501 h 501"/>
              <a:gd name="T14" fmla="*/ 0 w 253"/>
              <a:gd name="T15" fmla="*/ 374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501">
                <a:moveTo>
                  <a:pt x="0" y="374"/>
                </a:moveTo>
                <a:lnTo>
                  <a:pt x="63" y="374"/>
                </a:lnTo>
                <a:lnTo>
                  <a:pt x="63" y="0"/>
                </a:lnTo>
                <a:lnTo>
                  <a:pt x="190" y="0"/>
                </a:lnTo>
                <a:lnTo>
                  <a:pt x="190" y="374"/>
                </a:lnTo>
                <a:lnTo>
                  <a:pt x="253" y="374"/>
                </a:lnTo>
                <a:lnTo>
                  <a:pt x="126" y="501"/>
                </a:lnTo>
                <a:lnTo>
                  <a:pt x="0" y="374"/>
                </a:lnTo>
                <a:close/>
              </a:path>
            </a:pathLst>
          </a:custGeom>
          <a:solidFill>
            <a:schemeClr val="tx2">
              <a:lumMod val="50000"/>
              <a:lumOff val="50000"/>
            </a:schemeClr>
          </a:solidFill>
          <a:ln w="10795" cap="flat">
            <a:solidFill>
              <a:srgbClr val="58585A"/>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21" name="Freeform 56"/>
          <p:cNvSpPr>
            <a:spLocks noChangeAspect="1" noEditPoints="1"/>
          </p:cNvSpPr>
          <p:nvPr/>
        </p:nvSpPr>
        <p:spPr bwMode="auto">
          <a:xfrm>
            <a:off x="5213131" y="4029651"/>
            <a:ext cx="332502" cy="430805"/>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prstClr val="black"/>
              </a:solidFill>
              <a:effectLst/>
              <a:uLnTx/>
              <a:uFillTx/>
              <a:latin typeface="Calibri"/>
              <a:ea typeface="宋体"/>
            </a:endParaRPr>
          </a:p>
        </p:txBody>
      </p:sp>
      <p:sp>
        <p:nvSpPr>
          <p:cNvPr id="22" name="TextBox 21"/>
          <p:cNvSpPr txBox="1"/>
          <p:nvPr/>
        </p:nvSpPr>
        <p:spPr>
          <a:xfrm>
            <a:off x="5249856" y="4250457"/>
            <a:ext cx="386594" cy="246221"/>
          </a:xfrm>
          <a:prstGeom prst="rect">
            <a:avLst/>
          </a:prstGeom>
          <a:noFill/>
        </p:spPr>
        <p:txBody>
          <a:bodyPr wrap="square" rtlCol="0">
            <a:spAutoFit/>
          </a:bodyPr>
          <a:lstStyle/>
          <a:p>
            <a:r>
              <a:rPr lang="en-US" sz="1000" b="1" dirty="0">
                <a:solidFill>
                  <a:schemeClr val="accent2"/>
                </a:solidFill>
              </a:rPr>
              <a:t>A</a:t>
            </a:r>
          </a:p>
        </p:txBody>
      </p:sp>
      <p:sp>
        <p:nvSpPr>
          <p:cNvPr id="23" name="Freeform 56"/>
          <p:cNvSpPr>
            <a:spLocks noChangeAspect="1" noEditPoints="1"/>
          </p:cNvSpPr>
          <p:nvPr/>
        </p:nvSpPr>
        <p:spPr bwMode="auto">
          <a:xfrm>
            <a:off x="5213131" y="4774861"/>
            <a:ext cx="313316" cy="430805"/>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prstClr val="black"/>
              </a:solidFill>
              <a:effectLst/>
              <a:uLnTx/>
              <a:uFillTx/>
              <a:latin typeface="Calibri"/>
              <a:ea typeface="宋体"/>
            </a:endParaRPr>
          </a:p>
        </p:txBody>
      </p:sp>
      <p:sp>
        <p:nvSpPr>
          <p:cNvPr id="24" name="TextBox 23"/>
          <p:cNvSpPr txBox="1"/>
          <p:nvPr/>
        </p:nvSpPr>
        <p:spPr>
          <a:xfrm>
            <a:off x="5267712" y="5009591"/>
            <a:ext cx="195374" cy="246221"/>
          </a:xfrm>
          <a:prstGeom prst="rect">
            <a:avLst/>
          </a:prstGeom>
          <a:noFill/>
        </p:spPr>
        <p:txBody>
          <a:bodyPr wrap="square" rtlCol="0">
            <a:spAutoFit/>
          </a:bodyPr>
          <a:lstStyle/>
          <a:p>
            <a:r>
              <a:rPr lang="en-US" sz="1000" b="1" dirty="0">
                <a:solidFill>
                  <a:schemeClr val="accent2"/>
                </a:solidFill>
              </a:rPr>
              <a:t>B</a:t>
            </a:r>
          </a:p>
        </p:txBody>
      </p:sp>
      <p:sp>
        <p:nvSpPr>
          <p:cNvPr id="25" name="Freeform 4"/>
          <p:cNvSpPr>
            <a:spLocks noChangeAspect="1" noEditPoints="1"/>
          </p:cNvSpPr>
          <p:nvPr/>
        </p:nvSpPr>
        <p:spPr bwMode="auto">
          <a:xfrm>
            <a:off x="4738950" y="3885814"/>
            <a:ext cx="193292" cy="356602"/>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sz="1400"/>
          </a:p>
        </p:txBody>
      </p:sp>
      <p:sp>
        <p:nvSpPr>
          <p:cNvPr id="26" name="Rectangle 17"/>
          <p:cNvSpPr>
            <a:spLocks noChangeArrowheads="1"/>
          </p:cNvSpPr>
          <p:nvPr/>
        </p:nvSpPr>
        <p:spPr bwMode="auto">
          <a:xfrm>
            <a:off x="5735340" y="4064115"/>
            <a:ext cx="877070" cy="383444"/>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sz="1400" b="1" dirty="0"/>
              <a:t>S-UPF1</a:t>
            </a:r>
          </a:p>
        </p:txBody>
      </p:sp>
      <p:sp>
        <p:nvSpPr>
          <p:cNvPr id="27" name="Oval 13"/>
          <p:cNvSpPr>
            <a:spLocks noChangeArrowheads="1"/>
          </p:cNvSpPr>
          <p:nvPr/>
        </p:nvSpPr>
        <p:spPr bwMode="auto">
          <a:xfrm>
            <a:off x="6113861" y="3924804"/>
            <a:ext cx="804135" cy="20307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ctr" anchorCtr="0" compatLnSpc="1">
            <a:prstTxWarp prst="textNoShape">
              <a:avLst/>
            </a:prstTxWarp>
          </a:bodyPr>
          <a:lstStyle/>
          <a:p>
            <a:r>
              <a:rPr lang="en-US" sz="900" b="1" dirty="0">
                <a:solidFill>
                  <a:srgbClr val="FF0000"/>
                </a:solidFill>
              </a:rPr>
              <a:t>IP@X</a:t>
            </a:r>
          </a:p>
        </p:txBody>
      </p:sp>
      <p:sp>
        <p:nvSpPr>
          <p:cNvPr id="28" name="Freeform 8"/>
          <p:cNvSpPr>
            <a:spLocks/>
          </p:cNvSpPr>
          <p:nvPr/>
        </p:nvSpPr>
        <p:spPr bwMode="auto">
          <a:xfrm flipV="1">
            <a:off x="4849914" y="4217051"/>
            <a:ext cx="2033268" cy="507664"/>
          </a:xfrm>
          <a:custGeom>
            <a:avLst/>
            <a:gdLst>
              <a:gd name="T0" fmla="*/ 0 w 7211"/>
              <a:gd name="T1" fmla="*/ 2 h 455"/>
              <a:gd name="T2" fmla="*/ 1680 w 7211"/>
              <a:gd name="T3" fmla="*/ 71 h 455"/>
              <a:gd name="T4" fmla="*/ 2986 w 7211"/>
              <a:gd name="T5" fmla="*/ 394 h 455"/>
              <a:gd name="T6" fmla="*/ 7211 w 7211"/>
              <a:gd name="T7" fmla="*/ 415 h 455"/>
            </a:gdLst>
            <a:ahLst/>
            <a:cxnLst>
              <a:cxn ang="0">
                <a:pos x="T0" y="T1"/>
              </a:cxn>
              <a:cxn ang="0">
                <a:pos x="T2" y="T3"/>
              </a:cxn>
              <a:cxn ang="0">
                <a:pos x="T4" y="T5"/>
              </a:cxn>
              <a:cxn ang="0">
                <a:pos x="T6" y="T7"/>
              </a:cxn>
            </a:cxnLst>
            <a:rect l="0" t="0" r="r" b="b"/>
            <a:pathLst>
              <a:path w="7211" h="455">
                <a:moveTo>
                  <a:pt x="0" y="2"/>
                </a:moveTo>
                <a:cubicBezTo>
                  <a:pt x="317" y="0"/>
                  <a:pt x="1183" y="5"/>
                  <a:pt x="1680" y="71"/>
                </a:cubicBezTo>
                <a:cubicBezTo>
                  <a:pt x="2178" y="136"/>
                  <a:pt x="2205" y="334"/>
                  <a:pt x="2986" y="394"/>
                </a:cubicBezTo>
                <a:cubicBezTo>
                  <a:pt x="3767" y="455"/>
                  <a:pt x="5731" y="430"/>
                  <a:pt x="7211" y="415"/>
                </a:cubicBezTo>
              </a:path>
            </a:pathLst>
          </a:custGeom>
          <a:noFill/>
          <a:ln w="22860" cap="flat">
            <a:solidFill>
              <a:srgbClr val="00999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29" name="Rectangle 17"/>
          <p:cNvSpPr>
            <a:spLocks noChangeArrowheads="1"/>
          </p:cNvSpPr>
          <p:nvPr/>
        </p:nvSpPr>
        <p:spPr bwMode="auto">
          <a:xfrm>
            <a:off x="5796386" y="4929596"/>
            <a:ext cx="877070" cy="383444"/>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sz="1400" b="1" dirty="0"/>
              <a:t>T-UPF2</a:t>
            </a:r>
          </a:p>
        </p:txBody>
      </p:sp>
      <p:sp>
        <p:nvSpPr>
          <p:cNvPr id="30" name="Oval 13"/>
          <p:cNvSpPr>
            <a:spLocks noChangeArrowheads="1"/>
          </p:cNvSpPr>
          <p:nvPr/>
        </p:nvSpPr>
        <p:spPr bwMode="auto">
          <a:xfrm>
            <a:off x="6174907" y="4790285"/>
            <a:ext cx="804135" cy="20307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ctr" anchorCtr="0" compatLnSpc="1">
            <a:prstTxWarp prst="textNoShape">
              <a:avLst/>
            </a:prstTxWarp>
          </a:bodyPr>
          <a:lstStyle/>
          <a:p>
            <a:r>
              <a:rPr lang="en-US" sz="900" b="1" dirty="0">
                <a:solidFill>
                  <a:srgbClr val="FF0000"/>
                </a:solidFill>
              </a:rPr>
              <a:t>IP@Y</a:t>
            </a:r>
          </a:p>
        </p:txBody>
      </p:sp>
      <p:sp>
        <p:nvSpPr>
          <p:cNvPr id="31" name="Rectangle 12"/>
          <p:cNvSpPr>
            <a:spLocks noChangeArrowheads="1"/>
          </p:cNvSpPr>
          <p:nvPr/>
        </p:nvSpPr>
        <p:spPr bwMode="auto">
          <a:xfrm>
            <a:off x="6707945" y="4359496"/>
            <a:ext cx="65606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ts val="800"/>
              </a:spcAft>
              <a:buClrTx/>
              <a:buSzTx/>
              <a:buFontTx/>
              <a:buNone/>
              <a:tabLst/>
            </a:pPr>
            <a:r>
              <a:rPr kumimoji="0" lang="en-US" altLang="en-US" sz="12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DN -1</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
        <p:nvSpPr>
          <p:cNvPr id="32" name="Freeform: Shape 31"/>
          <p:cNvSpPr/>
          <p:nvPr/>
        </p:nvSpPr>
        <p:spPr bwMode="auto">
          <a:xfrm>
            <a:off x="8984618" y="4404935"/>
            <a:ext cx="2140086" cy="509486"/>
          </a:xfrm>
          <a:custGeom>
            <a:avLst/>
            <a:gdLst>
              <a:gd name="connsiteX0" fmla="*/ 0 w 2140086"/>
              <a:gd name="connsiteY0" fmla="*/ 262647 h 509486"/>
              <a:gd name="connsiteX1" fmla="*/ 369652 w 2140086"/>
              <a:gd name="connsiteY1" fmla="*/ 428017 h 509486"/>
              <a:gd name="connsiteX2" fmla="*/ 846307 w 2140086"/>
              <a:gd name="connsiteY2" fmla="*/ 496111 h 509486"/>
              <a:gd name="connsiteX3" fmla="*/ 1040860 w 2140086"/>
              <a:gd name="connsiteY3" fmla="*/ 457200 h 509486"/>
              <a:gd name="connsiteX4" fmla="*/ 2140086 w 2140086"/>
              <a:gd name="connsiteY4" fmla="*/ 0 h 509486"/>
              <a:gd name="connsiteX5" fmla="*/ 2140086 w 2140086"/>
              <a:gd name="connsiteY5" fmla="*/ 0 h 50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086" h="509486">
                <a:moveTo>
                  <a:pt x="0" y="262647"/>
                </a:moveTo>
                <a:cubicBezTo>
                  <a:pt x="114300" y="325876"/>
                  <a:pt x="228601" y="389106"/>
                  <a:pt x="369652" y="428017"/>
                </a:cubicBezTo>
                <a:cubicBezTo>
                  <a:pt x="510703" y="466928"/>
                  <a:pt x="734439" y="491247"/>
                  <a:pt x="846307" y="496111"/>
                </a:cubicBezTo>
                <a:cubicBezTo>
                  <a:pt x="958175" y="500975"/>
                  <a:pt x="825230" y="539885"/>
                  <a:pt x="1040860" y="457200"/>
                </a:cubicBezTo>
                <a:cubicBezTo>
                  <a:pt x="1256490" y="374515"/>
                  <a:pt x="2140086" y="0"/>
                  <a:pt x="2140086" y="0"/>
                </a:cubicBezTo>
                <a:lnTo>
                  <a:pt x="2140086" y="0"/>
                </a:lnTo>
              </a:path>
            </a:pathLst>
          </a:custGeom>
          <a:noFill/>
          <a:ln w="28575" cap="flat" cmpd="sng" algn="ctr">
            <a:solidFill>
              <a:srgbClr val="92D050"/>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33" name="Rectangle 10"/>
          <p:cNvSpPr>
            <a:spLocks noChangeArrowheads="1"/>
          </p:cNvSpPr>
          <p:nvPr/>
        </p:nvSpPr>
        <p:spPr bwMode="auto">
          <a:xfrm>
            <a:off x="11898760" y="4515395"/>
            <a:ext cx="208073" cy="6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zh-CN" sz="400" b="0" i="0" u="none" strike="noStrike" cap="none" normalizeH="0" baseline="0">
                <a:ln>
                  <a:noFill/>
                </a:ln>
                <a:solidFill>
                  <a:srgbClr val="FFFFFF"/>
                </a:solidFill>
                <a:effectLst/>
                <a:latin typeface="Arial" panose="020B0604020202020204" pitchFamily="34" charset="0"/>
                <a:ea typeface="DengXian" panose="02010600030101010101" pitchFamily="2" charset="-122"/>
              </a:rPr>
              <a:t>IP@C</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34" name="Freeform 4"/>
          <p:cNvSpPr>
            <a:spLocks noChangeAspect="1" noEditPoints="1"/>
          </p:cNvSpPr>
          <p:nvPr/>
        </p:nvSpPr>
        <p:spPr bwMode="auto">
          <a:xfrm>
            <a:off x="8860237" y="4532023"/>
            <a:ext cx="178674" cy="356602"/>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w="9525">
            <a:solidFill>
              <a:schemeClr val="accent2"/>
            </a:solidFill>
            <a:round/>
            <a:headEnd/>
            <a:tailEnd/>
          </a:ln>
          <a:extLst/>
        </p:spPr>
        <p:txBody>
          <a:bodyPr/>
          <a:lstStyle/>
          <a:p>
            <a:endParaRPr lang="en-US" sz="1400"/>
          </a:p>
        </p:txBody>
      </p:sp>
      <p:sp>
        <p:nvSpPr>
          <p:cNvPr id="35" name="Freeform 11"/>
          <p:cNvSpPr>
            <a:spLocks/>
          </p:cNvSpPr>
          <p:nvPr/>
        </p:nvSpPr>
        <p:spPr bwMode="auto">
          <a:xfrm>
            <a:off x="10890896" y="4127874"/>
            <a:ext cx="665164" cy="481597"/>
          </a:xfrm>
          <a:custGeom>
            <a:avLst/>
            <a:gdLst>
              <a:gd name="T0" fmla="*/ 391 w 3837"/>
              <a:gd name="T1" fmla="*/ 419 h 1254"/>
              <a:gd name="T2" fmla="*/ 887 w 3837"/>
              <a:gd name="T3" fmla="*/ 131 h 1254"/>
              <a:gd name="T4" fmla="*/ 1257 w 3837"/>
              <a:gd name="T5" fmla="*/ 164 h 1254"/>
              <a:gd name="T6" fmla="*/ 1876 w 3837"/>
              <a:gd name="T7" fmla="*/ 80 h 1254"/>
              <a:gd name="T8" fmla="*/ 1982 w 3837"/>
              <a:gd name="T9" fmla="*/ 115 h 1254"/>
              <a:gd name="T10" fmla="*/ 2484 w 3837"/>
              <a:gd name="T11" fmla="*/ 41 h 1254"/>
              <a:gd name="T12" fmla="*/ 2614 w 3837"/>
              <a:gd name="T13" fmla="*/ 88 h 1254"/>
              <a:gd name="T14" fmla="*/ 3201 w 3837"/>
              <a:gd name="T15" fmla="*/ 67 h 1254"/>
              <a:gd name="T16" fmla="*/ 3342 w 3837"/>
              <a:gd name="T17" fmla="*/ 174 h 1254"/>
              <a:gd name="T18" fmla="*/ 3663 w 3837"/>
              <a:gd name="T19" fmla="*/ 422 h 1254"/>
              <a:gd name="T20" fmla="*/ 3642 w 3837"/>
              <a:gd name="T21" fmla="*/ 449 h 1254"/>
              <a:gd name="T22" fmla="*/ 3535 w 3837"/>
              <a:gd name="T23" fmla="*/ 808 h 1254"/>
              <a:gd name="T24" fmla="*/ 3264 w 3837"/>
              <a:gd name="T25" fmla="*/ 858 h 1254"/>
              <a:gd name="T26" fmla="*/ 2764 w 3837"/>
              <a:gd name="T27" fmla="*/ 1075 h 1254"/>
              <a:gd name="T28" fmla="*/ 2505 w 3837"/>
              <a:gd name="T29" fmla="*/ 1042 h 1254"/>
              <a:gd name="T30" fmla="*/ 1783 w 3837"/>
              <a:gd name="T31" fmla="*/ 1213 h 1254"/>
              <a:gd name="T32" fmla="*/ 1470 w 3837"/>
              <a:gd name="T33" fmla="*/ 1110 h 1254"/>
              <a:gd name="T34" fmla="*/ 561 w 3837"/>
              <a:gd name="T35" fmla="*/ 1010 h 1254"/>
              <a:gd name="T36" fmla="*/ 554 w 3837"/>
              <a:gd name="T37" fmla="*/ 1005 h 1254"/>
              <a:gd name="T38" fmla="*/ 139 w 3837"/>
              <a:gd name="T39" fmla="*/ 861 h 1254"/>
              <a:gd name="T40" fmla="*/ 238 w 3837"/>
              <a:gd name="T41" fmla="*/ 729 h 1254"/>
              <a:gd name="T42" fmla="*/ 104 w 3837"/>
              <a:gd name="T43" fmla="*/ 503 h 1254"/>
              <a:gd name="T44" fmla="*/ 388 w 3837"/>
              <a:gd name="T45" fmla="*/ 422 h 1254"/>
              <a:gd name="T46" fmla="*/ 391 w 3837"/>
              <a:gd name="T47" fmla="*/ 419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7" h="1254">
                <a:moveTo>
                  <a:pt x="391" y="419"/>
                </a:moveTo>
                <a:cubicBezTo>
                  <a:pt x="348" y="279"/>
                  <a:pt x="570" y="150"/>
                  <a:pt x="887" y="131"/>
                </a:cubicBezTo>
                <a:cubicBezTo>
                  <a:pt x="1015" y="124"/>
                  <a:pt x="1145" y="135"/>
                  <a:pt x="1257" y="164"/>
                </a:cubicBezTo>
                <a:cubicBezTo>
                  <a:pt x="1376" y="66"/>
                  <a:pt x="1653" y="28"/>
                  <a:pt x="1876" y="80"/>
                </a:cubicBezTo>
                <a:cubicBezTo>
                  <a:pt x="1915" y="90"/>
                  <a:pt x="1950" y="101"/>
                  <a:pt x="1982" y="115"/>
                </a:cubicBezTo>
                <a:cubicBezTo>
                  <a:pt x="2074" y="33"/>
                  <a:pt x="2299" y="0"/>
                  <a:pt x="2484" y="41"/>
                </a:cubicBezTo>
                <a:cubicBezTo>
                  <a:pt x="2535" y="52"/>
                  <a:pt x="2580" y="68"/>
                  <a:pt x="2614" y="88"/>
                </a:cubicBezTo>
                <a:cubicBezTo>
                  <a:pt x="2763" y="11"/>
                  <a:pt x="3026" y="2"/>
                  <a:pt x="3201" y="67"/>
                </a:cubicBezTo>
                <a:cubicBezTo>
                  <a:pt x="3275" y="95"/>
                  <a:pt x="3325" y="133"/>
                  <a:pt x="3342" y="174"/>
                </a:cubicBezTo>
                <a:cubicBezTo>
                  <a:pt x="3586" y="204"/>
                  <a:pt x="3729" y="315"/>
                  <a:pt x="3663" y="422"/>
                </a:cubicBezTo>
                <a:cubicBezTo>
                  <a:pt x="3657" y="431"/>
                  <a:pt x="3650" y="440"/>
                  <a:pt x="3642" y="449"/>
                </a:cubicBezTo>
                <a:cubicBezTo>
                  <a:pt x="3837" y="561"/>
                  <a:pt x="3790" y="722"/>
                  <a:pt x="3535" y="808"/>
                </a:cubicBezTo>
                <a:cubicBezTo>
                  <a:pt x="3456" y="835"/>
                  <a:pt x="3362" y="852"/>
                  <a:pt x="3264" y="858"/>
                </a:cubicBezTo>
                <a:cubicBezTo>
                  <a:pt x="3261" y="979"/>
                  <a:pt x="3038" y="1076"/>
                  <a:pt x="2764" y="1075"/>
                </a:cubicBezTo>
                <a:cubicBezTo>
                  <a:pt x="2672" y="1075"/>
                  <a:pt x="2583" y="1063"/>
                  <a:pt x="2505" y="1042"/>
                </a:cubicBezTo>
                <a:cubicBezTo>
                  <a:pt x="2412" y="1177"/>
                  <a:pt x="2089" y="1254"/>
                  <a:pt x="1783" y="1213"/>
                </a:cubicBezTo>
                <a:cubicBezTo>
                  <a:pt x="1655" y="1196"/>
                  <a:pt x="1544" y="1159"/>
                  <a:pt x="1470" y="1110"/>
                </a:cubicBezTo>
                <a:cubicBezTo>
                  <a:pt x="1156" y="1193"/>
                  <a:pt x="750" y="1149"/>
                  <a:pt x="561" y="1010"/>
                </a:cubicBezTo>
                <a:cubicBezTo>
                  <a:pt x="559" y="1008"/>
                  <a:pt x="556" y="1007"/>
                  <a:pt x="554" y="1005"/>
                </a:cubicBezTo>
                <a:cubicBezTo>
                  <a:pt x="349" y="1015"/>
                  <a:pt x="163" y="951"/>
                  <a:pt x="139" y="861"/>
                </a:cubicBezTo>
                <a:cubicBezTo>
                  <a:pt x="127" y="813"/>
                  <a:pt x="162" y="764"/>
                  <a:pt x="238" y="729"/>
                </a:cubicBezTo>
                <a:cubicBezTo>
                  <a:pt x="60" y="683"/>
                  <a:pt x="0" y="582"/>
                  <a:pt x="104" y="503"/>
                </a:cubicBezTo>
                <a:cubicBezTo>
                  <a:pt x="164" y="458"/>
                  <a:pt x="270" y="428"/>
                  <a:pt x="388" y="422"/>
                </a:cubicBezTo>
                <a:lnTo>
                  <a:pt x="391" y="419"/>
                </a:lnTo>
                <a:close/>
              </a:path>
            </a:pathLst>
          </a:custGeom>
          <a:noFill/>
          <a:ln w="10795" cap="flat">
            <a:solidFill>
              <a:srgbClr val="58585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a:p>
        </p:txBody>
      </p:sp>
      <p:sp>
        <p:nvSpPr>
          <p:cNvPr id="36" name="Freeform 56"/>
          <p:cNvSpPr>
            <a:spLocks noChangeAspect="1" noEditPoints="1"/>
          </p:cNvSpPr>
          <p:nvPr/>
        </p:nvSpPr>
        <p:spPr bwMode="auto">
          <a:xfrm>
            <a:off x="9324192" y="4585100"/>
            <a:ext cx="313316" cy="430805"/>
          </a:xfrm>
          <a:custGeom>
            <a:avLst/>
            <a:gdLst>
              <a:gd name="T0" fmla="*/ 29114394 w 409"/>
              <a:gd name="T1" fmla="*/ 4181951 h 589"/>
              <a:gd name="T2" fmla="*/ 26278972 w 409"/>
              <a:gd name="T3" fmla="*/ 0 h 589"/>
              <a:gd name="T4" fmla="*/ 0 w 409"/>
              <a:gd name="T5" fmla="*/ 2826278 h 589"/>
              <a:gd name="T6" fmla="*/ 2831393 w 409"/>
              <a:gd name="T7" fmla="*/ 41867983 h 589"/>
              <a:gd name="T8" fmla="*/ 29114394 w 409"/>
              <a:gd name="T9" fmla="*/ 39038559 h 589"/>
              <a:gd name="T10" fmla="*/ 28538054 w 409"/>
              <a:gd name="T11" fmla="*/ 5897398 h 589"/>
              <a:gd name="T12" fmla="*/ 27964016 w 409"/>
              <a:gd name="T13" fmla="*/ 39038559 h 589"/>
              <a:gd name="T14" fmla="*/ 2831393 w 409"/>
              <a:gd name="T15" fmla="*/ 40716440 h 589"/>
              <a:gd name="T16" fmla="*/ 1150378 w 409"/>
              <a:gd name="T17" fmla="*/ 2826278 h 589"/>
              <a:gd name="T18" fmla="*/ 26278972 w 409"/>
              <a:gd name="T19" fmla="*/ 1149755 h 589"/>
              <a:gd name="T20" fmla="*/ 27964016 w 409"/>
              <a:gd name="T21" fmla="*/ 4181951 h 589"/>
              <a:gd name="T22" fmla="*/ 8047770 w 409"/>
              <a:gd name="T23" fmla="*/ 22812183 h 589"/>
              <a:gd name="T24" fmla="*/ 12168945 w 409"/>
              <a:gd name="T25" fmla="*/ 22547132 h 589"/>
              <a:gd name="T26" fmla="*/ 17086410 w 409"/>
              <a:gd name="T27" fmla="*/ 22547132 h 589"/>
              <a:gd name="T28" fmla="*/ 21125282 w 409"/>
              <a:gd name="T29" fmla="*/ 22812183 h 589"/>
              <a:gd name="T30" fmla="*/ 21573848 w 409"/>
              <a:gd name="T31" fmla="*/ 21818246 h 589"/>
              <a:gd name="T32" fmla="*/ 18344406 w 409"/>
              <a:gd name="T33" fmla="*/ 17970126 h 589"/>
              <a:gd name="T34" fmla="*/ 15579785 w 409"/>
              <a:gd name="T35" fmla="*/ 12947435 h 589"/>
              <a:gd name="T36" fmla="*/ 18015142 w 409"/>
              <a:gd name="T37" fmla="*/ 9659508 h 589"/>
              <a:gd name="T38" fmla="*/ 16993367 w 409"/>
              <a:gd name="T39" fmla="*/ 8041891 h 589"/>
              <a:gd name="T40" fmla="*/ 16881065 w 409"/>
              <a:gd name="T41" fmla="*/ 9659508 h 589"/>
              <a:gd name="T42" fmla="*/ 12387181 w 409"/>
              <a:gd name="T43" fmla="*/ 9659508 h 589"/>
              <a:gd name="T44" fmla="*/ 15579785 w 409"/>
              <a:gd name="T45" fmla="*/ 7609205 h 589"/>
              <a:gd name="T46" fmla="*/ 16087367 w 409"/>
              <a:gd name="T47" fmla="*/ 6627088 h 589"/>
              <a:gd name="T48" fmla="*/ 14671610 w 409"/>
              <a:gd name="T49" fmla="*/ 6259287 h 589"/>
              <a:gd name="T50" fmla="*/ 13649840 w 409"/>
              <a:gd name="T51" fmla="*/ 12947435 h 589"/>
              <a:gd name="T52" fmla="*/ 13649840 w 409"/>
              <a:gd name="T53" fmla="*/ 12947435 h 589"/>
              <a:gd name="T54" fmla="*/ 7476696 w 409"/>
              <a:gd name="T55" fmla="*/ 22456212 h 589"/>
              <a:gd name="T56" fmla="*/ 14671610 w 409"/>
              <a:gd name="T57" fmla="*/ 13571484 h 589"/>
              <a:gd name="T58" fmla="*/ 14585155 w 409"/>
              <a:gd name="T59" fmla="*/ 16761994 h 589"/>
              <a:gd name="T60" fmla="*/ 14671610 w 409"/>
              <a:gd name="T61" fmla="*/ 13571484 h 589"/>
              <a:gd name="T62" fmla="*/ 14585155 w 409"/>
              <a:gd name="T63" fmla="*/ 17906298 h 589"/>
              <a:gd name="T64" fmla="*/ 19851794 w 409"/>
              <a:gd name="T65" fmla="*/ 21667354 h 589"/>
              <a:gd name="T66" fmla="*/ 14671610 w 409"/>
              <a:gd name="T67" fmla="*/ 19626599 h 589"/>
              <a:gd name="T68" fmla="*/ 9312571 w 409"/>
              <a:gd name="T69" fmla="*/ 21667354 h 589"/>
              <a:gd name="T70" fmla="*/ 10549894 w 409"/>
              <a:gd name="T71" fmla="*/ 6674623 h 589"/>
              <a:gd name="T72" fmla="*/ 8469272 w 409"/>
              <a:gd name="T73" fmla="*/ 9659508 h 589"/>
              <a:gd name="T74" fmla="*/ 10091117 w 409"/>
              <a:gd name="T75" fmla="*/ 12848769 h 589"/>
              <a:gd name="T76" fmla="*/ 10549894 w 409"/>
              <a:gd name="T77" fmla="*/ 11850130 h 589"/>
              <a:gd name="T78" fmla="*/ 10549894 w 409"/>
              <a:gd name="T79" fmla="*/ 7467797 h 589"/>
              <a:gd name="T80" fmla="*/ 7746805 w 409"/>
              <a:gd name="T81" fmla="*/ 4755520 h 589"/>
              <a:gd name="T82" fmla="*/ 7746805 w 409"/>
              <a:gd name="T83" fmla="*/ 14565397 h 589"/>
              <a:gd name="T84" fmla="*/ 8610761 w 409"/>
              <a:gd name="T85" fmla="*/ 14565397 h 589"/>
              <a:gd name="T86" fmla="*/ 6838234 w 409"/>
              <a:gd name="T87" fmla="*/ 9659508 h 589"/>
              <a:gd name="T88" fmla="*/ 8610761 w 409"/>
              <a:gd name="T89" fmla="*/ 4755520 h 589"/>
              <a:gd name="T90" fmla="*/ 18804421 w 409"/>
              <a:gd name="T91" fmla="*/ 12643500 h 589"/>
              <a:gd name="T92" fmla="*/ 19581727 w 409"/>
              <a:gd name="T93" fmla="*/ 12643500 h 589"/>
              <a:gd name="T94" fmla="*/ 19581727 w 409"/>
              <a:gd name="T95" fmla="*/ 6674623 h 589"/>
              <a:gd name="T96" fmla="*/ 18804421 w 409"/>
              <a:gd name="T97" fmla="*/ 7467797 h 589"/>
              <a:gd name="T98" fmla="*/ 18804421 w 409"/>
              <a:gd name="T99" fmla="*/ 11850130 h 589"/>
              <a:gd name="T100" fmla="*/ 21482860 w 409"/>
              <a:gd name="T101" fmla="*/ 4755520 h 589"/>
              <a:gd name="T102" fmla="*/ 20705029 w 409"/>
              <a:gd name="T103" fmla="*/ 5541423 h 589"/>
              <a:gd name="T104" fmla="*/ 20705029 w 409"/>
              <a:gd name="T105" fmla="*/ 13788173 h 589"/>
              <a:gd name="T106" fmla="*/ 21125282 w 409"/>
              <a:gd name="T107" fmla="*/ 14782119 h 589"/>
              <a:gd name="T108" fmla="*/ 23561942 w 409"/>
              <a:gd name="T109" fmla="*/ 9659508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589"/>
              <a:gd name="T167" fmla="*/ 409 w 409"/>
              <a:gd name="T168" fmla="*/ 589 h 58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13" y="321"/>
                </a:moveTo>
                <a:cubicBezTo>
                  <a:pt x="164" y="321"/>
                  <a:pt x="164" y="321"/>
                  <a:pt x="164" y="321"/>
                </a:cubicBezTo>
                <a:cubicBezTo>
                  <a:pt x="167" y="321"/>
                  <a:pt x="170" y="319"/>
                  <a:pt x="171" y="317"/>
                </a:cubicBezTo>
                <a:cubicBezTo>
                  <a:pt x="171" y="316"/>
                  <a:pt x="185" y="292"/>
                  <a:pt x="206" y="292"/>
                </a:cubicBezTo>
                <a:cubicBezTo>
                  <a:pt x="226" y="292"/>
                  <a:pt x="240" y="316"/>
                  <a:pt x="240" y="317"/>
                </a:cubicBezTo>
                <a:cubicBezTo>
                  <a:pt x="242" y="319"/>
                  <a:pt x="244" y="321"/>
                  <a:pt x="247" y="321"/>
                </a:cubicBezTo>
                <a:cubicBezTo>
                  <a:pt x="297" y="321"/>
                  <a:pt x="297" y="321"/>
                  <a:pt x="297" y="321"/>
                </a:cubicBezTo>
                <a:cubicBezTo>
                  <a:pt x="301" y="321"/>
                  <a:pt x="304" y="319"/>
                  <a:pt x="305" y="316"/>
                </a:cubicBezTo>
                <a:cubicBezTo>
                  <a:pt x="306" y="313"/>
                  <a:pt x="305" y="309"/>
                  <a:pt x="303" y="307"/>
                </a:cubicBezTo>
                <a:cubicBezTo>
                  <a:pt x="285" y="289"/>
                  <a:pt x="270" y="271"/>
                  <a:pt x="258" y="254"/>
                </a:cubicBezTo>
                <a:cubicBezTo>
                  <a:pt x="258" y="253"/>
                  <a:pt x="258" y="253"/>
                  <a:pt x="258" y="253"/>
                </a:cubicBezTo>
                <a:cubicBezTo>
                  <a:pt x="238" y="224"/>
                  <a:pt x="225" y="198"/>
                  <a:pt x="219" y="182"/>
                </a:cubicBezTo>
                <a:cubicBezTo>
                  <a:pt x="219" y="182"/>
                  <a:pt x="219" y="182"/>
                  <a:pt x="219" y="182"/>
                </a:cubicBezTo>
                <a:cubicBezTo>
                  <a:pt x="219" y="182"/>
                  <a:pt x="219" y="182"/>
                  <a:pt x="219" y="182"/>
                </a:cubicBezTo>
                <a:cubicBezTo>
                  <a:pt x="239" y="176"/>
                  <a:pt x="253" y="158"/>
                  <a:pt x="253" y="136"/>
                </a:cubicBezTo>
                <a:cubicBezTo>
                  <a:pt x="253" y="129"/>
                  <a:pt x="252" y="123"/>
                  <a:pt x="250" y="117"/>
                </a:cubicBezTo>
                <a:cubicBezTo>
                  <a:pt x="248" y="113"/>
                  <a:pt x="243" y="111"/>
                  <a:pt x="239" y="113"/>
                </a:cubicBezTo>
                <a:cubicBezTo>
                  <a:pt x="235" y="115"/>
                  <a:pt x="233" y="120"/>
                  <a:pt x="235" y="124"/>
                </a:cubicBezTo>
                <a:cubicBezTo>
                  <a:pt x="237" y="127"/>
                  <a:pt x="237" y="132"/>
                  <a:pt x="237" y="136"/>
                </a:cubicBezTo>
                <a:cubicBezTo>
                  <a:pt x="237" y="153"/>
                  <a:pt x="223" y="168"/>
                  <a:pt x="206" y="168"/>
                </a:cubicBezTo>
                <a:cubicBezTo>
                  <a:pt x="188" y="168"/>
                  <a:pt x="174" y="153"/>
                  <a:pt x="174" y="136"/>
                </a:cubicBezTo>
                <a:cubicBezTo>
                  <a:pt x="174" y="118"/>
                  <a:pt x="188" y="104"/>
                  <a:pt x="206" y="104"/>
                </a:cubicBezTo>
                <a:cubicBezTo>
                  <a:pt x="211" y="104"/>
                  <a:pt x="215" y="105"/>
                  <a:pt x="219" y="107"/>
                </a:cubicBezTo>
                <a:cubicBezTo>
                  <a:pt x="223" y="109"/>
                  <a:pt x="228" y="107"/>
                  <a:pt x="230" y="103"/>
                </a:cubicBezTo>
                <a:cubicBezTo>
                  <a:pt x="232" y="99"/>
                  <a:pt x="230" y="95"/>
                  <a:pt x="226" y="93"/>
                </a:cubicBezTo>
                <a:cubicBezTo>
                  <a:pt x="226" y="93"/>
                  <a:pt x="226" y="93"/>
                  <a:pt x="226" y="93"/>
                </a:cubicBezTo>
                <a:cubicBezTo>
                  <a:pt x="220" y="90"/>
                  <a:pt x="213" y="88"/>
                  <a:pt x="206" y="88"/>
                </a:cubicBezTo>
                <a:cubicBezTo>
                  <a:pt x="179" y="88"/>
                  <a:pt x="158" y="110"/>
                  <a:pt x="158" y="136"/>
                </a:cubicBezTo>
                <a:cubicBezTo>
                  <a:pt x="158" y="157"/>
                  <a:pt x="172" y="176"/>
                  <a:pt x="192" y="182"/>
                </a:cubicBezTo>
                <a:cubicBezTo>
                  <a:pt x="192" y="182"/>
                  <a:pt x="192" y="182"/>
                  <a:pt x="192" y="182"/>
                </a:cubicBezTo>
                <a:cubicBezTo>
                  <a:pt x="192" y="182"/>
                  <a:pt x="192" y="182"/>
                  <a:pt x="192" y="182"/>
                </a:cubicBezTo>
                <a:cubicBezTo>
                  <a:pt x="181" y="207"/>
                  <a:pt x="156" y="258"/>
                  <a:pt x="107" y="307"/>
                </a:cubicBezTo>
                <a:cubicBezTo>
                  <a:pt x="105" y="309"/>
                  <a:pt x="104" y="313"/>
                  <a:pt x="105" y="316"/>
                </a:cubicBezTo>
                <a:cubicBezTo>
                  <a:pt x="107" y="319"/>
                  <a:pt x="109" y="321"/>
                  <a:pt x="113" y="321"/>
                </a:cubicBezTo>
                <a:close/>
                <a:moveTo>
                  <a:pt x="206" y="191"/>
                </a:moveTo>
                <a:cubicBezTo>
                  <a:pt x="211" y="204"/>
                  <a:pt x="219" y="221"/>
                  <a:pt x="231" y="240"/>
                </a:cubicBezTo>
                <a:cubicBezTo>
                  <a:pt x="223" y="238"/>
                  <a:pt x="214" y="236"/>
                  <a:pt x="205" y="236"/>
                </a:cubicBezTo>
                <a:cubicBezTo>
                  <a:pt x="196" y="236"/>
                  <a:pt x="188" y="238"/>
                  <a:pt x="180" y="240"/>
                </a:cubicBezTo>
                <a:cubicBezTo>
                  <a:pt x="192" y="221"/>
                  <a:pt x="200" y="204"/>
                  <a:pt x="206" y="191"/>
                </a:cubicBezTo>
                <a:close/>
                <a:moveTo>
                  <a:pt x="164" y="264"/>
                </a:moveTo>
                <a:cubicBezTo>
                  <a:pt x="169" y="261"/>
                  <a:pt x="188" y="252"/>
                  <a:pt x="205" y="252"/>
                </a:cubicBezTo>
                <a:cubicBezTo>
                  <a:pt x="221" y="252"/>
                  <a:pt x="240" y="261"/>
                  <a:pt x="246" y="264"/>
                </a:cubicBezTo>
                <a:cubicBezTo>
                  <a:pt x="255" y="277"/>
                  <a:pt x="266" y="291"/>
                  <a:pt x="279" y="305"/>
                </a:cubicBezTo>
                <a:cubicBezTo>
                  <a:pt x="252" y="305"/>
                  <a:pt x="252" y="305"/>
                  <a:pt x="252" y="305"/>
                </a:cubicBezTo>
                <a:cubicBezTo>
                  <a:pt x="246" y="296"/>
                  <a:pt x="230" y="276"/>
                  <a:pt x="206" y="276"/>
                </a:cubicBezTo>
                <a:cubicBezTo>
                  <a:pt x="182" y="276"/>
                  <a:pt x="166" y="296"/>
                  <a:pt x="160" y="305"/>
                </a:cubicBezTo>
                <a:cubicBezTo>
                  <a:pt x="131" y="305"/>
                  <a:pt x="131" y="305"/>
                  <a:pt x="131" y="305"/>
                </a:cubicBezTo>
                <a:cubicBezTo>
                  <a:pt x="144" y="291"/>
                  <a:pt x="155" y="277"/>
                  <a:pt x="164" y="264"/>
                </a:cubicBezTo>
                <a:close/>
                <a:moveTo>
                  <a:pt x="148" y="94"/>
                </a:moveTo>
                <a:cubicBezTo>
                  <a:pt x="145" y="91"/>
                  <a:pt x="140" y="91"/>
                  <a:pt x="136" y="94"/>
                </a:cubicBezTo>
                <a:cubicBezTo>
                  <a:pt x="125" y="106"/>
                  <a:pt x="119" y="121"/>
                  <a:pt x="119" y="136"/>
                </a:cubicBezTo>
                <a:cubicBezTo>
                  <a:pt x="119" y="151"/>
                  <a:pt x="125" y="167"/>
                  <a:pt x="136" y="178"/>
                </a:cubicBezTo>
                <a:cubicBezTo>
                  <a:pt x="138" y="180"/>
                  <a:pt x="140" y="181"/>
                  <a:pt x="142" y="181"/>
                </a:cubicBezTo>
                <a:cubicBezTo>
                  <a:pt x="144" y="181"/>
                  <a:pt x="146" y="180"/>
                  <a:pt x="148" y="178"/>
                </a:cubicBezTo>
                <a:cubicBezTo>
                  <a:pt x="151" y="175"/>
                  <a:pt x="151" y="170"/>
                  <a:pt x="148" y="167"/>
                </a:cubicBezTo>
                <a:cubicBezTo>
                  <a:pt x="139" y="158"/>
                  <a:pt x="135" y="147"/>
                  <a:pt x="135" y="136"/>
                </a:cubicBezTo>
                <a:cubicBezTo>
                  <a:pt x="135" y="125"/>
                  <a:pt x="139" y="114"/>
                  <a:pt x="148" y="105"/>
                </a:cubicBezTo>
                <a:cubicBezTo>
                  <a:pt x="151" y="102"/>
                  <a:pt x="151" y="97"/>
                  <a:pt x="148" y="94"/>
                </a:cubicBezTo>
                <a:close/>
                <a:moveTo>
                  <a:pt x="109" y="67"/>
                </a:moveTo>
                <a:cubicBezTo>
                  <a:pt x="90" y="86"/>
                  <a:pt x="80" y="111"/>
                  <a:pt x="80" y="136"/>
                </a:cubicBezTo>
                <a:cubicBezTo>
                  <a:pt x="80" y="161"/>
                  <a:pt x="90" y="186"/>
                  <a:pt x="109" y="205"/>
                </a:cubicBezTo>
                <a:cubicBezTo>
                  <a:pt x="111" y="207"/>
                  <a:pt x="113" y="208"/>
                  <a:pt x="115" y="208"/>
                </a:cubicBezTo>
                <a:cubicBezTo>
                  <a:pt x="117" y="208"/>
                  <a:pt x="119" y="207"/>
                  <a:pt x="121" y="205"/>
                </a:cubicBezTo>
                <a:cubicBezTo>
                  <a:pt x="124" y="202"/>
                  <a:pt x="124" y="197"/>
                  <a:pt x="121" y="194"/>
                </a:cubicBezTo>
                <a:cubicBezTo>
                  <a:pt x="104" y="178"/>
                  <a:pt x="96" y="157"/>
                  <a:pt x="96" y="136"/>
                </a:cubicBezTo>
                <a:cubicBezTo>
                  <a:pt x="96" y="115"/>
                  <a:pt x="104" y="94"/>
                  <a:pt x="121" y="78"/>
                </a:cubicBezTo>
                <a:cubicBezTo>
                  <a:pt x="124" y="75"/>
                  <a:pt x="124" y="70"/>
                  <a:pt x="121" y="67"/>
                </a:cubicBezTo>
                <a:cubicBezTo>
                  <a:pt x="117" y="64"/>
                  <a:pt x="112" y="64"/>
                  <a:pt x="109" y="67"/>
                </a:cubicBezTo>
                <a:close/>
                <a:moveTo>
                  <a:pt x="264" y="178"/>
                </a:moveTo>
                <a:cubicBezTo>
                  <a:pt x="265" y="180"/>
                  <a:pt x="267" y="181"/>
                  <a:pt x="269" y="181"/>
                </a:cubicBezTo>
                <a:cubicBezTo>
                  <a:pt x="271" y="181"/>
                  <a:pt x="273" y="180"/>
                  <a:pt x="275" y="178"/>
                </a:cubicBezTo>
                <a:cubicBezTo>
                  <a:pt x="287" y="167"/>
                  <a:pt x="292" y="151"/>
                  <a:pt x="292" y="136"/>
                </a:cubicBezTo>
                <a:cubicBezTo>
                  <a:pt x="292" y="121"/>
                  <a:pt x="287" y="106"/>
                  <a:pt x="275" y="94"/>
                </a:cubicBezTo>
                <a:cubicBezTo>
                  <a:pt x="272" y="91"/>
                  <a:pt x="267" y="91"/>
                  <a:pt x="264" y="94"/>
                </a:cubicBezTo>
                <a:cubicBezTo>
                  <a:pt x="261" y="97"/>
                  <a:pt x="261" y="102"/>
                  <a:pt x="264" y="105"/>
                </a:cubicBezTo>
                <a:cubicBezTo>
                  <a:pt x="272" y="114"/>
                  <a:pt x="276" y="125"/>
                  <a:pt x="276" y="136"/>
                </a:cubicBezTo>
                <a:cubicBezTo>
                  <a:pt x="276" y="147"/>
                  <a:pt x="272" y="158"/>
                  <a:pt x="264" y="167"/>
                </a:cubicBezTo>
                <a:cubicBezTo>
                  <a:pt x="261" y="170"/>
                  <a:pt x="261" y="175"/>
                  <a:pt x="264" y="178"/>
                </a:cubicBezTo>
                <a:close/>
                <a:moveTo>
                  <a:pt x="302" y="67"/>
                </a:moveTo>
                <a:cubicBezTo>
                  <a:pt x="299" y="64"/>
                  <a:pt x="294" y="64"/>
                  <a:pt x="291" y="67"/>
                </a:cubicBezTo>
                <a:cubicBezTo>
                  <a:pt x="288" y="70"/>
                  <a:pt x="288" y="75"/>
                  <a:pt x="291" y="78"/>
                </a:cubicBezTo>
                <a:cubicBezTo>
                  <a:pt x="307" y="94"/>
                  <a:pt x="315" y="115"/>
                  <a:pt x="315" y="136"/>
                </a:cubicBezTo>
                <a:cubicBezTo>
                  <a:pt x="315" y="157"/>
                  <a:pt x="307" y="178"/>
                  <a:pt x="291" y="194"/>
                </a:cubicBezTo>
                <a:cubicBezTo>
                  <a:pt x="288" y="197"/>
                  <a:pt x="288" y="202"/>
                  <a:pt x="291" y="205"/>
                </a:cubicBezTo>
                <a:cubicBezTo>
                  <a:pt x="293" y="207"/>
                  <a:pt x="295" y="208"/>
                  <a:pt x="297" y="208"/>
                </a:cubicBezTo>
                <a:cubicBezTo>
                  <a:pt x="299" y="208"/>
                  <a:pt x="301" y="207"/>
                  <a:pt x="302" y="205"/>
                </a:cubicBezTo>
                <a:cubicBezTo>
                  <a:pt x="321" y="186"/>
                  <a:pt x="331" y="161"/>
                  <a:pt x="331" y="136"/>
                </a:cubicBezTo>
                <a:cubicBezTo>
                  <a:pt x="331" y="111"/>
                  <a:pt x="321" y="86"/>
                  <a:pt x="302" y="67"/>
                </a:cubicBezTo>
                <a:close/>
              </a:path>
            </a:pathLst>
          </a:custGeom>
          <a:solidFill>
            <a:schemeClr val="tx1"/>
          </a:solidFill>
          <a:ln>
            <a:solidFill>
              <a:schemeClr val="tx1"/>
            </a:solid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prstClr val="black"/>
              </a:solidFill>
              <a:effectLst/>
              <a:uLnTx/>
              <a:uFillTx/>
              <a:latin typeface="Calibri"/>
              <a:ea typeface="宋体"/>
            </a:endParaRPr>
          </a:p>
        </p:txBody>
      </p:sp>
      <p:sp>
        <p:nvSpPr>
          <p:cNvPr id="37" name="TextBox 36"/>
          <p:cNvSpPr txBox="1"/>
          <p:nvPr/>
        </p:nvSpPr>
        <p:spPr>
          <a:xfrm>
            <a:off x="9378773" y="4819830"/>
            <a:ext cx="195374" cy="246221"/>
          </a:xfrm>
          <a:prstGeom prst="rect">
            <a:avLst/>
          </a:prstGeom>
          <a:noFill/>
        </p:spPr>
        <p:txBody>
          <a:bodyPr wrap="square" rtlCol="0">
            <a:spAutoFit/>
          </a:bodyPr>
          <a:lstStyle/>
          <a:p>
            <a:r>
              <a:rPr lang="en-US" sz="1000" b="1" dirty="0">
                <a:solidFill>
                  <a:schemeClr val="accent2"/>
                </a:solidFill>
              </a:rPr>
              <a:t>B</a:t>
            </a:r>
          </a:p>
        </p:txBody>
      </p:sp>
      <p:sp>
        <p:nvSpPr>
          <p:cNvPr id="38" name="Rectangle 17"/>
          <p:cNvSpPr>
            <a:spLocks noChangeArrowheads="1"/>
          </p:cNvSpPr>
          <p:nvPr/>
        </p:nvSpPr>
        <p:spPr bwMode="auto">
          <a:xfrm>
            <a:off x="9907447" y="4739835"/>
            <a:ext cx="877070" cy="383444"/>
          </a:xfrm>
          <a:prstGeom prst="rect">
            <a:avLst/>
          </a:prstGeom>
          <a:solidFill>
            <a:schemeClr val="tx2">
              <a:lumMod val="25000"/>
              <a:lumOff val="75000"/>
            </a:schemeClr>
          </a:solidFill>
          <a:ln w="10795">
            <a:solidFill>
              <a:srgbClr val="7030A0"/>
            </a:solidFill>
            <a:round/>
            <a:headEnd/>
            <a:tailEnd/>
          </a:ln>
        </p:spPr>
        <p:txBody>
          <a:bodyPr vert="horz" wrap="square" lIns="91440" tIns="45720" rIns="91440" bIns="45720" numCol="1" anchor="t" anchorCtr="0" compatLnSpc="1">
            <a:prstTxWarp prst="textNoShape">
              <a:avLst/>
            </a:prstTxWarp>
          </a:bodyPr>
          <a:lstStyle/>
          <a:p>
            <a:r>
              <a:rPr lang="en-US" sz="1400" b="1" dirty="0"/>
              <a:t>T-UPF2</a:t>
            </a:r>
          </a:p>
        </p:txBody>
      </p:sp>
      <p:sp>
        <p:nvSpPr>
          <p:cNvPr id="39" name="Oval 13"/>
          <p:cNvSpPr>
            <a:spLocks noChangeArrowheads="1"/>
          </p:cNvSpPr>
          <p:nvPr/>
        </p:nvSpPr>
        <p:spPr bwMode="auto">
          <a:xfrm>
            <a:off x="10285968" y="4600524"/>
            <a:ext cx="804135" cy="203070"/>
          </a:xfrm>
          <a:prstGeom prst="ellipse">
            <a:avLst/>
          </a:prstGeom>
          <a:solidFill>
            <a:schemeClr val="accent2">
              <a:lumMod val="40000"/>
              <a:lumOff val="60000"/>
            </a:schemeClr>
          </a:solidFill>
          <a:ln w="0">
            <a:solidFill>
              <a:srgbClr val="000000"/>
            </a:solidFill>
            <a:round/>
            <a:headEnd/>
            <a:tailEnd/>
          </a:ln>
        </p:spPr>
        <p:txBody>
          <a:bodyPr vert="horz" wrap="square" lIns="91440" tIns="45720" rIns="91440" bIns="45720" numCol="1" anchor="ctr" anchorCtr="0" compatLnSpc="1">
            <a:prstTxWarp prst="textNoShape">
              <a:avLst/>
            </a:prstTxWarp>
          </a:bodyPr>
          <a:lstStyle/>
          <a:p>
            <a:r>
              <a:rPr lang="en-US" sz="900" b="1" dirty="0">
                <a:solidFill>
                  <a:srgbClr val="FF0000"/>
                </a:solidFill>
              </a:rPr>
              <a:t>IP@Y</a:t>
            </a:r>
          </a:p>
        </p:txBody>
      </p:sp>
      <p:sp>
        <p:nvSpPr>
          <p:cNvPr id="40" name="Rectangle 12"/>
          <p:cNvSpPr>
            <a:spLocks noChangeArrowheads="1"/>
          </p:cNvSpPr>
          <p:nvPr/>
        </p:nvSpPr>
        <p:spPr bwMode="auto">
          <a:xfrm>
            <a:off x="10948394" y="4275790"/>
            <a:ext cx="65606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ts val="800"/>
              </a:spcAft>
              <a:buClrTx/>
              <a:buSzTx/>
              <a:buFontTx/>
              <a:buNone/>
              <a:tabLst/>
            </a:pPr>
            <a:r>
              <a:rPr kumimoji="0" lang="en-US" altLang="en-US" sz="1200" b="1" i="0" u="none" strike="noStrike" cap="none" normalizeH="0" baseline="0" dirty="0">
                <a:ln>
                  <a:noFill/>
                </a:ln>
                <a:solidFill>
                  <a:srgbClr val="58585A"/>
                </a:solidFill>
                <a:effectLst/>
                <a:latin typeface="Arial" panose="020B0604020202020204" pitchFamily="34" charset="0"/>
                <a:ea typeface="DengXian" panose="02010600030101010101" pitchFamily="2" charset="-122"/>
              </a:rPr>
              <a:t>DN -1</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
        <p:nvSpPr>
          <p:cNvPr id="41" name="Arrow: Notched Right 40"/>
          <p:cNvSpPr/>
          <p:nvPr/>
        </p:nvSpPr>
        <p:spPr bwMode="auto">
          <a:xfrm>
            <a:off x="7733233" y="4359495"/>
            <a:ext cx="716380" cy="261551"/>
          </a:xfrm>
          <a:prstGeom prst="notchedRightArrow">
            <a:avLst>
              <a:gd name="adj1" fmla="val 50000"/>
              <a:gd name="adj2" fmla="val 50000"/>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42" name="Speech Bubble: Rectangle with Corners Rounded 41"/>
          <p:cNvSpPr/>
          <p:nvPr/>
        </p:nvSpPr>
        <p:spPr bwMode="auto">
          <a:xfrm>
            <a:off x="7105779" y="3652214"/>
            <a:ext cx="1658842" cy="377437"/>
          </a:xfrm>
          <a:prstGeom prst="wedgeRoundRectCallout">
            <a:avLst>
              <a:gd name="adj1" fmla="val 17183"/>
              <a:gd name="adj2" fmla="val 145003"/>
              <a:gd name="adj3" fmla="val 16667"/>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spcBef>
                <a:spcPts val="0"/>
              </a:spcBef>
            </a:pPr>
            <a:r>
              <a:rPr lang="en-US" sz="1100" b="1" dirty="0">
                <a:solidFill>
                  <a:schemeClr val="tx1">
                    <a:lumMod val="50000"/>
                  </a:schemeClr>
                </a:solidFill>
                <a:latin typeface="Segoe UI" panose="020B0502040204020203" pitchFamily="34" charset="0"/>
                <a:ea typeface="Segoe UI" panose="020B0502040204020203" pitchFamily="34" charset="0"/>
                <a:cs typeface="Segoe UI" panose="020B0502040204020203" pitchFamily="34" charset="0"/>
              </a:rPr>
              <a:t>Timer for keeping the dual UPFs expires</a:t>
            </a:r>
          </a:p>
          <a:p>
            <a:pPr marL="285750" indent="-285750">
              <a:buFont typeface="Arial" panose="020B0604020202020204" pitchFamily="34" charset="0"/>
              <a:buChar char="•"/>
            </a:pPr>
            <a:endParaRPr lang="en-US" sz="1100" b="1" dirty="0">
              <a:solidFill>
                <a:schemeClr val="tx1">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6137612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SC mode selection</a:t>
            </a:r>
          </a:p>
        </p:txBody>
      </p:sp>
      <p:sp>
        <p:nvSpPr>
          <p:cNvPr id="3" name="Text Placeholder 2"/>
          <p:cNvSpPr>
            <a:spLocks noGrp="1"/>
          </p:cNvSpPr>
          <p:nvPr>
            <p:ph type="body" idx="1"/>
          </p:nvPr>
        </p:nvSpPr>
        <p:spPr/>
        <p:txBody>
          <a:bodyPr/>
          <a:lstStyle/>
          <a:p>
            <a:r>
              <a:rPr lang="en-US" dirty="0"/>
              <a:t>The UE can be provisioned with one or more SSC mode selection policy rules</a:t>
            </a:r>
          </a:p>
          <a:p>
            <a:pPr lvl="1"/>
            <a:r>
              <a:rPr lang="en-US" dirty="0"/>
              <a:t>Used by the UE to determine the SSC mode </a:t>
            </a:r>
            <a:r>
              <a:rPr lang="en-GB" dirty="0"/>
              <a:t>associated with an application(s)</a:t>
            </a:r>
          </a:p>
          <a:p>
            <a:pPr lvl="1"/>
            <a:r>
              <a:rPr lang="en-GB" dirty="0"/>
              <a:t>May include a default SSC mode selection policy that matches all UE applications</a:t>
            </a:r>
          </a:p>
          <a:p>
            <a:r>
              <a:rPr lang="en-GB" dirty="0"/>
              <a:t>The SMF receives a list of supported SSC modes and the default SSC mode per DNN from UDM as part of the subscription information</a:t>
            </a:r>
          </a:p>
          <a:p>
            <a:r>
              <a:rPr lang="en-GB" dirty="0"/>
              <a:t>The SMF selects the SSC mode by either accepting the requested SSC mode from the UE or modifying the SSC mode based on subscription information</a:t>
            </a:r>
          </a:p>
          <a:p>
            <a:r>
              <a:rPr lang="en-GB" dirty="0"/>
              <a:t>The SMF informs the UE of the selected SSC mode for the PDU Session </a:t>
            </a:r>
            <a:endParaRPr lang="en-US" dirty="0"/>
          </a:p>
        </p:txBody>
      </p:sp>
    </p:spTree>
    <p:extLst>
      <p:ext uri="{BB962C8B-B14F-4D97-AF65-F5344CB8AC3E}">
        <p14:creationId xmlns:p14="http://schemas.microsoft.com/office/powerpoint/2010/main" val="197495036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C Charging</a:t>
            </a:r>
            <a:br>
              <a:rPr lang="en-US" dirty="0"/>
            </a:br>
            <a:r>
              <a:rPr lang="en-US" sz="2400" dirty="0">
                <a:latin typeface="+mn-lt"/>
              </a:rPr>
              <a:t>Ericsson Focus Points</a:t>
            </a:r>
          </a:p>
        </p:txBody>
      </p:sp>
      <p:sp>
        <p:nvSpPr>
          <p:cNvPr id="4" name="Rectangle: Rounded Corners 3"/>
          <p:cNvSpPr/>
          <p:nvPr/>
        </p:nvSpPr>
        <p:spPr bwMode="auto">
          <a:xfrm>
            <a:off x="4087258" y="1556202"/>
            <a:ext cx="2969426" cy="1319219"/>
          </a:xfrm>
          <a:prstGeom prst="roundRect">
            <a:avLst/>
          </a:prstGeom>
          <a:pattFill prst="pct50">
            <a:fgClr>
              <a:srgbClr val="F3DCA9"/>
            </a:fgClr>
            <a:bgClr>
              <a:schemeClr val="bg1"/>
            </a:bgClr>
          </a:patt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cxnSp>
        <p:nvCxnSpPr>
          <p:cNvPr id="5" name="Straight Connector 4"/>
          <p:cNvCxnSpPr>
            <a:cxnSpLocks/>
          </p:cNvCxnSpPr>
          <p:nvPr/>
        </p:nvCxnSpPr>
        <p:spPr bwMode="auto">
          <a:xfrm flipH="1">
            <a:off x="6141560" y="3710849"/>
            <a:ext cx="2372619" cy="351628"/>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 name="Text Box 144"/>
          <p:cNvSpPr txBox="1">
            <a:spLocks noChangeAspect="1" noChangeArrowheads="1"/>
          </p:cNvSpPr>
          <p:nvPr/>
        </p:nvSpPr>
        <p:spPr bwMode="auto">
          <a:xfrm>
            <a:off x="6322467" y="3334612"/>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7</a:t>
            </a:r>
          </a:p>
        </p:txBody>
      </p:sp>
      <p:sp>
        <p:nvSpPr>
          <p:cNvPr id="7" name="Text Box 144"/>
          <p:cNvSpPr txBox="1">
            <a:spLocks noChangeAspect="1" noChangeArrowheads="1"/>
          </p:cNvSpPr>
          <p:nvPr/>
        </p:nvSpPr>
        <p:spPr bwMode="auto">
          <a:xfrm>
            <a:off x="4743973" y="3922844"/>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10</a:t>
            </a:r>
          </a:p>
        </p:txBody>
      </p:sp>
      <p:cxnSp>
        <p:nvCxnSpPr>
          <p:cNvPr id="8" name="Straight Connector 7"/>
          <p:cNvCxnSpPr>
            <a:cxnSpLocks/>
          </p:cNvCxnSpPr>
          <p:nvPr/>
        </p:nvCxnSpPr>
        <p:spPr bwMode="auto">
          <a:xfrm flipH="1" flipV="1">
            <a:off x="4952488" y="3717896"/>
            <a:ext cx="696749" cy="329563"/>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9" name="Straight Connector 8"/>
          <p:cNvCxnSpPr>
            <a:cxnSpLocks/>
          </p:cNvCxnSpPr>
          <p:nvPr/>
        </p:nvCxnSpPr>
        <p:spPr bwMode="auto">
          <a:xfrm flipH="1">
            <a:off x="6189253" y="3407828"/>
            <a:ext cx="940628" cy="32648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0" name="Straight Connector 9"/>
          <p:cNvCxnSpPr>
            <a:cxnSpLocks/>
          </p:cNvCxnSpPr>
          <p:nvPr/>
        </p:nvCxnSpPr>
        <p:spPr bwMode="auto">
          <a:xfrm flipH="1" flipV="1">
            <a:off x="5605134" y="2631946"/>
            <a:ext cx="227123" cy="101194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1" name="Straight Connector 10"/>
          <p:cNvCxnSpPr>
            <a:cxnSpLocks/>
          </p:cNvCxnSpPr>
          <p:nvPr/>
        </p:nvCxnSpPr>
        <p:spPr bwMode="auto">
          <a:xfrm flipV="1">
            <a:off x="6048469" y="2707175"/>
            <a:ext cx="416192" cy="905636"/>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2" name="Text Box 144"/>
          <p:cNvSpPr txBox="1">
            <a:spLocks noChangeAspect="1" noChangeArrowheads="1"/>
          </p:cNvSpPr>
          <p:nvPr/>
        </p:nvSpPr>
        <p:spPr bwMode="auto">
          <a:xfrm>
            <a:off x="5646876" y="3232888"/>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Ro</a:t>
            </a:r>
          </a:p>
        </p:txBody>
      </p:sp>
      <p:sp>
        <p:nvSpPr>
          <p:cNvPr id="13" name="Text Box 144"/>
          <p:cNvSpPr txBox="1">
            <a:spLocks noChangeAspect="1" noChangeArrowheads="1"/>
          </p:cNvSpPr>
          <p:nvPr/>
        </p:nvSpPr>
        <p:spPr bwMode="auto">
          <a:xfrm>
            <a:off x="5219737" y="3290296"/>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err="1">
                <a:ln>
                  <a:noFill/>
                </a:ln>
                <a:solidFill>
                  <a:srgbClr val="58585A"/>
                </a:solidFill>
                <a:effectLst/>
                <a:uLnTx/>
                <a:uFillTx/>
                <a:latin typeface="Arial" charset="0"/>
                <a:ea typeface="MS PGothic" charset="-128"/>
                <a:cs typeface="+mn-cs"/>
              </a:rPr>
              <a:t>Rf</a:t>
            </a:r>
            <a:endPar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endParaRPr>
          </a:p>
        </p:txBody>
      </p:sp>
      <p:cxnSp>
        <p:nvCxnSpPr>
          <p:cNvPr id="14" name="Straight Connector 13"/>
          <p:cNvCxnSpPr>
            <a:cxnSpLocks/>
          </p:cNvCxnSpPr>
          <p:nvPr/>
        </p:nvCxnSpPr>
        <p:spPr bwMode="auto">
          <a:xfrm flipV="1">
            <a:off x="5200608" y="4398994"/>
            <a:ext cx="709979" cy="48711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5" name="Straight Connector 14"/>
          <p:cNvCxnSpPr>
            <a:cxnSpLocks/>
          </p:cNvCxnSpPr>
          <p:nvPr/>
        </p:nvCxnSpPr>
        <p:spPr bwMode="auto">
          <a:xfrm flipH="1" flipV="1">
            <a:off x="5986093" y="4408520"/>
            <a:ext cx="796026" cy="480416"/>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6" name="Text Box 144"/>
          <p:cNvSpPr txBox="1">
            <a:spLocks noChangeAspect="1" noChangeArrowheads="1"/>
          </p:cNvSpPr>
          <p:nvPr/>
        </p:nvSpPr>
        <p:spPr bwMode="auto">
          <a:xfrm>
            <a:off x="5862501" y="4669490"/>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4</a:t>
            </a:r>
          </a:p>
        </p:txBody>
      </p:sp>
      <p:sp>
        <p:nvSpPr>
          <p:cNvPr id="17" name="Text Box 144"/>
          <p:cNvSpPr txBox="1">
            <a:spLocks noChangeAspect="1" noChangeArrowheads="1"/>
          </p:cNvSpPr>
          <p:nvPr/>
        </p:nvSpPr>
        <p:spPr bwMode="auto">
          <a:xfrm>
            <a:off x="5251864" y="4690127"/>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4</a:t>
            </a:r>
          </a:p>
        </p:txBody>
      </p:sp>
      <p:grpSp>
        <p:nvGrpSpPr>
          <p:cNvPr id="18" name="Group 17"/>
          <p:cNvGrpSpPr>
            <a:grpSpLocks noChangeAspect="1"/>
          </p:cNvGrpSpPr>
          <p:nvPr/>
        </p:nvGrpSpPr>
        <p:grpSpPr bwMode="auto">
          <a:xfrm>
            <a:off x="6173620" y="1931213"/>
            <a:ext cx="576263" cy="825501"/>
            <a:chOff x="1057" y="1587"/>
            <a:chExt cx="363" cy="520"/>
          </a:xfrm>
        </p:grpSpPr>
        <p:sp>
          <p:nvSpPr>
            <p:cNvPr id="19"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0" name="Oval 19"/>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1"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08A00"/>
                  </a:solidFill>
                  <a:effectLst/>
                  <a:uLnTx/>
                  <a:uFillTx/>
                  <a:latin typeface="Arial" panose="020B0604020202020204" pitchFamily="34" charset="0"/>
                  <a:ea typeface="MS PGothic" panose="020B0600070205080204" pitchFamily="34" charset="-128"/>
                  <a:cs typeface="+mn-cs"/>
                </a:rPr>
                <a:t>OCS </a:t>
              </a:r>
            </a:p>
          </p:txBody>
        </p:sp>
        <p:sp>
          <p:nvSpPr>
            <p:cNvPr id="22" name="Rectangle 21"/>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3" name="Freeform 11"/>
            <p:cNvSpPr>
              <a:spLocks noChangeAspect="1" noEditPoints="1"/>
            </p:cNvSpPr>
            <p:nvPr/>
          </p:nvSpPr>
          <p:spPr bwMode="auto">
            <a:xfrm>
              <a:off x="1057" y="1587"/>
              <a:ext cx="363" cy="520"/>
            </a:xfrm>
            <a:custGeom>
              <a:avLst/>
              <a:gdLst>
                <a:gd name="T0" fmla="*/ 345639 w 410"/>
                <a:gd name="T1" fmla="*/ 196962 h 589"/>
                <a:gd name="T2" fmla="*/ 324585 w 410"/>
                <a:gd name="T3" fmla="*/ 476199 h 589"/>
                <a:gd name="T4" fmla="*/ 14036 w 410"/>
                <a:gd name="T5" fmla="*/ 456254 h 589"/>
                <a:gd name="T6" fmla="*/ 179837 w 410"/>
                <a:gd name="T7" fmla="*/ 13297 h 589"/>
                <a:gd name="T8" fmla="*/ 352657 w 410"/>
                <a:gd name="T9" fmla="*/ 177016 h 589"/>
                <a:gd name="T10" fmla="*/ 359675 w 410"/>
                <a:gd name="T11" fmla="*/ 170368 h 589"/>
                <a:gd name="T12" fmla="*/ 0 w 410"/>
                <a:gd name="T13" fmla="*/ 170368 h 589"/>
                <a:gd name="T14" fmla="*/ 877 w 410"/>
                <a:gd name="T15" fmla="*/ 456254 h 589"/>
                <a:gd name="T16" fmla="*/ 324585 w 410"/>
                <a:gd name="T17" fmla="*/ 489497 h 589"/>
                <a:gd name="T18" fmla="*/ 359675 w 410"/>
                <a:gd name="T19" fmla="*/ 196962 h 589"/>
                <a:gd name="T20" fmla="*/ 129834 w 410"/>
                <a:gd name="T21" fmla="*/ 143774 h 589"/>
                <a:gd name="T22" fmla="*/ 235982 w 410"/>
                <a:gd name="T23" fmla="*/ 140449 h 589"/>
                <a:gd name="T24" fmla="*/ 185977 w 410"/>
                <a:gd name="T25" fmla="*/ 39892 h 589"/>
                <a:gd name="T26" fmla="*/ 173696 w 410"/>
                <a:gd name="T27" fmla="*/ 39892 h 589"/>
                <a:gd name="T28" fmla="*/ 123694 w 410"/>
                <a:gd name="T29" fmla="*/ 140449 h 589"/>
                <a:gd name="T30" fmla="*/ 179837 w 410"/>
                <a:gd name="T31" fmla="*/ 57343 h 589"/>
                <a:gd name="T32" fmla="*/ 141238 w 410"/>
                <a:gd name="T33" fmla="*/ 130477 h 589"/>
                <a:gd name="T34" fmla="*/ 78953 w 410"/>
                <a:gd name="T35" fmla="*/ 174523 h 589"/>
                <a:gd name="T36" fmla="*/ 66672 w 410"/>
                <a:gd name="T37" fmla="*/ 187822 h 589"/>
                <a:gd name="T38" fmla="*/ 71058 w 410"/>
                <a:gd name="T39" fmla="*/ 236023 h 589"/>
                <a:gd name="T40" fmla="*/ 179837 w 410"/>
                <a:gd name="T41" fmla="*/ 251813 h 589"/>
                <a:gd name="T42" fmla="*/ 280721 w 410"/>
                <a:gd name="T43" fmla="*/ 241009 h 589"/>
                <a:gd name="T44" fmla="*/ 293004 w 410"/>
                <a:gd name="T45" fmla="*/ 227711 h 589"/>
                <a:gd name="T46" fmla="*/ 288617 w 410"/>
                <a:gd name="T47" fmla="*/ 179510 h 589"/>
                <a:gd name="T48" fmla="*/ 179837 w 410"/>
                <a:gd name="T49" fmla="*/ 163720 h 589"/>
                <a:gd name="T50" fmla="*/ 78953 w 410"/>
                <a:gd name="T51" fmla="*/ 174523 h 589"/>
                <a:gd name="T52" fmla="*/ 269317 w 410"/>
                <a:gd name="T53" fmla="*/ 230205 h 589"/>
                <a:gd name="T54" fmla="*/ 106148 w 410"/>
                <a:gd name="T55" fmla="*/ 233529 h 589"/>
                <a:gd name="T56" fmla="*/ 80707 w 410"/>
                <a:gd name="T57" fmla="*/ 226051 h 589"/>
                <a:gd name="T58" fmla="*/ 86848 w 410"/>
                <a:gd name="T59" fmla="*/ 202780 h 589"/>
                <a:gd name="T60" fmla="*/ 256159 w 410"/>
                <a:gd name="T61" fmla="*/ 206103 h 589"/>
                <a:gd name="T62" fmla="*/ 278967 w 410"/>
                <a:gd name="T63" fmla="*/ 226051 h 589"/>
                <a:gd name="T64" fmla="*/ 275459 w 410"/>
                <a:gd name="T65" fmla="*/ 186990 h 589"/>
                <a:gd name="T66" fmla="*/ 269317 w 410"/>
                <a:gd name="T67" fmla="*/ 190313 h 589"/>
                <a:gd name="T68" fmla="*/ 106148 w 410"/>
                <a:gd name="T69" fmla="*/ 193638 h 589"/>
                <a:gd name="T70" fmla="*/ 83339 w 410"/>
                <a:gd name="T71" fmla="*/ 187822 h 589"/>
                <a:gd name="T72" fmla="*/ 179837 w 410"/>
                <a:gd name="T73" fmla="*/ 17701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grpSp>
      <p:grpSp>
        <p:nvGrpSpPr>
          <p:cNvPr id="24" name="Group 23"/>
          <p:cNvGrpSpPr>
            <a:grpSpLocks noChangeAspect="1"/>
          </p:cNvGrpSpPr>
          <p:nvPr/>
        </p:nvGrpSpPr>
        <p:grpSpPr bwMode="auto">
          <a:xfrm>
            <a:off x="5387577" y="1931213"/>
            <a:ext cx="576263" cy="825501"/>
            <a:chOff x="1057" y="1587"/>
            <a:chExt cx="363" cy="520"/>
          </a:xfrm>
        </p:grpSpPr>
        <p:sp>
          <p:nvSpPr>
            <p:cNvPr id="25"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6" name="Oval 25"/>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7"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08A00"/>
                  </a:solidFill>
                  <a:effectLst/>
                  <a:uLnTx/>
                  <a:uFillTx/>
                  <a:latin typeface="Arial" panose="020B0604020202020204" pitchFamily="34" charset="0"/>
                  <a:ea typeface="MS PGothic" panose="020B0600070205080204" pitchFamily="34" charset="-128"/>
                  <a:cs typeface="+mn-cs"/>
                </a:rPr>
                <a:t>OFCS </a:t>
              </a:r>
            </a:p>
          </p:txBody>
        </p:sp>
        <p:sp>
          <p:nvSpPr>
            <p:cNvPr id="28" name="Rectangle 27"/>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29" name="Freeform 11"/>
            <p:cNvSpPr>
              <a:spLocks noChangeAspect="1" noEditPoints="1"/>
            </p:cNvSpPr>
            <p:nvPr/>
          </p:nvSpPr>
          <p:spPr bwMode="auto">
            <a:xfrm>
              <a:off x="1057" y="1587"/>
              <a:ext cx="363" cy="520"/>
            </a:xfrm>
            <a:custGeom>
              <a:avLst/>
              <a:gdLst>
                <a:gd name="T0" fmla="*/ 345639 w 410"/>
                <a:gd name="T1" fmla="*/ 196962 h 589"/>
                <a:gd name="T2" fmla="*/ 324585 w 410"/>
                <a:gd name="T3" fmla="*/ 476199 h 589"/>
                <a:gd name="T4" fmla="*/ 14036 w 410"/>
                <a:gd name="T5" fmla="*/ 456254 h 589"/>
                <a:gd name="T6" fmla="*/ 179837 w 410"/>
                <a:gd name="T7" fmla="*/ 13297 h 589"/>
                <a:gd name="T8" fmla="*/ 352657 w 410"/>
                <a:gd name="T9" fmla="*/ 177016 h 589"/>
                <a:gd name="T10" fmla="*/ 359675 w 410"/>
                <a:gd name="T11" fmla="*/ 170368 h 589"/>
                <a:gd name="T12" fmla="*/ 0 w 410"/>
                <a:gd name="T13" fmla="*/ 170368 h 589"/>
                <a:gd name="T14" fmla="*/ 877 w 410"/>
                <a:gd name="T15" fmla="*/ 456254 h 589"/>
                <a:gd name="T16" fmla="*/ 324585 w 410"/>
                <a:gd name="T17" fmla="*/ 489497 h 589"/>
                <a:gd name="T18" fmla="*/ 359675 w 410"/>
                <a:gd name="T19" fmla="*/ 196962 h 589"/>
                <a:gd name="T20" fmla="*/ 129834 w 410"/>
                <a:gd name="T21" fmla="*/ 143774 h 589"/>
                <a:gd name="T22" fmla="*/ 235982 w 410"/>
                <a:gd name="T23" fmla="*/ 140449 h 589"/>
                <a:gd name="T24" fmla="*/ 185977 w 410"/>
                <a:gd name="T25" fmla="*/ 39892 h 589"/>
                <a:gd name="T26" fmla="*/ 173696 w 410"/>
                <a:gd name="T27" fmla="*/ 39892 h 589"/>
                <a:gd name="T28" fmla="*/ 123694 w 410"/>
                <a:gd name="T29" fmla="*/ 140449 h 589"/>
                <a:gd name="T30" fmla="*/ 179837 w 410"/>
                <a:gd name="T31" fmla="*/ 57343 h 589"/>
                <a:gd name="T32" fmla="*/ 141238 w 410"/>
                <a:gd name="T33" fmla="*/ 130477 h 589"/>
                <a:gd name="T34" fmla="*/ 78953 w 410"/>
                <a:gd name="T35" fmla="*/ 174523 h 589"/>
                <a:gd name="T36" fmla="*/ 66672 w 410"/>
                <a:gd name="T37" fmla="*/ 187822 h 589"/>
                <a:gd name="T38" fmla="*/ 71058 w 410"/>
                <a:gd name="T39" fmla="*/ 236023 h 589"/>
                <a:gd name="T40" fmla="*/ 179837 w 410"/>
                <a:gd name="T41" fmla="*/ 251813 h 589"/>
                <a:gd name="T42" fmla="*/ 280721 w 410"/>
                <a:gd name="T43" fmla="*/ 241009 h 589"/>
                <a:gd name="T44" fmla="*/ 293004 w 410"/>
                <a:gd name="T45" fmla="*/ 227711 h 589"/>
                <a:gd name="T46" fmla="*/ 288617 w 410"/>
                <a:gd name="T47" fmla="*/ 179510 h 589"/>
                <a:gd name="T48" fmla="*/ 179837 w 410"/>
                <a:gd name="T49" fmla="*/ 163720 h 589"/>
                <a:gd name="T50" fmla="*/ 78953 w 410"/>
                <a:gd name="T51" fmla="*/ 174523 h 589"/>
                <a:gd name="T52" fmla="*/ 269317 w 410"/>
                <a:gd name="T53" fmla="*/ 230205 h 589"/>
                <a:gd name="T54" fmla="*/ 106148 w 410"/>
                <a:gd name="T55" fmla="*/ 233529 h 589"/>
                <a:gd name="T56" fmla="*/ 80707 w 410"/>
                <a:gd name="T57" fmla="*/ 226051 h 589"/>
                <a:gd name="T58" fmla="*/ 86848 w 410"/>
                <a:gd name="T59" fmla="*/ 202780 h 589"/>
                <a:gd name="T60" fmla="*/ 256159 w 410"/>
                <a:gd name="T61" fmla="*/ 206103 h 589"/>
                <a:gd name="T62" fmla="*/ 278967 w 410"/>
                <a:gd name="T63" fmla="*/ 226051 h 589"/>
                <a:gd name="T64" fmla="*/ 275459 w 410"/>
                <a:gd name="T65" fmla="*/ 186990 h 589"/>
                <a:gd name="T66" fmla="*/ 269317 w 410"/>
                <a:gd name="T67" fmla="*/ 190313 h 589"/>
                <a:gd name="T68" fmla="*/ 106148 w 410"/>
                <a:gd name="T69" fmla="*/ 193638 h 589"/>
                <a:gd name="T70" fmla="*/ 83339 w 410"/>
                <a:gd name="T71" fmla="*/ 187822 h 589"/>
                <a:gd name="T72" fmla="*/ 179837 w 410"/>
                <a:gd name="T73" fmla="*/ 17701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grpSp>
      <p:sp>
        <p:nvSpPr>
          <p:cNvPr id="30" name="AutoShape 4"/>
          <p:cNvSpPr>
            <a:spLocks noChangeAspect="1" noChangeArrowheads="1"/>
          </p:cNvSpPr>
          <p:nvPr/>
        </p:nvSpPr>
        <p:spPr bwMode="auto">
          <a:xfrm>
            <a:off x="6886769" y="2893058"/>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1" name="Oval 30"/>
          <p:cNvSpPr>
            <a:spLocks noChangeAspect="1" noChangeArrowheads="1"/>
          </p:cNvSpPr>
          <p:nvPr/>
        </p:nvSpPr>
        <p:spPr bwMode="auto">
          <a:xfrm>
            <a:off x="6883594" y="2910520"/>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2" name="Text Box 6"/>
          <p:cNvSpPr txBox="1">
            <a:spLocks noChangeAspect="1" noChangeArrowheads="1"/>
          </p:cNvSpPr>
          <p:nvPr/>
        </p:nvSpPr>
        <p:spPr bwMode="auto">
          <a:xfrm>
            <a:off x="6902644" y="3348252"/>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n-cs"/>
              </a:rPr>
              <a:t>PCF </a:t>
            </a:r>
          </a:p>
        </p:txBody>
      </p:sp>
      <p:sp>
        <p:nvSpPr>
          <p:cNvPr id="33" name="Rectangle 32"/>
          <p:cNvSpPr>
            <a:spLocks noChangeAspect="1" noChangeArrowheads="1"/>
          </p:cNvSpPr>
          <p:nvPr/>
        </p:nvSpPr>
        <p:spPr bwMode="auto">
          <a:xfrm>
            <a:off x="6875656" y="2648583"/>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4" name="Freeform 11"/>
          <p:cNvSpPr>
            <a:spLocks noChangeAspect="1" noEditPoints="1"/>
          </p:cNvSpPr>
          <p:nvPr/>
        </p:nvSpPr>
        <p:spPr bwMode="auto">
          <a:xfrm>
            <a:off x="6875656" y="2901974"/>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35" name="AutoShape 4"/>
          <p:cNvSpPr>
            <a:spLocks noChangeAspect="1" noChangeArrowheads="1"/>
          </p:cNvSpPr>
          <p:nvPr/>
        </p:nvSpPr>
        <p:spPr bwMode="auto">
          <a:xfrm>
            <a:off x="5666061" y="3817969"/>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6" name="Oval 35"/>
          <p:cNvSpPr>
            <a:spLocks noChangeAspect="1" noChangeArrowheads="1"/>
          </p:cNvSpPr>
          <p:nvPr/>
        </p:nvSpPr>
        <p:spPr bwMode="auto">
          <a:xfrm>
            <a:off x="5662886" y="3594131"/>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7" name="Text Box 6"/>
          <p:cNvSpPr txBox="1">
            <a:spLocks noChangeAspect="1" noChangeArrowheads="1"/>
          </p:cNvSpPr>
          <p:nvPr/>
        </p:nvSpPr>
        <p:spPr bwMode="auto">
          <a:xfrm>
            <a:off x="5681936" y="4032281"/>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n-cs"/>
              </a:rPr>
              <a:t>SMF</a:t>
            </a:r>
            <a:b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n-cs"/>
              </a:rPr>
            </a:b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n-cs"/>
              </a:rPr>
              <a:t>(CTF) </a:t>
            </a:r>
          </a:p>
        </p:txBody>
      </p:sp>
      <p:sp>
        <p:nvSpPr>
          <p:cNvPr id="38" name="Rectangle 37"/>
          <p:cNvSpPr>
            <a:spLocks noChangeAspect="1" noChangeArrowheads="1"/>
          </p:cNvSpPr>
          <p:nvPr/>
        </p:nvSpPr>
        <p:spPr bwMode="auto">
          <a:xfrm>
            <a:off x="5654948" y="3583019"/>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39" name="Freeform 11"/>
          <p:cNvSpPr>
            <a:spLocks noChangeAspect="1" noEditPoints="1"/>
          </p:cNvSpPr>
          <p:nvPr/>
        </p:nvSpPr>
        <p:spPr bwMode="auto">
          <a:xfrm>
            <a:off x="5654948" y="3584606"/>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40" name="AutoShape 4"/>
          <p:cNvSpPr>
            <a:spLocks noChangeAspect="1" noChangeArrowheads="1"/>
          </p:cNvSpPr>
          <p:nvPr/>
        </p:nvSpPr>
        <p:spPr bwMode="auto">
          <a:xfrm>
            <a:off x="4393688" y="3385417"/>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41" name="Oval 40"/>
          <p:cNvSpPr>
            <a:spLocks noChangeAspect="1" noChangeArrowheads="1"/>
          </p:cNvSpPr>
          <p:nvPr/>
        </p:nvSpPr>
        <p:spPr bwMode="auto">
          <a:xfrm>
            <a:off x="4393688" y="3402879"/>
            <a:ext cx="558800" cy="563563"/>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42" name="Text Box 6"/>
          <p:cNvSpPr txBox="1">
            <a:spLocks noChangeAspect="1" noChangeArrowheads="1"/>
          </p:cNvSpPr>
          <p:nvPr/>
        </p:nvSpPr>
        <p:spPr bwMode="auto">
          <a:xfrm>
            <a:off x="4393688" y="3609254"/>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n-cs"/>
              </a:rPr>
              <a:t>UDM </a:t>
            </a:r>
          </a:p>
        </p:txBody>
      </p:sp>
      <p:sp>
        <p:nvSpPr>
          <p:cNvPr id="43" name="Rectangle 42"/>
          <p:cNvSpPr>
            <a:spLocks noChangeAspect="1" noChangeArrowheads="1"/>
          </p:cNvSpPr>
          <p:nvPr/>
        </p:nvSpPr>
        <p:spPr bwMode="auto">
          <a:xfrm>
            <a:off x="4393688" y="3140942"/>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44" name="Freeform 11"/>
          <p:cNvSpPr>
            <a:spLocks noChangeAspect="1" noEditPoints="1"/>
          </p:cNvSpPr>
          <p:nvPr/>
        </p:nvSpPr>
        <p:spPr bwMode="auto">
          <a:xfrm>
            <a:off x="4393688" y="3140942"/>
            <a:ext cx="574675" cy="825500"/>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2147483647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0 h 589"/>
              <a:gd name="T26" fmla="*/ 0 w 410"/>
              <a:gd name="T27" fmla="*/ 2147483647 h 589"/>
              <a:gd name="T28" fmla="*/ 0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grpSp>
        <p:nvGrpSpPr>
          <p:cNvPr id="45" name="Group 44"/>
          <p:cNvGrpSpPr/>
          <p:nvPr/>
        </p:nvGrpSpPr>
        <p:grpSpPr>
          <a:xfrm>
            <a:off x="6494781" y="4877824"/>
            <a:ext cx="576263" cy="825500"/>
            <a:chOff x="4387997" y="4462418"/>
            <a:chExt cx="576263" cy="825500"/>
          </a:xfrm>
        </p:grpSpPr>
        <p:sp>
          <p:nvSpPr>
            <p:cNvPr id="46" name="AutoShape 10"/>
            <p:cNvSpPr>
              <a:spLocks noChangeAspect="1" noChangeArrowheads="1"/>
            </p:cNvSpPr>
            <p:nvPr/>
          </p:nvSpPr>
          <p:spPr bwMode="auto">
            <a:xfrm>
              <a:off x="4399110" y="4697368"/>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47" name="Oval 11"/>
            <p:cNvSpPr>
              <a:spLocks noChangeAspect="1" noChangeArrowheads="1"/>
            </p:cNvSpPr>
            <p:nvPr/>
          </p:nvSpPr>
          <p:spPr bwMode="auto">
            <a:xfrm>
              <a:off x="4395935" y="4473530"/>
              <a:ext cx="558800" cy="563563"/>
            </a:xfrm>
            <a:prstGeom prst="ellipse">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48" name="Text Box 12"/>
            <p:cNvSpPr txBox="1">
              <a:spLocks noChangeAspect="1" noChangeArrowheads="1"/>
            </p:cNvSpPr>
            <p:nvPr/>
          </p:nvSpPr>
          <p:spPr bwMode="auto">
            <a:xfrm>
              <a:off x="4414985" y="4911680"/>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S PGothic" panose="020B0600070205080204" pitchFamily="34" charset="-128"/>
                </a:rPr>
                <a:t>UPF </a:t>
              </a:r>
            </a:p>
          </p:txBody>
        </p:sp>
        <p:sp>
          <p:nvSpPr>
            <p:cNvPr id="49" name="Rectangle 13"/>
            <p:cNvSpPr>
              <a:spLocks noChangeAspect="1" noChangeArrowheads="1"/>
            </p:cNvSpPr>
            <p:nvPr/>
          </p:nvSpPr>
          <p:spPr bwMode="auto">
            <a:xfrm>
              <a:off x="4387997" y="4462418"/>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50" name="Freeform 11"/>
            <p:cNvSpPr>
              <a:spLocks noChangeAspect="1" noEditPoints="1"/>
            </p:cNvSpPr>
            <p:nvPr/>
          </p:nvSpPr>
          <p:spPr bwMode="auto">
            <a:xfrm>
              <a:off x="4387997" y="4462418"/>
              <a:ext cx="576263" cy="82391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grpSp>
      <p:grpSp>
        <p:nvGrpSpPr>
          <p:cNvPr id="51" name="Group 50"/>
          <p:cNvGrpSpPr/>
          <p:nvPr/>
        </p:nvGrpSpPr>
        <p:grpSpPr>
          <a:xfrm>
            <a:off x="4881175" y="4877824"/>
            <a:ext cx="576263" cy="825500"/>
            <a:chOff x="4540397" y="4614818"/>
            <a:chExt cx="576263" cy="825500"/>
          </a:xfrm>
        </p:grpSpPr>
        <p:sp>
          <p:nvSpPr>
            <p:cNvPr id="52" name="AutoShape 10"/>
            <p:cNvSpPr>
              <a:spLocks noChangeAspect="1" noChangeArrowheads="1"/>
            </p:cNvSpPr>
            <p:nvPr/>
          </p:nvSpPr>
          <p:spPr bwMode="auto">
            <a:xfrm>
              <a:off x="4551510" y="4849768"/>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53" name="Oval 11"/>
            <p:cNvSpPr>
              <a:spLocks noChangeAspect="1" noChangeArrowheads="1"/>
            </p:cNvSpPr>
            <p:nvPr/>
          </p:nvSpPr>
          <p:spPr bwMode="auto">
            <a:xfrm>
              <a:off x="4548335" y="4625930"/>
              <a:ext cx="558800" cy="563563"/>
            </a:xfrm>
            <a:prstGeom prst="ellipse">
              <a:avLst/>
            </a:prstGeom>
            <a:solidFill>
              <a:schemeClr val="bg1"/>
            </a:solidFill>
            <a:ln w="12700" algn="ctr">
              <a:solidFill>
                <a:schemeClr val="bg1"/>
              </a:solidFill>
              <a:round/>
              <a:headEnd/>
              <a:tailEnd/>
            </a:ln>
          </p:spPr>
          <p:txBody>
            <a:bodyPr wrap="none" lIns="0" r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54" name="Text Box 12"/>
            <p:cNvSpPr txBox="1">
              <a:spLocks noChangeAspect="1" noChangeArrowheads="1"/>
            </p:cNvSpPr>
            <p:nvPr/>
          </p:nvSpPr>
          <p:spPr bwMode="auto">
            <a:xfrm>
              <a:off x="4567385" y="5064080"/>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B6592"/>
                  </a:solidFill>
                  <a:effectLst/>
                  <a:uLnTx/>
                  <a:uFillTx/>
                  <a:latin typeface="Arial" panose="020B0604020202020204" pitchFamily="34" charset="0"/>
                  <a:ea typeface="MS PGothic" panose="020B0600070205080204" pitchFamily="34" charset="-128"/>
                  <a:cs typeface="MS PGothic" panose="020B0600070205080204" pitchFamily="34" charset="-128"/>
                </a:rPr>
                <a:t>UPF </a:t>
              </a:r>
            </a:p>
          </p:txBody>
        </p:sp>
        <p:sp>
          <p:nvSpPr>
            <p:cNvPr id="55" name="Rectangle 13"/>
            <p:cNvSpPr>
              <a:spLocks noChangeAspect="1" noChangeArrowheads="1"/>
            </p:cNvSpPr>
            <p:nvPr/>
          </p:nvSpPr>
          <p:spPr bwMode="auto">
            <a:xfrm>
              <a:off x="4540397" y="4614818"/>
              <a:ext cx="5762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lgn="l"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lgn="l"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lgn="l"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B6592"/>
                </a:solidFill>
                <a:effectLst/>
                <a:uLnTx/>
                <a:uFillTx/>
                <a:latin typeface="Arial" panose="020B0604020202020204" pitchFamily="34" charset="0"/>
                <a:ea typeface="+mn-ea"/>
                <a:cs typeface="+mn-cs"/>
              </a:endParaRPr>
            </a:p>
          </p:txBody>
        </p:sp>
        <p:sp>
          <p:nvSpPr>
            <p:cNvPr id="56" name="Freeform 11"/>
            <p:cNvSpPr>
              <a:spLocks noChangeAspect="1" noEditPoints="1"/>
            </p:cNvSpPr>
            <p:nvPr/>
          </p:nvSpPr>
          <p:spPr bwMode="auto">
            <a:xfrm>
              <a:off x="4540397" y="4614818"/>
              <a:ext cx="576263" cy="82391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5B659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grpSp>
      <p:cxnSp>
        <p:nvCxnSpPr>
          <p:cNvPr id="57" name="Straight Connector 56"/>
          <p:cNvCxnSpPr>
            <a:cxnSpLocks/>
          </p:cNvCxnSpPr>
          <p:nvPr/>
        </p:nvCxnSpPr>
        <p:spPr bwMode="auto">
          <a:xfrm flipH="1" flipV="1">
            <a:off x="4859348" y="2734482"/>
            <a:ext cx="814773" cy="101825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58" name="Text Box 144"/>
          <p:cNvSpPr txBox="1">
            <a:spLocks noChangeAspect="1" noChangeArrowheads="1"/>
          </p:cNvSpPr>
          <p:nvPr/>
        </p:nvSpPr>
        <p:spPr bwMode="auto">
          <a:xfrm>
            <a:off x="4830092" y="3465479"/>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Stat.</a:t>
            </a:r>
          </a:p>
        </p:txBody>
      </p:sp>
      <p:sp>
        <p:nvSpPr>
          <p:cNvPr id="59" name="TextBox 58"/>
          <p:cNvSpPr txBox="1"/>
          <p:nvPr/>
        </p:nvSpPr>
        <p:spPr>
          <a:xfrm>
            <a:off x="558568" y="1836534"/>
            <a:ext cx="3680816" cy="830997"/>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0" i="0" u="none" strike="noStrike" kern="0" cap="none" spc="0" normalizeH="0" baseline="0" noProof="0" dirty="0">
                <a:ln>
                  <a:noFill/>
                </a:ln>
                <a:solidFill>
                  <a:srgbClr val="58585A"/>
                </a:solidFill>
                <a:effectLst/>
                <a:uLnTx/>
                <a:uFillTx/>
                <a:latin typeface="Arial Rounded MT Bold" panose="020F0704030504030204" pitchFamily="34" charset="0"/>
                <a:ea typeface="+mn-ea"/>
                <a:cs typeface="+mn-cs"/>
              </a:rPr>
              <a:t>Purpose focused reference points</a:t>
            </a: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a:t>
            </a:r>
            <a:r>
              <a:rPr kumimoji="0" lang="en-US" sz="1600" b="0" i="0" u="none" strike="noStrike" kern="0" cap="none" spc="0" normalizeH="0" baseline="0" noProof="0" dirty="0">
                <a:ln>
                  <a:noFill/>
                </a:ln>
                <a:solidFill>
                  <a:srgbClr val="58585A"/>
                </a:solidFill>
                <a:effectLst/>
                <a:uLnTx/>
                <a:uFillTx/>
                <a:latin typeface="Arial Rounded MT Bold" panose="020F0704030504030204" pitchFamily="34" charset="0"/>
                <a:ea typeface="+mn-ea"/>
                <a:cs typeface="+mn-cs"/>
              </a:rPr>
              <a:t> </a:t>
            </a:r>
            <a:br>
              <a:rPr kumimoji="0" lang="en-US" sz="1600" b="0" i="0" u="none" strike="noStrike" kern="0" cap="none" spc="0" normalizeH="0" baseline="0" noProof="0" dirty="0">
                <a:ln>
                  <a:noFill/>
                </a:ln>
                <a:solidFill>
                  <a:srgbClr val="58585A"/>
                </a:solidFill>
                <a:effectLst/>
                <a:uLnTx/>
                <a:uFillTx/>
                <a:latin typeface="Arial" charset="0"/>
                <a:ea typeface="+mn-ea"/>
                <a:cs typeface="+mn-cs"/>
              </a:rPr>
            </a:br>
            <a:r>
              <a:rPr kumimoji="0" lang="en-US" sz="1600" b="0" i="0" u="none" strike="noStrike" kern="0" cap="none" spc="0" normalizeH="0" baseline="0" noProof="0" dirty="0">
                <a:ln>
                  <a:noFill/>
                </a:ln>
                <a:solidFill>
                  <a:srgbClr val="58585A"/>
                </a:solidFill>
                <a:effectLst/>
                <a:uLnTx/>
                <a:uFillTx/>
                <a:latin typeface="Arial" charset="0"/>
                <a:ea typeface="+mn-ea"/>
                <a:cs typeface="+mn-cs"/>
              </a:rPr>
              <a:t>        </a:t>
            </a:r>
            <a:r>
              <a:rPr kumimoji="0" lang="en-GB" sz="1600" b="0" i="0" u="none" strike="noStrike" kern="1200" cap="none" spc="0" normalizeH="0" baseline="0" noProof="0" dirty="0">
                <a:ln>
                  <a:noFill/>
                </a:ln>
                <a:solidFill>
                  <a:srgbClr val="58585A"/>
                </a:solidFill>
                <a:effectLst/>
                <a:uLnTx/>
                <a:uFillTx/>
                <a:latin typeface="Arial" charset="0"/>
                <a:ea typeface="+mn-ea"/>
                <a:cs typeface="+mn-cs"/>
              </a:rPr>
              <a:t>-</a:t>
            </a:r>
            <a:r>
              <a:rPr kumimoji="0" lang="en-US" sz="1600" b="0" i="0" u="none" strike="noStrike" kern="0" cap="none" spc="0" normalizeH="0" baseline="0" noProof="0" dirty="0">
                <a:ln>
                  <a:noFill/>
                </a:ln>
                <a:solidFill>
                  <a:srgbClr val="58585A"/>
                </a:solidFill>
                <a:effectLst/>
                <a:uLnTx/>
                <a:uFillTx/>
                <a:latin typeface="Arial" charset="0"/>
                <a:ea typeface="+mn-ea"/>
                <a:cs typeface="+mn-cs"/>
              </a:rPr>
              <a:t> S</a:t>
            </a:r>
            <a:r>
              <a:rPr kumimoji="0" lang="en-US" sz="1600" b="0" i="0" u="none" strike="noStrike" kern="1200" cap="none" spc="0" normalizeH="0" baseline="0" noProof="0" dirty="0">
                <a:ln>
                  <a:noFill/>
                </a:ln>
                <a:solidFill>
                  <a:srgbClr val="58585A"/>
                </a:solidFill>
                <a:effectLst/>
                <a:uLnTx/>
                <a:uFillTx/>
                <a:latin typeface="Arial" charset="0"/>
                <a:ea typeface="+mn-ea"/>
                <a:cs typeface="+mn-cs"/>
              </a:rPr>
              <a:t>ecurity/integrity solution</a:t>
            </a:r>
            <a:br>
              <a:rPr kumimoji="0" lang="en-US" sz="1600" b="0" i="0" u="none" strike="noStrike" kern="1200" cap="none" spc="0" normalizeH="0" baseline="0" noProof="0" dirty="0">
                <a:ln>
                  <a:noFill/>
                </a:ln>
                <a:solidFill>
                  <a:srgbClr val="58585A"/>
                </a:solidFill>
                <a:effectLst/>
                <a:uLnTx/>
                <a:uFillTx/>
                <a:latin typeface="Arial" charset="0"/>
                <a:ea typeface="+mn-ea"/>
                <a:cs typeface="+mn-cs"/>
              </a:rPr>
            </a:br>
            <a:r>
              <a:rPr kumimoji="0" lang="en-US" sz="1600" b="0" i="0" u="none" strike="noStrike" kern="1200" cap="none" spc="0" normalizeH="0" baseline="0" noProof="0" dirty="0">
                <a:ln>
                  <a:noFill/>
                </a:ln>
                <a:solidFill>
                  <a:srgbClr val="58585A"/>
                </a:solidFill>
                <a:effectLst/>
                <a:uLnTx/>
                <a:uFillTx/>
                <a:latin typeface="Arial" charset="0"/>
                <a:ea typeface="+mn-ea"/>
                <a:cs typeface="+mn-cs"/>
              </a:rPr>
              <a:t>        - Efficiency</a:t>
            </a:r>
          </a:p>
        </p:txBody>
      </p:sp>
      <p:cxnSp>
        <p:nvCxnSpPr>
          <p:cNvPr id="60" name="Straight Connector 59"/>
          <p:cNvCxnSpPr>
            <a:cxnSpLocks/>
          </p:cNvCxnSpPr>
          <p:nvPr/>
        </p:nvCxnSpPr>
        <p:spPr bwMode="auto">
          <a:xfrm flipH="1" flipV="1">
            <a:off x="3034348" y="2635887"/>
            <a:ext cx="2279367" cy="409647"/>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1" name="Oval 60"/>
          <p:cNvSpPr/>
          <p:nvPr/>
        </p:nvSpPr>
        <p:spPr bwMode="auto">
          <a:xfrm>
            <a:off x="4859348" y="2959963"/>
            <a:ext cx="1573400" cy="180979"/>
          </a:xfrm>
          <a:prstGeom prst="ellipse">
            <a:avLst/>
          </a:prstGeom>
          <a:noFill/>
          <a:ln w="12700" cap="flat" cmpd="sng" algn="ctr">
            <a:solidFill>
              <a:schemeClr val="tx1"/>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62" name="TextBox 61"/>
          <p:cNvSpPr txBox="1"/>
          <p:nvPr/>
        </p:nvSpPr>
        <p:spPr>
          <a:xfrm>
            <a:off x="5179499" y="2853182"/>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63" name="TextBox 62"/>
          <p:cNvSpPr txBox="1"/>
          <p:nvPr/>
        </p:nvSpPr>
        <p:spPr>
          <a:xfrm>
            <a:off x="7421756" y="1805619"/>
            <a:ext cx="4221284" cy="830997"/>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Slim-lined business support:</a:t>
            </a:r>
          </a:p>
          <a:p>
            <a:pPr marL="700087" marR="0" lvl="1" indent="-342900" algn="l" defTabSz="9144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58585A"/>
                </a:solidFill>
                <a:effectLst/>
                <a:uLnTx/>
                <a:uFillTx/>
                <a:latin typeface="Arial" charset="0"/>
                <a:ea typeface="+mn-ea"/>
                <a:cs typeface="+mn-cs"/>
              </a:rPr>
              <a:t>- Ease of service/offering deployment</a:t>
            </a:r>
          </a:p>
          <a:p>
            <a:pPr marL="700087" marR="0" lvl="1" indent="-342900" algn="l" defTabSz="9144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58585A"/>
                </a:solidFill>
                <a:effectLst/>
                <a:uLnTx/>
                <a:uFillTx/>
                <a:latin typeface="Arial" charset="0"/>
                <a:ea typeface="+mn-ea"/>
                <a:cs typeface="+mn-cs"/>
              </a:rPr>
              <a:t>- Efficient business handling of offerings </a:t>
            </a:r>
          </a:p>
        </p:txBody>
      </p:sp>
      <p:sp>
        <p:nvSpPr>
          <p:cNvPr id="64" name="TextBox 63"/>
          <p:cNvSpPr txBox="1"/>
          <p:nvPr/>
        </p:nvSpPr>
        <p:spPr>
          <a:xfrm>
            <a:off x="122323" y="3303948"/>
            <a:ext cx="3608039" cy="830997"/>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Chargeable account identification:</a:t>
            </a:r>
            <a:b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 5G notion of subscriber identity </a:t>
            </a:r>
            <a:br>
              <a:rPr kumimoji="0" lang="en-GB" sz="1600" b="0" i="0" u="none" strike="noStrike" kern="1200" cap="none" spc="0" normalizeH="0" baseline="0" noProof="0" dirty="0">
                <a:ln>
                  <a:noFill/>
                </a:ln>
                <a:solidFill>
                  <a:srgbClr val="58585A"/>
                </a:solidFill>
                <a:effectLst/>
                <a:uLnTx/>
                <a:uFillTx/>
                <a:latin typeface="Arial"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to allow "any" identity </a:t>
            </a:r>
            <a:endParaRPr kumimoji="0" lang="en-US" sz="16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65" name="TextBox 64"/>
          <p:cNvSpPr txBox="1"/>
          <p:nvPr/>
        </p:nvSpPr>
        <p:spPr>
          <a:xfrm flipH="1" flipV="1">
            <a:off x="4426839" y="3191737"/>
            <a:ext cx="211361"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66" name="TextBox 65"/>
          <p:cNvSpPr txBox="1"/>
          <p:nvPr/>
        </p:nvSpPr>
        <p:spPr>
          <a:xfrm>
            <a:off x="590160" y="4872474"/>
            <a:ext cx="3701440"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Slice-specific charging:</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charset="0"/>
                <a:ea typeface="+mn-ea"/>
                <a:cs typeface="+mn-cs"/>
              </a:rPr>
              <a:t>     - Differentiated pricing of </a:t>
            </a:r>
            <a:br>
              <a:rPr kumimoji="0" lang="en-GB" sz="1600" b="0" i="0" u="none" strike="noStrike" kern="1200" cap="none" spc="0" normalizeH="0" baseline="0" noProof="0" dirty="0">
                <a:ln>
                  <a:noFill/>
                </a:ln>
                <a:solidFill>
                  <a:srgbClr val="58585A"/>
                </a:solidFill>
                <a:effectLst/>
                <a:uLnTx/>
                <a:uFillTx/>
                <a:latin typeface="Arial"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tailored slices</a:t>
            </a:r>
            <a:endParaRPr kumimoji="0" lang="en-US" sz="16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67" name="TextBox 66"/>
          <p:cNvSpPr txBox="1"/>
          <p:nvPr/>
        </p:nvSpPr>
        <p:spPr>
          <a:xfrm>
            <a:off x="5576527" y="4042396"/>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cxnSp>
        <p:nvCxnSpPr>
          <p:cNvPr id="68" name="Straight Connector 67"/>
          <p:cNvCxnSpPr>
            <a:cxnSpLocks/>
          </p:cNvCxnSpPr>
          <p:nvPr/>
        </p:nvCxnSpPr>
        <p:spPr bwMode="auto">
          <a:xfrm flipV="1">
            <a:off x="3437660" y="4241321"/>
            <a:ext cx="2273688" cy="844465"/>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9" name="TextBox 68"/>
          <p:cNvSpPr txBox="1"/>
          <p:nvPr/>
        </p:nvSpPr>
        <p:spPr>
          <a:xfrm>
            <a:off x="6025752" y="3863216"/>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cxnSp>
        <p:nvCxnSpPr>
          <p:cNvPr id="70" name="Straight Connector 69"/>
          <p:cNvCxnSpPr>
            <a:cxnSpLocks/>
          </p:cNvCxnSpPr>
          <p:nvPr/>
        </p:nvCxnSpPr>
        <p:spPr bwMode="auto">
          <a:xfrm>
            <a:off x="5447913" y="5327086"/>
            <a:ext cx="1057981"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71" name="Text Box 144"/>
          <p:cNvSpPr txBox="1">
            <a:spLocks noChangeAspect="1" noChangeArrowheads="1"/>
          </p:cNvSpPr>
          <p:nvPr/>
        </p:nvSpPr>
        <p:spPr bwMode="auto">
          <a:xfrm>
            <a:off x="5539899" y="5373132"/>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9</a:t>
            </a:r>
          </a:p>
        </p:txBody>
      </p:sp>
      <p:sp>
        <p:nvSpPr>
          <p:cNvPr id="72" name="Cloud 71"/>
          <p:cNvSpPr/>
          <p:nvPr/>
        </p:nvSpPr>
        <p:spPr bwMode="auto">
          <a:xfrm>
            <a:off x="4613684" y="5931917"/>
            <a:ext cx="1078404" cy="376035"/>
          </a:xfrm>
          <a:prstGeom prst="cloud">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73" name="Cloud 72"/>
          <p:cNvSpPr/>
          <p:nvPr/>
        </p:nvSpPr>
        <p:spPr bwMode="auto">
          <a:xfrm>
            <a:off x="6277149" y="5945592"/>
            <a:ext cx="1078404" cy="376035"/>
          </a:xfrm>
          <a:prstGeom prst="cloud">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cxnSp>
        <p:nvCxnSpPr>
          <p:cNvPr id="74" name="Straight Connector 73"/>
          <p:cNvCxnSpPr>
            <a:cxnSpLocks/>
            <a:endCxn id="72" idx="3"/>
          </p:cNvCxnSpPr>
          <p:nvPr/>
        </p:nvCxnSpPr>
        <p:spPr bwMode="auto">
          <a:xfrm>
            <a:off x="5152886" y="5712848"/>
            <a:ext cx="0" cy="24056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75" name="Straight Connector 74"/>
          <p:cNvCxnSpPr>
            <a:cxnSpLocks/>
          </p:cNvCxnSpPr>
          <p:nvPr/>
        </p:nvCxnSpPr>
        <p:spPr bwMode="auto">
          <a:xfrm>
            <a:off x="6783292" y="5705023"/>
            <a:ext cx="0" cy="24056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76" name="Text Box 144"/>
          <p:cNvSpPr txBox="1">
            <a:spLocks noChangeAspect="1" noChangeArrowheads="1"/>
          </p:cNvSpPr>
          <p:nvPr/>
        </p:nvSpPr>
        <p:spPr bwMode="auto">
          <a:xfrm>
            <a:off x="4908163" y="5768562"/>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6</a:t>
            </a:r>
          </a:p>
        </p:txBody>
      </p:sp>
      <p:sp>
        <p:nvSpPr>
          <p:cNvPr id="77" name="Text Box 144"/>
          <p:cNvSpPr txBox="1">
            <a:spLocks noChangeAspect="1" noChangeArrowheads="1"/>
          </p:cNvSpPr>
          <p:nvPr/>
        </p:nvSpPr>
        <p:spPr bwMode="auto">
          <a:xfrm>
            <a:off x="6534792" y="5766180"/>
            <a:ext cx="8031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rtl="0" eaLnBrk="1" fontAlgn="base" latinLnBrk="0" hangingPunct="1">
              <a:lnSpc>
                <a:spcPct val="8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srgbClr val="58585A"/>
                </a:solidFill>
                <a:effectLst/>
                <a:uLnTx/>
                <a:uFillTx/>
                <a:latin typeface="Arial" charset="0"/>
                <a:ea typeface="MS PGothic" charset="-128"/>
                <a:cs typeface="+mn-cs"/>
              </a:rPr>
              <a:t>N6</a:t>
            </a:r>
          </a:p>
        </p:txBody>
      </p:sp>
      <p:sp>
        <p:nvSpPr>
          <p:cNvPr id="78" name="TextBox 77"/>
          <p:cNvSpPr txBox="1"/>
          <p:nvPr/>
        </p:nvSpPr>
        <p:spPr>
          <a:xfrm>
            <a:off x="4947657" y="5956472"/>
            <a:ext cx="479618"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58585A"/>
                </a:solidFill>
                <a:effectLst/>
                <a:uLnTx/>
                <a:uFillTx/>
                <a:latin typeface="Arial" charset="0"/>
                <a:ea typeface="+mn-ea"/>
                <a:cs typeface="+mn-cs"/>
              </a:rPr>
              <a:t>DN</a:t>
            </a:r>
          </a:p>
        </p:txBody>
      </p:sp>
      <p:sp>
        <p:nvSpPr>
          <p:cNvPr id="79" name="TextBox 78"/>
          <p:cNvSpPr txBox="1"/>
          <p:nvPr/>
        </p:nvSpPr>
        <p:spPr>
          <a:xfrm>
            <a:off x="6577066" y="5949692"/>
            <a:ext cx="479618"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58585A"/>
                </a:solidFill>
                <a:effectLst/>
                <a:uLnTx/>
                <a:uFillTx/>
                <a:latin typeface="Arial" charset="0"/>
                <a:ea typeface="+mn-ea"/>
                <a:cs typeface="+mn-cs"/>
              </a:rPr>
              <a:t>DN</a:t>
            </a:r>
          </a:p>
        </p:txBody>
      </p:sp>
      <p:sp>
        <p:nvSpPr>
          <p:cNvPr id="80" name="TextBox 79"/>
          <p:cNvSpPr txBox="1"/>
          <p:nvPr/>
        </p:nvSpPr>
        <p:spPr>
          <a:xfrm>
            <a:off x="8544342" y="3463500"/>
            <a:ext cx="3138321"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Multi path measurements:</a:t>
            </a:r>
            <a:b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 Usage measurements over   </a:t>
            </a:r>
            <a:br>
              <a:rPr kumimoji="0" lang="en-GB" sz="1600" b="0" i="0" u="none" strike="noStrike" kern="1200" cap="none" spc="0" normalizeH="0" baseline="0" noProof="0" dirty="0">
                <a:ln>
                  <a:noFill/>
                </a:ln>
                <a:solidFill>
                  <a:srgbClr val="58585A"/>
                </a:solidFill>
                <a:effectLst/>
                <a:uLnTx/>
                <a:uFillTx/>
                <a:latin typeface="Arial"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multi UPFs controlled by </a:t>
            </a:r>
            <a:br>
              <a:rPr kumimoji="0" lang="en-GB" sz="1600" b="0" i="0" u="none" strike="noStrike" kern="1200" cap="none" spc="0" normalizeH="0" baseline="0" noProof="0" dirty="0">
                <a:ln>
                  <a:noFill/>
                </a:ln>
                <a:solidFill>
                  <a:srgbClr val="58585A"/>
                </a:solidFill>
                <a:effectLst/>
                <a:uLnTx/>
                <a:uFillTx/>
                <a:latin typeface="Arial" charset="0"/>
                <a:ea typeface="+mn-ea"/>
                <a:cs typeface="+mn-cs"/>
              </a:rPr>
            </a:br>
            <a:r>
              <a:rPr kumimoji="0" lang="en-GB" sz="1600" b="0" i="0" u="none" strike="noStrike" kern="1200" cap="none" spc="0" normalizeH="0" baseline="0" noProof="0" dirty="0">
                <a:ln>
                  <a:noFill/>
                </a:ln>
                <a:solidFill>
                  <a:srgbClr val="58585A"/>
                </a:solidFill>
                <a:effectLst/>
                <a:uLnTx/>
                <a:uFillTx/>
                <a:latin typeface="Arial" charset="0"/>
                <a:ea typeface="+mn-ea"/>
                <a:cs typeface="+mn-cs"/>
              </a:rPr>
              <a:t>        SMF</a:t>
            </a:r>
            <a:endParaRPr kumimoji="0" lang="en-US" sz="16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81" name="TextBox 80"/>
          <p:cNvSpPr txBox="1"/>
          <p:nvPr/>
        </p:nvSpPr>
        <p:spPr>
          <a:xfrm>
            <a:off x="6034185" y="4107724"/>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82" name="TextBox 81"/>
          <p:cNvSpPr txBox="1"/>
          <p:nvPr/>
        </p:nvSpPr>
        <p:spPr>
          <a:xfrm>
            <a:off x="8263078" y="4841845"/>
            <a:ext cx="3804247" cy="1323439"/>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Connection and service centric </a:t>
            </a:r>
            <a:b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br>
            <a:r>
              <a:rPr kumimoji="0" lang="en-GB" sz="1600" b="0" i="0" u="none" strike="noStrike" kern="1200" cap="none" spc="0" normalizeH="0" baseline="0" noProof="0" dirty="0">
                <a:ln>
                  <a:noFill/>
                </a:ln>
                <a:solidFill>
                  <a:srgbClr val="58585A"/>
                </a:solidFill>
                <a:effectLst/>
                <a:uLnTx/>
                <a:uFillTx/>
                <a:latin typeface="Arial Rounded MT Bold" panose="020F0704030504030204" pitchFamily="34" charset="0"/>
                <a:ea typeface="+mn-ea"/>
                <a:cs typeface="+mn-cs"/>
              </a:rPr>
              <a:t>charging:</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0" i="0" u="none" strike="noStrike" kern="0" cap="none" spc="0" normalizeH="0" baseline="0" noProof="0" dirty="0">
                <a:ln>
                  <a:noFill/>
                </a:ln>
                <a:solidFill>
                  <a:srgbClr val="58585A"/>
                </a:solidFill>
                <a:effectLst/>
                <a:uLnTx/>
                <a:uFillTx/>
                <a:latin typeface="Arial" charset="0"/>
                <a:ea typeface="+mn-ea"/>
                <a:cs typeface="+mn-cs"/>
              </a:rPr>
              <a:t>    - </a:t>
            </a:r>
            <a:r>
              <a:rPr kumimoji="0" lang="en-US" sz="1600" b="0" i="0" u="none" strike="noStrike" kern="1200" cap="none" spc="0" normalizeH="0" baseline="0" noProof="0" dirty="0">
                <a:ln>
                  <a:noFill/>
                </a:ln>
                <a:solidFill>
                  <a:srgbClr val="58585A"/>
                </a:solidFill>
                <a:effectLst/>
                <a:uLnTx/>
                <a:uFillTx/>
                <a:latin typeface="Arial" charset="0"/>
                <a:ea typeface="+mn-ea"/>
                <a:cs typeface="+mn-cs"/>
              </a:rPr>
              <a:t>End-user or specific account based </a:t>
            </a:r>
            <a:br>
              <a:rPr kumimoji="0" lang="en-US" sz="1600" b="0" i="0" u="none" strike="noStrike" kern="1200" cap="none" spc="0" normalizeH="0" baseline="0" noProof="0" dirty="0">
                <a:ln>
                  <a:noFill/>
                </a:ln>
                <a:solidFill>
                  <a:srgbClr val="58585A"/>
                </a:solidFill>
                <a:effectLst/>
                <a:uLnTx/>
                <a:uFillTx/>
                <a:latin typeface="Arial" charset="0"/>
                <a:ea typeface="+mn-ea"/>
                <a:cs typeface="+mn-cs"/>
              </a:rPr>
            </a:br>
            <a:r>
              <a:rPr kumimoji="0" lang="en-US" sz="1600" b="0" i="0" u="none" strike="noStrike" kern="1200" cap="none" spc="0" normalizeH="0" baseline="0" noProof="0" dirty="0">
                <a:ln>
                  <a:noFill/>
                </a:ln>
                <a:solidFill>
                  <a:srgbClr val="58585A"/>
                </a:solidFill>
                <a:effectLst/>
                <a:uLnTx/>
                <a:uFillTx/>
                <a:latin typeface="Arial" charset="0"/>
                <a:ea typeface="+mn-ea"/>
                <a:cs typeface="+mn-cs"/>
              </a:rPr>
              <a:t>      charging</a:t>
            </a:r>
            <a:br>
              <a:rPr kumimoji="0" lang="en-US" sz="1600" b="0" i="0" u="none" strike="noStrike" kern="1200" cap="none" spc="0" normalizeH="0" baseline="0" noProof="0" dirty="0">
                <a:ln>
                  <a:noFill/>
                </a:ln>
                <a:solidFill>
                  <a:srgbClr val="58585A"/>
                </a:solidFill>
                <a:effectLst/>
                <a:uLnTx/>
                <a:uFillTx/>
                <a:latin typeface="Arial" charset="0"/>
                <a:ea typeface="+mn-ea"/>
                <a:cs typeface="+mn-cs"/>
              </a:rPr>
            </a:br>
            <a:r>
              <a:rPr kumimoji="0" lang="en-US" sz="1600" b="0" i="0" u="none" strike="noStrike" kern="1200" cap="none" spc="0" normalizeH="0" baseline="0" noProof="0" dirty="0">
                <a:ln>
                  <a:noFill/>
                </a:ln>
                <a:solidFill>
                  <a:srgbClr val="58585A"/>
                </a:solidFill>
                <a:effectLst/>
                <a:uLnTx/>
                <a:uFillTx/>
                <a:latin typeface="Arial" charset="0"/>
                <a:ea typeface="+mn-ea"/>
                <a:cs typeface="+mn-cs"/>
              </a:rPr>
              <a:t>    - Inter-operator settlement</a:t>
            </a:r>
            <a:endParaRPr kumimoji="0" lang="en-US" sz="1600" b="0" i="0" u="none" strike="noStrike" kern="0" cap="none" spc="0" normalizeH="0" baseline="0" noProof="0" dirty="0">
              <a:ln>
                <a:noFill/>
              </a:ln>
              <a:solidFill>
                <a:srgbClr val="58585A"/>
              </a:solidFill>
              <a:effectLst/>
              <a:uLnTx/>
              <a:uFillTx/>
              <a:latin typeface="Arial" charset="0"/>
              <a:ea typeface="+mn-ea"/>
              <a:cs typeface="+mn-cs"/>
            </a:endParaRPr>
          </a:p>
        </p:txBody>
      </p:sp>
      <p:cxnSp>
        <p:nvCxnSpPr>
          <p:cNvPr id="83" name="Straight Connector 82"/>
          <p:cNvCxnSpPr>
            <a:cxnSpLocks/>
          </p:cNvCxnSpPr>
          <p:nvPr/>
        </p:nvCxnSpPr>
        <p:spPr bwMode="auto">
          <a:xfrm flipH="1">
            <a:off x="3758505" y="3393551"/>
            <a:ext cx="709431" cy="12790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4" name="Straight Connector 83"/>
          <p:cNvCxnSpPr>
            <a:cxnSpLocks/>
          </p:cNvCxnSpPr>
          <p:nvPr/>
        </p:nvCxnSpPr>
        <p:spPr bwMode="auto">
          <a:xfrm flipH="1" flipV="1">
            <a:off x="6144667" y="4304335"/>
            <a:ext cx="2051913" cy="71001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5" name="TextBox 84"/>
          <p:cNvSpPr txBox="1"/>
          <p:nvPr/>
        </p:nvSpPr>
        <p:spPr>
          <a:xfrm>
            <a:off x="4175147" y="1547143"/>
            <a:ext cx="1846980"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600" b="0" i="0" u="none" strike="noStrike" kern="1200" cap="none" spc="0" normalizeH="0" baseline="0" noProof="0" dirty="0">
                <a:ln>
                  <a:noFill/>
                </a:ln>
                <a:solidFill>
                  <a:srgbClr val="58585A"/>
                </a:solidFill>
                <a:effectLst/>
                <a:uLnTx/>
                <a:uFillTx/>
                <a:latin typeface="Arial" charset="0"/>
                <a:ea typeface="+mn-ea"/>
                <a:cs typeface="+mn-cs"/>
              </a:rPr>
              <a:t>BSS/OSS </a:t>
            </a:r>
            <a:r>
              <a:rPr kumimoji="0" lang="en-US" sz="1600" b="0" i="0" u="none" strike="noStrike" kern="1200" cap="none" spc="0" normalizeH="0" baseline="0" noProof="0" dirty="0">
                <a:ln>
                  <a:noFill/>
                </a:ln>
                <a:solidFill>
                  <a:srgbClr val="58585A"/>
                </a:solidFill>
                <a:effectLst/>
                <a:uLnTx/>
                <a:uFillTx/>
                <a:latin typeface="Arial" charset="0"/>
                <a:ea typeface="+mn-ea"/>
                <a:cs typeface="+mn-cs"/>
              </a:rPr>
              <a:t>Domain</a:t>
            </a:r>
          </a:p>
        </p:txBody>
      </p:sp>
      <p:grpSp>
        <p:nvGrpSpPr>
          <p:cNvPr id="86" name="Group 85"/>
          <p:cNvGrpSpPr>
            <a:grpSpLocks noChangeAspect="1"/>
          </p:cNvGrpSpPr>
          <p:nvPr/>
        </p:nvGrpSpPr>
        <p:grpSpPr bwMode="auto">
          <a:xfrm>
            <a:off x="4548583" y="1929776"/>
            <a:ext cx="576263" cy="825501"/>
            <a:chOff x="1057" y="1587"/>
            <a:chExt cx="363" cy="520"/>
          </a:xfrm>
        </p:grpSpPr>
        <p:sp>
          <p:nvSpPr>
            <p:cNvPr id="87"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88" name="Oval 8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89"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08A00"/>
                  </a:solidFill>
                  <a:effectLst/>
                  <a:uLnTx/>
                  <a:uFillTx/>
                  <a:latin typeface="Arial" panose="020B0604020202020204" pitchFamily="34" charset="0"/>
                  <a:ea typeface="MS PGothic" panose="020B0600070205080204" pitchFamily="34" charset="-128"/>
                  <a:cs typeface="+mn-cs"/>
                </a:rPr>
                <a:t>BSS/OSS </a:t>
              </a:r>
            </a:p>
          </p:txBody>
        </p:sp>
        <p:sp>
          <p:nvSpPr>
            <p:cNvPr id="90" name="Rectangle 8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sv-SE" alt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sp>
          <p:nvSpPr>
            <p:cNvPr id="91" name="Freeform 11"/>
            <p:cNvSpPr>
              <a:spLocks noChangeAspect="1" noEditPoints="1"/>
            </p:cNvSpPr>
            <p:nvPr/>
          </p:nvSpPr>
          <p:spPr bwMode="auto">
            <a:xfrm>
              <a:off x="1057" y="1587"/>
              <a:ext cx="363" cy="520"/>
            </a:xfrm>
            <a:custGeom>
              <a:avLst/>
              <a:gdLst>
                <a:gd name="T0" fmla="*/ 345639 w 410"/>
                <a:gd name="T1" fmla="*/ 196962 h 589"/>
                <a:gd name="T2" fmla="*/ 324585 w 410"/>
                <a:gd name="T3" fmla="*/ 476199 h 589"/>
                <a:gd name="T4" fmla="*/ 14036 w 410"/>
                <a:gd name="T5" fmla="*/ 456254 h 589"/>
                <a:gd name="T6" fmla="*/ 179837 w 410"/>
                <a:gd name="T7" fmla="*/ 13297 h 589"/>
                <a:gd name="T8" fmla="*/ 352657 w 410"/>
                <a:gd name="T9" fmla="*/ 177016 h 589"/>
                <a:gd name="T10" fmla="*/ 359675 w 410"/>
                <a:gd name="T11" fmla="*/ 170368 h 589"/>
                <a:gd name="T12" fmla="*/ 0 w 410"/>
                <a:gd name="T13" fmla="*/ 170368 h 589"/>
                <a:gd name="T14" fmla="*/ 877 w 410"/>
                <a:gd name="T15" fmla="*/ 456254 h 589"/>
                <a:gd name="T16" fmla="*/ 324585 w 410"/>
                <a:gd name="T17" fmla="*/ 489497 h 589"/>
                <a:gd name="T18" fmla="*/ 359675 w 410"/>
                <a:gd name="T19" fmla="*/ 196962 h 589"/>
                <a:gd name="T20" fmla="*/ 129834 w 410"/>
                <a:gd name="T21" fmla="*/ 143774 h 589"/>
                <a:gd name="T22" fmla="*/ 235982 w 410"/>
                <a:gd name="T23" fmla="*/ 140449 h 589"/>
                <a:gd name="T24" fmla="*/ 185977 w 410"/>
                <a:gd name="T25" fmla="*/ 39892 h 589"/>
                <a:gd name="T26" fmla="*/ 173696 w 410"/>
                <a:gd name="T27" fmla="*/ 39892 h 589"/>
                <a:gd name="T28" fmla="*/ 123694 w 410"/>
                <a:gd name="T29" fmla="*/ 140449 h 589"/>
                <a:gd name="T30" fmla="*/ 179837 w 410"/>
                <a:gd name="T31" fmla="*/ 57343 h 589"/>
                <a:gd name="T32" fmla="*/ 141238 w 410"/>
                <a:gd name="T33" fmla="*/ 130477 h 589"/>
                <a:gd name="T34" fmla="*/ 78953 w 410"/>
                <a:gd name="T35" fmla="*/ 174523 h 589"/>
                <a:gd name="T36" fmla="*/ 66672 w 410"/>
                <a:gd name="T37" fmla="*/ 187822 h 589"/>
                <a:gd name="T38" fmla="*/ 71058 w 410"/>
                <a:gd name="T39" fmla="*/ 236023 h 589"/>
                <a:gd name="T40" fmla="*/ 179837 w 410"/>
                <a:gd name="T41" fmla="*/ 251813 h 589"/>
                <a:gd name="T42" fmla="*/ 280721 w 410"/>
                <a:gd name="T43" fmla="*/ 241009 h 589"/>
                <a:gd name="T44" fmla="*/ 293004 w 410"/>
                <a:gd name="T45" fmla="*/ 227711 h 589"/>
                <a:gd name="T46" fmla="*/ 288617 w 410"/>
                <a:gd name="T47" fmla="*/ 179510 h 589"/>
                <a:gd name="T48" fmla="*/ 179837 w 410"/>
                <a:gd name="T49" fmla="*/ 163720 h 589"/>
                <a:gd name="T50" fmla="*/ 78953 w 410"/>
                <a:gd name="T51" fmla="*/ 174523 h 589"/>
                <a:gd name="T52" fmla="*/ 269317 w 410"/>
                <a:gd name="T53" fmla="*/ 230205 h 589"/>
                <a:gd name="T54" fmla="*/ 106148 w 410"/>
                <a:gd name="T55" fmla="*/ 233529 h 589"/>
                <a:gd name="T56" fmla="*/ 80707 w 410"/>
                <a:gd name="T57" fmla="*/ 226051 h 589"/>
                <a:gd name="T58" fmla="*/ 86848 w 410"/>
                <a:gd name="T59" fmla="*/ 202780 h 589"/>
                <a:gd name="T60" fmla="*/ 256159 w 410"/>
                <a:gd name="T61" fmla="*/ 206103 h 589"/>
                <a:gd name="T62" fmla="*/ 278967 w 410"/>
                <a:gd name="T63" fmla="*/ 226051 h 589"/>
                <a:gd name="T64" fmla="*/ 275459 w 410"/>
                <a:gd name="T65" fmla="*/ 186990 h 589"/>
                <a:gd name="T66" fmla="*/ 269317 w 410"/>
                <a:gd name="T67" fmla="*/ 190313 h 589"/>
                <a:gd name="T68" fmla="*/ 106148 w 410"/>
                <a:gd name="T69" fmla="*/ 193638 h 589"/>
                <a:gd name="T70" fmla="*/ 83339 w 410"/>
                <a:gd name="T71" fmla="*/ 187822 h 589"/>
                <a:gd name="T72" fmla="*/ 179837 w 410"/>
                <a:gd name="T73" fmla="*/ 17701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US"/>
              </a:defPPr>
              <a:lvl1pPr algn="ctr" rtl="0" fontAlgn="base">
                <a:spcBef>
                  <a:spcPct val="0"/>
                </a:spcBef>
                <a:spcAft>
                  <a:spcPct val="0"/>
                </a:spcAft>
                <a:defRPr sz="20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20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20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20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panose="020B0604020202020204" pitchFamily="34" charset="0"/>
                <a:ea typeface="+mn-ea"/>
                <a:cs typeface="+mn-cs"/>
              </a:endParaRPr>
            </a:p>
          </p:txBody>
        </p:sp>
      </p:grpSp>
      <p:sp>
        <p:nvSpPr>
          <p:cNvPr id="92" name="TextBox 91"/>
          <p:cNvSpPr txBox="1"/>
          <p:nvPr/>
        </p:nvSpPr>
        <p:spPr>
          <a:xfrm>
            <a:off x="5940656" y="3510794"/>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sp>
        <p:nvSpPr>
          <p:cNvPr id="93" name="TextBox 92"/>
          <p:cNvSpPr txBox="1"/>
          <p:nvPr/>
        </p:nvSpPr>
        <p:spPr>
          <a:xfrm>
            <a:off x="6832828" y="2934824"/>
            <a:ext cx="274434" cy="400110"/>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58585A"/>
                </a:solidFill>
                <a:effectLst/>
                <a:uLnTx/>
                <a:uFillTx/>
                <a:latin typeface="Arial" charset="0"/>
                <a:ea typeface="+mn-ea"/>
                <a:cs typeface="+mn-cs"/>
              </a:rPr>
              <a:t>•</a:t>
            </a:r>
            <a:endParaRPr kumimoji="0" lang="en-US" sz="2000" b="0" i="0" u="none" strike="noStrike" kern="1200" cap="none" spc="0" normalizeH="0" baseline="0" noProof="0" dirty="0">
              <a:ln>
                <a:noFill/>
              </a:ln>
              <a:solidFill>
                <a:srgbClr val="58585A"/>
              </a:solidFill>
              <a:effectLst/>
              <a:uLnTx/>
              <a:uFillTx/>
              <a:latin typeface="Arial" charset="0"/>
              <a:ea typeface="+mn-ea"/>
              <a:cs typeface="+mn-cs"/>
            </a:endParaRPr>
          </a:p>
        </p:txBody>
      </p:sp>
      <p:cxnSp>
        <p:nvCxnSpPr>
          <p:cNvPr id="94" name="Straight Connector 93"/>
          <p:cNvCxnSpPr>
            <a:cxnSpLocks/>
            <a:endCxn id="63" idx="1"/>
          </p:cNvCxnSpPr>
          <p:nvPr/>
        </p:nvCxnSpPr>
        <p:spPr bwMode="auto">
          <a:xfrm flipV="1">
            <a:off x="6965711" y="2221118"/>
            <a:ext cx="456045" cy="919826"/>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5" name="Straight Connector 94"/>
          <p:cNvCxnSpPr>
            <a:cxnSpLocks/>
            <a:stCxn id="63" idx="1"/>
          </p:cNvCxnSpPr>
          <p:nvPr/>
        </p:nvCxnSpPr>
        <p:spPr bwMode="auto">
          <a:xfrm flipH="1">
            <a:off x="6078022" y="2221118"/>
            <a:ext cx="1343734" cy="148803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6" name="TextBox 95"/>
          <p:cNvSpPr txBox="1"/>
          <p:nvPr/>
        </p:nvSpPr>
        <p:spPr>
          <a:xfrm>
            <a:off x="9610567" y="6236299"/>
            <a:ext cx="2343462"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58585A"/>
                </a:solidFill>
                <a:effectLst/>
                <a:uLnTx/>
                <a:uFillTx/>
                <a:latin typeface="Arial" charset="0"/>
                <a:ea typeface="+mn-ea"/>
                <a:cs typeface="+mn-cs"/>
              </a:rPr>
              <a:t>CTF: Charging Trigger Function</a:t>
            </a:r>
          </a:p>
        </p:txBody>
      </p:sp>
    </p:spTree>
    <p:extLst>
      <p:ext uri="{BB962C8B-B14F-4D97-AF65-F5344CB8AC3E}">
        <p14:creationId xmlns:p14="http://schemas.microsoft.com/office/powerpoint/2010/main" val="369530204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2516284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 y="0"/>
            <a:ext cx="12192001" cy="6858000"/>
          </a:xfrm>
          <a:prstGeom prst="rect">
            <a:avLst/>
          </a:prstGeom>
          <a:blipFill dpi="0" rotWithShape="1">
            <a:blip r:embed="rId4"/>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solidFill>
                <a:schemeClr val="accent1">
                  <a:lumMod val="60000"/>
                  <a:lumOff val="40000"/>
                </a:schemeClr>
              </a:solidFill>
            </a:endParaRPr>
          </a:p>
        </p:txBody>
      </p:sp>
      <p:sp>
        <p:nvSpPr>
          <p:cNvPr id="7171" name="Title 3"/>
          <p:cNvSpPr>
            <a:spLocks noGrp="1"/>
          </p:cNvSpPr>
          <p:nvPr>
            <p:ph type="title"/>
          </p:nvPr>
        </p:nvSpPr>
        <p:spPr>
          <a:xfrm>
            <a:off x="525463" y="239713"/>
            <a:ext cx="10636250" cy="1085850"/>
          </a:xfrm>
          <a:noFill/>
        </p:spPr>
        <p:txBody>
          <a:bodyPr>
            <a:normAutofit/>
          </a:bodyPr>
          <a:lstStyle/>
          <a:p>
            <a:r>
              <a:rPr lang="en-GB" altLang="en-US" dirty="0">
                <a:solidFill>
                  <a:schemeClr val="bg1"/>
                </a:solidFill>
                <a:latin typeface="Ericsson Capital TT" pitchFamily="2" charset="0"/>
              </a:rPr>
              <a:t>New Span of requirements and customer segments</a:t>
            </a:r>
            <a:endParaRPr lang="en-US" altLang="en-US"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
          <p:cNvSpPr>
            <a:spLocks noChangeArrowheads="1"/>
          </p:cNvSpPr>
          <p:nvPr/>
        </p:nvSpPr>
        <p:spPr bwMode="auto">
          <a:xfrm>
            <a:off x="524935" y="5961215"/>
            <a:ext cx="11444059" cy="887413"/>
          </a:xfrm>
          <a:prstGeom prst="rect">
            <a:avLst/>
          </a:prstGeom>
          <a:noFill/>
          <a:ln>
            <a:noFill/>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chemeClr val="bg1"/>
              </a:solidFill>
              <a:effectLst/>
              <a:uLnTx/>
              <a:uFillTx/>
              <a:latin typeface="Arial" charset="0"/>
              <a:ea typeface="ＭＳ Ｐゴシック" pitchFamily="34" charset="-128"/>
            </a:endParaRPr>
          </a:p>
        </p:txBody>
      </p:sp>
      <p:grpSp>
        <p:nvGrpSpPr>
          <p:cNvPr id="2" name="Group 1"/>
          <p:cNvGrpSpPr>
            <a:grpSpLocks noChangeAspect="1"/>
          </p:cNvGrpSpPr>
          <p:nvPr/>
        </p:nvGrpSpPr>
        <p:grpSpPr>
          <a:xfrm>
            <a:off x="3560183" y="2075132"/>
            <a:ext cx="8142423" cy="3374433"/>
            <a:chOff x="2961874" y="1588184"/>
            <a:chExt cx="9007120" cy="3732787"/>
          </a:xfrm>
        </p:grpSpPr>
        <p:grpSp>
          <p:nvGrpSpPr>
            <p:cNvPr id="11" name="Group 2"/>
            <p:cNvGrpSpPr>
              <a:grpSpLocks/>
            </p:cNvGrpSpPr>
            <p:nvPr/>
          </p:nvGrpSpPr>
          <p:grpSpPr bwMode="auto">
            <a:xfrm>
              <a:off x="2961874" y="1588184"/>
              <a:ext cx="7988299" cy="3732787"/>
              <a:chOff x="2334344" y="1843794"/>
              <a:chExt cx="7987571" cy="3732173"/>
            </a:xfrm>
          </p:grpSpPr>
          <p:cxnSp>
            <p:nvCxnSpPr>
              <p:cNvPr id="12" name="Straight Connector 11"/>
              <p:cNvCxnSpPr/>
              <p:nvPr/>
            </p:nvCxnSpPr>
            <p:spPr bwMode="auto">
              <a:xfrm>
                <a:off x="6139235" y="1973948"/>
                <a:ext cx="0" cy="3493512"/>
              </a:xfrm>
              <a:prstGeom prst="line">
                <a:avLst/>
              </a:prstGeom>
              <a:solidFill>
                <a:schemeClr val="accent1"/>
              </a:solidFill>
              <a:ln w="12700" cap="flat" cmpd="sng" algn="ctr">
                <a:solidFill>
                  <a:schemeClr val="bg1">
                    <a:lumMod val="75000"/>
                  </a:schemeClr>
                </a:solidFill>
                <a:prstDash val="dash"/>
                <a:round/>
                <a:headEnd type="arrow" w="med" len="med"/>
                <a:tailEnd type="arrow" w="med" len="med"/>
              </a:ln>
              <a:effectLst/>
            </p:spPr>
          </p:cxnSp>
          <p:cxnSp>
            <p:nvCxnSpPr>
              <p:cNvPr id="13" name="Straight Connector 12"/>
              <p:cNvCxnSpPr/>
              <p:nvPr/>
            </p:nvCxnSpPr>
            <p:spPr bwMode="auto">
              <a:xfrm>
                <a:off x="2334344" y="3681817"/>
                <a:ext cx="7987571" cy="0"/>
              </a:xfrm>
              <a:prstGeom prst="line">
                <a:avLst/>
              </a:prstGeom>
              <a:solidFill>
                <a:schemeClr val="accent1"/>
              </a:solidFill>
              <a:ln w="12700" cap="flat" cmpd="sng" algn="ctr">
                <a:solidFill>
                  <a:schemeClr val="bg1">
                    <a:lumMod val="75000"/>
                  </a:schemeClr>
                </a:solidFill>
                <a:prstDash val="dash"/>
                <a:round/>
                <a:headEnd type="arrow" w="med" len="med"/>
                <a:tailEnd type="arrow" w="med" len="med"/>
              </a:ln>
              <a:effectLst/>
            </p:spPr>
          </p:cxnSp>
          <p:sp>
            <p:nvSpPr>
              <p:cNvPr id="14" name="Rectangle 4"/>
              <p:cNvSpPr>
                <a:spLocks noChangeArrowheads="1"/>
              </p:cNvSpPr>
              <p:nvPr/>
            </p:nvSpPr>
            <p:spPr bwMode="auto">
              <a:xfrm>
                <a:off x="2411094" y="3360790"/>
                <a:ext cx="2306426" cy="339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sv-SE" sz="1600" b="0" i="0" u="none" strike="noStrike" kern="0" cap="none" spc="0" normalizeH="0" baseline="0" noProof="0" dirty="0">
                    <a:ln>
                      <a:noFill/>
                    </a:ln>
                    <a:solidFill>
                      <a:schemeClr val="bg1">
                        <a:lumMod val="85000"/>
                      </a:schemeClr>
                    </a:solidFill>
                    <a:effectLst/>
                    <a:uLnTx/>
                    <a:uFillTx/>
                    <a:latin typeface="Arial" pitchFamily="34" charset="0"/>
                  </a:rPr>
                  <a:t>LOW DATA VOLUMES</a:t>
                </a:r>
              </a:p>
            </p:txBody>
          </p:sp>
          <p:sp>
            <p:nvSpPr>
              <p:cNvPr id="15" name="Rectangle 4"/>
              <p:cNvSpPr>
                <a:spLocks noChangeArrowheads="1"/>
              </p:cNvSpPr>
              <p:nvPr/>
            </p:nvSpPr>
            <p:spPr bwMode="auto">
              <a:xfrm>
                <a:off x="7520234" y="3689752"/>
                <a:ext cx="2801681" cy="339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sv-SE" sz="1600" b="0" i="0" u="none" strike="noStrike" kern="0" cap="none" spc="0" normalizeH="0" baseline="0" noProof="0">
                    <a:ln>
                      <a:noFill/>
                    </a:ln>
                    <a:solidFill>
                      <a:schemeClr val="bg1">
                        <a:lumMod val="85000"/>
                      </a:schemeClr>
                    </a:solidFill>
                    <a:effectLst/>
                    <a:uLnTx/>
                    <a:uFillTx/>
                    <a:latin typeface="Arial" pitchFamily="34" charset="0"/>
                  </a:rPr>
                  <a:t>HIGH DATA VOLUMES</a:t>
                </a:r>
              </a:p>
            </p:txBody>
          </p:sp>
          <p:sp>
            <p:nvSpPr>
              <p:cNvPr id="16" name="Rectangle 4"/>
              <p:cNvSpPr>
                <a:spLocks noChangeArrowheads="1"/>
              </p:cNvSpPr>
              <p:nvPr/>
            </p:nvSpPr>
            <p:spPr bwMode="auto">
              <a:xfrm>
                <a:off x="4128055" y="1843794"/>
                <a:ext cx="2293729" cy="338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sv-SE" sz="1600" b="0" i="0" u="none" strike="noStrike" kern="0" cap="none" spc="0" normalizeH="0" baseline="0" noProof="0">
                    <a:ln>
                      <a:noFill/>
                    </a:ln>
                    <a:solidFill>
                      <a:schemeClr val="bg1">
                        <a:lumMod val="85000"/>
                      </a:schemeClr>
                    </a:solidFill>
                    <a:effectLst/>
                    <a:uLnTx/>
                    <a:uFillTx/>
                    <a:latin typeface="Arial" pitchFamily="34" charset="0"/>
                  </a:rPr>
                  <a:t>HIGH MOBILITY</a:t>
                </a:r>
              </a:p>
            </p:txBody>
          </p:sp>
          <p:sp>
            <p:nvSpPr>
              <p:cNvPr id="17" name="Rectangle 4"/>
              <p:cNvSpPr>
                <a:spLocks noChangeArrowheads="1"/>
              </p:cNvSpPr>
              <p:nvPr/>
            </p:nvSpPr>
            <p:spPr bwMode="auto">
              <a:xfrm>
                <a:off x="5782079" y="4991288"/>
                <a:ext cx="2347699" cy="584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a:ln>
                      <a:noFill/>
                    </a:ln>
                    <a:solidFill>
                      <a:schemeClr val="bg1">
                        <a:lumMod val="85000"/>
                      </a:schemeClr>
                    </a:solidFill>
                    <a:effectLst/>
                    <a:uLnTx/>
                    <a:uFillTx/>
                    <a:latin typeface="Arial" pitchFamily="34" charset="0"/>
                  </a:rPr>
                  <a:t>LOW/</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a:ln>
                      <a:noFill/>
                    </a:ln>
                    <a:solidFill>
                      <a:schemeClr val="bg1">
                        <a:lumMod val="85000"/>
                      </a:schemeClr>
                    </a:solidFill>
                    <a:effectLst/>
                    <a:uLnTx/>
                    <a:uFillTx/>
                    <a:latin typeface="Arial" pitchFamily="34" charset="0"/>
                  </a:rPr>
                  <a:t>NO MOBILITY</a:t>
                </a:r>
              </a:p>
            </p:txBody>
          </p:sp>
        </p:grpSp>
        <p:sp>
          <p:nvSpPr>
            <p:cNvPr id="18" name="Freeform 6"/>
            <p:cNvSpPr>
              <a:spLocks noEditPoints="1"/>
            </p:cNvSpPr>
            <p:nvPr/>
          </p:nvSpPr>
          <p:spPr bwMode="auto">
            <a:xfrm>
              <a:off x="7845023" y="1923146"/>
              <a:ext cx="606425" cy="9652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6"/>
            <p:cNvSpPr>
              <a:spLocks noChangeAspect="1" noEditPoints="1"/>
            </p:cNvSpPr>
            <p:nvPr/>
          </p:nvSpPr>
          <p:spPr bwMode="auto">
            <a:xfrm>
              <a:off x="5444723" y="1958071"/>
              <a:ext cx="1065213" cy="1031875"/>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3"/>
            <p:cNvSpPr>
              <a:spLocks noChangeAspect="1" noEditPoints="1"/>
            </p:cNvSpPr>
            <p:nvPr/>
          </p:nvSpPr>
          <p:spPr bwMode="auto">
            <a:xfrm>
              <a:off x="6286098" y="3624946"/>
              <a:ext cx="952500" cy="992188"/>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3"/>
            <p:cNvSpPr>
              <a:spLocks noChangeAspect="1" noEditPoints="1"/>
            </p:cNvSpPr>
            <p:nvPr/>
          </p:nvSpPr>
          <p:spPr bwMode="auto">
            <a:xfrm>
              <a:off x="8675286" y="1588184"/>
              <a:ext cx="1127125" cy="523875"/>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3"/>
            <p:cNvSpPr>
              <a:spLocks noChangeAspect="1" noEditPoints="1"/>
            </p:cNvSpPr>
            <p:nvPr/>
          </p:nvSpPr>
          <p:spPr bwMode="auto">
            <a:xfrm>
              <a:off x="8566982" y="4340909"/>
              <a:ext cx="925512" cy="820737"/>
            </a:xfrm>
            <a:custGeom>
              <a:avLst/>
              <a:gdLst>
                <a:gd name="T0" fmla="*/ 2147483647 w 372"/>
                <a:gd name="T1" fmla="*/ 2147483647 h 330"/>
                <a:gd name="T2" fmla="*/ 2147483647 w 372"/>
                <a:gd name="T3" fmla="*/ 2147483647 h 330"/>
                <a:gd name="T4" fmla="*/ 2147483647 w 372"/>
                <a:gd name="T5" fmla="*/ 2147483647 h 330"/>
                <a:gd name="T6" fmla="*/ 2147483647 w 372"/>
                <a:gd name="T7" fmla="*/ 2147483647 h 330"/>
                <a:gd name="T8" fmla="*/ 2147483647 w 372"/>
                <a:gd name="T9" fmla="*/ 2147483647 h 330"/>
                <a:gd name="T10" fmla="*/ 2147483647 w 372"/>
                <a:gd name="T11" fmla="*/ 2147483647 h 330"/>
                <a:gd name="T12" fmla="*/ 2147483647 w 372"/>
                <a:gd name="T13" fmla="*/ 2147483647 h 330"/>
                <a:gd name="T14" fmla="*/ 2147483647 w 372"/>
                <a:gd name="T15" fmla="*/ 2147483647 h 330"/>
                <a:gd name="T16" fmla="*/ 2147483647 w 372"/>
                <a:gd name="T17" fmla="*/ 2147483647 h 330"/>
                <a:gd name="T18" fmla="*/ 2147483647 w 372"/>
                <a:gd name="T19" fmla="*/ 2147483647 h 330"/>
                <a:gd name="T20" fmla="*/ 2147483647 w 372"/>
                <a:gd name="T21" fmla="*/ 2147483647 h 330"/>
                <a:gd name="T22" fmla="*/ 2147483647 w 372"/>
                <a:gd name="T23" fmla="*/ 2147483647 h 330"/>
                <a:gd name="T24" fmla="*/ 2147483647 w 372"/>
                <a:gd name="T25" fmla="*/ 2147483647 h 330"/>
                <a:gd name="T26" fmla="*/ 2147483647 w 372"/>
                <a:gd name="T27" fmla="*/ 2147483647 h 330"/>
                <a:gd name="T28" fmla="*/ 2147483647 w 372"/>
                <a:gd name="T29" fmla="*/ 2147483647 h 330"/>
                <a:gd name="T30" fmla="*/ 2147483647 w 372"/>
                <a:gd name="T31" fmla="*/ 2147483647 h 330"/>
                <a:gd name="T32" fmla="*/ 2147483647 w 372"/>
                <a:gd name="T33" fmla="*/ 2147483647 h 330"/>
                <a:gd name="T34" fmla="*/ 2147483647 w 372"/>
                <a:gd name="T35" fmla="*/ 2147483647 h 330"/>
                <a:gd name="T36" fmla="*/ 2147483647 w 372"/>
                <a:gd name="T37" fmla="*/ 0 h 330"/>
                <a:gd name="T38" fmla="*/ 2147483647 w 372"/>
                <a:gd name="T39" fmla="*/ 2147483647 h 330"/>
                <a:gd name="T40" fmla="*/ 2147483647 w 372"/>
                <a:gd name="T41" fmla="*/ 2147483647 h 330"/>
                <a:gd name="T42" fmla="*/ 2147483647 w 372"/>
                <a:gd name="T43" fmla="*/ 2147483647 h 330"/>
                <a:gd name="T44" fmla="*/ 2147483647 w 372"/>
                <a:gd name="T45" fmla="*/ 2147483647 h 330"/>
                <a:gd name="T46" fmla="*/ 2147483647 w 372"/>
                <a:gd name="T47" fmla="*/ 2147483647 h 330"/>
                <a:gd name="T48" fmla="*/ 2147483647 w 372"/>
                <a:gd name="T49" fmla="*/ 2147483647 h 330"/>
                <a:gd name="T50" fmla="*/ 2147483647 w 372"/>
                <a:gd name="T51" fmla="*/ 2147483647 h 330"/>
                <a:gd name="T52" fmla="*/ 2147483647 w 372"/>
                <a:gd name="T53" fmla="*/ 2147483647 h 330"/>
                <a:gd name="T54" fmla="*/ 2147483647 w 372"/>
                <a:gd name="T55" fmla="*/ 2147483647 h 330"/>
                <a:gd name="T56" fmla="*/ 2147483647 w 372"/>
                <a:gd name="T57" fmla="*/ 2147483647 h 330"/>
                <a:gd name="T58" fmla="*/ 2147483647 w 372"/>
                <a:gd name="T59" fmla="*/ 2147483647 h 330"/>
                <a:gd name="T60" fmla="*/ 2147483647 w 372"/>
                <a:gd name="T61" fmla="*/ 2147483647 h 330"/>
                <a:gd name="T62" fmla="*/ 2147483647 w 372"/>
                <a:gd name="T63" fmla="*/ 2147483647 h 330"/>
                <a:gd name="T64" fmla="*/ 2147483647 w 372"/>
                <a:gd name="T65" fmla="*/ 2147483647 h 330"/>
                <a:gd name="T66" fmla="*/ 2147483647 w 372"/>
                <a:gd name="T67" fmla="*/ 2147483647 h 330"/>
                <a:gd name="T68" fmla="*/ 2147483647 w 372"/>
                <a:gd name="T69" fmla="*/ 2147483647 h 330"/>
                <a:gd name="T70" fmla="*/ 2147483647 w 372"/>
                <a:gd name="T71" fmla="*/ 2147483647 h 330"/>
                <a:gd name="T72" fmla="*/ 2147483647 w 372"/>
                <a:gd name="T73" fmla="*/ 2147483647 h 330"/>
                <a:gd name="T74" fmla="*/ 2147483647 w 372"/>
                <a:gd name="T75" fmla="*/ 2147483647 h 330"/>
                <a:gd name="T76" fmla="*/ 2147483647 w 372"/>
                <a:gd name="T77" fmla="*/ 2147483647 h 330"/>
                <a:gd name="T78" fmla="*/ 2147483647 w 372"/>
                <a:gd name="T79" fmla="*/ 2147483647 h 330"/>
                <a:gd name="T80" fmla="*/ 2147483647 w 372"/>
                <a:gd name="T81" fmla="*/ 2147483647 h 330"/>
                <a:gd name="T82" fmla="*/ 2147483647 w 372"/>
                <a:gd name="T83" fmla="*/ 2147483647 h 330"/>
                <a:gd name="T84" fmla="*/ 2147483647 w 372"/>
                <a:gd name="T85" fmla="*/ 2147483647 h 330"/>
                <a:gd name="T86" fmla="*/ 2147483647 w 372"/>
                <a:gd name="T87" fmla="*/ 2147483647 h 330"/>
                <a:gd name="T88" fmla="*/ 2147483647 w 372"/>
                <a:gd name="T89" fmla="*/ 2147483647 h 330"/>
                <a:gd name="T90" fmla="*/ 2147483647 w 372"/>
                <a:gd name="T91" fmla="*/ 2147483647 h 330"/>
                <a:gd name="T92" fmla="*/ 2147483647 w 372"/>
                <a:gd name="T93" fmla="*/ 2147483647 h 330"/>
                <a:gd name="T94" fmla="*/ 2147483647 w 372"/>
                <a:gd name="T95" fmla="*/ 2147483647 h 330"/>
                <a:gd name="T96" fmla="*/ 2147483647 w 372"/>
                <a:gd name="T97" fmla="*/ 2147483647 h 3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72" h="330">
                  <a:moveTo>
                    <a:pt x="359" y="284"/>
                  </a:moveTo>
                  <a:cubicBezTo>
                    <a:pt x="264" y="284"/>
                    <a:pt x="264" y="284"/>
                    <a:pt x="264" y="284"/>
                  </a:cubicBezTo>
                  <a:cubicBezTo>
                    <a:pt x="261" y="284"/>
                    <a:pt x="259" y="284"/>
                    <a:pt x="258" y="283"/>
                  </a:cubicBezTo>
                  <a:cubicBezTo>
                    <a:pt x="256" y="283"/>
                    <a:pt x="256" y="283"/>
                    <a:pt x="256" y="283"/>
                  </a:cubicBezTo>
                  <a:cubicBezTo>
                    <a:pt x="256" y="282"/>
                    <a:pt x="255" y="280"/>
                    <a:pt x="255" y="276"/>
                  </a:cubicBezTo>
                  <a:cubicBezTo>
                    <a:pt x="255" y="258"/>
                    <a:pt x="255" y="258"/>
                    <a:pt x="255" y="258"/>
                  </a:cubicBezTo>
                  <a:cubicBezTo>
                    <a:pt x="268" y="258"/>
                    <a:pt x="268" y="258"/>
                    <a:pt x="268" y="258"/>
                  </a:cubicBezTo>
                  <a:cubicBezTo>
                    <a:pt x="271" y="258"/>
                    <a:pt x="273" y="257"/>
                    <a:pt x="274" y="256"/>
                  </a:cubicBezTo>
                  <a:cubicBezTo>
                    <a:pt x="276" y="254"/>
                    <a:pt x="276" y="252"/>
                    <a:pt x="276" y="250"/>
                  </a:cubicBezTo>
                  <a:cubicBezTo>
                    <a:pt x="276" y="177"/>
                    <a:pt x="276" y="177"/>
                    <a:pt x="276" y="177"/>
                  </a:cubicBezTo>
                  <a:cubicBezTo>
                    <a:pt x="355" y="141"/>
                    <a:pt x="355" y="141"/>
                    <a:pt x="355" y="141"/>
                  </a:cubicBezTo>
                  <a:cubicBezTo>
                    <a:pt x="365" y="136"/>
                    <a:pt x="372" y="125"/>
                    <a:pt x="372" y="114"/>
                  </a:cubicBezTo>
                  <a:cubicBezTo>
                    <a:pt x="372" y="110"/>
                    <a:pt x="371" y="106"/>
                    <a:pt x="369" y="102"/>
                  </a:cubicBezTo>
                  <a:cubicBezTo>
                    <a:pt x="343" y="45"/>
                    <a:pt x="343" y="45"/>
                    <a:pt x="343" y="45"/>
                  </a:cubicBezTo>
                  <a:cubicBezTo>
                    <a:pt x="342" y="41"/>
                    <a:pt x="337" y="40"/>
                    <a:pt x="333" y="42"/>
                  </a:cubicBezTo>
                  <a:cubicBezTo>
                    <a:pt x="329" y="43"/>
                    <a:pt x="327" y="48"/>
                    <a:pt x="329" y="52"/>
                  </a:cubicBezTo>
                  <a:cubicBezTo>
                    <a:pt x="329" y="52"/>
                    <a:pt x="329" y="52"/>
                    <a:pt x="329" y="52"/>
                  </a:cubicBezTo>
                  <a:cubicBezTo>
                    <a:pt x="355" y="109"/>
                    <a:pt x="355" y="109"/>
                    <a:pt x="355" y="109"/>
                  </a:cubicBezTo>
                  <a:cubicBezTo>
                    <a:pt x="355" y="110"/>
                    <a:pt x="356" y="112"/>
                    <a:pt x="356" y="114"/>
                  </a:cubicBezTo>
                  <a:cubicBezTo>
                    <a:pt x="356" y="119"/>
                    <a:pt x="353" y="124"/>
                    <a:pt x="348" y="126"/>
                  </a:cubicBezTo>
                  <a:cubicBezTo>
                    <a:pt x="146" y="219"/>
                    <a:pt x="146" y="219"/>
                    <a:pt x="146" y="219"/>
                  </a:cubicBezTo>
                  <a:cubicBezTo>
                    <a:pt x="144" y="220"/>
                    <a:pt x="142" y="221"/>
                    <a:pt x="141" y="221"/>
                  </a:cubicBezTo>
                  <a:cubicBezTo>
                    <a:pt x="136" y="221"/>
                    <a:pt x="131" y="218"/>
                    <a:pt x="129" y="213"/>
                  </a:cubicBezTo>
                  <a:cubicBezTo>
                    <a:pt x="122" y="198"/>
                    <a:pt x="122" y="198"/>
                    <a:pt x="122" y="198"/>
                  </a:cubicBezTo>
                  <a:cubicBezTo>
                    <a:pt x="122" y="198"/>
                    <a:pt x="122" y="198"/>
                    <a:pt x="122" y="198"/>
                  </a:cubicBezTo>
                  <a:cubicBezTo>
                    <a:pt x="122" y="198"/>
                    <a:pt x="122" y="198"/>
                    <a:pt x="122" y="198"/>
                  </a:cubicBezTo>
                  <a:cubicBezTo>
                    <a:pt x="95" y="141"/>
                    <a:pt x="95" y="141"/>
                    <a:pt x="95" y="141"/>
                  </a:cubicBezTo>
                  <a:cubicBezTo>
                    <a:pt x="95" y="141"/>
                    <a:pt x="95" y="141"/>
                    <a:pt x="95" y="141"/>
                  </a:cubicBezTo>
                  <a:cubicBezTo>
                    <a:pt x="95" y="141"/>
                    <a:pt x="95" y="141"/>
                    <a:pt x="95" y="141"/>
                  </a:cubicBezTo>
                  <a:cubicBezTo>
                    <a:pt x="89" y="128"/>
                    <a:pt x="89" y="128"/>
                    <a:pt x="89" y="128"/>
                  </a:cubicBezTo>
                  <a:cubicBezTo>
                    <a:pt x="88" y="126"/>
                    <a:pt x="88" y="124"/>
                    <a:pt x="88" y="122"/>
                  </a:cubicBezTo>
                  <a:cubicBezTo>
                    <a:pt x="88" y="117"/>
                    <a:pt x="91" y="112"/>
                    <a:pt x="96" y="110"/>
                  </a:cubicBezTo>
                  <a:cubicBezTo>
                    <a:pt x="298" y="17"/>
                    <a:pt x="298" y="17"/>
                    <a:pt x="298" y="17"/>
                  </a:cubicBezTo>
                  <a:cubicBezTo>
                    <a:pt x="300" y="16"/>
                    <a:pt x="301" y="16"/>
                    <a:pt x="303" y="16"/>
                  </a:cubicBezTo>
                  <a:cubicBezTo>
                    <a:pt x="308" y="16"/>
                    <a:pt x="313" y="18"/>
                    <a:pt x="315" y="23"/>
                  </a:cubicBezTo>
                  <a:cubicBezTo>
                    <a:pt x="317" y="27"/>
                    <a:pt x="322" y="29"/>
                    <a:pt x="326" y="27"/>
                  </a:cubicBezTo>
                  <a:cubicBezTo>
                    <a:pt x="330" y="25"/>
                    <a:pt x="332" y="21"/>
                    <a:pt x="330" y="17"/>
                  </a:cubicBezTo>
                  <a:cubicBezTo>
                    <a:pt x="325" y="6"/>
                    <a:pt x="314" y="0"/>
                    <a:pt x="303" y="0"/>
                  </a:cubicBezTo>
                  <a:cubicBezTo>
                    <a:pt x="299" y="0"/>
                    <a:pt x="295" y="1"/>
                    <a:pt x="291" y="2"/>
                  </a:cubicBezTo>
                  <a:cubicBezTo>
                    <a:pt x="89" y="96"/>
                    <a:pt x="89" y="96"/>
                    <a:pt x="89" y="96"/>
                  </a:cubicBezTo>
                  <a:cubicBezTo>
                    <a:pt x="78" y="101"/>
                    <a:pt x="72" y="111"/>
                    <a:pt x="72" y="122"/>
                  </a:cubicBezTo>
                  <a:cubicBezTo>
                    <a:pt x="72" y="126"/>
                    <a:pt x="73" y="130"/>
                    <a:pt x="75" y="134"/>
                  </a:cubicBezTo>
                  <a:cubicBezTo>
                    <a:pt x="77" y="140"/>
                    <a:pt x="77" y="140"/>
                    <a:pt x="77" y="140"/>
                  </a:cubicBezTo>
                  <a:cubicBezTo>
                    <a:pt x="66" y="145"/>
                    <a:pt x="66" y="145"/>
                    <a:pt x="66" y="145"/>
                  </a:cubicBezTo>
                  <a:cubicBezTo>
                    <a:pt x="41" y="136"/>
                    <a:pt x="41" y="136"/>
                    <a:pt x="41" y="136"/>
                  </a:cubicBezTo>
                  <a:cubicBezTo>
                    <a:pt x="39" y="135"/>
                    <a:pt x="37" y="135"/>
                    <a:pt x="35" y="136"/>
                  </a:cubicBezTo>
                  <a:cubicBezTo>
                    <a:pt x="5" y="150"/>
                    <a:pt x="5" y="150"/>
                    <a:pt x="5" y="150"/>
                  </a:cubicBezTo>
                  <a:cubicBezTo>
                    <a:pt x="1" y="152"/>
                    <a:pt x="0" y="156"/>
                    <a:pt x="1" y="160"/>
                  </a:cubicBezTo>
                  <a:cubicBezTo>
                    <a:pt x="46" y="256"/>
                    <a:pt x="46" y="256"/>
                    <a:pt x="46" y="256"/>
                  </a:cubicBezTo>
                  <a:cubicBezTo>
                    <a:pt x="47" y="258"/>
                    <a:pt x="48" y="260"/>
                    <a:pt x="50" y="261"/>
                  </a:cubicBezTo>
                  <a:cubicBezTo>
                    <a:pt x="51" y="261"/>
                    <a:pt x="52" y="261"/>
                    <a:pt x="53" y="261"/>
                  </a:cubicBezTo>
                  <a:cubicBezTo>
                    <a:pt x="54" y="261"/>
                    <a:pt x="55" y="261"/>
                    <a:pt x="56" y="260"/>
                  </a:cubicBezTo>
                  <a:cubicBezTo>
                    <a:pt x="86" y="247"/>
                    <a:pt x="86" y="247"/>
                    <a:pt x="86" y="247"/>
                  </a:cubicBezTo>
                  <a:cubicBezTo>
                    <a:pt x="88" y="246"/>
                    <a:pt x="89" y="244"/>
                    <a:pt x="90" y="242"/>
                  </a:cubicBezTo>
                  <a:cubicBezTo>
                    <a:pt x="100" y="217"/>
                    <a:pt x="100" y="217"/>
                    <a:pt x="100" y="217"/>
                  </a:cubicBezTo>
                  <a:cubicBezTo>
                    <a:pt x="110" y="212"/>
                    <a:pt x="110" y="212"/>
                    <a:pt x="110" y="212"/>
                  </a:cubicBezTo>
                  <a:cubicBezTo>
                    <a:pt x="114" y="220"/>
                    <a:pt x="114" y="220"/>
                    <a:pt x="114" y="220"/>
                  </a:cubicBezTo>
                  <a:cubicBezTo>
                    <a:pt x="119" y="230"/>
                    <a:pt x="130" y="237"/>
                    <a:pt x="141" y="237"/>
                  </a:cubicBezTo>
                  <a:cubicBezTo>
                    <a:pt x="145" y="237"/>
                    <a:pt x="149" y="236"/>
                    <a:pt x="153" y="234"/>
                  </a:cubicBezTo>
                  <a:cubicBezTo>
                    <a:pt x="184" y="220"/>
                    <a:pt x="184" y="220"/>
                    <a:pt x="184" y="220"/>
                  </a:cubicBezTo>
                  <a:cubicBezTo>
                    <a:pt x="184" y="250"/>
                    <a:pt x="184" y="250"/>
                    <a:pt x="184" y="250"/>
                  </a:cubicBezTo>
                  <a:cubicBezTo>
                    <a:pt x="184" y="252"/>
                    <a:pt x="185" y="254"/>
                    <a:pt x="186" y="256"/>
                  </a:cubicBezTo>
                  <a:cubicBezTo>
                    <a:pt x="188" y="257"/>
                    <a:pt x="190" y="258"/>
                    <a:pt x="192" y="258"/>
                  </a:cubicBezTo>
                  <a:cubicBezTo>
                    <a:pt x="206" y="258"/>
                    <a:pt x="206" y="258"/>
                    <a:pt x="206" y="258"/>
                  </a:cubicBezTo>
                  <a:cubicBezTo>
                    <a:pt x="206" y="299"/>
                    <a:pt x="206" y="299"/>
                    <a:pt x="206" y="299"/>
                  </a:cubicBezTo>
                  <a:cubicBezTo>
                    <a:pt x="206" y="316"/>
                    <a:pt x="220" y="330"/>
                    <a:pt x="237" y="330"/>
                  </a:cubicBezTo>
                  <a:cubicBezTo>
                    <a:pt x="359" y="330"/>
                    <a:pt x="359" y="330"/>
                    <a:pt x="359" y="330"/>
                  </a:cubicBezTo>
                  <a:cubicBezTo>
                    <a:pt x="361" y="330"/>
                    <a:pt x="363" y="329"/>
                    <a:pt x="365" y="328"/>
                  </a:cubicBezTo>
                  <a:cubicBezTo>
                    <a:pt x="366" y="326"/>
                    <a:pt x="367" y="324"/>
                    <a:pt x="367" y="322"/>
                  </a:cubicBezTo>
                  <a:cubicBezTo>
                    <a:pt x="367" y="292"/>
                    <a:pt x="367" y="292"/>
                    <a:pt x="367" y="292"/>
                  </a:cubicBezTo>
                  <a:cubicBezTo>
                    <a:pt x="367" y="290"/>
                    <a:pt x="366" y="288"/>
                    <a:pt x="365" y="286"/>
                  </a:cubicBezTo>
                  <a:cubicBezTo>
                    <a:pt x="363" y="285"/>
                    <a:pt x="361" y="284"/>
                    <a:pt x="359" y="284"/>
                  </a:cubicBezTo>
                  <a:close/>
                  <a:moveTo>
                    <a:pt x="90" y="204"/>
                  </a:moveTo>
                  <a:cubicBezTo>
                    <a:pt x="88" y="205"/>
                    <a:pt x="86" y="206"/>
                    <a:pt x="86" y="208"/>
                  </a:cubicBezTo>
                  <a:cubicBezTo>
                    <a:pt x="76" y="234"/>
                    <a:pt x="76" y="234"/>
                    <a:pt x="76" y="234"/>
                  </a:cubicBezTo>
                  <a:cubicBezTo>
                    <a:pt x="57" y="242"/>
                    <a:pt x="57" y="242"/>
                    <a:pt x="57" y="242"/>
                  </a:cubicBezTo>
                  <a:cubicBezTo>
                    <a:pt x="19" y="161"/>
                    <a:pt x="19" y="161"/>
                    <a:pt x="19" y="161"/>
                  </a:cubicBezTo>
                  <a:cubicBezTo>
                    <a:pt x="39" y="152"/>
                    <a:pt x="39" y="152"/>
                    <a:pt x="39" y="152"/>
                  </a:cubicBezTo>
                  <a:cubicBezTo>
                    <a:pt x="64" y="161"/>
                    <a:pt x="64" y="161"/>
                    <a:pt x="64" y="161"/>
                  </a:cubicBezTo>
                  <a:cubicBezTo>
                    <a:pt x="66" y="162"/>
                    <a:pt x="68" y="162"/>
                    <a:pt x="70" y="161"/>
                  </a:cubicBezTo>
                  <a:cubicBezTo>
                    <a:pt x="84" y="155"/>
                    <a:pt x="84" y="155"/>
                    <a:pt x="84" y="155"/>
                  </a:cubicBezTo>
                  <a:cubicBezTo>
                    <a:pt x="104" y="197"/>
                    <a:pt x="104" y="197"/>
                    <a:pt x="104" y="197"/>
                  </a:cubicBezTo>
                  <a:lnTo>
                    <a:pt x="90" y="204"/>
                  </a:lnTo>
                  <a:close/>
                  <a:moveTo>
                    <a:pt x="200" y="242"/>
                  </a:moveTo>
                  <a:cubicBezTo>
                    <a:pt x="200" y="212"/>
                    <a:pt x="200" y="212"/>
                    <a:pt x="200" y="212"/>
                  </a:cubicBezTo>
                  <a:cubicBezTo>
                    <a:pt x="260" y="184"/>
                    <a:pt x="260" y="184"/>
                    <a:pt x="260" y="184"/>
                  </a:cubicBezTo>
                  <a:cubicBezTo>
                    <a:pt x="260" y="242"/>
                    <a:pt x="260" y="242"/>
                    <a:pt x="260" y="242"/>
                  </a:cubicBezTo>
                  <a:lnTo>
                    <a:pt x="200" y="242"/>
                  </a:lnTo>
                  <a:close/>
                  <a:moveTo>
                    <a:pt x="351" y="314"/>
                  </a:moveTo>
                  <a:cubicBezTo>
                    <a:pt x="237" y="314"/>
                    <a:pt x="237" y="314"/>
                    <a:pt x="237" y="314"/>
                  </a:cubicBezTo>
                  <a:cubicBezTo>
                    <a:pt x="229" y="314"/>
                    <a:pt x="222" y="307"/>
                    <a:pt x="222" y="299"/>
                  </a:cubicBezTo>
                  <a:cubicBezTo>
                    <a:pt x="222" y="258"/>
                    <a:pt x="222" y="258"/>
                    <a:pt x="222" y="258"/>
                  </a:cubicBezTo>
                  <a:cubicBezTo>
                    <a:pt x="239" y="258"/>
                    <a:pt x="239" y="258"/>
                    <a:pt x="239" y="258"/>
                  </a:cubicBezTo>
                  <a:cubicBezTo>
                    <a:pt x="239" y="276"/>
                    <a:pt x="239" y="276"/>
                    <a:pt x="239" y="276"/>
                  </a:cubicBezTo>
                  <a:cubicBezTo>
                    <a:pt x="239" y="283"/>
                    <a:pt x="240" y="290"/>
                    <a:pt x="246" y="295"/>
                  </a:cubicBezTo>
                  <a:cubicBezTo>
                    <a:pt x="251" y="299"/>
                    <a:pt x="257" y="300"/>
                    <a:pt x="264" y="300"/>
                  </a:cubicBezTo>
                  <a:cubicBezTo>
                    <a:pt x="351" y="300"/>
                    <a:pt x="351" y="300"/>
                    <a:pt x="351" y="300"/>
                  </a:cubicBezTo>
                  <a:lnTo>
                    <a:pt x="351" y="3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3"/>
            <p:cNvSpPr>
              <a:spLocks noChangeAspect="1" noEditPoints="1"/>
            </p:cNvSpPr>
            <p:nvPr/>
          </p:nvSpPr>
          <p:spPr bwMode="auto">
            <a:xfrm>
              <a:off x="10108798" y="2012839"/>
              <a:ext cx="1682750" cy="785813"/>
            </a:xfrm>
            <a:custGeom>
              <a:avLst/>
              <a:gdLst>
                <a:gd name="T0" fmla="*/ 2147483647 w 489"/>
                <a:gd name="T1" fmla="*/ 2147483647 h 228"/>
                <a:gd name="T2" fmla="*/ 2147483647 w 489"/>
                <a:gd name="T3" fmla="*/ 2147483647 h 228"/>
                <a:gd name="T4" fmla="*/ 2147483647 w 489"/>
                <a:gd name="T5" fmla="*/ 2147483647 h 228"/>
                <a:gd name="T6" fmla="*/ 2147483647 w 489"/>
                <a:gd name="T7" fmla="*/ 2147483647 h 228"/>
                <a:gd name="T8" fmla="*/ 2147483647 w 489"/>
                <a:gd name="T9" fmla="*/ 2147483647 h 228"/>
                <a:gd name="T10" fmla="*/ 2147483647 w 489"/>
                <a:gd name="T11" fmla="*/ 2147483647 h 228"/>
                <a:gd name="T12" fmla="*/ 2147483647 w 489"/>
                <a:gd name="T13" fmla="*/ 2147483647 h 228"/>
                <a:gd name="T14" fmla="*/ 2147483647 w 489"/>
                <a:gd name="T15" fmla="*/ 2147483647 h 228"/>
                <a:gd name="T16" fmla="*/ 2147483647 w 489"/>
                <a:gd name="T17" fmla="*/ 2147483647 h 228"/>
                <a:gd name="T18" fmla="*/ 2147483647 w 489"/>
                <a:gd name="T19" fmla="*/ 2147483647 h 228"/>
                <a:gd name="T20" fmla="*/ 2147483647 w 489"/>
                <a:gd name="T21" fmla="*/ 2147483647 h 228"/>
                <a:gd name="T22" fmla="*/ 2147483647 w 489"/>
                <a:gd name="T23" fmla="*/ 2147483647 h 228"/>
                <a:gd name="T24" fmla="*/ 2147483647 w 489"/>
                <a:gd name="T25" fmla="*/ 2147483647 h 228"/>
                <a:gd name="T26" fmla="*/ 2147483647 w 489"/>
                <a:gd name="T27" fmla="*/ 2147483647 h 228"/>
                <a:gd name="T28" fmla="*/ 2147483647 w 489"/>
                <a:gd name="T29" fmla="*/ 2147483647 h 228"/>
                <a:gd name="T30" fmla="*/ 2147483647 w 489"/>
                <a:gd name="T31" fmla="*/ 2147483647 h 228"/>
                <a:gd name="T32" fmla="*/ 2147483647 w 489"/>
                <a:gd name="T33" fmla="*/ 2147483647 h 228"/>
                <a:gd name="T34" fmla="*/ 2147483647 w 489"/>
                <a:gd name="T35" fmla="*/ 2147483647 h 228"/>
                <a:gd name="T36" fmla="*/ 2147483647 w 489"/>
                <a:gd name="T37" fmla="*/ 0 h 228"/>
                <a:gd name="T38" fmla="*/ 2147483647 w 489"/>
                <a:gd name="T39" fmla="*/ 2147483647 h 228"/>
                <a:gd name="T40" fmla="*/ 2147483647 w 489"/>
                <a:gd name="T41" fmla="*/ 2147483647 h 228"/>
                <a:gd name="T42" fmla="*/ 2147483647 w 489"/>
                <a:gd name="T43" fmla="*/ 2147483647 h 228"/>
                <a:gd name="T44" fmla="*/ 2147483647 w 489"/>
                <a:gd name="T45" fmla="*/ 2147483647 h 228"/>
                <a:gd name="T46" fmla="*/ 2147483647 w 489"/>
                <a:gd name="T47" fmla="*/ 2147483647 h 228"/>
                <a:gd name="T48" fmla="*/ 2147483647 w 489"/>
                <a:gd name="T49" fmla="*/ 2147483647 h 228"/>
                <a:gd name="T50" fmla="*/ 2147483647 w 489"/>
                <a:gd name="T51" fmla="*/ 2147483647 h 228"/>
                <a:gd name="T52" fmla="*/ 2147483647 w 489"/>
                <a:gd name="T53" fmla="*/ 2147483647 h 228"/>
                <a:gd name="T54" fmla="*/ 2147483647 w 489"/>
                <a:gd name="T55" fmla="*/ 2147483647 h 228"/>
                <a:gd name="T56" fmla="*/ 2147483647 w 489"/>
                <a:gd name="T57" fmla="*/ 2147483647 h 228"/>
                <a:gd name="T58" fmla="*/ 2147483647 w 489"/>
                <a:gd name="T59" fmla="*/ 2147483647 h 228"/>
                <a:gd name="T60" fmla="*/ 2147483647 w 489"/>
                <a:gd name="T61" fmla="*/ 2147483647 h 228"/>
                <a:gd name="T62" fmla="*/ 2147483647 w 489"/>
                <a:gd name="T63" fmla="*/ 2147483647 h 228"/>
                <a:gd name="T64" fmla="*/ 2147483647 w 489"/>
                <a:gd name="T65" fmla="*/ 2147483647 h 228"/>
                <a:gd name="T66" fmla="*/ 2147483647 w 489"/>
                <a:gd name="T67" fmla="*/ 2147483647 h 228"/>
                <a:gd name="T68" fmla="*/ 2147483647 w 489"/>
                <a:gd name="T69" fmla="*/ 2147483647 h 228"/>
                <a:gd name="T70" fmla="*/ 2147483647 w 489"/>
                <a:gd name="T71" fmla="*/ 2147483647 h 228"/>
                <a:gd name="T72" fmla="*/ 2147483647 w 489"/>
                <a:gd name="T73" fmla="*/ 2147483647 h 228"/>
                <a:gd name="T74" fmla="*/ 2147483647 w 489"/>
                <a:gd name="T75" fmla="*/ 2147483647 h 228"/>
                <a:gd name="T76" fmla="*/ 2147483647 w 489"/>
                <a:gd name="T77" fmla="*/ 2147483647 h 228"/>
                <a:gd name="T78" fmla="*/ 2147483647 w 489"/>
                <a:gd name="T79" fmla="*/ 2147483647 h 228"/>
                <a:gd name="T80" fmla="*/ 2147483647 w 489"/>
                <a:gd name="T81" fmla="*/ 2147483647 h 228"/>
                <a:gd name="T82" fmla="*/ 2147483647 w 489"/>
                <a:gd name="T83" fmla="*/ 2147483647 h 228"/>
                <a:gd name="T84" fmla="*/ 2147483647 w 489"/>
                <a:gd name="T85" fmla="*/ 2147483647 h 228"/>
                <a:gd name="T86" fmla="*/ 2147483647 w 489"/>
                <a:gd name="T87" fmla="*/ 2147483647 h 228"/>
                <a:gd name="T88" fmla="*/ 2147483647 w 489"/>
                <a:gd name="T89" fmla="*/ 2147483647 h 228"/>
                <a:gd name="T90" fmla="*/ 2147483647 w 489"/>
                <a:gd name="T91" fmla="*/ 2147483647 h 228"/>
                <a:gd name="T92" fmla="*/ 2147483647 w 489"/>
                <a:gd name="T93" fmla="*/ 2147483647 h 228"/>
                <a:gd name="T94" fmla="*/ 2147483647 w 489"/>
                <a:gd name="T95" fmla="*/ 2147483647 h 228"/>
                <a:gd name="T96" fmla="*/ 2147483647 w 489"/>
                <a:gd name="T97" fmla="*/ 2147483647 h 228"/>
                <a:gd name="T98" fmla="*/ 2147483647 w 489"/>
                <a:gd name="T99" fmla="*/ 2147483647 h 228"/>
                <a:gd name="T100" fmla="*/ 2147483647 w 489"/>
                <a:gd name="T101" fmla="*/ 2147483647 h 228"/>
                <a:gd name="T102" fmla="*/ 2147483647 w 489"/>
                <a:gd name="T103" fmla="*/ 2147483647 h 228"/>
                <a:gd name="T104" fmla="*/ 2147483647 w 489"/>
                <a:gd name="T105" fmla="*/ 2147483647 h 228"/>
                <a:gd name="T106" fmla="*/ 2147483647 w 489"/>
                <a:gd name="T107" fmla="*/ 2147483647 h 228"/>
                <a:gd name="T108" fmla="*/ 2147483647 w 489"/>
                <a:gd name="T109" fmla="*/ 2147483647 h 228"/>
                <a:gd name="T110" fmla="*/ 2147483647 w 489"/>
                <a:gd name="T111" fmla="*/ 2147483647 h 228"/>
                <a:gd name="T112" fmla="*/ 2147483647 w 489"/>
                <a:gd name="T113" fmla="*/ 2147483647 h 228"/>
                <a:gd name="T114" fmla="*/ 2147483647 w 489"/>
                <a:gd name="T115" fmla="*/ 2147483647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89" h="228">
                  <a:moveTo>
                    <a:pt x="481" y="212"/>
                  </a:moveTo>
                  <a:cubicBezTo>
                    <a:pt x="8" y="212"/>
                    <a:pt x="8" y="212"/>
                    <a:pt x="8" y="212"/>
                  </a:cubicBezTo>
                  <a:cubicBezTo>
                    <a:pt x="3" y="212"/>
                    <a:pt x="0" y="216"/>
                    <a:pt x="0" y="220"/>
                  </a:cubicBezTo>
                  <a:cubicBezTo>
                    <a:pt x="0" y="224"/>
                    <a:pt x="3" y="228"/>
                    <a:pt x="8" y="228"/>
                  </a:cubicBezTo>
                  <a:cubicBezTo>
                    <a:pt x="481" y="228"/>
                    <a:pt x="481" y="228"/>
                    <a:pt x="481" y="228"/>
                  </a:cubicBezTo>
                  <a:cubicBezTo>
                    <a:pt x="485" y="228"/>
                    <a:pt x="489" y="224"/>
                    <a:pt x="489" y="220"/>
                  </a:cubicBezTo>
                  <a:cubicBezTo>
                    <a:pt x="489" y="216"/>
                    <a:pt x="485" y="212"/>
                    <a:pt x="481" y="212"/>
                  </a:cubicBezTo>
                  <a:close/>
                  <a:moveTo>
                    <a:pt x="291" y="99"/>
                  </a:moveTo>
                  <a:cubicBezTo>
                    <a:pt x="340" y="99"/>
                    <a:pt x="340" y="99"/>
                    <a:pt x="340" y="99"/>
                  </a:cubicBezTo>
                  <a:cubicBezTo>
                    <a:pt x="346" y="99"/>
                    <a:pt x="351" y="94"/>
                    <a:pt x="351" y="88"/>
                  </a:cubicBezTo>
                  <a:cubicBezTo>
                    <a:pt x="351" y="80"/>
                    <a:pt x="351" y="80"/>
                    <a:pt x="351" y="80"/>
                  </a:cubicBezTo>
                  <a:cubicBezTo>
                    <a:pt x="351" y="74"/>
                    <a:pt x="346" y="69"/>
                    <a:pt x="340" y="69"/>
                  </a:cubicBezTo>
                  <a:cubicBezTo>
                    <a:pt x="291" y="69"/>
                    <a:pt x="291" y="69"/>
                    <a:pt x="291" y="69"/>
                  </a:cubicBezTo>
                  <a:cubicBezTo>
                    <a:pt x="285" y="69"/>
                    <a:pt x="280" y="74"/>
                    <a:pt x="280" y="80"/>
                  </a:cubicBezTo>
                  <a:cubicBezTo>
                    <a:pt x="280" y="88"/>
                    <a:pt x="280" y="88"/>
                    <a:pt x="280" y="88"/>
                  </a:cubicBezTo>
                  <a:cubicBezTo>
                    <a:pt x="280" y="94"/>
                    <a:pt x="285" y="99"/>
                    <a:pt x="291" y="99"/>
                  </a:cubicBezTo>
                  <a:close/>
                  <a:moveTo>
                    <a:pt x="57" y="170"/>
                  </a:moveTo>
                  <a:cubicBezTo>
                    <a:pt x="71" y="170"/>
                    <a:pt x="71" y="170"/>
                    <a:pt x="71" y="170"/>
                  </a:cubicBezTo>
                  <a:cubicBezTo>
                    <a:pt x="76" y="181"/>
                    <a:pt x="87" y="187"/>
                    <a:pt x="99" y="187"/>
                  </a:cubicBezTo>
                  <a:cubicBezTo>
                    <a:pt x="117" y="187"/>
                    <a:pt x="131" y="173"/>
                    <a:pt x="131" y="156"/>
                  </a:cubicBezTo>
                  <a:cubicBezTo>
                    <a:pt x="139" y="156"/>
                    <a:pt x="139" y="156"/>
                    <a:pt x="139" y="156"/>
                  </a:cubicBezTo>
                  <a:cubicBezTo>
                    <a:pt x="140" y="173"/>
                    <a:pt x="154" y="187"/>
                    <a:pt x="172" y="187"/>
                  </a:cubicBezTo>
                  <a:cubicBezTo>
                    <a:pt x="184" y="187"/>
                    <a:pt x="194" y="181"/>
                    <a:pt x="200" y="170"/>
                  </a:cubicBezTo>
                  <a:cubicBezTo>
                    <a:pt x="281" y="170"/>
                    <a:pt x="281" y="170"/>
                    <a:pt x="281" y="170"/>
                  </a:cubicBezTo>
                  <a:cubicBezTo>
                    <a:pt x="286" y="181"/>
                    <a:pt x="297" y="187"/>
                    <a:pt x="309" y="187"/>
                  </a:cubicBezTo>
                  <a:cubicBezTo>
                    <a:pt x="327" y="187"/>
                    <a:pt x="341" y="173"/>
                    <a:pt x="341" y="156"/>
                  </a:cubicBezTo>
                  <a:cubicBezTo>
                    <a:pt x="349" y="156"/>
                    <a:pt x="349" y="156"/>
                    <a:pt x="349" y="156"/>
                  </a:cubicBezTo>
                  <a:cubicBezTo>
                    <a:pt x="350" y="173"/>
                    <a:pt x="364" y="187"/>
                    <a:pt x="382" y="187"/>
                  </a:cubicBezTo>
                  <a:cubicBezTo>
                    <a:pt x="394" y="187"/>
                    <a:pt x="404" y="181"/>
                    <a:pt x="410" y="170"/>
                  </a:cubicBezTo>
                  <a:cubicBezTo>
                    <a:pt x="432" y="170"/>
                    <a:pt x="432" y="170"/>
                    <a:pt x="432" y="170"/>
                  </a:cubicBezTo>
                  <a:cubicBezTo>
                    <a:pt x="450" y="170"/>
                    <a:pt x="464" y="156"/>
                    <a:pt x="464" y="138"/>
                  </a:cubicBezTo>
                  <a:cubicBezTo>
                    <a:pt x="464" y="116"/>
                    <a:pt x="464" y="116"/>
                    <a:pt x="464" y="116"/>
                  </a:cubicBezTo>
                  <a:cubicBezTo>
                    <a:pt x="464" y="77"/>
                    <a:pt x="400" y="28"/>
                    <a:pt x="349" y="28"/>
                  </a:cubicBezTo>
                  <a:cubicBezTo>
                    <a:pt x="115" y="28"/>
                    <a:pt x="115" y="28"/>
                    <a:pt x="115" y="28"/>
                  </a:cubicBezTo>
                  <a:cubicBezTo>
                    <a:pt x="115" y="16"/>
                    <a:pt x="115" y="16"/>
                    <a:pt x="115" y="16"/>
                  </a:cubicBezTo>
                  <a:cubicBezTo>
                    <a:pt x="152" y="16"/>
                    <a:pt x="152" y="16"/>
                    <a:pt x="152" y="16"/>
                  </a:cubicBezTo>
                  <a:cubicBezTo>
                    <a:pt x="156" y="16"/>
                    <a:pt x="160" y="12"/>
                    <a:pt x="160" y="8"/>
                  </a:cubicBezTo>
                  <a:cubicBezTo>
                    <a:pt x="160" y="3"/>
                    <a:pt x="156" y="0"/>
                    <a:pt x="152" y="0"/>
                  </a:cubicBezTo>
                  <a:cubicBezTo>
                    <a:pt x="62" y="0"/>
                    <a:pt x="62" y="0"/>
                    <a:pt x="62" y="0"/>
                  </a:cubicBezTo>
                  <a:cubicBezTo>
                    <a:pt x="58" y="0"/>
                    <a:pt x="54" y="3"/>
                    <a:pt x="54" y="8"/>
                  </a:cubicBezTo>
                  <a:cubicBezTo>
                    <a:pt x="54" y="12"/>
                    <a:pt x="58" y="16"/>
                    <a:pt x="62" y="16"/>
                  </a:cubicBezTo>
                  <a:cubicBezTo>
                    <a:pt x="99" y="16"/>
                    <a:pt x="99" y="16"/>
                    <a:pt x="99" y="16"/>
                  </a:cubicBezTo>
                  <a:cubicBezTo>
                    <a:pt x="99" y="28"/>
                    <a:pt x="99" y="28"/>
                    <a:pt x="99" y="28"/>
                  </a:cubicBezTo>
                  <a:cubicBezTo>
                    <a:pt x="57" y="28"/>
                    <a:pt x="57" y="28"/>
                    <a:pt x="57" y="28"/>
                  </a:cubicBezTo>
                  <a:cubicBezTo>
                    <a:pt x="39" y="28"/>
                    <a:pt x="25" y="43"/>
                    <a:pt x="25" y="60"/>
                  </a:cubicBezTo>
                  <a:cubicBezTo>
                    <a:pt x="25" y="69"/>
                    <a:pt x="25" y="69"/>
                    <a:pt x="25" y="69"/>
                  </a:cubicBezTo>
                  <a:cubicBezTo>
                    <a:pt x="25" y="74"/>
                    <a:pt x="28" y="77"/>
                    <a:pt x="33" y="77"/>
                  </a:cubicBezTo>
                  <a:cubicBezTo>
                    <a:pt x="37" y="77"/>
                    <a:pt x="41" y="74"/>
                    <a:pt x="41" y="69"/>
                  </a:cubicBezTo>
                  <a:cubicBezTo>
                    <a:pt x="41" y="60"/>
                    <a:pt x="41" y="60"/>
                    <a:pt x="41" y="60"/>
                  </a:cubicBezTo>
                  <a:cubicBezTo>
                    <a:pt x="41" y="52"/>
                    <a:pt x="48" y="44"/>
                    <a:pt x="57" y="44"/>
                  </a:cubicBezTo>
                  <a:cubicBezTo>
                    <a:pt x="349" y="44"/>
                    <a:pt x="349" y="44"/>
                    <a:pt x="349" y="44"/>
                  </a:cubicBezTo>
                  <a:cubicBezTo>
                    <a:pt x="371" y="44"/>
                    <a:pt x="395" y="55"/>
                    <a:pt x="414" y="69"/>
                  </a:cubicBezTo>
                  <a:cubicBezTo>
                    <a:pt x="396" y="69"/>
                    <a:pt x="396" y="69"/>
                    <a:pt x="396" y="69"/>
                  </a:cubicBezTo>
                  <a:cubicBezTo>
                    <a:pt x="389" y="69"/>
                    <a:pt x="384" y="74"/>
                    <a:pt x="384" y="80"/>
                  </a:cubicBezTo>
                  <a:cubicBezTo>
                    <a:pt x="384" y="88"/>
                    <a:pt x="384" y="88"/>
                    <a:pt x="384" y="88"/>
                  </a:cubicBezTo>
                  <a:cubicBezTo>
                    <a:pt x="384" y="94"/>
                    <a:pt x="389" y="99"/>
                    <a:pt x="396" y="99"/>
                  </a:cubicBezTo>
                  <a:cubicBezTo>
                    <a:pt x="442" y="99"/>
                    <a:pt x="442" y="99"/>
                    <a:pt x="442" y="99"/>
                  </a:cubicBezTo>
                  <a:cubicBezTo>
                    <a:pt x="446" y="105"/>
                    <a:pt x="448" y="111"/>
                    <a:pt x="448" y="116"/>
                  </a:cubicBezTo>
                  <a:cubicBezTo>
                    <a:pt x="448" y="138"/>
                    <a:pt x="448" y="138"/>
                    <a:pt x="448" y="138"/>
                  </a:cubicBezTo>
                  <a:cubicBezTo>
                    <a:pt x="448" y="147"/>
                    <a:pt x="441" y="154"/>
                    <a:pt x="432" y="154"/>
                  </a:cubicBezTo>
                  <a:cubicBezTo>
                    <a:pt x="410" y="154"/>
                    <a:pt x="410" y="154"/>
                    <a:pt x="410" y="154"/>
                  </a:cubicBezTo>
                  <a:cubicBezTo>
                    <a:pt x="401" y="143"/>
                    <a:pt x="401" y="143"/>
                    <a:pt x="401" y="143"/>
                  </a:cubicBezTo>
                  <a:cubicBezTo>
                    <a:pt x="399" y="141"/>
                    <a:pt x="397" y="140"/>
                    <a:pt x="395" y="140"/>
                  </a:cubicBezTo>
                  <a:cubicBezTo>
                    <a:pt x="295" y="140"/>
                    <a:pt x="295" y="140"/>
                    <a:pt x="295" y="140"/>
                  </a:cubicBezTo>
                  <a:cubicBezTo>
                    <a:pt x="292" y="140"/>
                    <a:pt x="290" y="141"/>
                    <a:pt x="288" y="143"/>
                  </a:cubicBezTo>
                  <a:cubicBezTo>
                    <a:pt x="281" y="154"/>
                    <a:pt x="281" y="154"/>
                    <a:pt x="281" y="154"/>
                  </a:cubicBezTo>
                  <a:cubicBezTo>
                    <a:pt x="199" y="154"/>
                    <a:pt x="199" y="154"/>
                    <a:pt x="199" y="154"/>
                  </a:cubicBezTo>
                  <a:cubicBezTo>
                    <a:pt x="191" y="143"/>
                    <a:pt x="191" y="143"/>
                    <a:pt x="191" y="143"/>
                  </a:cubicBezTo>
                  <a:cubicBezTo>
                    <a:pt x="189" y="141"/>
                    <a:pt x="187" y="140"/>
                    <a:pt x="184" y="140"/>
                  </a:cubicBezTo>
                  <a:cubicBezTo>
                    <a:pt x="85" y="140"/>
                    <a:pt x="85" y="140"/>
                    <a:pt x="85" y="140"/>
                  </a:cubicBezTo>
                  <a:cubicBezTo>
                    <a:pt x="82" y="140"/>
                    <a:pt x="80" y="141"/>
                    <a:pt x="78" y="143"/>
                  </a:cubicBezTo>
                  <a:cubicBezTo>
                    <a:pt x="71" y="154"/>
                    <a:pt x="71" y="154"/>
                    <a:pt x="71" y="154"/>
                  </a:cubicBezTo>
                  <a:cubicBezTo>
                    <a:pt x="57" y="154"/>
                    <a:pt x="57" y="154"/>
                    <a:pt x="57" y="154"/>
                  </a:cubicBezTo>
                  <a:cubicBezTo>
                    <a:pt x="48" y="154"/>
                    <a:pt x="41" y="147"/>
                    <a:pt x="41" y="138"/>
                  </a:cubicBezTo>
                  <a:cubicBezTo>
                    <a:pt x="41" y="100"/>
                    <a:pt x="41" y="100"/>
                    <a:pt x="41" y="100"/>
                  </a:cubicBezTo>
                  <a:cubicBezTo>
                    <a:pt x="41" y="96"/>
                    <a:pt x="37" y="92"/>
                    <a:pt x="33" y="92"/>
                  </a:cubicBezTo>
                  <a:cubicBezTo>
                    <a:pt x="28" y="92"/>
                    <a:pt x="25" y="96"/>
                    <a:pt x="25" y="100"/>
                  </a:cubicBezTo>
                  <a:cubicBezTo>
                    <a:pt x="25" y="138"/>
                    <a:pt x="25" y="138"/>
                    <a:pt x="25" y="138"/>
                  </a:cubicBezTo>
                  <a:cubicBezTo>
                    <a:pt x="25" y="156"/>
                    <a:pt x="39" y="170"/>
                    <a:pt x="57" y="170"/>
                  </a:cubicBezTo>
                  <a:close/>
                  <a:moveTo>
                    <a:pt x="391" y="156"/>
                  </a:moveTo>
                  <a:cubicBezTo>
                    <a:pt x="396" y="163"/>
                    <a:pt x="396" y="163"/>
                    <a:pt x="396" y="163"/>
                  </a:cubicBezTo>
                  <a:cubicBezTo>
                    <a:pt x="393" y="168"/>
                    <a:pt x="388" y="171"/>
                    <a:pt x="382" y="171"/>
                  </a:cubicBezTo>
                  <a:cubicBezTo>
                    <a:pt x="373" y="171"/>
                    <a:pt x="366" y="164"/>
                    <a:pt x="365" y="156"/>
                  </a:cubicBezTo>
                  <a:lnTo>
                    <a:pt x="391" y="156"/>
                  </a:lnTo>
                  <a:close/>
                  <a:moveTo>
                    <a:pt x="299" y="156"/>
                  </a:moveTo>
                  <a:cubicBezTo>
                    <a:pt x="325" y="156"/>
                    <a:pt x="325" y="156"/>
                    <a:pt x="325" y="156"/>
                  </a:cubicBezTo>
                  <a:cubicBezTo>
                    <a:pt x="325" y="164"/>
                    <a:pt x="318" y="171"/>
                    <a:pt x="309" y="171"/>
                  </a:cubicBezTo>
                  <a:cubicBezTo>
                    <a:pt x="303" y="171"/>
                    <a:pt x="297" y="168"/>
                    <a:pt x="295" y="163"/>
                  </a:cubicBezTo>
                  <a:lnTo>
                    <a:pt x="299" y="156"/>
                  </a:lnTo>
                  <a:close/>
                  <a:moveTo>
                    <a:pt x="180" y="156"/>
                  </a:moveTo>
                  <a:cubicBezTo>
                    <a:pt x="186" y="163"/>
                    <a:pt x="186" y="163"/>
                    <a:pt x="186" y="163"/>
                  </a:cubicBezTo>
                  <a:cubicBezTo>
                    <a:pt x="183" y="168"/>
                    <a:pt x="178" y="171"/>
                    <a:pt x="172" y="171"/>
                  </a:cubicBezTo>
                  <a:cubicBezTo>
                    <a:pt x="163" y="171"/>
                    <a:pt x="156" y="164"/>
                    <a:pt x="156" y="156"/>
                  </a:cubicBezTo>
                  <a:lnTo>
                    <a:pt x="180" y="156"/>
                  </a:lnTo>
                  <a:close/>
                  <a:moveTo>
                    <a:pt x="89" y="156"/>
                  </a:moveTo>
                  <a:cubicBezTo>
                    <a:pt x="115" y="156"/>
                    <a:pt x="115" y="156"/>
                    <a:pt x="115" y="156"/>
                  </a:cubicBezTo>
                  <a:cubicBezTo>
                    <a:pt x="115" y="164"/>
                    <a:pt x="108" y="171"/>
                    <a:pt x="99" y="171"/>
                  </a:cubicBezTo>
                  <a:cubicBezTo>
                    <a:pt x="93" y="171"/>
                    <a:pt x="87" y="168"/>
                    <a:pt x="85" y="162"/>
                  </a:cubicBezTo>
                  <a:lnTo>
                    <a:pt x="89" y="156"/>
                  </a:lnTo>
                  <a:close/>
                  <a:moveTo>
                    <a:pt x="236" y="99"/>
                  </a:moveTo>
                  <a:cubicBezTo>
                    <a:pt x="242" y="99"/>
                    <a:pt x="247" y="94"/>
                    <a:pt x="247" y="88"/>
                  </a:cubicBezTo>
                  <a:cubicBezTo>
                    <a:pt x="247" y="80"/>
                    <a:pt x="247" y="80"/>
                    <a:pt x="247" y="80"/>
                  </a:cubicBezTo>
                  <a:cubicBezTo>
                    <a:pt x="247" y="74"/>
                    <a:pt x="242" y="69"/>
                    <a:pt x="236" y="69"/>
                  </a:cubicBezTo>
                  <a:cubicBezTo>
                    <a:pt x="187" y="69"/>
                    <a:pt x="187" y="69"/>
                    <a:pt x="187" y="69"/>
                  </a:cubicBezTo>
                  <a:cubicBezTo>
                    <a:pt x="181" y="69"/>
                    <a:pt x="175" y="74"/>
                    <a:pt x="175" y="80"/>
                  </a:cubicBezTo>
                  <a:cubicBezTo>
                    <a:pt x="175" y="88"/>
                    <a:pt x="175" y="88"/>
                    <a:pt x="175" y="88"/>
                  </a:cubicBezTo>
                  <a:cubicBezTo>
                    <a:pt x="175" y="94"/>
                    <a:pt x="181" y="99"/>
                    <a:pt x="187" y="99"/>
                  </a:cubicBezTo>
                  <a:lnTo>
                    <a:pt x="236" y="99"/>
                  </a:lnTo>
                  <a:close/>
                  <a:moveTo>
                    <a:pt x="131" y="99"/>
                  </a:moveTo>
                  <a:cubicBezTo>
                    <a:pt x="138" y="99"/>
                    <a:pt x="143" y="94"/>
                    <a:pt x="143" y="88"/>
                  </a:cubicBezTo>
                  <a:cubicBezTo>
                    <a:pt x="143" y="80"/>
                    <a:pt x="143" y="80"/>
                    <a:pt x="143" y="80"/>
                  </a:cubicBezTo>
                  <a:cubicBezTo>
                    <a:pt x="143" y="74"/>
                    <a:pt x="138" y="69"/>
                    <a:pt x="131" y="69"/>
                  </a:cubicBezTo>
                  <a:cubicBezTo>
                    <a:pt x="82" y="69"/>
                    <a:pt x="82" y="69"/>
                    <a:pt x="82" y="69"/>
                  </a:cubicBezTo>
                  <a:cubicBezTo>
                    <a:pt x="76" y="69"/>
                    <a:pt x="71" y="74"/>
                    <a:pt x="71" y="80"/>
                  </a:cubicBezTo>
                  <a:cubicBezTo>
                    <a:pt x="71" y="88"/>
                    <a:pt x="71" y="88"/>
                    <a:pt x="71" y="88"/>
                  </a:cubicBezTo>
                  <a:cubicBezTo>
                    <a:pt x="71" y="94"/>
                    <a:pt x="76" y="99"/>
                    <a:pt x="82" y="99"/>
                  </a:cubicBezTo>
                  <a:lnTo>
                    <a:pt x="131"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3"/>
            <p:cNvSpPr>
              <a:spLocks noChangeAspect="1" noEditPoints="1"/>
            </p:cNvSpPr>
            <p:nvPr/>
          </p:nvSpPr>
          <p:spPr bwMode="auto">
            <a:xfrm>
              <a:off x="4984348" y="4312334"/>
              <a:ext cx="922338" cy="846137"/>
            </a:xfrm>
            <a:custGeom>
              <a:avLst/>
              <a:gdLst>
                <a:gd name="T0" fmla="*/ 2147483647 w 459"/>
                <a:gd name="T1" fmla="*/ 2147483647 h 421"/>
                <a:gd name="T2" fmla="*/ 2147483647 w 459"/>
                <a:gd name="T3" fmla="*/ 2147483647 h 421"/>
                <a:gd name="T4" fmla="*/ 2147483647 w 459"/>
                <a:gd name="T5" fmla="*/ 2147483647 h 421"/>
                <a:gd name="T6" fmla="*/ 2147483647 w 459"/>
                <a:gd name="T7" fmla="*/ 2147483647 h 421"/>
                <a:gd name="T8" fmla="*/ 2147483647 w 459"/>
                <a:gd name="T9" fmla="*/ 2147483647 h 421"/>
                <a:gd name="T10" fmla="*/ 2147483647 w 459"/>
                <a:gd name="T11" fmla="*/ 2147483647 h 421"/>
                <a:gd name="T12" fmla="*/ 2147483647 w 459"/>
                <a:gd name="T13" fmla="*/ 2147483647 h 421"/>
                <a:gd name="T14" fmla="*/ 2147483647 w 459"/>
                <a:gd name="T15" fmla="*/ 2147483647 h 421"/>
                <a:gd name="T16" fmla="*/ 2147483647 w 459"/>
                <a:gd name="T17" fmla="*/ 2147483647 h 421"/>
                <a:gd name="T18" fmla="*/ 2147483647 w 459"/>
                <a:gd name="T19" fmla="*/ 2147483647 h 421"/>
                <a:gd name="T20" fmla="*/ 2147483647 w 459"/>
                <a:gd name="T21" fmla="*/ 2147483647 h 421"/>
                <a:gd name="T22" fmla="*/ 2147483647 w 459"/>
                <a:gd name="T23" fmla="*/ 2147483647 h 421"/>
                <a:gd name="T24" fmla="*/ 2147483647 w 459"/>
                <a:gd name="T25" fmla="*/ 2147483647 h 421"/>
                <a:gd name="T26" fmla="*/ 2147483647 w 459"/>
                <a:gd name="T27" fmla="*/ 2147483647 h 421"/>
                <a:gd name="T28" fmla="*/ 2147483647 w 459"/>
                <a:gd name="T29" fmla="*/ 2147483647 h 421"/>
                <a:gd name="T30" fmla="*/ 2147483647 w 459"/>
                <a:gd name="T31" fmla="*/ 2147483647 h 421"/>
                <a:gd name="T32" fmla="*/ 2147483647 w 459"/>
                <a:gd name="T33" fmla="*/ 2147483647 h 421"/>
                <a:gd name="T34" fmla="*/ 2147483647 w 459"/>
                <a:gd name="T35" fmla="*/ 2147483647 h 421"/>
                <a:gd name="T36" fmla="*/ 2147483647 w 459"/>
                <a:gd name="T37" fmla="*/ 2147483647 h 421"/>
                <a:gd name="T38" fmla="*/ 2147483647 w 459"/>
                <a:gd name="T39" fmla="*/ 2147483647 h 421"/>
                <a:gd name="T40" fmla="*/ 2147483647 w 459"/>
                <a:gd name="T41" fmla="*/ 2147483647 h 421"/>
                <a:gd name="T42" fmla="*/ 2147483647 w 459"/>
                <a:gd name="T43" fmla="*/ 2147483647 h 421"/>
                <a:gd name="T44" fmla="*/ 2147483647 w 459"/>
                <a:gd name="T45" fmla="*/ 2147483647 h 421"/>
                <a:gd name="T46" fmla="*/ 2147483647 w 459"/>
                <a:gd name="T47" fmla="*/ 2147483647 h 421"/>
                <a:gd name="T48" fmla="*/ 2147483647 w 459"/>
                <a:gd name="T49" fmla="*/ 0 h 421"/>
                <a:gd name="T50" fmla="*/ 2147483647 w 459"/>
                <a:gd name="T51" fmla="*/ 2147483647 h 421"/>
                <a:gd name="T52" fmla="*/ 2147483647 w 459"/>
                <a:gd name="T53" fmla="*/ 2147483647 h 421"/>
                <a:gd name="T54" fmla="*/ 2147483647 w 459"/>
                <a:gd name="T55" fmla="*/ 2147483647 h 421"/>
                <a:gd name="T56" fmla="*/ 2147483647 w 459"/>
                <a:gd name="T57" fmla="*/ 2147483647 h 421"/>
                <a:gd name="T58" fmla="*/ 2147483647 w 459"/>
                <a:gd name="T59" fmla="*/ 2147483647 h 421"/>
                <a:gd name="T60" fmla="*/ 2147483647 w 459"/>
                <a:gd name="T61" fmla="*/ 2147483647 h 421"/>
                <a:gd name="T62" fmla="*/ 2147483647 w 459"/>
                <a:gd name="T63" fmla="*/ 2147483647 h 421"/>
                <a:gd name="T64" fmla="*/ 2147483647 w 459"/>
                <a:gd name="T65" fmla="*/ 2147483647 h 421"/>
                <a:gd name="T66" fmla="*/ 2147483647 w 459"/>
                <a:gd name="T67" fmla="*/ 2147483647 h 421"/>
                <a:gd name="T68" fmla="*/ 2147483647 w 459"/>
                <a:gd name="T69" fmla="*/ 2147483647 h 421"/>
                <a:gd name="T70" fmla="*/ 2147483647 w 459"/>
                <a:gd name="T71" fmla="*/ 2147483647 h 421"/>
                <a:gd name="T72" fmla="*/ 2147483647 w 459"/>
                <a:gd name="T73" fmla="*/ 2147483647 h 421"/>
                <a:gd name="T74" fmla="*/ 2147483647 w 459"/>
                <a:gd name="T75" fmla="*/ 2147483647 h 421"/>
                <a:gd name="T76" fmla="*/ 2147483647 w 459"/>
                <a:gd name="T77" fmla="*/ 2147483647 h 421"/>
                <a:gd name="T78" fmla="*/ 2147483647 w 459"/>
                <a:gd name="T79" fmla="*/ 2147483647 h 421"/>
                <a:gd name="T80" fmla="*/ 2147483647 w 459"/>
                <a:gd name="T81" fmla="*/ 2147483647 h 421"/>
                <a:gd name="T82" fmla="*/ 2147483647 w 459"/>
                <a:gd name="T83" fmla="*/ 2147483647 h 421"/>
                <a:gd name="T84" fmla="*/ 2147483647 w 459"/>
                <a:gd name="T85" fmla="*/ 2147483647 h 421"/>
                <a:gd name="T86" fmla="*/ 2147483647 w 459"/>
                <a:gd name="T87" fmla="*/ 2147483647 h 421"/>
                <a:gd name="T88" fmla="*/ 2147483647 w 459"/>
                <a:gd name="T89" fmla="*/ 2147483647 h 421"/>
                <a:gd name="T90" fmla="*/ 2147483647 w 459"/>
                <a:gd name="T91" fmla="*/ 2147483647 h 421"/>
                <a:gd name="T92" fmla="*/ 2147483647 w 459"/>
                <a:gd name="T93" fmla="*/ 2147483647 h 421"/>
                <a:gd name="T94" fmla="*/ 2147483647 w 459"/>
                <a:gd name="T95" fmla="*/ 2147483647 h 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59" h="421">
                  <a:moveTo>
                    <a:pt x="52" y="273"/>
                  </a:moveTo>
                  <a:cubicBezTo>
                    <a:pt x="53" y="273"/>
                    <a:pt x="53" y="273"/>
                    <a:pt x="53" y="273"/>
                  </a:cubicBezTo>
                  <a:cubicBezTo>
                    <a:pt x="55" y="273"/>
                    <a:pt x="57" y="271"/>
                    <a:pt x="59" y="270"/>
                  </a:cubicBezTo>
                  <a:cubicBezTo>
                    <a:pt x="106" y="212"/>
                    <a:pt x="106" y="212"/>
                    <a:pt x="106" y="212"/>
                  </a:cubicBezTo>
                  <a:cubicBezTo>
                    <a:pt x="108" y="210"/>
                    <a:pt x="108" y="207"/>
                    <a:pt x="107" y="204"/>
                  </a:cubicBezTo>
                  <a:cubicBezTo>
                    <a:pt x="106" y="201"/>
                    <a:pt x="103" y="199"/>
                    <a:pt x="100" y="199"/>
                  </a:cubicBezTo>
                  <a:cubicBezTo>
                    <a:pt x="85" y="199"/>
                    <a:pt x="85" y="199"/>
                    <a:pt x="85" y="199"/>
                  </a:cubicBezTo>
                  <a:cubicBezTo>
                    <a:pt x="80" y="162"/>
                    <a:pt x="73" y="81"/>
                    <a:pt x="181" y="46"/>
                  </a:cubicBezTo>
                  <a:cubicBezTo>
                    <a:pt x="186" y="44"/>
                    <a:pt x="188" y="40"/>
                    <a:pt x="187" y="36"/>
                  </a:cubicBezTo>
                  <a:cubicBezTo>
                    <a:pt x="185" y="31"/>
                    <a:pt x="181" y="29"/>
                    <a:pt x="177" y="30"/>
                  </a:cubicBezTo>
                  <a:cubicBezTo>
                    <a:pt x="47" y="70"/>
                    <a:pt x="27" y="169"/>
                    <a:pt x="24" y="198"/>
                  </a:cubicBezTo>
                  <a:cubicBezTo>
                    <a:pt x="8" y="197"/>
                    <a:pt x="8" y="197"/>
                    <a:pt x="8" y="197"/>
                  </a:cubicBezTo>
                  <a:cubicBezTo>
                    <a:pt x="5" y="197"/>
                    <a:pt x="2" y="199"/>
                    <a:pt x="1" y="202"/>
                  </a:cubicBezTo>
                  <a:cubicBezTo>
                    <a:pt x="0" y="204"/>
                    <a:pt x="0" y="208"/>
                    <a:pt x="2" y="210"/>
                  </a:cubicBezTo>
                  <a:cubicBezTo>
                    <a:pt x="46" y="269"/>
                    <a:pt x="46" y="269"/>
                    <a:pt x="46" y="269"/>
                  </a:cubicBezTo>
                  <a:cubicBezTo>
                    <a:pt x="48" y="271"/>
                    <a:pt x="50" y="273"/>
                    <a:pt x="52" y="273"/>
                  </a:cubicBezTo>
                  <a:close/>
                  <a:moveTo>
                    <a:pt x="24" y="214"/>
                  </a:moveTo>
                  <a:cubicBezTo>
                    <a:pt x="31" y="214"/>
                    <a:pt x="31" y="214"/>
                    <a:pt x="31" y="214"/>
                  </a:cubicBezTo>
                  <a:cubicBezTo>
                    <a:pt x="33" y="214"/>
                    <a:pt x="36" y="213"/>
                    <a:pt x="37" y="212"/>
                  </a:cubicBezTo>
                  <a:cubicBezTo>
                    <a:pt x="39" y="210"/>
                    <a:pt x="40" y="208"/>
                    <a:pt x="40" y="206"/>
                  </a:cubicBezTo>
                  <a:cubicBezTo>
                    <a:pt x="40" y="205"/>
                    <a:pt x="40" y="156"/>
                    <a:pt x="78" y="110"/>
                  </a:cubicBezTo>
                  <a:cubicBezTo>
                    <a:pt x="62" y="147"/>
                    <a:pt x="67" y="184"/>
                    <a:pt x="69" y="204"/>
                  </a:cubicBezTo>
                  <a:cubicBezTo>
                    <a:pt x="70" y="208"/>
                    <a:pt x="70" y="208"/>
                    <a:pt x="70" y="208"/>
                  </a:cubicBezTo>
                  <a:cubicBezTo>
                    <a:pt x="70" y="212"/>
                    <a:pt x="73" y="215"/>
                    <a:pt x="78" y="215"/>
                  </a:cubicBezTo>
                  <a:cubicBezTo>
                    <a:pt x="83" y="215"/>
                    <a:pt x="83" y="215"/>
                    <a:pt x="83" y="215"/>
                  </a:cubicBezTo>
                  <a:cubicBezTo>
                    <a:pt x="53" y="252"/>
                    <a:pt x="53" y="252"/>
                    <a:pt x="53" y="252"/>
                  </a:cubicBezTo>
                  <a:lnTo>
                    <a:pt x="24" y="214"/>
                  </a:lnTo>
                  <a:close/>
                  <a:moveTo>
                    <a:pt x="365" y="53"/>
                  </a:moveTo>
                  <a:cubicBezTo>
                    <a:pt x="374" y="39"/>
                    <a:pt x="374" y="39"/>
                    <a:pt x="374" y="39"/>
                  </a:cubicBezTo>
                  <a:cubicBezTo>
                    <a:pt x="375" y="37"/>
                    <a:pt x="375" y="33"/>
                    <a:pt x="374" y="31"/>
                  </a:cubicBezTo>
                  <a:cubicBezTo>
                    <a:pt x="372" y="28"/>
                    <a:pt x="369" y="27"/>
                    <a:pt x="366" y="27"/>
                  </a:cubicBezTo>
                  <a:cubicBezTo>
                    <a:pt x="292" y="34"/>
                    <a:pt x="292" y="34"/>
                    <a:pt x="292" y="34"/>
                  </a:cubicBezTo>
                  <a:cubicBezTo>
                    <a:pt x="290" y="34"/>
                    <a:pt x="288" y="36"/>
                    <a:pt x="287" y="38"/>
                  </a:cubicBezTo>
                  <a:cubicBezTo>
                    <a:pt x="285" y="40"/>
                    <a:pt x="285" y="43"/>
                    <a:pt x="286" y="45"/>
                  </a:cubicBezTo>
                  <a:cubicBezTo>
                    <a:pt x="310" y="115"/>
                    <a:pt x="310" y="115"/>
                    <a:pt x="310" y="115"/>
                  </a:cubicBezTo>
                  <a:cubicBezTo>
                    <a:pt x="311" y="118"/>
                    <a:pt x="314" y="120"/>
                    <a:pt x="317" y="120"/>
                  </a:cubicBezTo>
                  <a:cubicBezTo>
                    <a:pt x="320" y="120"/>
                    <a:pt x="323" y="119"/>
                    <a:pt x="325" y="116"/>
                  </a:cubicBezTo>
                  <a:cubicBezTo>
                    <a:pt x="333" y="104"/>
                    <a:pt x="333" y="104"/>
                    <a:pt x="333" y="104"/>
                  </a:cubicBezTo>
                  <a:cubicBezTo>
                    <a:pt x="366" y="119"/>
                    <a:pt x="436" y="155"/>
                    <a:pt x="410" y="266"/>
                  </a:cubicBezTo>
                  <a:cubicBezTo>
                    <a:pt x="409" y="270"/>
                    <a:pt x="411" y="274"/>
                    <a:pt x="416" y="275"/>
                  </a:cubicBezTo>
                  <a:cubicBezTo>
                    <a:pt x="416" y="276"/>
                    <a:pt x="417" y="276"/>
                    <a:pt x="418" y="276"/>
                  </a:cubicBezTo>
                  <a:cubicBezTo>
                    <a:pt x="421" y="276"/>
                    <a:pt x="424" y="273"/>
                    <a:pt x="425" y="270"/>
                  </a:cubicBezTo>
                  <a:cubicBezTo>
                    <a:pt x="459" y="139"/>
                    <a:pt x="388" y="70"/>
                    <a:pt x="365" y="53"/>
                  </a:cubicBezTo>
                  <a:close/>
                  <a:moveTo>
                    <a:pt x="336" y="88"/>
                  </a:moveTo>
                  <a:cubicBezTo>
                    <a:pt x="333" y="86"/>
                    <a:pt x="333" y="86"/>
                    <a:pt x="333" y="86"/>
                  </a:cubicBezTo>
                  <a:cubicBezTo>
                    <a:pt x="332" y="86"/>
                    <a:pt x="331" y="86"/>
                    <a:pt x="330" y="86"/>
                  </a:cubicBezTo>
                  <a:cubicBezTo>
                    <a:pt x="327" y="86"/>
                    <a:pt x="324" y="87"/>
                    <a:pt x="323" y="89"/>
                  </a:cubicBezTo>
                  <a:cubicBezTo>
                    <a:pt x="320" y="94"/>
                    <a:pt x="320" y="94"/>
                    <a:pt x="320" y="94"/>
                  </a:cubicBezTo>
                  <a:cubicBezTo>
                    <a:pt x="304" y="49"/>
                    <a:pt x="304" y="49"/>
                    <a:pt x="304" y="49"/>
                  </a:cubicBezTo>
                  <a:cubicBezTo>
                    <a:pt x="351" y="44"/>
                    <a:pt x="351" y="44"/>
                    <a:pt x="351" y="44"/>
                  </a:cubicBezTo>
                  <a:cubicBezTo>
                    <a:pt x="347" y="50"/>
                    <a:pt x="347" y="50"/>
                    <a:pt x="347" y="50"/>
                  </a:cubicBezTo>
                  <a:cubicBezTo>
                    <a:pt x="346" y="52"/>
                    <a:pt x="346" y="54"/>
                    <a:pt x="346" y="56"/>
                  </a:cubicBezTo>
                  <a:cubicBezTo>
                    <a:pt x="347" y="58"/>
                    <a:pt x="348" y="60"/>
                    <a:pt x="350" y="61"/>
                  </a:cubicBezTo>
                  <a:cubicBezTo>
                    <a:pt x="351" y="62"/>
                    <a:pt x="390" y="87"/>
                    <a:pt x="409" y="143"/>
                  </a:cubicBezTo>
                  <a:cubicBezTo>
                    <a:pt x="386" y="111"/>
                    <a:pt x="353" y="96"/>
                    <a:pt x="336" y="88"/>
                  </a:cubicBezTo>
                  <a:close/>
                  <a:moveTo>
                    <a:pt x="329" y="233"/>
                  </a:moveTo>
                  <a:cubicBezTo>
                    <a:pt x="304" y="218"/>
                    <a:pt x="283" y="214"/>
                    <a:pt x="275" y="213"/>
                  </a:cubicBezTo>
                  <a:cubicBezTo>
                    <a:pt x="274" y="200"/>
                    <a:pt x="267" y="188"/>
                    <a:pt x="257" y="181"/>
                  </a:cubicBezTo>
                  <a:cubicBezTo>
                    <a:pt x="260" y="173"/>
                    <a:pt x="267" y="153"/>
                    <a:pt x="267" y="125"/>
                  </a:cubicBezTo>
                  <a:cubicBezTo>
                    <a:pt x="267" y="108"/>
                    <a:pt x="266" y="92"/>
                    <a:pt x="263" y="75"/>
                  </a:cubicBezTo>
                  <a:cubicBezTo>
                    <a:pt x="262" y="71"/>
                    <a:pt x="258" y="68"/>
                    <a:pt x="253" y="68"/>
                  </a:cubicBezTo>
                  <a:cubicBezTo>
                    <a:pt x="249" y="69"/>
                    <a:pt x="246" y="73"/>
                    <a:pt x="247" y="78"/>
                  </a:cubicBezTo>
                  <a:cubicBezTo>
                    <a:pt x="250" y="93"/>
                    <a:pt x="251" y="109"/>
                    <a:pt x="251" y="125"/>
                  </a:cubicBezTo>
                  <a:cubicBezTo>
                    <a:pt x="251" y="150"/>
                    <a:pt x="245" y="168"/>
                    <a:pt x="242" y="175"/>
                  </a:cubicBezTo>
                  <a:cubicBezTo>
                    <a:pt x="239" y="174"/>
                    <a:pt x="236" y="174"/>
                    <a:pt x="233" y="174"/>
                  </a:cubicBezTo>
                  <a:cubicBezTo>
                    <a:pt x="230" y="174"/>
                    <a:pt x="227" y="174"/>
                    <a:pt x="224" y="175"/>
                  </a:cubicBezTo>
                  <a:cubicBezTo>
                    <a:pt x="222" y="168"/>
                    <a:pt x="215" y="150"/>
                    <a:pt x="215" y="125"/>
                  </a:cubicBezTo>
                  <a:cubicBezTo>
                    <a:pt x="215" y="83"/>
                    <a:pt x="226" y="48"/>
                    <a:pt x="233" y="28"/>
                  </a:cubicBezTo>
                  <a:cubicBezTo>
                    <a:pt x="235" y="34"/>
                    <a:pt x="238" y="40"/>
                    <a:pt x="240" y="48"/>
                  </a:cubicBezTo>
                  <a:cubicBezTo>
                    <a:pt x="241" y="51"/>
                    <a:pt x="244" y="54"/>
                    <a:pt x="247" y="54"/>
                  </a:cubicBezTo>
                  <a:cubicBezTo>
                    <a:pt x="248" y="54"/>
                    <a:pt x="249" y="53"/>
                    <a:pt x="250" y="53"/>
                  </a:cubicBezTo>
                  <a:cubicBezTo>
                    <a:pt x="254" y="52"/>
                    <a:pt x="256" y="47"/>
                    <a:pt x="255" y="43"/>
                  </a:cubicBezTo>
                  <a:cubicBezTo>
                    <a:pt x="248" y="20"/>
                    <a:pt x="241" y="5"/>
                    <a:pt x="240" y="5"/>
                  </a:cubicBezTo>
                  <a:cubicBezTo>
                    <a:pt x="239" y="2"/>
                    <a:pt x="237" y="1"/>
                    <a:pt x="234" y="0"/>
                  </a:cubicBezTo>
                  <a:cubicBezTo>
                    <a:pt x="234" y="0"/>
                    <a:pt x="234" y="0"/>
                    <a:pt x="233" y="0"/>
                  </a:cubicBezTo>
                  <a:cubicBezTo>
                    <a:pt x="233" y="0"/>
                    <a:pt x="233" y="0"/>
                    <a:pt x="233" y="0"/>
                  </a:cubicBezTo>
                  <a:cubicBezTo>
                    <a:pt x="230" y="1"/>
                    <a:pt x="227" y="2"/>
                    <a:pt x="226" y="5"/>
                  </a:cubicBezTo>
                  <a:cubicBezTo>
                    <a:pt x="225" y="7"/>
                    <a:pt x="199" y="56"/>
                    <a:pt x="199" y="125"/>
                  </a:cubicBezTo>
                  <a:cubicBezTo>
                    <a:pt x="199" y="153"/>
                    <a:pt x="206" y="173"/>
                    <a:pt x="210" y="181"/>
                  </a:cubicBezTo>
                  <a:cubicBezTo>
                    <a:pt x="200" y="188"/>
                    <a:pt x="193" y="200"/>
                    <a:pt x="192" y="213"/>
                  </a:cubicBezTo>
                  <a:cubicBezTo>
                    <a:pt x="184" y="214"/>
                    <a:pt x="162" y="218"/>
                    <a:pt x="138" y="233"/>
                  </a:cubicBezTo>
                  <a:cubicBezTo>
                    <a:pt x="79" y="268"/>
                    <a:pt x="49" y="315"/>
                    <a:pt x="48" y="317"/>
                  </a:cubicBezTo>
                  <a:cubicBezTo>
                    <a:pt x="46" y="319"/>
                    <a:pt x="46" y="322"/>
                    <a:pt x="47" y="325"/>
                  </a:cubicBezTo>
                  <a:cubicBezTo>
                    <a:pt x="47" y="325"/>
                    <a:pt x="47" y="325"/>
                    <a:pt x="47" y="325"/>
                  </a:cubicBezTo>
                  <a:cubicBezTo>
                    <a:pt x="48" y="325"/>
                    <a:pt x="48" y="325"/>
                    <a:pt x="48" y="326"/>
                  </a:cubicBezTo>
                  <a:cubicBezTo>
                    <a:pt x="50" y="328"/>
                    <a:pt x="52" y="329"/>
                    <a:pt x="55" y="329"/>
                  </a:cubicBezTo>
                  <a:cubicBezTo>
                    <a:pt x="55" y="329"/>
                    <a:pt x="55" y="329"/>
                    <a:pt x="55" y="329"/>
                  </a:cubicBezTo>
                  <a:cubicBezTo>
                    <a:pt x="57" y="329"/>
                    <a:pt x="113" y="326"/>
                    <a:pt x="172" y="291"/>
                  </a:cubicBezTo>
                  <a:cubicBezTo>
                    <a:pt x="197" y="276"/>
                    <a:pt x="211" y="260"/>
                    <a:pt x="216" y="253"/>
                  </a:cubicBezTo>
                  <a:cubicBezTo>
                    <a:pt x="221" y="255"/>
                    <a:pt x="227" y="257"/>
                    <a:pt x="233" y="257"/>
                  </a:cubicBezTo>
                  <a:cubicBezTo>
                    <a:pt x="240" y="257"/>
                    <a:pt x="245" y="255"/>
                    <a:pt x="251" y="253"/>
                  </a:cubicBezTo>
                  <a:cubicBezTo>
                    <a:pt x="256" y="260"/>
                    <a:pt x="270" y="276"/>
                    <a:pt x="294" y="291"/>
                  </a:cubicBezTo>
                  <a:cubicBezTo>
                    <a:pt x="354" y="326"/>
                    <a:pt x="409" y="329"/>
                    <a:pt x="412" y="329"/>
                  </a:cubicBezTo>
                  <a:cubicBezTo>
                    <a:pt x="412" y="329"/>
                    <a:pt x="412" y="329"/>
                    <a:pt x="412" y="329"/>
                  </a:cubicBezTo>
                  <a:cubicBezTo>
                    <a:pt x="415" y="329"/>
                    <a:pt x="417" y="328"/>
                    <a:pt x="418" y="326"/>
                  </a:cubicBezTo>
                  <a:cubicBezTo>
                    <a:pt x="419" y="325"/>
                    <a:pt x="419" y="325"/>
                    <a:pt x="419" y="325"/>
                  </a:cubicBezTo>
                  <a:cubicBezTo>
                    <a:pt x="419" y="325"/>
                    <a:pt x="419" y="325"/>
                    <a:pt x="419" y="324"/>
                  </a:cubicBezTo>
                  <a:cubicBezTo>
                    <a:pt x="420" y="322"/>
                    <a:pt x="420" y="319"/>
                    <a:pt x="419" y="317"/>
                  </a:cubicBezTo>
                  <a:cubicBezTo>
                    <a:pt x="418" y="315"/>
                    <a:pt x="388" y="268"/>
                    <a:pt x="329" y="233"/>
                  </a:cubicBezTo>
                  <a:close/>
                  <a:moveTo>
                    <a:pt x="164" y="277"/>
                  </a:moveTo>
                  <a:cubicBezTo>
                    <a:pt x="128" y="299"/>
                    <a:pt x="92" y="307"/>
                    <a:pt x="72" y="311"/>
                  </a:cubicBezTo>
                  <a:cubicBezTo>
                    <a:pt x="85" y="295"/>
                    <a:pt x="109" y="268"/>
                    <a:pt x="146" y="246"/>
                  </a:cubicBezTo>
                  <a:cubicBezTo>
                    <a:pt x="168" y="233"/>
                    <a:pt x="187" y="229"/>
                    <a:pt x="194" y="228"/>
                  </a:cubicBezTo>
                  <a:cubicBezTo>
                    <a:pt x="196" y="234"/>
                    <a:pt x="199" y="239"/>
                    <a:pt x="203" y="243"/>
                  </a:cubicBezTo>
                  <a:cubicBezTo>
                    <a:pt x="199" y="249"/>
                    <a:pt x="186" y="264"/>
                    <a:pt x="164" y="277"/>
                  </a:cubicBezTo>
                  <a:close/>
                  <a:moveTo>
                    <a:pt x="233" y="241"/>
                  </a:moveTo>
                  <a:cubicBezTo>
                    <a:pt x="219" y="241"/>
                    <a:pt x="208" y="229"/>
                    <a:pt x="208" y="215"/>
                  </a:cubicBezTo>
                  <a:cubicBezTo>
                    <a:pt x="208" y="201"/>
                    <a:pt x="219" y="190"/>
                    <a:pt x="233" y="190"/>
                  </a:cubicBezTo>
                  <a:cubicBezTo>
                    <a:pt x="247" y="190"/>
                    <a:pt x="259" y="201"/>
                    <a:pt x="259" y="215"/>
                  </a:cubicBezTo>
                  <a:cubicBezTo>
                    <a:pt x="259" y="229"/>
                    <a:pt x="247" y="241"/>
                    <a:pt x="233" y="241"/>
                  </a:cubicBezTo>
                  <a:close/>
                  <a:moveTo>
                    <a:pt x="303" y="277"/>
                  </a:moveTo>
                  <a:cubicBezTo>
                    <a:pt x="280" y="264"/>
                    <a:pt x="268" y="249"/>
                    <a:pt x="264" y="243"/>
                  </a:cubicBezTo>
                  <a:cubicBezTo>
                    <a:pt x="268" y="239"/>
                    <a:pt x="271" y="234"/>
                    <a:pt x="272" y="228"/>
                  </a:cubicBezTo>
                  <a:cubicBezTo>
                    <a:pt x="280" y="229"/>
                    <a:pt x="299" y="233"/>
                    <a:pt x="321" y="246"/>
                  </a:cubicBezTo>
                  <a:cubicBezTo>
                    <a:pt x="357" y="268"/>
                    <a:pt x="382" y="295"/>
                    <a:pt x="395" y="311"/>
                  </a:cubicBezTo>
                  <a:cubicBezTo>
                    <a:pt x="374" y="307"/>
                    <a:pt x="339" y="299"/>
                    <a:pt x="303" y="277"/>
                  </a:cubicBezTo>
                  <a:close/>
                  <a:moveTo>
                    <a:pt x="363" y="337"/>
                  </a:moveTo>
                  <a:cubicBezTo>
                    <a:pt x="290" y="325"/>
                    <a:pt x="290" y="325"/>
                    <a:pt x="290" y="325"/>
                  </a:cubicBezTo>
                  <a:cubicBezTo>
                    <a:pt x="287" y="324"/>
                    <a:pt x="284" y="325"/>
                    <a:pt x="282" y="328"/>
                  </a:cubicBezTo>
                  <a:cubicBezTo>
                    <a:pt x="280" y="330"/>
                    <a:pt x="280" y="334"/>
                    <a:pt x="282" y="336"/>
                  </a:cubicBezTo>
                  <a:cubicBezTo>
                    <a:pt x="289" y="350"/>
                    <a:pt x="289" y="350"/>
                    <a:pt x="289" y="350"/>
                  </a:cubicBezTo>
                  <a:cubicBezTo>
                    <a:pt x="271" y="362"/>
                    <a:pt x="241" y="384"/>
                    <a:pt x="202" y="384"/>
                  </a:cubicBezTo>
                  <a:cubicBezTo>
                    <a:pt x="170" y="384"/>
                    <a:pt x="138" y="369"/>
                    <a:pt x="108" y="341"/>
                  </a:cubicBezTo>
                  <a:cubicBezTo>
                    <a:pt x="104" y="338"/>
                    <a:pt x="99" y="338"/>
                    <a:pt x="96" y="342"/>
                  </a:cubicBezTo>
                  <a:cubicBezTo>
                    <a:pt x="93" y="345"/>
                    <a:pt x="93" y="350"/>
                    <a:pt x="97" y="353"/>
                  </a:cubicBezTo>
                  <a:cubicBezTo>
                    <a:pt x="142" y="396"/>
                    <a:pt x="192" y="418"/>
                    <a:pt x="245" y="418"/>
                  </a:cubicBezTo>
                  <a:cubicBezTo>
                    <a:pt x="279" y="418"/>
                    <a:pt x="305" y="408"/>
                    <a:pt x="318" y="403"/>
                  </a:cubicBezTo>
                  <a:cubicBezTo>
                    <a:pt x="325" y="417"/>
                    <a:pt x="325" y="417"/>
                    <a:pt x="325" y="417"/>
                  </a:cubicBezTo>
                  <a:cubicBezTo>
                    <a:pt x="326" y="420"/>
                    <a:pt x="329" y="421"/>
                    <a:pt x="332" y="421"/>
                  </a:cubicBezTo>
                  <a:cubicBezTo>
                    <a:pt x="332" y="421"/>
                    <a:pt x="332" y="421"/>
                    <a:pt x="332" y="421"/>
                  </a:cubicBezTo>
                  <a:cubicBezTo>
                    <a:pt x="335" y="421"/>
                    <a:pt x="338" y="419"/>
                    <a:pt x="339" y="416"/>
                  </a:cubicBezTo>
                  <a:cubicBezTo>
                    <a:pt x="369" y="349"/>
                    <a:pt x="369" y="349"/>
                    <a:pt x="369" y="349"/>
                  </a:cubicBezTo>
                  <a:cubicBezTo>
                    <a:pt x="370" y="346"/>
                    <a:pt x="370" y="344"/>
                    <a:pt x="369" y="342"/>
                  </a:cubicBezTo>
                  <a:cubicBezTo>
                    <a:pt x="367" y="339"/>
                    <a:pt x="365" y="338"/>
                    <a:pt x="363" y="337"/>
                  </a:cubicBezTo>
                  <a:close/>
                  <a:moveTo>
                    <a:pt x="331" y="395"/>
                  </a:moveTo>
                  <a:cubicBezTo>
                    <a:pt x="328" y="389"/>
                    <a:pt x="328" y="389"/>
                    <a:pt x="328" y="389"/>
                  </a:cubicBezTo>
                  <a:cubicBezTo>
                    <a:pt x="327" y="387"/>
                    <a:pt x="325" y="385"/>
                    <a:pt x="323" y="385"/>
                  </a:cubicBezTo>
                  <a:cubicBezTo>
                    <a:pt x="321" y="384"/>
                    <a:pt x="319" y="384"/>
                    <a:pt x="317" y="385"/>
                  </a:cubicBezTo>
                  <a:cubicBezTo>
                    <a:pt x="317" y="386"/>
                    <a:pt x="288" y="402"/>
                    <a:pt x="245" y="402"/>
                  </a:cubicBezTo>
                  <a:cubicBezTo>
                    <a:pt x="234" y="402"/>
                    <a:pt x="224" y="401"/>
                    <a:pt x="214" y="399"/>
                  </a:cubicBezTo>
                  <a:cubicBezTo>
                    <a:pt x="254" y="395"/>
                    <a:pt x="283" y="373"/>
                    <a:pt x="300" y="361"/>
                  </a:cubicBezTo>
                  <a:cubicBezTo>
                    <a:pt x="304" y="358"/>
                    <a:pt x="304" y="358"/>
                    <a:pt x="304" y="358"/>
                  </a:cubicBezTo>
                  <a:cubicBezTo>
                    <a:pt x="307" y="356"/>
                    <a:pt x="308" y="352"/>
                    <a:pt x="306" y="348"/>
                  </a:cubicBezTo>
                  <a:cubicBezTo>
                    <a:pt x="303" y="343"/>
                    <a:pt x="303" y="343"/>
                    <a:pt x="303" y="343"/>
                  </a:cubicBezTo>
                  <a:cubicBezTo>
                    <a:pt x="350" y="351"/>
                    <a:pt x="350" y="351"/>
                    <a:pt x="350" y="351"/>
                  </a:cubicBezTo>
                  <a:lnTo>
                    <a:pt x="331" y="3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6"/>
            <p:cNvSpPr>
              <a:spLocks noEditPoints="1"/>
            </p:cNvSpPr>
            <p:nvPr/>
          </p:nvSpPr>
          <p:spPr bwMode="auto">
            <a:xfrm>
              <a:off x="3004736" y="4366309"/>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6"/>
            <p:cNvSpPr>
              <a:spLocks noEditPoints="1"/>
            </p:cNvSpPr>
            <p:nvPr/>
          </p:nvSpPr>
          <p:spPr bwMode="auto">
            <a:xfrm>
              <a:off x="9627432" y="4356784"/>
              <a:ext cx="1138237" cy="746125"/>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3"/>
            <p:cNvSpPr>
              <a:spLocks noChangeAspect="1" noEditPoints="1"/>
            </p:cNvSpPr>
            <p:nvPr/>
          </p:nvSpPr>
          <p:spPr bwMode="auto">
            <a:xfrm>
              <a:off x="3971523" y="1626284"/>
              <a:ext cx="1012825" cy="615950"/>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
            <p:cNvSpPr>
              <a:spLocks noChangeAspect="1" noEditPoints="1"/>
            </p:cNvSpPr>
            <p:nvPr/>
          </p:nvSpPr>
          <p:spPr bwMode="auto">
            <a:xfrm>
              <a:off x="11095869" y="4367896"/>
              <a:ext cx="873125" cy="677863"/>
            </a:xfrm>
            <a:custGeom>
              <a:avLst/>
              <a:gdLst>
                <a:gd name="T0" fmla="*/ 2147483647 w 464"/>
                <a:gd name="T1" fmla="*/ 2147483647 h 361"/>
                <a:gd name="T2" fmla="*/ 2147483647 w 464"/>
                <a:gd name="T3" fmla="*/ 2147483647 h 361"/>
                <a:gd name="T4" fmla="*/ 2147483647 w 464"/>
                <a:gd name="T5" fmla="*/ 2147483647 h 361"/>
                <a:gd name="T6" fmla="*/ 2147483647 w 464"/>
                <a:gd name="T7" fmla="*/ 2147483647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0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361">
                  <a:moveTo>
                    <a:pt x="400" y="167"/>
                  </a:moveTo>
                  <a:cubicBezTo>
                    <a:pt x="405" y="167"/>
                    <a:pt x="408" y="163"/>
                    <a:pt x="408" y="159"/>
                  </a:cubicBezTo>
                  <a:cubicBezTo>
                    <a:pt x="408" y="159"/>
                    <a:pt x="408" y="159"/>
                    <a:pt x="408" y="159"/>
                  </a:cubicBezTo>
                  <a:cubicBezTo>
                    <a:pt x="408" y="140"/>
                    <a:pt x="408" y="140"/>
                    <a:pt x="408" y="140"/>
                  </a:cubicBezTo>
                  <a:cubicBezTo>
                    <a:pt x="408" y="129"/>
                    <a:pt x="400" y="122"/>
                    <a:pt x="392" y="119"/>
                  </a:cubicBezTo>
                  <a:cubicBezTo>
                    <a:pt x="385" y="115"/>
                    <a:pt x="251" y="46"/>
                    <a:pt x="243" y="42"/>
                  </a:cubicBezTo>
                  <a:cubicBezTo>
                    <a:pt x="239" y="40"/>
                    <a:pt x="236" y="39"/>
                    <a:pt x="232" y="39"/>
                  </a:cubicBezTo>
                  <a:cubicBezTo>
                    <a:pt x="225" y="39"/>
                    <a:pt x="221" y="42"/>
                    <a:pt x="220" y="42"/>
                  </a:cubicBezTo>
                  <a:cubicBezTo>
                    <a:pt x="71" y="119"/>
                    <a:pt x="71" y="119"/>
                    <a:pt x="71" y="119"/>
                  </a:cubicBezTo>
                  <a:cubicBezTo>
                    <a:pt x="64" y="122"/>
                    <a:pt x="56" y="129"/>
                    <a:pt x="55" y="140"/>
                  </a:cubicBezTo>
                  <a:cubicBezTo>
                    <a:pt x="55" y="342"/>
                    <a:pt x="55" y="342"/>
                    <a:pt x="55" y="342"/>
                  </a:cubicBezTo>
                  <a:cubicBezTo>
                    <a:pt x="55" y="352"/>
                    <a:pt x="64" y="361"/>
                    <a:pt x="75" y="361"/>
                  </a:cubicBezTo>
                  <a:cubicBezTo>
                    <a:pt x="389" y="361"/>
                    <a:pt x="389" y="361"/>
                    <a:pt x="389" y="361"/>
                  </a:cubicBezTo>
                  <a:cubicBezTo>
                    <a:pt x="400" y="361"/>
                    <a:pt x="408" y="352"/>
                    <a:pt x="408" y="342"/>
                  </a:cubicBezTo>
                  <a:cubicBezTo>
                    <a:pt x="408" y="191"/>
                    <a:pt x="408" y="191"/>
                    <a:pt x="408" y="191"/>
                  </a:cubicBezTo>
                  <a:cubicBezTo>
                    <a:pt x="408" y="186"/>
                    <a:pt x="405" y="183"/>
                    <a:pt x="400" y="183"/>
                  </a:cubicBezTo>
                  <a:cubicBezTo>
                    <a:pt x="396" y="183"/>
                    <a:pt x="392" y="186"/>
                    <a:pt x="392" y="191"/>
                  </a:cubicBezTo>
                  <a:cubicBezTo>
                    <a:pt x="392" y="342"/>
                    <a:pt x="392" y="342"/>
                    <a:pt x="392" y="342"/>
                  </a:cubicBezTo>
                  <a:cubicBezTo>
                    <a:pt x="392" y="344"/>
                    <a:pt x="391" y="345"/>
                    <a:pt x="389" y="345"/>
                  </a:cubicBezTo>
                  <a:cubicBezTo>
                    <a:pt x="75" y="345"/>
                    <a:pt x="75" y="345"/>
                    <a:pt x="75" y="345"/>
                  </a:cubicBezTo>
                  <a:cubicBezTo>
                    <a:pt x="73" y="345"/>
                    <a:pt x="71" y="344"/>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7" y="56"/>
                    <a:pt x="227" y="56"/>
                    <a:pt x="227" y="56"/>
                  </a:cubicBezTo>
                  <a:cubicBezTo>
                    <a:pt x="228" y="56"/>
                    <a:pt x="230" y="55"/>
                    <a:pt x="232" y="55"/>
                  </a:cubicBezTo>
                  <a:cubicBezTo>
                    <a:pt x="234" y="55"/>
                    <a:pt x="235" y="55"/>
                    <a:pt x="236" y="56"/>
                  </a:cubicBezTo>
                  <a:cubicBezTo>
                    <a:pt x="240" y="58"/>
                    <a:pt x="277" y="77"/>
                    <a:pt x="314" y="96"/>
                  </a:cubicBezTo>
                  <a:cubicBezTo>
                    <a:pt x="350" y="115"/>
                    <a:pt x="385" y="133"/>
                    <a:pt x="385" y="133"/>
                  </a:cubicBezTo>
                  <a:cubicBezTo>
                    <a:pt x="386" y="133"/>
                    <a:pt x="386" y="133"/>
                    <a:pt x="386" y="133"/>
                  </a:cubicBezTo>
                  <a:cubicBezTo>
                    <a:pt x="391" y="135"/>
                    <a:pt x="393" y="138"/>
                    <a:pt x="392" y="140"/>
                  </a:cubicBezTo>
                  <a:cubicBezTo>
                    <a:pt x="392" y="159"/>
                    <a:pt x="392" y="159"/>
                    <a:pt x="392" y="159"/>
                  </a:cubicBezTo>
                  <a:cubicBezTo>
                    <a:pt x="392" y="163"/>
                    <a:pt x="396" y="167"/>
                    <a:pt x="400" y="167"/>
                  </a:cubicBezTo>
                  <a:close/>
                  <a:moveTo>
                    <a:pt x="458" y="114"/>
                  </a:moveTo>
                  <a:cubicBezTo>
                    <a:pt x="458" y="114"/>
                    <a:pt x="437" y="103"/>
                    <a:pt x="408" y="88"/>
                  </a:cubicBezTo>
                  <a:cubicBezTo>
                    <a:pt x="408" y="52"/>
                    <a:pt x="408" y="52"/>
                    <a:pt x="408" y="52"/>
                  </a:cubicBezTo>
                  <a:cubicBezTo>
                    <a:pt x="408" y="41"/>
                    <a:pt x="400" y="33"/>
                    <a:pt x="389" y="32"/>
                  </a:cubicBezTo>
                  <a:cubicBezTo>
                    <a:pt x="357" y="32"/>
                    <a:pt x="357" y="32"/>
                    <a:pt x="357" y="32"/>
                  </a:cubicBezTo>
                  <a:cubicBezTo>
                    <a:pt x="347" y="33"/>
                    <a:pt x="338" y="41"/>
                    <a:pt x="338" y="52"/>
                  </a:cubicBezTo>
                  <a:cubicBezTo>
                    <a:pt x="292" y="28"/>
                    <a:pt x="249" y="6"/>
                    <a:pt x="245" y="3"/>
                  </a:cubicBezTo>
                  <a:cubicBezTo>
                    <a:pt x="241" y="1"/>
                    <a:pt x="236" y="0"/>
                    <a:pt x="232" y="0"/>
                  </a:cubicBezTo>
                  <a:cubicBezTo>
                    <a:pt x="224" y="1"/>
                    <a:pt x="219" y="3"/>
                    <a:pt x="219" y="3"/>
                  </a:cubicBezTo>
                  <a:cubicBezTo>
                    <a:pt x="6" y="114"/>
                    <a:pt x="6" y="114"/>
                    <a:pt x="6" y="114"/>
                  </a:cubicBezTo>
                  <a:cubicBezTo>
                    <a:pt x="2" y="116"/>
                    <a:pt x="0" y="121"/>
                    <a:pt x="3" y="125"/>
                  </a:cubicBezTo>
                  <a:cubicBezTo>
                    <a:pt x="5" y="129"/>
                    <a:pt x="9" y="130"/>
                    <a:pt x="13" y="128"/>
                  </a:cubicBezTo>
                  <a:cubicBezTo>
                    <a:pt x="226" y="18"/>
                    <a:pt x="226" y="18"/>
                    <a:pt x="226" y="18"/>
                  </a:cubicBezTo>
                  <a:cubicBezTo>
                    <a:pt x="226" y="18"/>
                    <a:pt x="226" y="18"/>
                    <a:pt x="226" y="18"/>
                  </a:cubicBezTo>
                  <a:cubicBezTo>
                    <a:pt x="226" y="18"/>
                    <a:pt x="226" y="18"/>
                    <a:pt x="226" y="18"/>
                  </a:cubicBezTo>
                  <a:cubicBezTo>
                    <a:pt x="226" y="18"/>
                    <a:pt x="229" y="16"/>
                    <a:pt x="232" y="16"/>
                  </a:cubicBezTo>
                  <a:cubicBezTo>
                    <a:pt x="234" y="16"/>
                    <a:pt x="236" y="17"/>
                    <a:pt x="238" y="18"/>
                  </a:cubicBezTo>
                  <a:cubicBezTo>
                    <a:pt x="242" y="20"/>
                    <a:pt x="291" y="45"/>
                    <a:pt x="340" y="71"/>
                  </a:cubicBezTo>
                  <a:cubicBezTo>
                    <a:pt x="341" y="71"/>
                    <a:pt x="343" y="72"/>
                    <a:pt x="345" y="72"/>
                  </a:cubicBezTo>
                  <a:cubicBezTo>
                    <a:pt x="347" y="72"/>
                    <a:pt x="349" y="71"/>
                    <a:pt x="352" y="69"/>
                  </a:cubicBezTo>
                  <a:cubicBezTo>
                    <a:pt x="354"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52"/>
                    <a:pt x="392" y="61"/>
                    <a:pt x="392" y="70"/>
                  </a:cubicBezTo>
                  <a:cubicBezTo>
                    <a:pt x="392" y="79"/>
                    <a:pt x="392" y="89"/>
                    <a:pt x="392" y="90"/>
                  </a:cubicBezTo>
                  <a:cubicBezTo>
                    <a:pt x="392" y="93"/>
                    <a:pt x="393" y="96"/>
                    <a:pt x="395" y="98"/>
                  </a:cubicBezTo>
                  <a:cubicBezTo>
                    <a:pt x="396" y="100"/>
                    <a:pt x="398" y="101"/>
                    <a:pt x="399" y="101"/>
                  </a:cubicBezTo>
                  <a:cubicBezTo>
                    <a:pt x="429" y="117"/>
                    <a:pt x="451" y="128"/>
                    <a:pt x="451" y="128"/>
                  </a:cubicBezTo>
                  <a:cubicBezTo>
                    <a:pt x="452" y="129"/>
                    <a:pt x="454" y="129"/>
                    <a:pt x="455" y="129"/>
                  </a:cubicBezTo>
                  <a:cubicBezTo>
                    <a:pt x="458" y="129"/>
                    <a:pt x="460" y="128"/>
                    <a:pt x="462" y="125"/>
                  </a:cubicBezTo>
                  <a:cubicBezTo>
                    <a:pt x="464" y="121"/>
                    <a:pt x="462" y="116"/>
                    <a:pt x="458"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9" name="TextBox 61"/>
          <p:cNvSpPr txBox="1">
            <a:spLocks noChangeArrowheads="1"/>
          </p:cNvSpPr>
          <p:nvPr/>
        </p:nvSpPr>
        <p:spPr bwMode="auto">
          <a:xfrm>
            <a:off x="7308850" y="5961215"/>
            <a:ext cx="2274888" cy="768350"/>
          </a:xfrm>
          <a:prstGeom prst="rect">
            <a:avLst/>
          </a:prstGeom>
          <a:noFill/>
          <a:ln>
            <a:noFill/>
          </a:ln>
          <a:extLst/>
        </p:spPr>
        <p:txBody>
          <a:bodyPr lIns="121586" tIns="60792" rIns="121586" bIns="60792">
            <a:spAutoFit/>
          </a:bodyP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sv-SE" sz="2700" b="0" i="0" u="none" strike="noStrike" kern="0" cap="none" spc="0" normalizeH="0" baseline="0" noProof="0">
                <a:ln>
                  <a:noFill/>
                </a:ln>
                <a:solidFill>
                  <a:schemeClr val="bg1"/>
                </a:solidFill>
                <a:effectLst/>
                <a:uLnTx/>
                <a:uFillTx/>
                <a:latin typeface="Arial" charset="0"/>
                <a:ea typeface="ＭＳ Ｐゴシック" pitchFamily="34" charset="-128"/>
              </a:rPr>
              <a:t>10-100X</a:t>
            </a:r>
            <a:br>
              <a:rPr kumimoji="0" lang="en-US" altLang="sv-SE" sz="2700" b="0" i="0" u="none" strike="noStrike" kern="0" cap="none" spc="0" normalizeH="0" baseline="0" noProof="0">
                <a:ln>
                  <a:noFill/>
                </a:ln>
                <a:solidFill>
                  <a:schemeClr val="bg1"/>
                </a:solidFill>
                <a:effectLst/>
                <a:uLnTx/>
                <a:uFillTx/>
                <a:latin typeface="Arial" charset="0"/>
                <a:ea typeface="ＭＳ Ｐゴシック" pitchFamily="34" charset="-128"/>
              </a:rPr>
            </a:br>
            <a:r>
              <a:rPr kumimoji="0" lang="en-US" altLang="sv-SE" sz="1500" b="0" i="0" u="none" strike="noStrike" kern="0" cap="none" spc="0" normalizeH="0" baseline="0" noProof="0">
                <a:ln>
                  <a:noFill/>
                </a:ln>
                <a:solidFill>
                  <a:schemeClr val="bg1"/>
                </a:solidFill>
                <a:effectLst/>
                <a:uLnTx/>
                <a:uFillTx/>
                <a:latin typeface="Arial" charset="0"/>
                <a:ea typeface="ＭＳ Ｐゴシック" pitchFamily="34" charset="-128"/>
              </a:rPr>
              <a:t>End-user Data Rates</a:t>
            </a:r>
            <a:endParaRPr kumimoji="0" lang="en-US" altLang="sv-SE" sz="2400" b="0" i="0" u="none" strike="noStrike" kern="0" cap="none" spc="0" normalizeH="0" baseline="0" noProof="0">
              <a:ln>
                <a:noFill/>
              </a:ln>
              <a:solidFill>
                <a:schemeClr val="bg1"/>
              </a:solidFill>
              <a:effectLst/>
              <a:uLnTx/>
              <a:uFillTx/>
              <a:latin typeface="Arial" charset="0"/>
              <a:ea typeface="ＭＳ Ｐゴシック" pitchFamily="34" charset="-128"/>
            </a:endParaRPr>
          </a:p>
        </p:txBody>
      </p:sp>
      <p:sp>
        <p:nvSpPr>
          <p:cNvPr id="30" name="TextBox 62"/>
          <p:cNvSpPr txBox="1">
            <a:spLocks noChangeArrowheads="1"/>
          </p:cNvSpPr>
          <p:nvPr/>
        </p:nvSpPr>
        <p:spPr bwMode="auto">
          <a:xfrm>
            <a:off x="5259388" y="5961215"/>
            <a:ext cx="1824037" cy="768350"/>
          </a:xfrm>
          <a:prstGeom prst="rect">
            <a:avLst/>
          </a:prstGeom>
          <a:noFill/>
          <a:ln>
            <a:noFill/>
          </a:ln>
          <a:extLst/>
        </p:spPr>
        <p:txBody>
          <a:bodyPr lIns="121586" tIns="60792" rIns="121586" bIns="60792">
            <a:spAutoFit/>
          </a:bodyP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t>5X</a:t>
            </a:r>
            <a:b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br>
            <a:r>
              <a:rPr kumimoji="0" lang="en-US" altLang="sv-SE" sz="1500" b="0" i="0" u="none" strike="noStrike" kern="0" cap="none" spc="0" normalizeH="0" baseline="0" noProof="0" dirty="0">
                <a:ln>
                  <a:noFill/>
                </a:ln>
                <a:solidFill>
                  <a:schemeClr val="bg1"/>
                </a:solidFill>
                <a:effectLst/>
                <a:uLnTx/>
                <a:uFillTx/>
                <a:latin typeface="Arial" charset="0"/>
                <a:ea typeface="ＭＳ Ｐゴシック" pitchFamily="34" charset="-128"/>
              </a:rPr>
              <a:t>Lower Latency</a:t>
            </a:r>
            <a:endParaRPr kumimoji="0" lang="en-US" altLang="sv-SE" sz="2400" b="0" i="0" u="none" strike="noStrike" kern="0" cap="none" spc="0" normalizeH="0" baseline="0" noProof="0" dirty="0">
              <a:ln>
                <a:noFill/>
              </a:ln>
              <a:solidFill>
                <a:schemeClr val="bg1"/>
              </a:solidFill>
              <a:effectLst/>
              <a:uLnTx/>
              <a:uFillTx/>
              <a:latin typeface="Arial" charset="0"/>
              <a:ea typeface="ＭＳ Ｐゴシック" pitchFamily="34" charset="-128"/>
            </a:endParaRPr>
          </a:p>
        </p:txBody>
      </p:sp>
      <p:sp>
        <p:nvSpPr>
          <p:cNvPr id="31" name="TextBox 63"/>
          <p:cNvSpPr txBox="1">
            <a:spLocks noChangeArrowheads="1"/>
          </p:cNvSpPr>
          <p:nvPr/>
        </p:nvSpPr>
        <p:spPr bwMode="auto">
          <a:xfrm>
            <a:off x="623888" y="5961215"/>
            <a:ext cx="2225675" cy="768350"/>
          </a:xfrm>
          <a:prstGeom prst="rect">
            <a:avLst/>
          </a:prstGeom>
          <a:noFill/>
          <a:ln>
            <a:noFill/>
          </a:ln>
          <a:extLst/>
        </p:spPr>
        <p:txBody>
          <a:bodyPr lIns="121586" tIns="60792" rIns="121586" bIns="60792">
            <a:spAutoFit/>
          </a:bodyP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t>10-100X</a:t>
            </a:r>
            <a:b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br>
            <a:r>
              <a:rPr kumimoji="0" lang="en-US" altLang="sv-SE" sz="1500" b="0" i="0" u="none" strike="noStrike" kern="0" cap="none" spc="0" normalizeH="0" baseline="0" noProof="0" dirty="0">
                <a:ln>
                  <a:noFill/>
                </a:ln>
                <a:solidFill>
                  <a:schemeClr val="bg1"/>
                </a:solidFill>
                <a:effectLst/>
                <a:uLnTx/>
                <a:uFillTx/>
                <a:latin typeface="Arial" charset="0"/>
                <a:ea typeface="ＭＳ Ｐゴシック" pitchFamily="34" charset="-128"/>
              </a:rPr>
              <a:t>Connected Devices</a:t>
            </a:r>
            <a:endParaRPr kumimoji="0" lang="en-US" altLang="sv-SE" sz="2400" b="0" i="0" u="none" strike="noStrike" kern="0" cap="none" spc="0" normalizeH="0" baseline="0" noProof="0" dirty="0">
              <a:ln>
                <a:noFill/>
              </a:ln>
              <a:solidFill>
                <a:schemeClr val="bg1"/>
              </a:solidFill>
              <a:effectLst/>
              <a:uLnTx/>
              <a:uFillTx/>
              <a:latin typeface="Arial" charset="0"/>
              <a:ea typeface="ＭＳ Ｐゴシック" pitchFamily="34" charset="-128"/>
            </a:endParaRPr>
          </a:p>
        </p:txBody>
      </p:sp>
      <p:sp>
        <p:nvSpPr>
          <p:cNvPr id="32" name="TextBox 64"/>
          <p:cNvSpPr txBox="1">
            <a:spLocks noChangeArrowheads="1"/>
          </p:cNvSpPr>
          <p:nvPr/>
        </p:nvSpPr>
        <p:spPr bwMode="auto">
          <a:xfrm>
            <a:off x="3006725" y="5961215"/>
            <a:ext cx="1822450" cy="768350"/>
          </a:xfrm>
          <a:prstGeom prst="rect">
            <a:avLst/>
          </a:prstGeom>
          <a:noFill/>
          <a:ln>
            <a:noFill/>
          </a:ln>
          <a:extLst/>
        </p:spPr>
        <p:txBody>
          <a:bodyPr lIns="121586" tIns="60792" rIns="121586" bIns="60792">
            <a:spAutoFit/>
          </a:bodyP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t>10 years</a:t>
            </a:r>
            <a:br>
              <a:rPr kumimoji="0" lang="en-US" altLang="sv-SE" sz="2700" b="0" i="0" u="none" strike="noStrike" kern="0" cap="none" spc="0" normalizeH="0" baseline="0" noProof="0" dirty="0">
                <a:ln>
                  <a:noFill/>
                </a:ln>
                <a:solidFill>
                  <a:schemeClr val="bg1"/>
                </a:solidFill>
                <a:effectLst/>
                <a:uLnTx/>
                <a:uFillTx/>
                <a:latin typeface="Arial" charset="0"/>
                <a:ea typeface="ＭＳ Ｐゴシック" pitchFamily="34" charset="-128"/>
              </a:rPr>
            </a:br>
            <a:r>
              <a:rPr kumimoji="0" lang="en-US" altLang="sv-SE" sz="1500" b="0" i="0" u="none" strike="noStrike" kern="0" cap="none" spc="0" normalizeH="0" baseline="0" noProof="0" dirty="0">
                <a:ln>
                  <a:noFill/>
                </a:ln>
                <a:solidFill>
                  <a:schemeClr val="bg1"/>
                </a:solidFill>
                <a:effectLst/>
                <a:uLnTx/>
                <a:uFillTx/>
                <a:latin typeface="Arial" charset="0"/>
                <a:ea typeface="ＭＳ Ｐゴシック" pitchFamily="34" charset="-128"/>
              </a:rPr>
              <a:t>Battery Life</a:t>
            </a:r>
            <a:endParaRPr kumimoji="0" lang="en-US" altLang="sv-SE" sz="2400" b="0" i="0" u="none" strike="noStrike" kern="0" cap="none" spc="0" normalizeH="0" baseline="0" noProof="0" dirty="0">
              <a:ln>
                <a:noFill/>
              </a:ln>
              <a:solidFill>
                <a:schemeClr val="bg1"/>
              </a:solidFill>
              <a:effectLst/>
              <a:uLnTx/>
              <a:uFillTx/>
              <a:latin typeface="Arial" charset="0"/>
              <a:ea typeface="ＭＳ Ｐゴシック" pitchFamily="34" charset="-128"/>
            </a:endParaRPr>
          </a:p>
        </p:txBody>
      </p:sp>
      <p:sp>
        <p:nvSpPr>
          <p:cNvPr id="33" name="TextBox 65"/>
          <p:cNvSpPr txBox="1">
            <a:spLocks noChangeArrowheads="1"/>
          </p:cNvSpPr>
          <p:nvPr/>
        </p:nvSpPr>
        <p:spPr bwMode="auto">
          <a:xfrm>
            <a:off x="9559250" y="5976205"/>
            <a:ext cx="2347913" cy="768350"/>
          </a:xfrm>
          <a:prstGeom prst="rect">
            <a:avLst/>
          </a:prstGeom>
          <a:noFill/>
          <a:ln>
            <a:noFill/>
          </a:ln>
          <a:extLst/>
        </p:spPr>
        <p:txBody>
          <a:bodyPr lIns="121586" tIns="60792" rIns="121586" bIns="60792">
            <a:spAutoFit/>
          </a:bodyP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sv-SE" sz="2700" b="0" i="0" u="none" strike="noStrike" kern="0" cap="none" spc="0" normalizeH="0" baseline="0" noProof="0">
                <a:ln>
                  <a:noFill/>
                </a:ln>
                <a:solidFill>
                  <a:schemeClr val="bg1"/>
                </a:solidFill>
                <a:effectLst/>
                <a:uLnTx/>
                <a:uFillTx/>
                <a:latin typeface="Arial" charset="0"/>
                <a:ea typeface="ＭＳ Ｐゴシック" pitchFamily="34" charset="-128"/>
              </a:rPr>
              <a:t>1000X</a:t>
            </a:r>
            <a:br>
              <a:rPr kumimoji="0" lang="en-US" altLang="sv-SE" sz="2700" b="0" i="0" u="none" strike="noStrike" kern="0" cap="none" spc="0" normalizeH="0" baseline="0" noProof="0">
                <a:ln>
                  <a:noFill/>
                </a:ln>
                <a:solidFill>
                  <a:schemeClr val="bg1"/>
                </a:solidFill>
                <a:effectLst/>
                <a:uLnTx/>
                <a:uFillTx/>
                <a:latin typeface="Arial" charset="0"/>
                <a:ea typeface="ＭＳ Ｐゴシック" pitchFamily="34" charset="-128"/>
              </a:rPr>
            </a:br>
            <a:r>
              <a:rPr kumimoji="0" lang="en-US" altLang="sv-SE" sz="1500" b="0" i="0" u="none" strike="noStrike" kern="0" cap="none" spc="0" normalizeH="0" baseline="0" noProof="0">
                <a:ln>
                  <a:noFill/>
                </a:ln>
                <a:solidFill>
                  <a:schemeClr val="bg1"/>
                </a:solidFill>
                <a:effectLst/>
                <a:uLnTx/>
                <a:uFillTx/>
                <a:latin typeface="Arial" charset="0"/>
                <a:ea typeface="ＭＳ Ｐゴシック" pitchFamily="34" charset="-128"/>
              </a:rPr>
              <a:t>Mobile Data Volumes</a:t>
            </a:r>
            <a:endParaRPr kumimoji="0" lang="en-US" altLang="sv-SE" sz="2400" b="0" i="0" u="none" strike="noStrike" kern="0" cap="none" spc="0" normalizeH="0" baseline="0" noProof="0">
              <a:ln>
                <a:noFill/>
              </a:ln>
              <a:solidFill>
                <a:schemeClr val="bg1"/>
              </a:solidFill>
              <a:effectLst/>
              <a:uLnTx/>
              <a:uFillTx/>
              <a:latin typeface="Arial" charset="0"/>
              <a:ea typeface="ＭＳ Ｐゴシック" pitchFamily="34" charset="-128"/>
            </a:endParaRPr>
          </a:p>
        </p:txBody>
      </p:sp>
      <p:sp>
        <p:nvSpPr>
          <p:cNvPr id="34" name="Rectangle 1"/>
          <p:cNvSpPr>
            <a:spLocks noChangeArrowheads="1"/>
          </p:cNvSpPr>
          <p:nvPr/>
        </p:nvSpPr>
        <p:spPr bwMode="auto">
          <a:xfrm>
            <a:off x="409776" y="1457739"/>
            <a:ext cx="2739252" cy="4364194"/>
          </a:xfrm>
          <a:prstGeom prst="rect">
            <a:avLst/>
          </a:prstGeom>
          <a:noFill/>
          <a:ln w="28575">
            <a:solidFill>
              <a:schemeClr val="bg1"/>
            </a:solidFill>
          </a:ln>
          <a:extLst/>
        </p:spPr>
        <p:txBody>
          <a:bodyPr wrap="squar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Business drivers:</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Improved TTM/TTC</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Reduced risk</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Flexibility/Agility</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Separation of concerns</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Per service/customer </a:t>
            </a:r>
            <a:b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b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optimization</a:t>
            </a:r>
          </a:p>
          <a:p>
            <a:pPr marL="185738" marR="0" lvl="0" indent="-185738" defTabSz="914400" eaLnBrk="1" fontAlgn="auto" latinLnBrk="0" hangingPunct="1">
              <a:lnSpc>
                <a:spcPct val="100000"/>
              </a:lnSpc>
              <a:spcBef>
                <a:spcPct val="50000"/>
              </a:spcBef>
              <a:spcAft>
                <a:spcPts val="0"/>
              </a:spcAft>
              <a:buClrTx/>
              <a:buSzTx/>
              <a:buFont typeface="Arial" charset="0"/>
              <a:buChar char="›"/>
              <a:tabLst/>
              <a:defRPr/>
            </a:pPr>
            <a:endPar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endParaRPr>
          </a:p>
        </p:txBody>
      </p:sp>
      <p:sp>
        <p:nvSpPr>
          <p:cNvPr id="35" name="Rectangle 1"/>
          <p:cNvSpPr>
            <a:spLocks noChangeArrowheads="1"/>
          </p:cNvSpPr>
          <p:nvPr/>
        </p:nvSpPr>
        <p:spPr bwMode="auto">
          <a:xfrm>
            <a:off x="3145835" y="1458111"/>
            <a:ext cx="8654791" cy="4363822"/>
          </a:xfrm>
          <a:prstGeom prst="rect">
            <a:avLst/>
          </a:prstGeom>
          <a:noFill/>
          <a:ln w="28575">
            <a:solidFill>
              <a:schemeClr val="bg1"/>
            </a:solidFill>
          </a:ln>
          <a:extLst/>
        </p:spPr>
        <p:txBody>
          <a:bodyPr wrap="squar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Arial" charset="0"/>
                <a:ea typeface="ＭＳ Ｐゴシック" pitchFamily="34" charset="-128"/>
              </a:rPr>
              <a:t>Technical drivers:</a:t>
            </a:r>
          </a:p>
        </p:txBody>
      </p:sp>
    </p:spTree>
    <p:custDataLst>
      <p:tags r:id="rId1"/>
    </p:custDataLst>
    <p:extLst>
      <p:ext uri="{BB962C8B-B14F-4D97-AF65-F5344CB8AC3E}">
        <p14:creationId xmlns:p14="http://schemas.microsoft.com/office/powerpoint/2010/main" val="362954398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5</a:t>
            </a:r>
          </a:p>
          <a:p>
            <a:r>
              <a:rPr lang="en-US" dirty="0"/>
              <a:t>5G Use Cases and Network Slicing</a:t>
            </a:r>
          </a:p>
        </p:txBody>
      </p:sp>
    </p:spTree>
    <p:custDataLst>
      <p:tags r:id="rId1"/>
    </p:custDataLst>
    <p:extLst>
      <p:ext uri="{BB962C8B-B14F-4D97-AF65-F5344CB8AC3E}">
        <p14:creationId xmlns:p14="http://schemas.microsoft.com/office/powerpoint/2010/main" val="2583259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4" y="1601217"/>
            <a:ext cx="11543335"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the suggested use cases and basic network slice types supported in 5G</a:t>
            </a:r>
            <a:endParaRPr lang="en-US" sz="2000" dirty="0"/>
          </a:p>
        </p:txBody>
      </p:sp>
    </p:spTree>
    <p:extLst>
      <p:ext uri="{BB962C8B-B14F-4D97-AF65-F5344CB8AC3E}">
        <p14:creationId xmlns:p14="http://schemas.microsoft.com/office/powerpoint/2010/main" val="106746038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GMN Use Case Families</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3512" y="1367207"/>
            <a:ext cx="7802797" cy="53479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ontent Placeholder 1"/>
          <p:cNvSpPr txBox="1">
            <a:spLocks/>
          </p:cNvSpPr>
          <p:nvPr/>
        </p:nvSpPr>
        <p:spPr>
          <a:xfrm>
            <a:off x="529168" y="1972276"/>
            <a:ext cx="2695814" cy="3852000"/>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dirty="0"/>
              <a:t>NGMN defined a range of use case families</a:t>
            </a:r>
          </a:p>
          <a:p>
            <a:r>
              <a:rPr lang="en-US" kern="0" dirty="0"/>
              <a:t>Wide range of requirements on the network</a:t>
            </a:r>
          </a:p>
          <a:p>
            <a:r>
              <a:rPr lang="en-US" kern="0" dirty="0"/>
              <a:t>Grouped into use case families</a:t>
            </a:r>
          </a:p>
        </p:txBody>
      </p:sp>
      <p:sp>
        <p:nvSpPr>
          <p:cNvPr id="6" name="Rectangle 5"/>
          <p:cNvSpPr/>
          <p:nvPr/>
        </p:nvSpPr>
        <p:spPr bwMode="auto">
          <a:xfrm>
            <a:off x="4837043" y="6255024"/>
            <a:ext cx="4678018" cy="569843"/>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24442113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GMN USE CASE Breakdown</a:t>
            </a:r>
          </a:p>
        </p:txBody>
      </p:sp>
      <p:sp>
        <p:nvSpPr>
          <p:cNvPr id="4" name="Content Placeholder 2"/>
          <p:cNvSpPr txBox="1">
            <a:spLocks/>
          </p:cNvSpPr>
          <p:nvPr/>
        </p:nvSpPr>
        <p:spPr bwMode="auto">
          <a:xfrm>
            <a:off x="665163" y="1390440"/>
            <a:ext cx="4548187" cy="5081588"/>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457200" indent="-457200">
              <a:buFont typeface="+mj-lt"/>
              <a:buAutoNum type="arabicPeriod"/>
              <a:defRPr/>
            </a:pPr>
            <a:r>
              <a:rPr lang="en-US" sz="1800" kern="0"/>
              <a:t>BB Access dense</a:t>
            </a:r>
          </a:p>
          <a:p>
            <a:pPr marL="457200" indent="-457200">
              <a:buFont typeface="+mj-lt"/>
              <a:buAutoNum type="arabicPeriod"/>
              <a:defRPr/>
            </a:pPr>
            <a:endParaRPr lang="en-US" sz="1800" kern="0"/>
          </a:p>
          <a:p>
            <a:pPr marL="457200" indent="-457200">
              <a:buFont typeface="+mj-lt"/>
              <a:buAutoNum type="arabicPeriod"/>
              <a:defRPr/>
            </a:pPr>
            <a:r>
              <a:rPr lang="en-US" sz="1800" kern="0"/>
              <a:t>BB Access everywhere</a:t>
            </a:r>
          </a:p>
          <a:p>
            <a:pPr marL="457200" indent="-457200">
              <a:buFont typeface="+mj-lt"/>
              <a:buAutoNum type="arabicPeriod"/>
              <a:defRPr/>
            </a:pPr>
            <a:endParaRPr lang="en-US" sz="1800" kern="0"/>
          </a:p>
          <a:p>
            <a:pPr marL="457200" indent="-457200">
              <a:buFont typeface="+mj-lt"/>
              <a:buAutoNum type="arabicPeriod"/>
              <a:defRPr/>
            </a:pPr>
            <a:r>
              <a:rPr lang="en-US" sz="1800" kern="0"/>
              <a:t>Higher user mobility</a:t>
            </a:r>
          </a:p>
          <a:p>
            <a:pPr marL="457200" indent="-457200">
              <a:buFont typeface="+mj-lt"/>
              <a:buAutoNum type="arabicPeriod"/>
              <a:defRPr/>
            </a:pPr>
            <a:endParaRPr lang="en-US" sz="1800" kern="0"/>
          </a:p>
          <a:p>
            <a:pPr marL="457200" indent="-457200">
              <a:buFont typeface="+mj-lt"/>
              <a:buAutoNum type="arabicPeriod"/>
              <a:defRPr/>
            </a:pPr>
            <a:r>
              <a:rPr lang="en-US" sz="1800" kern="0"/>
              <a:t>MTC</a:t>
            </a:r>
          </a:p>
          <a:p>
            <a:pPr marL="457200" indent="-457200">
              <a:buFont typeface="+mj-lt"/>
              <a:buAutoNum type="arabicPeriod"/>
              <a:defRPr/>
            </a:pPr>
            <a:endParaRPr lang="en-US" sz="1800" kern="0"/>
          </a:p>
          <a:p>
            <a:pPr marL="457200" indent="-457200">
              <a:buFont typeface="+mj-lt"/>
              <a:buAutoNum type="arabicPeriod"/>
              <a:defRPr/>
            </a:pPr>
            <a:r>
              <a:rPr lang="en-US" sz="1800" kern="0"/>
              <a:t>Extreme real time</a:t>
            </a:r>
          </a:p>
          <a:p>
            <a:pPr marL="457200" indent="-457200">
              <a:buFont typeface="+mj-lt"/>
              <a:buAutoNum type="arabicPeriod"/>
              <a:defRPr/>
            </a:pPr>
            <a:endParaRPr lang="en-US" sz="1800" kern="0"/>
          </a:p>
          <a:p>
            <a:pPr marL="457200" indent="-457200">
              <a:buFont typeface="+mj-lt"/>
              <a:buAutoNum type="arabicPeriod"/>
              <a:defRPr/>
            </a:pPr>
            <a:r>
              <a:rPr lang="en-US" sz="1800" kern="0"/>
              <a:t>Life line communication</a:t>
            </a:r>
          </a:p>
          <a:p>
            <a:pPr marL="457200" indent="-457200">
              <a:buFont typeface="+mj-lt"/>
              <a:buAutoNum type="arabicPeriod"/>
              <a:defRPr/>
            </a:pPr>
            <a:endParaRPr lang="en-US" sz="1800" kern="0"/>
          </a:p>
          <a:p>
            <a:pPr marL="457200" indent="-457200">
              <a:buFont typeface="+mj-lt"/>
              <a:buAutoNum type="arabicPeriod"/>
              <a:defRPr/>
            </a:pPr>
            <a:r>
              <a:rPr lang="en-US" sz="1800" kern="0"/>
              <a:t>Ultra-reliable</a:t>
            </a:r>
          </a:p>
          <a:p>
            <a:pPr marL="457200" indent="-457200">
              <a:buFont typeface="+mj-lt"/>
              <a:buAutoNum type="arabicPeriod"/>
              <a:defRPr/>
            </a:pPr>
            <a:endParaRPr lang="en-US" sz="1800" kern="0"/>
          </a:p>
          <a:p>
            <a:pPr marL="457200" indent="-457200">
              <a:buFont typeface="+mj-lt"/>
              <a:buAutoNum type="arabicPeriod"/>
              <a:defRPr/>
            </a:pPr>
            <a:r>
              <a:rPr lang="en-US" sz="1800" kern="0"/>
              <a:t>Broadcast</a:t>
            </a:r>
            <a:endParaRPr lang="en-US" sz="1800" kern="0"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0289" y="969508"/>
            <a:ext cx="5959774" cy="58884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bwMode="auto">
          <a:xfrm>
            <a:off x="5777948" y="6639339"/>
            <a:ext cx="4678018" cy="185528"/>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7526757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567135" cy="1085371"/>
          </a:xfrm>
        </p:spPr>
        <p:txBody>
          <a:bodyPr>
            <a:normAutofit fontScale="90000"/>
          </a:bodyPr>
          <a:lstStyle/>
          <a:p>
            <a:r>
              <a:rPr lang="en-US" altLang="sv-SE" dirty="0">
                <a:latin typeface="Ericsson Capital TT" pitchFamily="2" charset="0"/>
              </a:rPr>
              <a:t>architecture driving requirements</a:t>
            </a:r>
            <a:br>
              <a:rPr lang="en-US" altLang="sv-SE" sz="4000" dirty="0">
                <a:latin typeface="Ericsson Capital TT" pitchFamily="2" charset="0"/>
              </a:rPr>
            </a:br>
            <a:r>
              <a:rPr lang="en-US" altLang="sv-SE" sz="2700" dirty="0">
                <a:latin typeface="+mn-lt"/>
              </a:rPr>
              <a:t>From NGMN use-cases</a:t>
            </a:r>
            <a:endParaRPr lang="en-US" sz="2700" dirty="0">
              <a:latin typeface="+mn-lt"/>
            </a:endParaRPr>
          </a:p>
        </p:txBody>
      </p:sp>
      <p:sp>
        <p:nvSpPr>
          <p:cNvPr id="4" name="Content Placeholder 1"/>
          <p:cNvSpPr txBox="1">
            <a:spLocks/>
          </p:cNvSpPr>
          <p:nvPr/>
        </p:nvSpPr>
        <p:spPr bwMode="auto">
          <a:xfrm>
            <a:off x="528638" y="1648047"/>
            <a:ext cx="11136312" cy="4800377"/>
          </a:xfrm>
          <a:prstGeom prst="rect">
            <a:avLst/>
          </a:prstGeom>
          <a:noFill/>
          <a:ln w="9525">
            <a:noFill/>
            <a:miter lim="800000"/>
            <a:headEnd/>
            <a:tailEnd/>
          </a:ln>
        </p:spPr>
        <p:txBody>
          <a:bodyPr vert="horz" wrap="square" lIns="72000" tIns="0" rIns="72000" bIns="0" numCol="1" anchor="t" anchorCtr="0" compatLnSpc="1">
            <a:prstTxWarp prst="textNoShape">
              <a:avLst/>
            </a:prstTxWarp>
            <a:normAutofit/>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defRPr/>
            </a:pPr>
            <a:r>
              <a:rPr lang="en-US" kern="0"/>
              <a:t>Split of CP/UP</a:t>
            </a:r>
          </a:p>
          <a:p>
            <a:pPr>
              <a:defRPr/>
            </a:pPr>
            <a:r>
              <a:rPr lang="en-US" kern="0"/>
              <a:t>Multi-Access</a:t>
            </a:r>
          </a:p>
          <a:p>
            <a:pPr>
              <a:defRPr/>
            </a:pPr>
            <a:r>
              <a:rPr lang="en-US" kern="0"/>
              <a:t>High availability and resiliency</a:t>
            </a:r>
          </a:p>
          <a:p>
            <a:pPr>
              <a:defRPr/>
            </a:pPr>
            <a:r>
              <a:rPr lang="en-US" kern="0"/>
              <a:t>Low cost per bit and high density of devices </a:t>
            </a:r>
          </a:p>
          <a:p>
            <a:pPr>
              <a:defRPr/>
            </a:pPr>
            <a:r>
              <a:rPr lang="en-US" kern="0"/>
              <a:t>Management Automation and exposure </a:t>
            </a:r>
          </a:p>
          <a:p>
            <a:pPr>
              <a:defRPr/>
            </a:pPr>
            <a:r>
              <a:rPr lang="en-US" kern="0"/>
              <a:t>Other requirements: </a:t>
            </a:r>
          </a:p>
          <a:p>
            <a:pPr lvl="1">
              <a:defRPr/>
            </a:pPr>
            <a:r>
              <a:rPr lang="en-US" kern="0"/>
              <a:t>High security and ultra low delay </a:t>
            </a:r>
          </a:p>
          <a:p>
            <a:pPr lvl="1">
              <a:defRPr/>
            </a:pPr>
            <a:r>
              <a:rPr lang="en-US" kern="0"/>
              <a:t>Data volume in a defined time frame</a:t>
            </a:r>
          </a:p>
          <a:p>
            <a:pPr lvl="1">
              <a:defRPr/>
            </a:pPr>
            <a:r>
              <a:rPr lang="en-US" kern="0"/>
              <a:t>Authentication (not specifically in NGMN)</a:t>
            </a:r>
          </a:p>
          <a:p>
            <a:pPr lvl="1">
              <a:defRPr/>
            </a:pPr>
            <a:r>
              <a:rPr lang="en-US" kern="0"/>
              <a:t>Privacy/security</a:t>
            </a:r>
          </a:p>
          <a:p>
            <a:pPr lvl="1">
              <a:defRPr/>
            </a:pPr>
            <a:r>
              <a:rPr lang="en-US" kern="0"/>
              <a:t>Mobility levels</a:t>
            </a:r>
          </a:p>
          <a:p>
            <a:pPr lvl="1">
              <a:defRPr/>
            </a:pPr>
            <a:r>
              <a:rPr lang="en-US" kern="0"/>
              <a:t>Terminal/App impacts </a:t>
            </a:r>
            <a:endParaRPr lang="en-US" kern="0" dirty="0"/>
          </a:p>
        </p:txBody>
      </p:sp>
    </p:spTree>
    <p:extLst>
      <p:ext uri="{BB962C8B-B14F-4D97-AF65-F5344CB8AC3E}">
        <p14:creationId xmlns:p14="http://schemas.microsoft.com/office/powerpoint/2010/main" val="294118079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540631" cy="1085371"/>
          </a:xfrm>
        </p:spPr>
        <p:txBody>
          <a:bodyPr>
            <a:normAutofit/>
          </a:bodyPr>
          <a:lstStyle/>
          <a:p>
            <a:r>
              <a:rPr lang="en-US" altLang="sv-SE" dirty="0">
                <a:latin typeface="Ericsson Capital TT" pitchFamily="2" charset="0"/>
              </a:rPr>
              <a:t>network slice types</a:t>
            </a:r>
            <a:br>
              <a:rPr lang="en-US" altLang="sv-SE" sz="7200" dirty="0">
                <a:latin typeface="Ericsson Capital TT" pitchFamily="2" charset="0"/>
              </a:rPr>
            </a:br>
            <a:r>
              <a:rPr lang="en-US" altLang="sv-SE" sz="2200" dirty="0">
                <a:latin typeface="+mn-lt"/>
              </a:rPr>
              <a:t>Defined by similarities in deployments, functional requirements &amp; business relations</a:t>
            </a:r>
            <a:endParaRPr lang="en-US" sz="2200" dirty="0"/>
          </a:p>
        </p:txBody>
      </p:sp>
      <p:sp>
        <p:nvSpPr>
          <p:cNvPr id="4" name="Rectangle 3"/>
          <p:cNvSpPr/>
          <p:nvPr/>
        </p:nvSpPr>
        <p:spPr bwMode="auto">
          <a:xfrm>
            <a:off x="708025" y="1312863"/>
            <a:ext cx="2971800" cy="4729162"/>
          </a:xfrm>
          <a:prstGeom prst="rect">
            <a:avLst/>
          </a:prstGeom>
          <a:solidFill>
            <a:schemeClr val="accent2">
              <a:lumMod val="75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r>
              <a:rPr lang="en-US" sz="1200" b="1" dirty="0">
                <a:solidFill>
                  <a:schemeClr val="bg1"/>
                </a:solidFill>
                <a:cs typeface="Arial" pitchFamily="34" charset="0"/>
              </a:rPr>
              <a:t>ENTERPRISE and INDUSTRY</a:t>
            </a:r>
          </a:p>
          <a:p>
            <a:pPr marL="171450" indent="-171450">
              <a:spcBef>
                <a:spcPct val="50000"/>
              </a:spcBef>
              <a:buFont typeface="Arial" panose="020B0604020202020204" pitchFamily="34" charset="0"/>
              <a:buChar char="•"/>
              <a:defRPr/>
            </a:pPr>
            <a:endParaRPr lang="en-US" sz="1050" dirty="0">
              <a:solidFill>
                <a:schemeClr val="bg1"/>
              </a:solidFill>
              <a:cs typeface="Arial" pitchFamily="34" charset="0"/>
            </a:endParaRPr>
          </a:p>
          <a:p>
            <a:pPr marL="171450" indent="-171450">
              <a:spcBef>
                <a:spcPct val="50000"/>
              </a:spcBef>
              <a:buFont typeface="Arial" panose="020B0604020202020204" pitchFamily="34" charset="0"/>
              <a:buChar char="•"/>
              <a:defRPr/>
            </a:pPr>
            <a:endParaRPr lang="en-US" sz="1050" dirty="0">
              <a:solidFill>
                <a:schemeClr val="bg1"/>
              </a:solidFill>
              <a:cs typeface="Arial" pitchFamily="34" charset="0"/>
            </a:endParaRPr>
          </a:p>
        </p:txBody>
      </p:sp>
      <p:sp>
        <p:nvSpPr>
          <p:cNvPr id="5" name="Rectangle 4"/>
          <p:cNvSpPr/>
          <p:nvPr/>
        </p:nvSpPr>
        <p:spPr bwMode="auto">
          <a:xfrm>
            <a:off x="3743325" y="1309688"/>
            <a:ext cx="3981450" cy="4727575"/>
          </a:xfrm>
          <a:prstGeom prst="rect">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r>
              <a:rPr lang="en-US" sz="1200" b="1" dirty="0">
                <a:solidFill>
                  <a:schemeClr val="bg1"/>
                </a:solidFill>
                <a:cs typeface="Arial" pitchFamily="34" charset="0"/>
              </a:rPr>
              <a:t>MBB Base function</a:t>
            </a:r>
            <a:r>
              <a:rPr lang="en-US" sz="1200" dirty="0">
                <a:solidFill>
                  <a:schemeClr val="bg1"/>
                </a:solidFill>
                <a:cs typeface="Arial" pitchFamily="34" charset="0"/>
              </a:rPr>
              <a:t>: (Dense Urban Society)</a:t>
            </a:r>
          </a:p>
        </p:txBody>
      </p:sp>
      <p:sp>
        <p:nvSpPr>
          <p:cNvPr id="6" name="Rectangle 18"/>
          <p:cNvSpPr>
            <a:spLocks noChangeArrowheads="1"/>
          </p:cNvSpPr>
          <p:nvPr/>
        </p:nvSpPr>
        <p:spPr bwMode="auto">
          <a:xfrm>
            <a:off x="7773988" y="3124200"/>
            <a:ext cx="4210050" cy="2913063"/>
          </a:xfrm>
          <a:prstGeom prst="rect">
            <a:avLst/>
          </a:prstGeom>
          <a:solidFill>
            <a:srgbClr val="C00000"/>
          </a:solidFill>
          <a:ln w="12700" algn="ctr">
            <a:solidFill>
              <a:schemeClr val="tx1"/>
            </a:solidFill>
            <a:round/>
            <a:headEnd/>
            <a:tailEnd/>
          </a:ln>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defRPr/>
            </a:pPr>
            <a:r>
              <a:rPr lang="en-US" altLang="sv-SE" sz="1200" b="1" dirty="0">
                <a:solidFill>
                  <a:schemeClr val="bg1"/>
                </a:solidFill>
              </a:rPr>
              <a:t>Critical MTC / “Public Safety” type</a:t>
            </a:r>
          </a:p>
          <a:p>
            <a:pPr marL="171450" indent="-171450" eaLnBrk="1" hangingPunct="1">
              <a:spcBef>
                <a:spcPct val="50000"/>
              </a:spcBef>
              <a:buFont typeface="Arial" panose="020B0604020202020204" pitchFamily="34" charset="0"/>
              <a:buChar char="•"/>
              <a:defRPr/>
            </a:pPr>
            <a:endParaRPr lang="en-US" sz="1050" dirty="0">
              <a:solidFill>
                <a:srgbClr val="FFFFFF"/>
              </a:solidFill>
              <a:latin typeface="Arial" charset="0"/>
            </a:endParaRPr>
          </a:p>
          <a:p>
            <a:pPr marL="171450" indent="-171450" eaLnBrk="1" hangingPunct="1">
              <a:spcBef>
                <a:spcPct val="50000"/>
              </a:spcBef>
              <a:buFont typeface="Arial" panose="020B0604020202020204" pitchFamily="34" charset="0"/>
              <a:buChar char="•"/>
              <a:defRPr/>
            </a:pPr>
            <a:endParaRPr lang="en-US" sz="1050" dirty="0">
              <a:solidFill>
                <a:srgbClr val="FFFFFF"/>
              </a:solidFill>
              <a:latin typeface="Arial" charset="0"/>
            </a:endParaRPr>
          </a:p>
          <a:p>
            <a:pPr eaLnBrk="1" hangingPunct="1">
              <a:spcBef>
                <a:spcPct val="50000"/>
              </a:spcBef>
              <a:defRPr/>
            </a:pPr>
            <a:endParaRPr lang="en-US" altLang="sv-SE" sz="1050" b="1" dirty="0">
              <a:solidFill>
                <a:schemeClr val="bg1"/>
              </a:solidFill>
            </a:endParaRPr>
          </a:p>
        </p:txBody>
      </p:sp>
      <p:sp>
        <p:nvSpPr>
          <p:cNvPr id="7" name="Rectangle 6"/>
          <p:cNvSpPr/>
          <p:nvPr/>
        </p:nvSpPr>
        <p:spPr bwMode="auto">
          <a:xfrm>
            <a:off x="7773988" y="1309688"/>
            <a:ext cx="4210050" cy="1738312"/>
          </a:xfrm>
          <a:prstGeom prst="rect">
            <a:avLst/>
          </a:prstGeom>
          <a:solidFill>
            <a:schemeClr val="tx2">
              <a:lumMod val="75000"/>
              <a:lumOff val="25000"/>
            </a:schemeClr>
          </a:solidFill>
          <a:ln w="12700" cap="flat" cmpd="sng" algn="ctr">
            <a:solidFill>
              <a:schemeClr val="tx1"/>
            </a:solidFill>
            <a:prstDash val="solid"/>
            <a:round/>
            <a:headEnd type="none" w="med" len="med"/>
            <a:tailEnd type="none" w="med" len="med"/>
          </a:ln>
          <a:effectLst/>
        </p:spPr>
        <p:txBody>
          <a:bodyPr wrap="none" lIns="72000" rIns="72000"/>
          <a:lstStyle/>
          <a:p>
            <a:pPr>
              <a:defRPr/>
            </a:pPr>
            <a:r>
              <a:rPr lang="en-US" sz="1200" b="1" dirty="0">
                <a:solidFill>
                  <a:schemeClr val="bg1"/>
                </a:solidFill>
                <a:cs typeface="Arial" pitchFamily="34" charset="0"/>
              </a:rPr>
              <a:t>Massive MTC / Ultra low cost MBB</a:t>
            </a:r>
          </a:p>
        </p:txBody>
      </p:sp>
    </p:spTree>
    <p:extLst>
      <p:ext uri="{BB962C8B-B14F-4D97-AF65-F5344CB8AC3E}">
        <p14:creationId xmlns:p14="http://schemas.microsoft.com/office/powerpoint/2010/main" val="40324792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567135" cy="1085371"/>
          </a:xfrm>
        </p:spPr>
        <p:txBody>
          <a:bodyPr>
            <a:normAutofit fontScale="90000"/>
          </a:bodyPr>
          <a:lstStyle/>
          <a:p>
            <a:r>
              <a:rPr lang="en-US" altLang="sv-SE" dirty="0">
                <a:latin typeface="Ericsson Capital TT" pitchFamily="2" charset="0"/>
              </a:rPr>
              <a:t>Architecture driving requirements</a:t>
            </a:r>
            <a:br>
              <a:rPr lang="en-US" altLang="sv-SE" dirty="0">
                <a:latin typeface="Ericsson Capital TT" pitchFamily="2" charset="0"/>
              </a:rPr>
            </a:br>
            <a:r>
              <a:rPr lang="en-US" altLang="sv-SE" sz="2700" dirty="0">
                <a:latin typeface="+mn-lt"/>
              </a:rPr>
              <a:t>Per network slice type</a:t>
            </a:r>
            <a:endParaRPr lang="en-US" sz="2700" dirty="0">
              <a:latin typeface="+mn-lt"/>
            </a:endParaRPr>
          </a:p>
        </p:txBody>
      </p:sp>
      <p:sp>
        <p:nvSpPr>
          <p:cNvPr id="4" name="Rectangle 3"/>
          <p:cNvSpPr/>
          <p:nvPr/>
        </p:nvSpPr>
        <p:spPr bwMode="auto">
          <a:xfrm>
            <a:off x="708025" y="1312863"/>
            <a:ext cx="2971800" cy="4729162"/>
          </a:xfrm>
          <a:prstGeom prst="rect">
            <a:avLst/>
          </a:prstGeom>
          <a:solidFill>
            <a:schemeClr val="accent2">
              <a:lumMod val="75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r>
              <a:rPr lang="en-US" sz="1200" b="1" dirty="0">
                <a:solidFill>
                  <a:schemeClr val="bg1"/>
                </a:solidFill>
                <a:cs typeface="Arial" pitchFamily="34" charset="0"/>
              </a:rPr>
              <a:t>ENTERPRISE and INDUSTRY</a:t>
            </a:r>
          </a:p>
          <a:p>
            <a:pPr marL="171450" indent="-171450">
              <a:spcBef>
                <a:spcPct val="50000"/>
              </a:spcBef>
              <a:buFont typeface="Arial" panose="020B0604020202020204" pitchFamily="34" charset="0"/>
              <a:buChar char="•"/>
              <a:defRPr/>
            </a:pPr>
            <a:r>
              <a:rPr lang="en-US" sz="1000" dirty="0">
                <a:solidFill>
                  <a:schemeClr val="bg1"/>
                </a:solidFill>
                <a:cs typeface="Arial" pitchFamily="34" charset="0"/>
              </a:rPr>
              <a:t>UP/CP split</a:t>
            </a:r>
            <a:r>
              <a:rPr lang="en-US" sz="1050" dirty="0">
                <a:solidFill>
                  <a:schemeClr val="bg1"/>
                </a:solidFill>
                <a:cs typeface="Arial" pitchFamily="34" charset="0"/>
              </a:rPr>
              <a:t>      </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Local connectivity (CP and UP)</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High Securit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High availabilit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Low dela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Multi-Access</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Multi-path</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broadcast</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Automation and slice instance management</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Network monitoring and </a:t>
            </a:r>
            <a:br>
              <a:rPr lang="en-US" sz="1050" dirty="0">
                <a:solidFill>
                  <a:schemeClr val="bg1"/>
                </a:solidFill>
                <a:cs typeface="Arial" pitchFamily="34" charset="0"/>
              </a:rPr>
            </a:br>
            <a:r>
              <a:rPr lang="en-US" sz="1050" dirty="0">
                <a:solidFill>
                  <a:schemeClr val="bg1"/>
                </a:solidFill>
                <a:cs typeface="Arial" pitchFamily="34" charset="0"/>
              </a:rPr>
              <a:t>analytics to predict network conditions</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Intrusion detection and "Service sandboxing" </a:t>
            </a:r>
            <a:br>
              <a:rPr lang="en-US" sz="1050" dirty="0">
                <a:solidFill>
                  <a:schemeClr val="bg1"/>
                </a:solidFill>
                <a:cs typeface="Arial" pitchFamily="34" charset="0"/>
              </a:rPr>
            </a:br>
            <a:r>
              <a:rPr lang="en-US" sz="1050" dirty="0">
                <a:solidFill>
                  <a:schemeClr val="bg1"/>
                </a:solidFill>
                <a:cs typeface="Arial" pitchFamily="34" charset="0"/>
              </a:rPr>
              <a:t>or similar actions to avoid fatal errors</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Autonomous  operation in case of network </a:t>
            </a:r>
            <a:br>
              <a:rPr lang="en-US" sz="1050" dirty="0">
                <a:solidFill>
                  <a:schemeClr val="bg1"/>
                </a:solidFill>
                <a:cs typeface="Arial" pitchFamily="34" charset="0"/>
              </a:rPr>
            </a:br>
            <a:r>
              <a:rPr lang="en-US" sz="1050" dirty="0">
                <a:solidFill>
                  <a:schemeClr val="bg1"/>
                </a:solidFill>
                <a:cs typeface="Arial" pitchFamily="34" charset="0"/>
              </a:rPr>
              <a:t>failure</a:t>
            </a:r>
          </a:p>
          <a:p>
            <a:pPr marL="171450" indent="-171450">
              <a:spcBef>
                <a:spcPct val="50000"/>
              </a:spcBef>
              <a:buFont typeface="Arial" panose="020B0604020202020204" pitchFamily="34" charset="0"/>
              <a:buChar char="•"/>
              <a:defRPr/>
            </a:pPr>
            <a:endParaRPr lang="en-US" sz="1050" dirty="0">
              <a:solidFill>
                <a:schemeClr val="bg1"/>
              </a:solidFill>
              <a:cs typeface="Arial" pitchFamily="34" charset="0"/>
            </a:endParaRPr>
          </a:p>
          <a:p>
            <a:pPr marL="171450" indent="-171450">
              <a:spcBef>
                <a:spcPct val="50000"/>
              </a:spcBef>
              <a:buFont typeface="Arial" panose="020B0604020202020204" pitchFamily="34" charset="0"/>
              <a:buChar char="•"/>
              <a:defRPr/>
            </a:pPr>
            <a:endParaRPr lang="en-US" sz="1050" dirty="0">
              <a:solidFill>
                <a:schemeClr val="bg1"/>
              </a:solidFill>
              <a:cs typeface="Arial" pitchFamily="34" charset="0"/>
            </a:endParaRPr>
          </a:p>
        </p:txBody>
      </p:sp>
      <p:sp>
        <p:nvSpPr>
          <p:cNvPr id="5" name="Rectangle 4"/>
          <p:cNvSpPr/>
          <p:nvPr/>
        </p:nvSpPr>
        <p:spPr bwMode="auto">
          <a:xfrm>
            <a:off x="3743325" y="1309688"/>
            <a:ext cx="3981450" cy="4727575"/>
          </a:xfrm>
          <a:prstGeom prst="rect">
            <a:avLst/>
          </a:prstGeom>
          <a:solidFill>
            <a:schemeClr val="accent1">
              <a:lumMod val="50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r>
              <a:rPr lang="en-US" sz="1200" b="1" dirty="0">
                <a:solidFill>
                  <a:schemeClr val="bg1"/>
                </a:solidFill>
                <a:cs typeface="Arial" pitchFamily="34" charset="0"/>
              </a:rPr>
              <a:t>MBB Base function</a:t>
            </a:r>
            <a:r>
              <a:rPr lang="en-US" sz="1200" dirty="0">
                <a:solidFill>
                  <a:schemeClr val="bg1"/>
                </a:solidFill>
                <a:cs typeface="Arial" pitchFamily="34" charset="0"/>
              </a:rPr>
              <a:t>: (Dense Urban Society)</a:t>
            </a:r>
          </a:p>
          <a:p>
            <a:pPr marL="171450" indent="-171450">
              <a:spcBef>
                <a:spcPct val="50000"/>
              </a:spcBef>
              <a:buFont typeface="Arial" panose="020B0604020202020204" pitchFamily="34" charset="0"/>
              <a:buChar char="•"/>
              <a:defRPr/>
            </a:pPr>
            <a:r>
              <a:rPr lang="en-US" sz="1000" dirty="0">
                <a:solidFill>
                  <a:schemeClr val="bg1"/>
                </a:solidFill>
                <a:cs typeface="Arial" pitchFamily="34" charset="0"/>
              </a:rPr>
              <a:t>UP/CP split</a:t>
            </a:r>
            <a:r>
              <a:rPr lang="en-US" sz="1050" dirty="0">
                <a:solidFill>
                  <a:schemeClr val="bg1"/>
                </a:solidFill>
                <a:cs typeface="Arial" pitchFamily="34" charset="0"/>
              </a:rPr>
              <a:t> </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Multi-access</a:t>
            </a:r>
          </a:p>
          <a:p>
            <a:pPr marL="171450" indent="-171450">
              <a:spcBef>
                <a:spcPct val="50000"/>
              </a:spcBef>
              <a:buFont typeface="Arial" panose="020B0604020202020204" pitchFamily="34" charset="0"/>
              <a:buChar char="•"/>
              <a:defRPr/>
            </a:pPr>
            <a:endParaRPr lang="en-US" sz="1050" dirty="0">
              <a:solidFill>
                <a:schemeClr val="bg1"/>
              </a:solidFill>
              <a:cs typeface="Arial" pitchFamily="34" charset="0"/>
            </a:endParaRP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Multi-path</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BSS and Exposure</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broadcast</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Mobility levels</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High availability and High Resilienc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Local connectivity (CP and UP)</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Distributed UP</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Securit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High availability</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Automation and slice  instance management</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High security and ultra low delay</a:t>
            </a:r>
          </a:p>
        </p:txBody>
      </p:sp>
      <p:sp>
        <p:nvSpPr>
          <p:cNvPr id="6" name="Rectangle 18"/>
          <p:cNvSpPr>
            <a:spLocks noChangeArrowheads="1"/>
          </p:cNvSpPr>
          <p:nvPr/>
        </p:nvSpPr>
        <p:spPr bwMode="auto">
          <a:xfrm>
            <a:off x="7773988" y="3124200"/>
            <a:ext cx="4210050" cy="2913063"/>
          </a:xfrm>
          <a:prstGeom prst="rect">
            <a:avLst/>
          </a:prstGeom>
          <a:solidFill>
            <a:srgbClr val="C00000"/>
          </a:solidFill>
          <a:ln w="12700" algn="ctr">
            <a:solidFill>
              <a:schemeClr val="tx1"/>
            </a:solidFill>
            <a:round/>
            <a:headEnd/>
            <a:tailEnd/>
          </a:ln>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defRPr/>
            </a:pPr>
            <a:r>
              <a:rPr lang="en-US" altLang="sv-SE" sz="1200" b="1" dirty="0">
                <a:solidFill>
                  <a:schemeClr val="bg1"/>
                </a:solidFill>
              </a:rPr>
              <a:t>Critical MTC / “Public Safety” type</a:t>
            </a:r>
          </a:p>
          <a:p>
            <a:pPr marL="171450" indent="-171450" eaLnBrk="1" hangingPunct="1">
              <a:spcBef>
                <a:spcPct val="50000"/>
              </a:spcBef>
              <a:buFont typeface="Arial" panose="020B0604020202020204" pitchFamily="34" charset="0"/>
              <a:buChar char="•"/>
              <a:defRPr/>
            </a:pPr>
            <a:r>
              <a:rPr lang="en-US" sz="1000" dirty="0">
                <a:solidFill>
                  <a:srgbClr val="FFFFFF"/>
                </a:solidFill>
                <a:latin typeface="Arial" charset="0"/>
              </a:rPr>
              <a:t>UP/CP split</a:t>
            </a:r>
          </a:p>
          <a:p>
            <a:pPr marL="171450" indent="-171450" eaLnBrk="1" hangingPunct="1">
              <a:spcBef>
                <a:spcPct val="50000"/>
              </a:spcBef>
              <a:buFont typeface="Arial" panose="020B0604020202020204" pitchFamily="34" charset="0"/>
              <a:buChar char="•"/>
              <a:defRPr/>
            </a:pPr>
            <a:r>
              <a:rPr lang="en-US" sz="1050" dirty="0">
                <a:solidFill>
                  <a:schemeClr val="bg1"/>
                </a:solidFill>
                <a:latin typeface="Arial" charset="0"/>
              </a:rPr>
              <a:t>Multi-access</a:t>
            </a:r>
          </a:p>
          <a:p>
            <a:pPr marL="171450" indent="-171450" eaLnBrk="1" hangingPunct="1">
              <a:spcBef>
                <a:spcPct val="50000"/>
              </a:spcBef>
              <a:buFont typeface="Arial" panose="020B0604020202020204" pitchFamily="34" charset="0"/>
              <a:buChar char="•"/>
              <a:defRPr/>
            </a:pPr>
            <a:r>
              <a:rPr lang="en-US" sz="1050" dirty="0">
                <a:solidFill>
                  <a:schemeClr val="bg1"/>
                </a:solidFill>
                <a:latin typeface="Arial" charset="0"/>
              </a:rPr>
              <a:t>High availability and High Resiliency</a:t>
            </a:r>
          </a:p>
          <a:p>
            <a:pPr marL="171450" indent="-171450" eaLnBrk="1" hangingPunct="1">
              <a:spcBef>
                <a:spcPct val="50000"/>
              </a:spcBef>
              <a:buFont typeface="Arial" panose="020B0604020202020204" pitchFamily="34" charset="0"/>
              <a:buChar char="•"/>
              <a:defRPr/>
            </a:pPr>
            <a:r>
              <a:rPr lang="en-US" sz="1050" dirty="0">
                <a:solidFill>
                  <a:schemeClr val="bg1"/>
                </a:solidFill>
                <a:latin typeface="Arial" charset="0"/>
              </a:rPr>
              <a:t>Automation and slice instance management</a:t>
            </a:r>
          </a:p>
          <a:p>
            <a:pPr marL="171450" indent="-171450" eaLnBrk="1" hangingPunct="1">
              <a:spcBef>
                <a:spcPct val="50000"/>
              </a:spcBef>
              <a:buFont typeface="Arial" panose="020B0604020202020204" pitchFamily="34" charset="0"/>
              <a:buChar char="•"/>
              <a:defRPr/>
            </a:pPr>
            <a:r>
              <a:rPr lang="en-US" sz="1050" dirty="0">
                <a:solidFill>
                  <a:srgbClr val="FFFFFF"/>
                </a:solidFill>
                <a:latin typeface="Arial" charset="0"/>
              </a:rPr>
              <a:t>BSS and Exposure</a:t>
            </a:r>
          </a:p>
          <a:p>
            <a:pPr marL="171450" indent="-171450" eaLnBrk="1" hangingPunct="1">
              <a:spcBef>
                <a:spcPct val="50000"/>
              </a:spcBef>
              <a:buFont typeface="Arial" panose="020B0604020202020204" pitchFamily="34" charset="0"/>
              <a:buChar char="•"/>
              <a:defRPr/>
            </a:pPr>
            <a:r>
              <a:rPr lang="en-US" sz="1050" dirty="0">
                <a:solidFill>
                  <a:srgbClr val="FFFFFF"/>
                </a:solidFill>
                <a:latin typeface="Arial" charset="0"/>
              </a:rPr>
              <a:t>Possibility for Local connectivity</a:t>
            </a:r>
          </a:p>
          <a:p>
            <a:pPr marL="171450" indent="-171450" eaLnBrk="1" hangingPunct="1">
              <a:spcBef>
                <a:spcPct val="50000"/>
              </a:spcBef>
              <a:buFont typeface="Arial" panose="020B0604020202020204" pitchFamily="34" charset="0"/>
              <a:buChar char="•"/>
              <a:defRPr/>
            </a:pPr>
            <a:r>
              <a:rPr lang="en-US" sz="1050" dirty="0">
                <a:solidFill>
                  <a:srgbClr val="FFFFFF"/>
                </a:solidFill>
                <a:latin typeface="Arial" charset="0"/>
              </a:rPr>
              <a:t>Free roaming</a:t>
            </a:r>
          </a:p>
          <a:p>
            <a:pPr marL="171450" indent="-171450" eaLnBrk="1" hangingPunct="1">
              <a:spcBef>
                <a:spcPct val="50000"/>
              </a:spcBef>
              <a:buFont typeface="Arial" panose="020B0604020202020204" pitchFamily="34" charset="0"/>
              <a:buChar char="•"/>
              <a:defRPr/>
            </a:pPr>
            <a:r>
              <a:rPr lang="en-US" sz="1050" dirty="0">
                <a:solidFill>
                  <a:srgbClr val="FFFFFF"/>
                </a:solidFill>
                <a:latin typeface="Arial" charset="0"/>
              </a:rPr>
              <a:t>Privacy (security)</a:t>
            </a:r>
          </a:p>
          <a:p>
            <a:pPr marL="171450" indent="-171450" eaLnBrk="1" hangingPunct="1">
              <a:spcBef>
                <a:spcPct val="50000"/>
              </a:spcBef>
              <a:buFont typeface="Arial" panose="020B0604020202020204" pitchFamily="34" charset="0"/>
              <a:buChar char="•"/>
              <a:defRPr/>
            </a:pPr>
            <a:r>
              <a:rPr lang="en-US" sz="1050" dirty="0">
                <a:solidFill>
                  <a:schemeClr val="bg1"/>
                </a:solidFill>
                <a:latin typeface="Arial" charset="0"/>
              </a:rPr>
              <a:t>Possibility for broadcast</a:t>
            </a:r>
          </a:p>
          <a:p>
            <a:pPr marL="171450" indent="-171450" eaLnBrk="1" hangingPunct="1">
              <a:spcBef>
                <a:spcPct val="50000"/>
              </a:spcBef>
              <a:buFont typeface="Arial" panose="020B0604020202020204" pitchFamily="34" charset="0"/>
              <a:buChar char="•"/>
              <a:defRPr/>
            </a:pPr>
            <a:r>
              <a:rPr lang="en-US" sz="1050" dirty="0">
                <a:solidFill>
                  <a:schemeClr val="bg1"/>
                </a:solidFill>
                <a:latin typeface="Arial" charset="0"/>
              </a:rPr>
              <a:t>Possibility for Data volume in a defined time frame </a:t>
            </a:r>
            <a:br>
              <a:rPr lang="en-US" sz="1050" dirty="0">
                <a:solidFill>
                  <a:schemeClr val="bg1"/>
                </a:solidFill>
                <a:latin typeface="Arial" charset="0"/>
              </a:rPr>
            </a:br>
            <a:r>
              <a:rPr lang="en-US" sz="1050" dirty="0">
                <a:solidFill>
                  <a:schemeClr val="bg1"/>
                </a:solidFill>
                <a:latin typeface="Arial" charset="0"/>
              </a:rPr>
              <a:t>(not defined as bps)</a:t>
            </a:r>
          </a:p>
          <a:p>
            <a:pPr marL="171450" indent="-171450" eaLnBrk="1" hangingPunct="1">
              <a:spcBef>
                <a:spcPct val="50000"/>
              </a:spcBef>
              <a:buFont typeface="Arial" panose="020B0604020202020204" pitchFamily="34" charset="0"/>
              <a:buChar char="•"/>
              <a:defRPr/>
            </a:pPr>
            <a:endParaRPr lang="en-US" sz="1050" dirty="0">
              <a:solidFill>
                <a:srgbClr val="FFFFFF"/>
              </a:solidFill>
              <a:latin typeface="Arial" charset="0"/>
            </a:endParaRPr>
          </a:p>
          <a:p>
            <a:pPr marL="171450" indent="-171450" eaLnBrk="1" hangingPunct="1">
              <a:spcBef>
                <a:spcPct val="50000"/>
              </a:spcBef>
              <a:buFont typeface="Arial" panose="020B0604020202020204" pitchFamily="34" charset="0"/>
              <a:buChar char="•"/>
              <a:defRPr/>
            </a:pPr>
            <a:endParaRPr lang="en-US" sz="1050" dirty="0">
              <a:solidFill>
                <a:srgbClr val="FFFFFF"/>
              </a:solidFill>
              <a:latin typeface="Arial" charset="0"/>
            </a:endParaRPr>
          </a:p>
          <a:p>
            <a:pPr eaLnBrk="1" hangingPunct="1">
              <a:spcBef>
                <a:spcPct val="50000"/>
              </a:spcBef>
              <a:defRPr/>
            </a:pPr>
            <a:endParaRPr lang="en-US" altLang="sv-SE" sz="1050" b="1" dirty="0">
              <a:solidFill>
                <a:schemeClr val="bg1"/>
              </a:solidFill>
            </a:endParaRPr>
          </a:p>
        </p:txBody>
      </p:sp>
      <p:sp>
        <p:nvSpPr>
          <p:cNvPr id="7" name="Rectangle 6"/>
          <p:cNvSpPr/>
          <p:nvPr/>
        </p:nvSpPr>
        <p:spPr bwMode="auto">
          <a:xfrm>
            <a:off x="7773988" y="1309688"/>
            <a:ext cx="4210050" cy="1738312"/>
          </a:xfrm>
          <a:prstGeom prst="rect">
            <a:avLst/>
          </a:prstGeom>
          <a:solidFill>
            <a:schemeClr val="tx2">
              <a:lumMod val="75000"/>
              <a:lumOff val="25000"/>
            </a:schemeClr>
          </a:solidFill>
          <a:ln w="12700" cap="flat" cmpd="sng" algn="ctr">
            <a:solidFill>
              <a:schemeClr val="tx1"/>
            </a:solidFill>
            <a:prstDash val="solid"/>
            <a:round/>
            <a:headEnd type="none" w="med" len="med"/>
            <a:tailEnd type="none" w="med" len="med"/>
          </a:ln>
          <a:effectLst/>
        </p:spPr>
        <p:txBody>
          <a:bodyPr wrap="none" lIns="72000" rIns="72000"/>
          <a:lstStyle/>
          <a:p>
            <a:pPr>
              <a:defRPr/>
            </a:pPr>
            <a:r>
              <a:rPr lang="en-US" sz="1200" b="1" dirty="0">
                <a:solidFill>
                  <a:schemeClr val="bg1"/>
                </a:solidFill>
                <a:cs typeface="Arial" pitchFamily="34" charset="0"/>
              </a:rPr>
              <a:t>Massive MTC / Ultra low cost MBB</a:t>
            </a:r>
          </a:p>
          <a:p>
            <a:pPr marL="171450" indent="-171450">
              <a:spcBef>
                <a:spcPct val="50000"/>
              </a:spcBef>
              <a:buFont typeface="Arial" panose="020B0604020202020204" pitchFamily="34" charset="0"/>
              <a:buChar char="•"/>
              <a:defRPr/>
            </a:pPr>
            <a:r>
              <a:rPr lang="en-US" sz="1050" dirty="0">
                <a:solidFill>
                  <a:srgbClr val="FFFFFF"/>
                </a:solidFill>
                <a:cs typeface="Arial" pitchFamily="34" charset="0"/>
              </a:rPr>
              <a:t>Low cost per bit and high density</a:t>
            </a:r>
            <a:endParaRPr lang="en-US" sz="1050" i="1" dirty="0">
              <a:solidFill>
                <a:schemeClr val="bg1"/>
              </a:solidFill>
              <a:cs typeface="Arial" pitchFamily="34" charset="0"/>
            </a:endParaRPr>
          </a:p>
          <a:p>
            <a:pPr marL="171450" indent="-171450">
              <a:spcBef>
                <a:spcPct val="50000"/>
              </a:spcBef>
              <a:buFont typeface="Arial" panose="020B0604020202020204" pitchFamily="34" charset="0"/>
              <a:buChar char="•"/>
              <a:defRPr/>
            </a:pPr>
            <a:r>
              <a:rPr lang="en-US" sz="1050" i="1" dirty="0">
                <a:solidFill>
                  <a:schemeClr val="bg1"/>
                </a:solidFill>
                <a:cs typeface="Arial" pitchFamily="34" charset="0"/>
              </a:rPr>
              <a:t>Combined CP/UP</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Automation and slice instance management</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BSS and Exposure</a:t>
            </a:r>
          </a:p>
          <a:p>
            <a:pPr marL="171450" indent="-171450">
              <a:spcBef>
                <a:spcPct val="50000"/>
              </a:spcBef>
              <a:buFont typeface="Arial" panose="020B0604020202020204" pitchFamily="34" charset="0"/>
              <a:buChar char="•"/>
              <a:defRPr/>
            </a:pPr>
            <a:r>
              <a:rPr lang="en-US" sz="1050" dirty="0">
                <a:solidFill>
                  <a:srgbClr val="FFFFFF"/>
                </a:solidFill>
                <a:cs typeface="Arial" pitchFamily="34" charset="0"/>
              </a:rPr>
              <a:t>Possibility for Authentication and Multi-Access</a:t>
            </a:r>
          </a:p>
          <a:p>
            <a:pPr marL="171450" indent="-171450">
              <a:spcBef>
                <a:spcPct val="50000"/>
              </a:spcBef>
              <a:buFont typeface="Arial" panose="020B0604020202020204" pitchFamily="34" charset="0"/>
              <a:buChar char="•"/>
              <a:defRPr/>
            </a:pPr>
            <a:r>
              <a:rPr lang="en-US" sz="1050" dirty="0">
                <a:solidFill>
                  <a:schemeClr val="bg1"/>
                </a:solidFill>
                <a:cs typeface="Arial" pitchFamily="34" charset="0"/>
              </a:rPr>
              <a:t>Possibility for broadcast</a:t>
            </a:r>
          </a:p>
        </p:txBody>
      </p:sp>
    </p:spTree>
    <p:extLst>
      <p:ext uri="{BB962C8B-B14F-4D97-AF65-F5344CB8AC3E}">
        <p14:creationId xmlns:p14="http://schemas.microsoft.com/office/powerpoint/2010/main" val="367724432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Network slice types</a:t>
            </a:r>
          </a:p>
        </p:txBody>
      </p:sp>
      <p:sp>
        <p:nvSpPr>
          <p:cNvPr id="4" name="Freeform 27"/>
          <p:cNvSpPr/>
          <p:nvPr/>
        </p:nvSpPr>
        <p:spPr>
          <a:xfrm>
            <a:off x="1336617"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Massive MTC</a:t>
            </a:r>
          </a:p>
        </p:txBody>
      </p:sp>
      <p:sp>
        <p:nvSpPr>
          <p:cNvPr id="5" name="Freeform 29"/>
          <p:cNvSpPr/>
          <p:nvPr/>
        </p:nvSpPr>
        <p:spPr>
          <a:xfrm>
            <a:off x="3998642"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hanced MBB</a:t>
            </a:r>
          </a:p>
        </p:txBody>
      </p:sp>
      <p:sp>
        <p:nvSpPr>
          <p:cNvPr id="6" name="Freeform 31"/>
          <p:cNvSpPr/>
          <p:nvPr/>
        </p:nvSpPr>
        <p:spPr>
          <a:xfrm>
            <a:off x="6660667"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terprise and Industry</a:t>
            </a:r>
          </a:p>
        </p:txBody>
      </p:sp>
      <p:sp>
        <p:nvSpPr>
          <p:cNvPr id="7" name="Freeform 33"/>
          <p:cNvSpPr/>
          <p:nvPr/>
        </p:nvSpPr>
        <p:spPr>
          <a:xfrm>
            <a:off x="9322692"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Critical Communication and MTC</a:t>
            </a:r>
          </a:p>
        </p:txBody>
      </p:sp>
      <p:sp>
        <p:nvSpPr>
          <p:cNvPr id="8" name="Rectangular Callout 21"/>
          <p:cNvSpPr/>
          <p:nvPr/>
        </p:nvSpPr>
        <p:spPr>
          <a:xfrm>
            <a:off x="888303" y="5082971"/>
            <a:ext cx="1618727"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Low cos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Low energ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Massive numbers</a:t>
            </a:r>
          </a:p>
        </p:txBody>
      </p:sp>
      <p:sp>
        <p:nvSpPr>
          <p:cNvPr id="9" name="Rectangular Callout 23"/>
          <p:cNvSpPr/>
          <p:nvPr/>
        </p:nvSpPr>
        <p:spPr>
          <a:xfrm>
            <a:off x="3421799" y="5082971"/>
            <a:ext cx="1783446"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Wide area cover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Internet acce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Operator services</a:t>
            </a:r>
          </a:p>
        </p:txBody>
      </p:sp>
      <p:sp>
        <p:nvSpPr>
          <p:cNvPr id="10" name="Rectangular Callout 24"/>
          <p:cNvSpPr/>
          <p:nvPr/>
        </p:nvSpPr>
        <p:spPr>
          <a:xfrm>
            <a:off x="6096124" y="5082971"/>
            <a:ext cx="1783446"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High availabil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High reliabil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Low latency</a:t>
            </a:r>
          </a:p>
        </p:txBody>
      </p:sp>
      <p:sp>
        <p:nvSpPr>
          <p:cNvPr id="11" name="Rectangular Callout 25"/>
          <p:cNvSpPr/>
          <p:nvPr/>
        </p:nvSpPr>
        <p:spPr>
          <a:xfrm>
            <a:off x="8484687" y="5069706"/>
            <a:ext cx="2039690"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Very high availabil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Very high reliabil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Very low latency</a:t>
            </a:r>
          </a:p>
        </p:txBody>
      </p:sp>
      <p:sp>
        <p:nvSpPr>
          <p:cNvPr id="12" name="Freeform 6"/>
          <p:cNvSpPr>
            <a:spLocks noEditPoints="1"/>
          </p:cNvSpPr>
          <p:nvPr/>
        </p:nvSpPr>
        <p:spPr bwMode="auto">
          <a:xfrm>
            <a:off x="1837632" y="2239054"/>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6"/>
          <p:cNvSpPr>
            <a:spLocks noEditPoints="1"/>
          </p:cNvSpPr>
          <p:nvPr/>
        </p:nvSpPr>
        <p:spPr bwMode="auto">
          <a:xfrm>
            <a:off x="4564829" y="2126342"/>
            <a:ext cx="606425" cy="9652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3"/>
          <p:cNvSpPr>
            <a:spLocks noChangeAspect="1" noEditPoints="1"/>
          </p:cNvSpPr>
          <p:nvPr/>
        </p:nvSpPr>
        <p:spPr bwMode="auto">
          <a:xfrm>
            <a:off x="9920032" y="2341174"/>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Freeform 3"/>
          <p:cNvSpPr>
            <a:spLocks noChangeAspect="1" noEditPoints="1"/>
          </p:cNvSpPr>
          <p:nvPr/>
        </p:nvSpPr>
        <p:spPr bwMode="auto">
          <a:xfrm>
            <a:off x="7285202" y="2275256"/>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5501565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LICE TYPES Characteristics</a:t>
            </a:r>
          </a:p>
        </p:txBody>
      </p:sp>
      <p:graphicFrame>
        <p:nvGraphicFramePr>
          <p:cNvPr id="4" name="Content Placeholder 3"/>
          <p:cNvGraphicFramePr>
            <a:graphicFrameLocks/>
          </p:cNvGraphicFramePr>
          <p:nvPr>
            <p:extLst/>
          </p:nvPr>
        </p:nvGraphicFramePr>
        <p:xfrm>
          <a:off x="403015" y="1980869"/>
          <a:ext cx="11392534" cy="4105564"/>
        </p:xfrm>
        <a:graphic>
          <a:graphicData uri="http://schemas.openxmlformats.org/drawingml/2006/table">
            <a:tbl>
              <a:tblPr firstRow="1" firstCol="1" bandRow="1">
                <a:tableStyleId>{5C22544A-7EE6-4342-B048-85BDC9FD1C3A}</a:tableStyleId>
              </a:tblPr>
              <a:tblGrid>
                <a:gridCol w="1564534">
                  <a:extLst>
                    <a:ext uri="{9D8B030D-6E8A-4147-A177-3AD203B41FA5}">
                      <a16:colId xmlns:a16="http://schemas.microsoft.com/office/drawing/2014/main" val="20000"/>
                    </a:ext>
                  </a:extLst>
                </a:gridCol>
                <a:gridCol w="1404000">
                  <a:extLst>
                    <a:ext uri="{9D8B030D-6E8A-4147-A177-3AD203B41FA5}">
                      <a16:colId xmlns:a16="http://schemas.microsoft.com/office/drawing/2014/main" val="20001"/>
                    </a:ext>
                  </a:extLst>
                </a:gridCol>
                <a:gridCol w="1404000">
                  <a:extLst>
                    <a:ext uri="{9D8B030D-6E8A-4147-A177-3AD203B41FA5}">
                      <a16:colId xmlns:a16="http://schemas.microsoft.com/office/drawing/2014/main" val="20002"/>
                    </a:ext>
                  </a:extLst>
                </a:gridCol>
                <a:gridCol w="1404000">
                  <a:extLst>
                    <a:ext uri="{9D8B030D-6E8A-4147-A177-3AD203B41FA5}">
                      <a16:colId xmlns:a16="http://schemas.microsoft.com/office/drawing/2014/main" val="20003"/>
                    </a:ext>
                  </a:extLst>
                </a:gridCol>
                <a:gridCol w="1404000">
                  <a:extLst>
                    <a:ext uri="{9D8B030D-6E8A-4147-A177-3AD203B41FA5}">
                      <a16:colId xmlns:a16="http://schemas.microsoft.com/office/drawing/2014/main" val="20004"/>
                    </a:ext>
                  </a:extLst>
                </a:gridCol>
                <a:gridCol w="1404000">
                  <a:extLst>
                    <a:ext uri="{9D8B030D-6E8A-4147-A177-3AD203B41FA5}">
                      <a16:colId xmlns:a16="http://schemas.microsoft.com/office/drawing/2014/main" val="20005"/>
                    </a:ext>
                  </a:extLst>
                </a:gridCol>
                <a:gridCol w="1404000">
                  <a:extLst>
                    <a:ext uri="{9D8B030D-6E8A-4147-A177-3AD203B41FA5}">
                      <a16:colId xmlns:a16="http://schemas.microsoft.com/office/drawing/2014/main" val="20006"/>
                    </a:ext>
                  </a:extLst>
                </a:gridCol>
                <a:gridCol w="1404000">
                  <a:extLst>
                    <a:ext uri="{9D8B030D-6E8A-4147-A177-3AD203B41FA5}">
                      <a16:colId xmlns:a16="http://schemas.microsoft.com/office/drawing/2014/main" val="20007"/>
                    </a:ext>
                  </a:extLst>
                </a:gridCol>
              </a:tblGrid>
              <a:tr h="701069">
                <a:tc>
                  <a:txBody>
                    <a:bodyPr/>
                    <a:lstStyle/>
                    <a:p>
                      <a:pPr algn="ctr">
                        <a:spcAft>
                          <a:spcPts val="0"/>
                        </a:spcAft>
                      </a:pPr>
                      <a:r>
                        <a:rPr lang="en-GB" sz="1400" dirty="0">
                          <a:effectLst/>
                        </a:rPr>
                        <a:t>UC Category</a:t>
                      </a:r>
                      <a:endParaRPr lang="en-US" sz="1400" b="1" dirty="0">
                        <a:effectLst/>
                        <a:latin typeface="Arial"/>
                        <a:ea typeface="Batang"/>
                        <a:cs typeface="Times New Roman"/>
                      </a:endParaRPr>
                    </a:p>
                  </a:txBody>
                  <a:tcPr marL="61729" marR="61729" marT="43200" marB="43200"/>
                </a:tc>
                <a:tc>
                  <a:txBody>
                    <a:bodyPr/>
                    <a:lstStyle/>
                    <a:p>
                      <a:pPr algn="ctr">
                        <a:spcAft>
                          <a:spcPts val="0"/>
                        </a:spcAft>
                      </a:pPr>
                      <a:r>
                        <a:rPr lang="en-GB" sz="1400" dirty="0">
                          <a:effectLst/>
                        </a:rPr>
                        <a:t>Availability / Reliability / Security</a:t>
                      </a:r>
                      <a:endParaRPr lang="en-US" sz="1400" b="1" dirty="0">
                        <a:effectLst/>
                        <a:latin typeface="Arial"/>
                        <a:ea typeface="Batang"/>
                        <a:cs typeface="Times New Roman"/>
                      </a:endParaRPr>
                    </a:p>
                  </a:txBody>
                  <a:tcPr marL="61729" marR="61729" marT="43200" marB="43200"/>
                </a:tc>
                <a:tc>
                  <a:txBody>
                    <a:bodyPr/>
                    <a:lstStyle/>
                    <a:p>
                      <a:pPr algn="ctr">
                        <a:spcAft>
                          <a:spcPts val="0"/>
                        </a:spcAft>
                      </a:pPr>
                      <a:r>
                        <a:rPr lang="en-GB" sz="1400" b="1" dirty="0">
                          <a:effectLst/>
                          <a:latin typeface="+mn-lt"/>
                          <a:ea typeface="+mn-ea"/>
                          <a:cs typeface="+mn-cs"/>
                        </a:rPr>
                        <a:t>Latency</a:t>
                      </a:r>
                      <a:endParaRPr lang="en-US" sz="1400" b="1" dirty="0">
                        <a:effectLst/>
                        <a:latin typeface="Arial"/>
                        <a:ea typeface="Batang"/>
                        <a:cs typeface="Times New Roman"/>
                      </a:endParaRPr>
                    </a:p>
                  </a:txBody>
                  <a:tcPr marL="61729" marR="61729" marT="43200" marB="43200"/>
                </a:tc>
                <a:tc>
                  <a:txBody>
                    <a:bodyPr/>
                    <a:lstStyle/>
                    <a:p>
                      <a:pPr algn="ctr">
                        <a:spcAft>
                          <a:spcPts val="0"/>
                        </a:spcAft>
                      </a:pPr>
                      <a:r>
                        <a:rPr lang="en-GB" sz="1400" dirty="0">
                          <a:effectLst/>
                        </a:rPr>
                        <a:t>Traffic model / throughput per</a:t>
                      </a:r>
                      <a:r>
                        <a:rPr lang="en-GB" sz="1400" baseline="0" dirty="0">
                          <a:effectLst/>
                        </a:rPr>
                        <a:t> UE</a:t>
                      </a:r>
                      <a:endParaRPr lang="en-US" sz="1400" b="1" dirty="0">
                        <a:effectLst/>
                        <a:latin typeface="Arial"/>
                        <a:ea typeface="Batang"/>
                        <a:cs typeface="Times New Roman"/>
                      </a:endParaRPr>
                    </a:p>
                  </a:txBody>
                  <a:tcPr marL="61729" marR="61729" marT="43200" marB="43200"/>
                </a:tc>
                <a:tc>
                  <a:txBody>
                    <a:bodyPr/>
                    <a:lstStyle/>
                    <a:p>
                      <a:pPr algn="ctr">
                        <a:spcAft>
                          <a:spcPts val="0"/>
                        </a:spcAft>
                      </a:pPr>
                      <a:r>
                        <a:rPr lang="en-US" sz="1400" b="1" dirty="0">
                          <a:effectLst/>
                          <a:latin typeface="Arial"/>
                          <a:ea typeface="Batang"/>
                          <a:cs typeface="Times New Roman"/>
                        </a:rPr>
                        <a:t>Cost per bit</a:t>
                      </a:r>
                    </a:p>
                  </a:txBody>
                  <a:tcPr marL="61729" marR="61729" marT="43200" marB="43200"/>
                </a:tc>
                <a:tc>
                  <a:txBody>
                    <a:bodyPr/>
                    <a:lstStyle/>
                    <a:p>
                      <a:pPr algn="ctr">
                        <a:spcAft>
                          <a:spcPts val="0"/>
                        </a:spcAft>
                      </a:pPr>
                      <a:r>
                        <a:rPr lang="en-US" sz="1400" b="1" dirty="0">
                          <a:effectLst/>
                          <a:latin typeface="Arial"/>
                          <a:ea typeface="Batang"/>
                          <a:cs typeface="Times New Roman"/>
                        </a:rPr>
                        <a:t>Data frequency</a:t>
                      </a:r>
                    </a:p>
                  </a:txBody>
                  <a:tcPr marL="61729" marR="61729" marT="43200" marB="43200"/>
                </a:tc>
                <a:tc>
                  <a:txBody>
                    <a:bodyPr/>
                    <a:lstStyle/>
                    <a:p>
                      <a:pPr algn="ctr">
                        <a:spcAft>
                          <a:spcPts val="0"/>
                        </a:spcAft>
                      </a:pPr>
                      <a:r>
                        <a:rPr lang="en-GB" sz="1400" dirty="0">
                          <a:effectLst/>
                        </a:rPr>
                        <a:t>Device density</a:t>
                      </a:r>
                      <a:endParaRPr lang="en-US" sz="1400" b="1" dirty="0">
                        <a:effectLst/>
                        <a:latin typeface="Arial"/>
                        <a:ea typeface="Batang"/>
                        <a:cs typeface="Times New Roman"/>
                      </a:endParaRPr>
                    </a:p>
                  </a:txBody>
                  <a:tcPr marL="61729" marR="61729" marT="43200" marB="43200"/>
                </a:tc>
                <a:tc>
                  <a:txBody>
                    <a:bodyPr/>
                    <a:lstStyle/>
                    <a:p>
                      <a:pPr algn="ctr">
                        <a:spcAft>
                          <a:spcPts val="0"/>
                        </a:spcAft>
                      </a:pPr>
                      <a:r>
                        <a:rPr lang="en-US" sz="1400" b="1" dirty="0">
                          <a:effectLst/>
                          <a:latin typeface="Arial"/>
                          <a:ea typeface="Batang"/>
                          <a:cs typeface="Times New Roman"/>
                        </a:rPr>
                        <a:t>Coverage / Connectivity</a:t>
                      </a:r>
                      <a:r>
                        <a:rPr lang="en-US" sz="1400" b="1" baseline="0" dirty="0">
                          <a:effectLst/>
                          <a:latin typeface="Arial"/>
                          <a:ea typeface="Batang"/>
                          <a:cs typeface="Times New Roman"/>
                        </a:rPr>
                        <a:t> / Autonomous</a:t>
                      </a:r>
                      <a:endParaRPr lang="en-US" sz="1400" b="1" dirty="0">
                        <a:effectLst/>
                        <a:latin typeface="Arial"/>
                        <a:ea typeface="Batang"/>
                        <a:cs typeface="Times New Roman"/>
                      </a:endParaRPr>
                    </a:p>
                  </a:txBody>
                  <a:tcPr marL="61729" marR="61729" marT="43200" marB="43200"/>
                </a:tc>
                <a:extLst>
                  <a:ext uri="{0D108BD9-81ED-4DB2-BD59-A6C34878D82A}">
                    <a16:rowId xmlns:a16="http://schemas.microsoft.com/office/drawing/2014/main" val="10000"/>
                  </a:ext>
                </a:extLst>
              </a:tr>
              <a:tr h="769943">
                <a:tc>
                  <a:txBody>
                    <a:bodyPr/>
                    <a:lstStyle/>
                    <a:p>
                      <a:pPr>
                        <a:spcAft>
                          <a:spcPts val="0"/>
                        </a:spcAft>
                      </a:pPr>
                      <a:r>
                        <a:rPr lang="en-GB" sz="1400" dirty="0">
                          <a:effectLst/>
                        </a:rPr>
                        <a:t>M-MTC</a:t>
                      </a:r>
                      <a:endParaRPr lang="en-US" sz="1400" dirty="0">
                        <a:effectLst/>
                        <a:latin typeface="Arial"/>
                        <a:ea typeface="Batang"/>
                        <a:cs typeface="Times New Roman"/>
                      </a:endParaRPr>
                    </a:p>
                  </a:txBody>
                  <a:tcPr marL="61729" marR="61729" marT="43200" marB="43200"/>
                </a:tc>
                <a:tc>
                  <a:txBody>
                    <a:bodyPr/>
                    <a:lstStyle/>
                    <a:p>
                      <a:pPr algn="ctr">
                        <a:spcAft>
                          <a:spcPts val="0"/>
                        </a:spcAft>
                      </a:pPr>
                      <a:r>
                        <a:rPr lang="en-US" sz="1400" dirty="0">
                          <a:effectLst/>
                          <a:latin typeface="Arial"/>
                          <a:ea typeface="Batang"/>
                          <a:cs typeface="Times New Roman"/>
                        </a:rPr>
                        <a:t>Medium</a:t>
                      </a: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Low</a:t>
                      </a:r>
                    </a:p>
                  </a:txBody>
                  <a:tcPr marL="61729" marR="61729" marT="43200" marB="43200" anchor="ctr"/>
                </a:tc>
                <a:tc>
                  <a:txBody>
                    <a:bodyPr/>
                    <a:lstStyle/>
                    <a:p>
                      <a:pPr algn="ctr">
                        <a:spcAft>
                          <a:spcPts val="0"/>
                        </a:spcAft>
                      </a:pPr>
                      <a:r>
                        <a:rPr lang="en-US" sz="1400" dirty="0">
                          <a:effectLst/>
                          <a:latin typeface="Arial"/>
                          <a:ea typeface="Batang"/>
                          <a:cs typeface="Times New Roman"/>
                        </a:rPr>
                        <a:t>Low</a:t>
                      </a:r>
                    </a:p>
                  </a:txBody>
                  <a:tcPr marL="61729" marR="61729" marT="43200" marB="43200" anchor="ctr"/>
                </a:tc>
                <a:tc>
                  <a:txBody>
                    <a:bodyPr/>
                    <a:lstStyle/>
                    <a:p>
                      <a:pPr algn="ctr">
                        <a:spcAft>
                          <a:spcPts val="0"/>
                        </a:spcAft>
                      </a:pPr>
                      <a:r>
                        <a:rPr lang="en-US" sz="1400" dirty="0">
                          <a:effectLst/>
                          <a:latin typeface="Arial"/>
                          <a:ea typeface="Batang"/>
                          <a:cs typeface="Times New Roman"/>
                        </a:rPr>
                        <a:t>Low</a:t>
                      </a: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Wide</a:t>
                      </a:r>
                    </a:p>
                  </a:txBody>
                  <a:tcPr marL="61729" marR="61729" marT="43200" marB="43200" anchor="ctr"/>
                </a:tc>
                <a:extLst>
                  <a:ext uri="{0D108BD9-81ED-4DB2-BD59-A6C34878D82A}">
                    <a16:rowId xmlns:a16="http://schemas.microsoft.com/office/drawing/2014/main" val="10001"/>
                  </a:ext>
                </a:extLst>
              </a:tr>
              <a:tr h="789310">
                <a:tc>
                  <a:txBody>
                    <a:bodyPr/>
                    <a:lstStyle/>
                    <a:p>
                      <a:pPr>
                        <a:spcAft>
                          <a:spcPts val="0"/>
                        </a:spcAft>
                      </a:pPr>
                      <a:r>
                        <a:rPr lang="en-GB" sz="1400" dirty="0">
                          <a:effectLst/>
                        </a:rPr>
                        <a:t>Enhanced MBB</a:t>
                      </a:r>
                      <a:endParaRPr lang="en-US" sz="1400" dirty="0">
                        <a:effectLst/>
                        <a:latin typeface="Arial"/>
                        <a:ea typeface="Batang"/>
                        <a:cs typeface="Times New Roman"/>
                      </a:endParaRPr>
                    </a:p>
                  </a:txBody>
                  <a:tcPr marL="61729" marR="61729" marT="43200" marB="43200"/>
                </a:tc>
                <a:tc>
                  <a:txBody>
                    <a:bodyPr/>
                    <a:lstStyle/>
                    <a:p>
                      <a:pPr algn="ctr">
                        <a:spcAft>
                          <a:spcPts val="0"/>
                        </a:spcAft>
                      </a:pPr>
                      <a:r>
                        <a:rPr lang="en-US" sz="1400" dirty="0">
                          <a:effectLst/>
                          <a:latin typeface="Arial"/>
                          <a:ea typeface="Batang"/>
                          <a:cs typeface="Times New Roman"/>
                        </a:rPr>
                        <a:t>Medium</a:t>
                      </a:r>
                    </a:p>
                  </a:txBody>
                  <a:tcPr marL="61729" marR="61729" marT="43200" marB="43200" anchor="ctr"/>
                </a:tc>
                <a:tc>
                  <a:txBody>
                    <a:bodyPr/>
                    <a:lstStyle/>
                    <a:p>
                      <a:pPr algn="ctr">
                        <a:spcAft>
                          <a:spcPts val="0"/>
                        </a:spcAft>
                      </a:pPr>
                      <a:r>
                        <a:rPr lang="en-US" sz="1400" dirty="0">
                          <a:effectLst/>
                          <a:latin typeface="+mn-lt"/>
                          <a:ea typeface="Batang"/>
                          <a:cs typeface="Times New Roman"/>
                        </a:rPr>
                        <a:t>Medium</a:t>
                      </a:r>
                      <a:endParaRPr lang="en-US" sz="1400" dirty="0">
                        <a:effectLst/>
                        <a:latin typeface="Arial"/>
                        <a:ea typeface="Batang"/>
                        <a:cs typeface="Times New Roman"/>
                      </a:endParaRP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Med</a:t>
                      </a: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Wide</a:t>
                      </a:r>
                    </a:p>
                  </a:txBody>
                  <a:tcPr marL="61729" marR="61729" marT="43200" marB="43200" anchor="ctr"/>
                </a:tc>
                <a:extLst>
                  <a:ext uri="{0D108BD9-81ED-4DB2-BD59-A6C34878D82A}">
                    <a16:rowId xmlns:a16="http://schemas.microsoft.com/office/drawing/2014/main" val="10002"/>
                  </a:ext>
                </a:extLst>
              </a:tr>
              <a:tr h="854038">
                <a:tc>
                  <a:txBody>
                    <a:bodyPr/>
                    <a:lstStyle/>
                    <a:p>
                      <a:pPr>
                        <a:spcAft>
                          <a:spcPts val="0"/>
                        </a:spcAft>
                      </a:pPr>
                      <a:r>
                        <a:rPr lang="en-GB" sz="1400" dirty="0">
                          <a:effectLst/>
                        </a:rPr>
                        <a:t>Enterprise &amp; Industry</a:t>
                      </a:r>
                      <a:endParaRPr lang="en-US" sz="1400" dirty="0">
                        <a:effectLst/>
                        <a:latin typeface="Arial"/>
                        <a:ea typeface="Batang"/>
                        <a:cs typeface="Times New Roman"/>
                      </a:endParaRPr>
                    </a:p>
                  </a:txBody>
                  <a:tcPr marL="61729" marR="61729" marT="43200" marB="43200"/>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Med – Low</a:t>
                      </a:r>
                    </a:p>
                  </a:txBody>
                  <a:tcPr marL="61729" marR="61729" marT="43200" marB="43200" anchor="ctr"/>
                </a:tc>
                <a:tc>
                  <a:txBody>
                    <a:bodyPr/>
                    <a:lstStyle/>
                    <a:p>
                      <a:pPr algn="ctr">
                        <a:spcAft>
                          <a:spcPts val="0"/>
                        </a:spcAft>
                      </a:pPr>
                      <a:r>
                        <a:rPr lang="en-US" sz="1400" dirty="0">
                          <a:effectLst/>
                          <a:latin typeface="Arial"/>
                          <a:ea typeface="Batang"/>
                          <a:cs typeface="Times New Roman"/>
                        </a:rPr>
                        <a:t>Med – High </a:t>
                      </a:r>
                    </a:p>
                  </a:txBody>
                  <a:tcPr marL="61729" marR="61729" marT="43200" marB="43200" anchor="ctr"/>
                </a:tc>
                <a:tc>
                  <a:txBody>
                    <a:bodyPr/>
                    <a:lstStyle/>
                    <a:p>
                      <a:pPr algn="ctr">
                        <a:spcAft>
                          <a:spcPts val="0"/>
                        </a:spcAft>
                      </a:pPr>
                      <a:r>
                        <a:rPr lang="en-US" sz="1400" dirty="0">
                          <a:effectLst/>
                          <a:latin typeface="+mn-lt"/>
                          <a:ea typeface="Batang"/>
                          <a:cs typeface="Times New Roman"/>
                        </a:rPr>
                        <a:t>Med – High</a:t>
                      </a:r>
                      <a:endParaRPr lang="en-US" sz="1400" dirty="0">
                        <a:effectLst/>
                        <a:latin typeface="Arial"/>
                        <a:ea typeface="Batang"/>
                        <a:cs typeface="Times New Roman"/>
                      </a:endParaRPr>
                    </a:p>
                  </a:txBody>
                  <a:tcPr marL="61729" marR="61729" marT="43200" marB="43200" anchor="ctr"/>
                </a:tc>
                <a:tc>
                  <a:txBody>
                    <a:bodyPr/>
                    <a:lstStyle/>
                    <a:p>
                      <a:pPr algn="ctr">
                        <a:spcAft>
                          <a:spcPts val="0"/>
                        </a:spcAft>
                      </a:pPr>
                      <a:r>
                        <a:rPr lang="en-US" sz="1400" dirty="0">
                          <a:effectLst/>
                          <a:latin typeface="+mn-lt"/>
                          <a:ea typeface="Batang"/>
                          <a:cs typeface="Times New Roman"/>
                        </a:rPr>
                        <a:t>Medium</a:t>
                      </a:r>
                      <a:endParaRPr lang="en-US" sz="1400" dirty="0">
                        <a:effectLst/>
                        <a:latin typeface="Arial"/>
                        <a:ea typeface="Batang"/>
                        <a:cs typeface="Times New Roman"/>
                      </a:endParaRPr>
                    </a:p>
                  </a:txBody>
                  <a:tcPr marL="61729" marR="61729" marT="43200" marB="43200" anchor="ctr"/>
                </a:tc>
                <a:tc>
                  <a:txBody>
                    <a:bodyPr/>
                    <a:lstStyle/>
                    <a:p>
                      <a:pPr algn="ctr">
                        <a:spcAft>
                          <a:spcPts val="0"/>
                        </a:spcAft>
                      </a:pPr>
                      <a:r>
                        <a:rPr lang="en-US" sz="1400" dirty="0">
                          <a:effectLst/>
                          <a:latin typeface="+mn-lt"/>
                          <a:ea typeface="Batang"/>
                          <a:cs typeface="Times New Roman"/>
                        </a:rPr>
                        <a:t>Medium</a:t>
                      </a:r>
                      <a:endParaRPr lang="en-US" sz="1400" dirty="0">
                        <a:effectLst/>
                        <a:latin typeface="Arial"/>
                        <a:ea typeface="Batang"/>
                        <a:cs typeface="Times New Roman"/>
                      </a:endParaRPr>
                    </a:p>
                  </a:txBody>
                  <a:tcPr marL="61729" marR="61729" marT="43200" marB="43200" anchor="ctr"/>
                </a:tc>
                <a:tc>
                  <a:txBody>
                    <a:bodyPr/>
                    <a:lstStyle/>
                    <a:p>
                      <a:pPr algn="ctr">
                        <a:spcAft>
                          <a:spcPts val="0"/>
                        </a:spcAft>
                      </a:pPr>
                      <a:r>
                        <a:rPr lang="en-US" sz="1400" dirty="0">
                          <a:effectLst/>
                          <a:latin typeface="Arial"/>
                          <a:ea typeface="Batang"/>
                          <a:cs typeface="Times New Roman"/>
                        </a:rPr>
                        <a:t>Wide / </a:t>
                      </a:r>
                    </a:p>
                    <a:p>
                      <a:pPr algn="ctr">
                        <a:spcAft>
                          <a:spcPts val="0"/>
                        </a:spcAft>
                      </a:pPr>
                      <a:r>
                        <a:rPr lang="en-US" sz="1400" dirty="0">
                          <a:effectLst/>
                          <a:latin typeface="Arial"/>
                          <a:ea typeface="Batang"/>
                          <a:cs typeface="Times New Roman"/>
                        </a:rPr>
                        <a:t>Local</a:t>
                      </a:r>
                    </a:p>
                  </a:txBody>
                  <a:tcPr marL="61729" marR="61729" marT="43200" marB="43200" anchor="ctr"/>
                </a:tc>
                <a:extLst>
                  <a:ext uri="{0D108BD9-81ED-4DB2-BD59-A6C34878D82A}">
                    <a16:rowId xmlns:a16="http://schemas.microsoft.com/office/drawing/2014/main" val="10003"/>
                  </a:ext>
                </a:extLst>
              </a:tr>
              <a:tr h="965793">
                <a:tc>
                  <a:txBody>
                    <a:bodyPr/>
                    <a:lstStyle/>
                    <a:p>
                      <a:pPr algn="l" defTabSz="711200" fontAlgn="auto">
                        <a:lnSpc>
                          <a:spcPct val="90000"/>
                        </a:lnSpc>
                        <a:spcBef>
                          <a:spcPct val="0"/>
                        </a:spcBef>
                        <a:spcAft>
                          <a:spcPct val="35000"/>
                        </a:spcAft>
                      </a:pPr>
                      <a:r>
                        <a:rPr lang="en-US" sz="1400" dirty="0">
                          <a:solidFill>
                            <a:prstClr val="white"/>
                          </a:solidFill>
                        </a:rPr>
                        <a:t>Critical Communication and MTC</a:t>
                      </a:r>
                    </a:p>
                  </a:txBody>
                  <a:tcPr marL="61729" marR="61729" marT="43200" marB="43200"/>
                </a:tc>
                <a:tc>
                  <a:txBody>
                    <a:bodyPr/>
                    <a:lstStyle/>
                    <a:p>
                      <a:pPr algn="ctr">
                        <a:spcAft>
                          <a:spcPts val="0"/>
                        </a:spcAft>
                      </a:pPr>
                      <a:r>
                        <a:rPr lang="en-US" sz="1400" dirty="0">
                          <a:effectLst/>
                          <a:latin typeface="Arial"/>
                          <a:ea typeface="Batang"/>
                          <a:cs typeface="Times New Roman"/>
                        </a:rPr>
                        <a:t>Very High</a:t>
                      </a:r>
                    </a:p>
                  </a:txBody>
                  <a:tcPr marL="61729" marR="61729" marT="43200" marB="43200" anchor="ctr"/>
                </a:tc>
                <a:tc>
                  <a:txBody>
                    <a:bodyPr/>
                    <a:lstStyle/>
                    <a:p>
                      <a:pPr algn="ctr">
                        <a:spcAft>
                          <a:spcPts val="0"/>
                        </a:spcAft>
                      </a:pPr>
                      <a:r>
                        <a:rPr lang="en-US" sz="1400" dirty="0">
                          <a:effectLst/>
                          <a:latin typeface="Arial"/>
                          <a:ea typeface="Batang"/>
                          <a:cs typeface="Times New Roman"/>
                        </a:rPr>
                        <a:t>Very Low</a:t>
                      </a:r>
                    </a:p>
                  </a:txBody>
                  <a:tcPr marL="61729" marR="61729" marT="43200" marB="43200" anchor="ctr"/>
                </a:tc>
                <a:tc>
                  <a:txBody>
                    <a:bodyPr/>
                    <a:lstStyle/>
                    <a:p>
                      <a:pPr algn="ctr">
                        <a:spcAft>
                          <a:spcPts val="0"/>
                        </a:spcAft>
                      </a:pPr>
                      <a:r>
                        <a:rPr lang="en-US" sz="1400" dirty="0">
                          <a:effectLst/>
                          <a:latin typeface="Arial"/>
                          <a:ea typeface="Batang"/>
                          <a:cs typeface="Times New Roman"/>
                        </a:rPr>
                        <a:t>Low – High </a:t>
                      </a:r>
                    </a:p>
                  </a:txBody>
                  <a:tcPr marL="61729" marR="61729" marT="43200" marB="43200" anchor="ctr"/>
                </a:tc>
                <a:tc>
                  <a:txBody>
                    <a:bodyPr/>
                    <a:lstStyle/>
                    <a:p>
                      <a:pPr algn="ctr">
                        <a:spcAft>
                          <a:spcPts val="0"/>
                        </a:spcAft>
                      </a:pPr>
                      <a:r>
                        <a:rPr lang="en-US" sz="1400" dirty="0">
                          <a:effectLst/>
                          <a:latin typeface="Arial"/>
                          <a:ea typeface="Batang"/>
                          <a:cs typeface="Times New Roman"/>
                        </a:rPr>
                        <a:t>High</a:t>
                      </a:r>
                    </a:p>
                  </a:txBody>
                  <a:tcPr marL="61729" marR="61729" marT="43200" marB="43200" anchor="ctr"/>
                </a:tc>
                <a:tc>
                  <a:txBody>
                    <a:bodyPr/>
                    <a:lstStyle/>
                    <a:p>
                      <a:pPr algn="ctr">
                        <a:spcAft>
                          <a:spcPts val="0"/>
                        </a:spcAft>
                      </a:pPr>
                      <a:r>
                        <a:rPr lang="en-US" sz="1400" dirty="0">
                          <a:effectLst/>
                          <a:latin typeface="Arial"/>
                          <a:ea typeface="Batang"/>
                          <a:cs typeface="Times New Roman"/>
                        </a:rPr>
                        <a:t>Med – High </a:t>
                      </a:r>
                    </a:p>
                  </a:txBody>
                  <a:tcPr marL="61729" marR="61729" marT="43200" marB="43200" anchor="ctr"/>
                </a:tc>
                <a:tc>
                  <a:txBody>
                    <a:bodyPr/>
                    <a:lstStyle/>
                    <a:p>
                      <a:pPr algn="ctr">
                        <a:spcAft>
                          <a:spcPts val="0"/>
                        </a:spcAft>
                      </a:pPr>
                      <a:r>
                        <a:rPr lang="en-US" sz="1400" dirty="0">
                          <a:effectLst/>
                          <a:latin typeface="Arial"/>
                          <a:ea typeface="Batang"/>
                          <a:cs typeface="Times New Roman"/>
                        </a:rPr>
                        <a:t>Low</a:t>
                      </a:r>
                    </a:p>
                  </a:txBody>
                  <a:tcPr marL="61729" marR="61729" marT="43200" marB="43200" anchor="ctr"/>
                </a:tc>
                <a:tc>
                  <a:txBody>
                    <a:bodyPr/>
                    <a:lstStyle/>
                    <a:p>
                      <a:pPr algn="ctr">
                        <a:spcAft>
                          <a:spcPts val="0"/>
                        </a:spcAft>
                      </a:pPr>
                      <a:r>
                        <a:rPr lang="en-US" sz="1400" dirty="0">
                          <a:effectLst/>
                          <a:latin typeface="Arial"/>
                          <a:ea typeface="Batang"/>
                          <a:cs typeface="Times New Roman"/>
                        </a:rPr>
                        <a:t>Wide / </a:t>
                      </a:r>
                    </a:p>
                    <a:p>
                      <a:pPr algn="ctr">
                        <a:spcAft>
                          <a:spcPts val="0"/>
                        </a:spcAft>
                      </a:pPr>
                      <a:r>
                        <a:rPr lang="en-US" sz="1400" dirty="0">
                          <a:effectLst/>
                          <a:latin typeface="Arial"/>
                          <a:ea typeface="Batang"/>
                          <a:cs typeface="Times New Roman"/>
                        </a:rPr>
                        <a:t>Regional</a:t>
                      </a:r>
                    </a:p>
                  </a:txBody>
                  <a:tcPr marL="61729" marR="61729" marT="43200" marB="43200" anchor="ctr"/>
                </a:tc>
                <a:extLst>
                  <a:ext uri="{0D108BD9-81ED-4DB2-BD59-A6C34878D82A}">
                    <a16:rowId xmlns:a16="http://schemas.microsoft.com/office/drawing/2014/main" val="10004"/>
                  </a:ext>
                </a:extLst>
              </a:tr>
            </a:tbl>
          </a:graphicData>
        </a:graphic>
      </p:graphicFrame>
      <p:sp>
        <p:nvSpPr>
          <p:cNvPr id="5" name="TextBox 4"/>
          <p:cNvSpPr txBox="1"/>
          <p:nvPr/>
        </p:nvSpPr>
        <p:spPr>
          <a:xfrm>
            <a:off x="5788950" y="6353313"/>
            <a:ext cx="5843266"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Note: benchmark being current MBB service noted as Medium</a:t>
            </a:r>
          </a:p>
        </p:txBody>
      </p:sp>
    </p:spTree>
    <p:extLst>
      <p:ext uri="{BB962C8B-B14F-4D97-AF65-F5344CB8AC3E}">
        <p14:creationId xmlns:p14="http://schemas.microsoft.com/office/powerpoint/2010/main" val="1021135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28" name="Title 3"/>
          <p:cNvSpPr>
            <a:spLocks noGrp="1"/>
          </p:cNvSpPr>
          <p:nvPr>
            <p:ph type="title"/>
          </p:nvPr>
        </p:nvSpPr>
        <p:spPr>
          <a:xfrm>
            <a:off x="525463" y="239713"/>
            <a:ext cx="10636250" cy="1085850"/>
          </a:xfrm>
          <a:noFill/>
        </p:spPr>
        <p:txBody>
          <a:bodyPr>
            <a:normAutofit/>
          </a:bodyPr>
          <a:lstStyle/>
          <a:p>
            <a:r>
              <a:rPr lang="en-US" altLang="en-US" dirty="0">
                <a:solidFill>
                  <a:schemeClr val="bg1"/>
                </a:solidFill>
                <a:latin typeface="Ericsson Capital TT" pitchFamily="2" charset="0"/>
              </a:rPr>
              <a:t>Network Slicing</a:t>
            </a:r>
            <a:br>
              <a:rPr lang="en-US" altLang="en-US" dirty="0">
                <a:solidFill>
                  <a:schemeClr val="bg1"/>
                </a:solidFill>
                <a:latin typeface="Ericsson Capital TT" pitchFamily="2" charset="0"/>
              </a:rPr>
            </a:br>
            <a:r>
              <a:rPr lang="en-US" altLang="en-US" sz="2800" dirty="0">
                <a:solidFill>
                  <a:schemeClr val="bg1"/>
                </a:solidFill>
                <a:latin typeface="+mn-lt"/>
              </a:rPr>
              <a:t>Architectures</a:t>
            </a:r>
          </a:p>
        </p:txBody>
      </p:sp>
      <p:pic>
        <p:nvPicPr>
          <p:cNvPr id="529"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3" name="Rounded Rectangle 10"/>
          <p:cNvSpPr/>
          <p:nvPr/>
        </p:nvSpPr>
        <p:spPr bwMode="auto">
          <a:xfrm>
            <a:off x="4361619" y="1407532"/>
            <a:ext cx="3591453" cy="251563"/>
          </a:xfrm>
          <a:prstGeom prst="roundRect">
            <a:avLst/>
          </a:prstGeom>
          <a:solidFill>
            <a:schemeClr val="tx1">
              <a:alpha val="40000"/>
            </a:schemeClr>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Arial" charset="0"/>
              </a:rPr>
              <a:t>Critical Communication</a:t>
            </a:r>
          </a:p>
        </p:txBody>
      </p:sp>
      <p:sp>
        <p:nvSpPr>
          <p:cNvPr id="1054" name="Rounded Rectangle 13"/>
          <p:cNvSpPr/>
          <p:nvPr/>
        </p:nvSpPr>
        <p:spPr bwMode="auto">
          <a:xfrm>
            <a:off x="8035232" y="1411710"/>
            <a:ext cx="3591453" cy="251563"/>
          </a:xfrm>
          <a:prstGeom prst="roundRect">
            <a:avLst/>
          </a:prstGeom>
          <a:solidFill>
            <a:schemeClr val="tx1">
              <a:alpha val="40000"/>
            </a:schemeClr>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rPr>
              <a:t>Massive MTC</a:t>
            </a:r>
          </a:p>
        </p:txBody>
      </p:sp>
      <p:sp>
        <p:nvSpPr>
          <p:cNvPr id="1055" name="Freeform 3"/>
          <p:cNvSpPr>
            <a:spLocks noChangeAspect="1" noEditPoints="1"/>
          </p:cNvSpPr>
          <p:nvPr/>
        </p:nvSpPr>
        <p:spPr bwMode="auto">
          <a:xfrm>
            <a:off x="5187617" y="5890696"/>
            <a:ext cx="438750" cy="54000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6" name="Rounded Rectangle 17"/>
          <p:cNvSpPr/>
          <p:nvPr/>
        </p:nvSpPr>
        <p:spPr bwMode="auto">
          <a:xfrm>
            <a:off x="5669436" y="6056042"/>
            <a:ext cx="863600" cy="394403"/>
          </a:xfrm>
          <a:prstGeom prst="roundRect">
            <a:avLst/>
          </a:prstGeom>
          <a:solidFill>
            <a:srgbClr val="5B6592"/>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rPr>
              <a:t>Radio</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processing</a:t>
            </a:r>
          </a:p>
        </p:txBody>
      </p:sp>
      <p:cxnSp>
        <p:nvCxnSpPr>
          <p:cNvPr id="1057" name="Straight Connector 1056"/>
          <p:cNvCxnSpPr>
            <a:cxnSpLocks/>
            <a:endCxn id="1056" idx="0"/>
          </p:cNvCxnSpPr>
          <p:nvPr/>
        </p:nvCxnSpPr>
        <p:spPr bwMode="auto">
          <a:xfrm>
            <a:off x="6100281" y="2408385"/>
            <a:ext cx="955" cy="3647657"/>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1058" name="Freeform 9"/>
          <p:cNvSpPr>
            <a:spLocks noChangeAspect="1"/>
          </p:cNvSpPr>
          <p:nvPr/>
        </p:nvSpPr>
        <p:spPr bwMode="auto">
          <a:xfrm>
            <a:off x="5629410" y="1841093"/>
            <a:ext cx="943653" cy="588098"/>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059" name="TextBox 1058"/>
          <p:cNvSpPr txBox="1"/>
          <p:nvPr/>
        </p:nvSpPr>
        <p:spPr>
          <a:xfrm>
            <a:off x="5289096" y="2055936"/>
            <a:ext cx="1584251"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Internet</a:t>
            </a:r>
          </a:p>
        </p:txBody>
      </p:sp>
      <p:sp>
        <p:nvSpPr>
          <p:cNvPr id="1060" name="Rounded Rectangle 12"/>
          <p:cNvSpPr/>
          <p:nvPr/>
        </p:nvSpPr>
        <p:spPr bwMode="auto">
          <a:xfrm>
            <a:off x="698897" y="1413778"/>
            <a:ext cx="3591453" cy="251563"/>
          </a:xfrm>
          <a:prstGeom prst="roundRect">
            <a:avLst/>
          </a:prstGeom>
          <a:solidFill>
            <a:schemeClr val="tx1">
              <a:alpha val="40000"/>
            </a:schemeClr>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rPr>
              <a:t>Enhanced Mobile Broadband</a:t>
            </a:r>
          </a:p>
        </p:txBody>
      </p:sp>
      <p:sp>
        <p:nvSpPr>
          <p:cNvPr id="1061" name="Freeform 3"/>
          <p:cNvSpPr>
            <a:spLocks noChangeAspect="1" noEditPoints="1"/>
          </p:cNvSpPr>
          <p:nvPr/>
        </p:nvSpPr>
        <p:spPr bwMode="auto">
          <a:xfrm>
            <a:off x="1566053" y="5890696"/>
            <a:ext cx="438750" cy="54000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2" name="Rounded Rectangle 32"/>
          <p:cNvSpPr/>
          <p:nvPr/>
        </p:nvSpPr>
        <p:spPr bwMode="auto">
          <a:xfrm>
            <a:off x="2045317" y="6056042"/>
            <a:ext cx="863600" cy="394403"/>
          </a:xfrm>
          <a:prstGeom prst="roundRect">
            <a:avLst/>
          </a:prstGeom>
          <a:solidFill>
            <a:srgbClr val="5B6592"/>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Radio</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processing</a:t>
            </a:r>
          </a:p>
        </p:txBody>
      </p:sp>
      <p:cxnSp>
        <p:nvCxnSpPr>
          <p:cNvPr id="1063" name="Straight Connector 1062"/>
          <p:cNvCxnSpPr>
            <a:cxnSpLocks/>
            <a:endCxn id="1062" idx="0"/>
          </p:cNvCxnSpPr>
          <p:nvPr/>
        </p:nvCxnSpPr>
        <p:spPr bwMode="auto">
          <a:xfrm>
            <a:off x="2474844" y="2428093"/>
            <a:ext cx="2273" cy="3627949"/>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1064" name="Freeform 9"/>
          <p:cNvSpPr>
            <a:spLocks noChangeAspect="1"/>
          </p:cNvSpPr>
          <p:nvPr/>
        </p:nvSpPr>
        <p:spPr bwMode="auto">
          <a:xfrm>
            <a:off x="2005291" y="1839995"/>
            <a:ext cx="943653" cy="588098"/>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065" name="TextBox 1064"/>
          <p:cNvSpPr txBox="1"/>
          <p:nvPr/>
        </p:nvSpPr>
        <p:spPr>
          <a:xfrm>
            <a:off x="1716553" y="2054838"/>
            <a:ext cx="1584251"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Internet</a:t>
            </a:r>
          </a:p>
        </p:txBody>
      </p:sp>
      <p:sp>
        <p:nvSpPr>
          <p:cNvPr id="1066" name="Rounded Rectangle 40"/>
          <p:cNvSpPr/>
          <p:nvPr/>
        </p:nvSpPr>
        <p:spPr bwMode="auto">
          <a:xfrm>
            <a:off x="2045317" y="3369118"/>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err="1">
                <a:ln>
                  <a:noFill/>
                </a:ln>
                <a:solidFill>
                  <a:srgbClr val="FFFFFF"/>
                </a:solidFill>
                <a:effectLst/>
                <a:uLnTx/>
                <a:uFillTx/>
              </a:rPr>
              <a:t>vEPC</a:t>
            </a:r>
            <a:endParaRPr kumimoji="0" lang="en-US" sz="1200" b="0" i="0" u="none" strike="noStrike" kern="0" cap="none" spc="0" normalizeH="0" baseline="0" noProof="0" dirty="0">
              <a:ln>
                <a:noFill/>
              </a:ln>
              <a:solidFill>
                <a:srgbClr val="FFFFFF"/>
              </a:solidFill>
              <a:effectLst/>
              <a:uLnTx/>
              <a:uFillTx/>
            </a:endParaRPr>
          </a:p>
        </p:txBody>
      </p:sp>
      <p:sp>
        <p:nvSpPr>
          <p:cNvPr id="1067" name="Rounded Rectangle 50"/>
          <p:cNvSpPr/>
          <p:nvPr/>
        </p:nvSpPr>
        <p:spPr bwMode="auto">
          <a:xfrm>
            <a:off x="2045317" y="4829321"/>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Virtualized</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RAN</a:t>
            </a:r>
          </a:p>
        </p:txBody>
      </p:sp>
      <p:sp>
        <p:nvSpPr>
          <p:cNvPr id="1068" name="Freeform 3"/>
          <p:cNvSpPr>
            <a:spLocks noChangeAspect="1" noEditPoints="1"/>
          </p:cNvSpPr>
          <p:nvPr/>
        </p:nvSpPr>
        <p:spPr bwMode="auto">
          <a:xfrm>
            <a:off x="8931603" y="5890696"/>
            <a:ext cx="438750" cy="54000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9" name="Rounded Rectangle 54"/>
          <p:cNvSpPr/>
          <p:nvPr/>
        </p:nvSpPr>
        <p:spPr bwMode="auto">
          <a:xfrm>
            <a:off x="9427269" y="6056042"/>
            <a:ext cx="863600" cy="394403"/>
          </a:xfrm>
          <a:prstGeom prst="roundRect">
            <a:avLst/>
          </a:prstGeom>
          <a:solidFill>
            <a:srgbClr val="5B6592"/>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Radio</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processing</a:t>
            </a:r>
          </a:p>
        </p:txBody>
      </p:sp>
      <p:cxnSp>
        <p:nvCxnSpPr>
          <p:cNvPr id="1070" name="Straight Connector 1069"/>
          <p:cNvCxnSpPr>
            <a:cxnSpLocks/>
            <a:endCxn id="1069" idx="0"/>
          </p:cNvCxnSpPr>
          <p:nvPr/>
        </p:nvCxnSpPr>
        <p:spPr bwMode="auto">
          <a:xfrm>
            <a:off x="9859069" y="2429191"/>
            <a:ext cx="0" cy="3626851"/>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1071" name="Freeform 9"/>
          <p:cNvSpPr>
            <a:spLocks noChangeAspect="1"/>
          </p:cNvSpPr>
          <p:nvPr/>
        </p:nvSpPr>
        <p:spPr bwMode="auto">
          <a:xfrm>
            <a:off x="9387243" y="1841093"/>
            <a:ext cx="943653" cy="588098"/>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072" name="TextBox 1071"/>
          <p:cNvSpPr txBox="1"/>
          <p:nvPr/>
        </p:nvSpPr>
        <p:spPr>
          <a:xfrm>
            <a:off x="9074830" y="2055936"/>
            <a:ext cx="1584251"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Internet</a:t>
            </a:r>
          </a:p>
        </p:txBody>
      </p:sp>
      <p:sp>
        <p:nvSpPr>
          <p:cNvPr id="1073" name="Rounded Rectangle 46"/>
          <p:cNvSpPr/>
          <p:nvPr/>
        </p:nvSpPr>
        <p:spPr bwMode="auto">
          <a:xfrm>
            <a:off x="9427269" y="2551266"/>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err="1">
                <a:ln>
                  <a:noFill/>
                </a:ln>
                <a:solidFill>
                  <a:srgbClr val="FFFFFF"/>
                </a:solidFill>
                <a:effectLst/>
                <a:uLnTx/>
                <a:uFillTx/>
              </a:rPr>
              <a:t>vEPC</a:t>
            </a:r>
            <a:endParaRPr kumimoji="0" lang="en-US" sz="1200" b="0" i="0" u="none" strike="noStrike" kern="0" cap="none" spc="0" normalizeH="0" baseline="0" noProof="0" dirty="0">
              <a:ln>
                <a:noFill/>
              </a:ln>
              <a:solidFill>
                <a:srgbClr val="FFFFFF"/>
              </a:solidFill>
              <a:effectLst/>
              <a:uLnTx/>
              <a:uFillTx/>
            </a:endParaRPr>
          </a:p>
        </p:txBody>
      </p:sp>
      <p:sp>
        <p:nvSpPr>
          <p:cNvPr id="1074" name="Rounded Rectangle 55"/>
          <p:cNvSpPr/>
          <p:nvPr/>
        </p:nvSpPr>
        <p:spPr bwMode="auto">
          <a:xfrm>
            <a:off x="9427269" y="3369118"/>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Virtualized</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RAN</a:t>
            </a:r>
          </a:p>
        </p:txBody>
      </p:sp>
      <p:sp>
        <p:nvSpPr>
          <p:cNvPr id="1075" name="Rounded Rectangle 50"/>
          <p:cNvSpPr/>
          <p:nvPr/>
        </p:nvSpPr>
        <p:spPr bwMode="auto">
          <a:xfrm>
            <a:off x="5669436" y="5287983"/>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rPr>
              <a:t>Virtualized</a:t>
            </a:r>
            <a:br>
              <a:rPr kumimoji="0" lang="en-US" sz="1200" b="0" i="0" u="none" strike="noStrike" kern="0" cap="none" spc="0" normalizeH="0" baseline="0" noProof="0" dirty="0">
                <a:ln>
                  <a:noFill/>
                </a:ln>
                <a:solidFill>
                  <a:srgbClr val="FFFFFF"/>
                </a:solidFill>
                <a:effectLst/>
                <a:uLnTx/>
                <a:uFillTx/>
              </a:rPr>
            </a:br>
            <a:r>
              <a:rPr kumimoji="0" lang="en-US" sz="1200" b="0" i="0" u="none" strike="noStrike" kern="0" cap="none" spc="0" normalizeH="0" baseline="0" noProof="0" dirty="0">
                <a:ln>
                  <a:noFill/>
                </a:ln>
                <a:solidFill>
                  <a:srgbClr val="FFFFFF"/>
                </a:solidFill>
                <a:effectLst/>
                <a:uLnTx/>
                <a:uFillTx/>
              </a:rPr>
              <a:t>RAN</a:t>
            </a:r>
          </a:p>
        </p:txBody>
      </p:sp>
      <p:sp>
        <p:nvSpPr>
          <p:cNvPr id="1076" name="Rounded Rectangle 40"/>
          <p:cNvSpPr/>
          <p:nvPr/>
        </p:nvSpPr>
        <p:spPr bwMode="auto">
          <a:xfrm>
            <a:off x="5669436" y="4833320"/>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err="1">
                <a:ln>
                  <a:noFill/>
                </a:ln>
                <a:solidFill>
                  <a:srgbClr val="FFFFFF"/>
                </a:solidFill>
                <a:effectLst/>
                <a:uLnTx/>
                <a:uFillTx/>
              </a:rPr>
              <a:t>vEPC</a:t>
            </a:r>
            <a:endParaRPr kumimoji="0" lang="en-US" sz="1200" b="0" i="0" u="none" strike="noStrike" kern="0" cap="none" spc="0" normalizeH="0" baseline="0" noProof="0" dirty="0">
              <a:ln>
                <a:noFill/>
              </a:ln>
              <a:solidFill>
                <a:srgbClr val="FFFFFF"/>
              </a:solidFill>
              <a:effectLst/>
              <a:uLnTx/>
              <a:uFillTx/>
            </a:endParaRPr>
          </a:p>
        </p:txBody>
      </p:sp>
      <p:sp>
        <p:nvSpPr>
          <p:cNvPr id="1077" name="TextBox 1076"/>
          <p:cNvSpPr txBox="1"/>
          <p:nvPr/>
        </p:nvSpPr>
        <p:spPr>
          <a:xfrm>
            <a:off x="6655779" y="5627532"/>
            <a:ext cx="130356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1ms</a:t>
            </a:r>
          </a:p>
        </p:txBody>
      </p:sp>
      <p:sp>
        <p:nvSpPr>
          <p:cNvPr id="1078" name="TextBox 1077"/>
          <p:cNvSpPr txBox="1"/>
          <p:nvPr/>
        </p:nvSpPr>
        <p:spPr>
          <a:xfrm>
            <a:off x="2618749" y="5634264"/>
            <a:ext cx="130356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5ms</a:t>
            </a:r>
          </a:p>
        </p:txBody>
      </p:sp>
      <p:sp>
        <p:nvSpPr>
          <p:cNvPr id="1079" name="TextBox 1078"/>
          <p:cNvSpPr txBox="1"/>
          <p:nvPr/>
        </p:nvSpPr>
        <p:spPr>
          <a:xfrm>
            <a:off x="2614851" y="4267202"/>
            <a:ext cx="140294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30ms</a:t>
            </a:r>
          </a:p>
        </p:txBody>
      </p:sp>
      <p:sp>
        <p:nvSpPr>
          <p:cNvPr id="1080" name="TextBox 1079"/>
          <p:cNvSpPr txBox="1"/>
          <p:nvPr/>
        </p:nvSpPr>
        <p:spPr>
          <a:xfrm>
            <a:off x="6650322" y="5117340"/>
            <a:ext cx="130356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1ms</a:t>
            </a:r>
          </a:p>
        </p:txBody>
      </p:sp>
      <p:sp>
        <p:nvSpPr>
          <p:cNvPr id="1081" name="TextBox 1080"/>
          <p:cNvSpPr txBox="1"/>
          <p:nvPr/>
        </p:nvSpPr>
        <p:spPr>
          <a:xfrm>
            <a:off x="10083897" y="3016830"/>
            <a:ext cx="140294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30ms</a:t>
            </a:r>
          </a:p>
        </p:txBody>
      </p:sp>
      <p:sp>
        <p:nvSpPr>
          <p:cNvPr id="1082" name="TextBox 1081"/>
          <p:cNvSpPr txBox="1"/>
          <p:nvPr/>
        </p:nvSpPr>
        <p:spPr>
          <a:xfrm>
            <a:off x="10091313" y="4247237"/>
            <a:ext cx="140294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Latency ~30ms</a:t>
            </a:r>
          </a:p>
        </p:txBody>
      </p:sp>
      <p:sp>
        <p:nvSpPr>
          <p:cNvPr id="1083" name="Rounded Rectangle 40"/>
          <p:cNvSpPr/>
          <p:nvPr/>
        </p:nvSpPr>
        <p:spPr bwMode="auto">
          <a:xfrm>
            <a:off x="4702724" y="4833320"/>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Application</a:t>
            </a:r>
          </a:p>
        </p:txBody>
      </p:sp>
      <p:sp>
        <p:nvSpPr>
          <p:cNvPr id="1084" name="Rounded Rectangle 40"/>
          <p:cNvSpPr/>
          <p:nvPr/>
        </p:nvSpPr>
        <p:spPr bwMode="auto">
          <a:xfrm>
            <a:off x="997322" y="1902833"/>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Application</a:t>
            </a:r>
          </a:p>
        </p:txBody>
      </p:sp>
      <p:sp>
        <p:nvSpPr>
          <p:cNvPr id="1085" name="Rounded Rectangle 40"/>
          <p:cNvSpPr/>
          <p:nvPr/>
        </p:nvSpPr>
        <p:spPr bwMode="auto">
          <a:xfrm>
            <a:off x="8429839" y="1886496"/>
            <a:ext cx="863600" cy="394403"/>
          </a:xfrm>
          <a:prstGeom prst="roundRect">
            <a:avLst/>
          </a:prstGeom>
          <a:solidFill>
            <a:srgbClr val="F08A00"/>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rPr>
              <a:t>Application</a:t>
            </a:r>
          </a:p>
        </p:txBody>
      </p:sp>
    </p:spTree>
    <p:extLst>
      <p:ext uri="{BB962C8B-B14F-4D97-AF65-F5344CB8AC3E}">
        <p14:creationId xmlns:p14="http://schemas.microsoft.com/office/powerpoint/2010/main" val="896643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sp>
        <p:nvSpPr>
          <p:cNvPr id="7171" name="Title 3"/>
          <p:cNvSpPr>
            <a:spLocks noGrp="1"/>
          </p:cNvSpPr>
          <p:nvPr>
            <p:ph type="title"/>
          </p:nvPr>
        </p:nvSpPr>
        <p:spPr>
          <a:xfrm>
            <a:off x="525463" y="239713"/>
            <a:ext cx="10636250" cy="1085850"/>
          </a:xfrm>
          <a:noFill/>
        </p:spPr>
        <p:txBody>
          <a:bodyPr/>
          <a:lstStyle/>
          <a:p>
            <a:r>
              <a:rPr lang="en-US" altLang="en-US" sz="4000" dirty="0">
                <a:solidFill>
                  <a:schemeClr val="bg1"/>
                </a:solidFill>
                <a:latin typeface="Ericsson Capital TT" pitchFamily="2" charset="0"/>
              </a:rPr>
              <a:t>One Network – Multiple Industries</a:t>
            </a:r>
          </a:p>
        </p:txBody>
      </p:sp>
      <p:sp>
        <p:nvSpPr>
          <p:cNvPr id="161" name="Content Placeholder 1"/>
          <p:cNvSpPr txBox="1">
            <a:spLocks/>
          </p:cNvSpPr>
          <p:nvPr/>
        </p:nvSpPr>
        <p:spPr>
          <a:xfrm>
            <a:off x="407988" y="1255808"/>
            <a:ext cx="4776787" cy="1141412"/>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buFont typeface="Arial" charset="0"/>
              <a:buNone/>
              <a:defRPr/>
            </a:pPr>
            <a:r>
              <a:rPr lang="en-US" sz="2000" kern="0" dirty="0">
                <a:solidFill>
                  <a:schemeClr val="bg1"/>
                </a:solidFill>
              </a:rPr>
              <a:t>From dedicated physical networks and resources for different applications…</a:t>
            </a:r>
          </a:p>
        </p:txBody>
      </p:sp>
      <p:sp>
        <p:nvSpPr>
          <p:cNvPr id="166" name="Rounded Rectangle 165"/>
          <p:cNvSpPr/>
          <p:nvPr/>
        </p:nvSpPr>
        <p:spPr bwMode="auto">
          <a:xfrm>
            <a:off x="2994025" y="2703608"/>
            <a:ext cx="693738"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67" name="Rounded Rectangle 166"/>
          <p:cNvSpPr/>
          <p:nvPr/>
        </p:nvSpPr>
        <p:spPr bwMode="auto">
          <a:xfrm>
            <a:off x="2994025" y="3811683"/>
            <a:ext cx="693738"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68" name="Rounded Rectangle 167"/>
          <p:cNvSpPr/>
          <p:nvPr/>
        </p:nvSpPr>
        <p:spPr bwMode="auto">
          <a:xfrm>
            <a:off x="2994025" y="4921345"/>
            <a:ext cx="693738" cy="692150"/>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15" name="TextBox 114"/>
          <p:cNvSpPr txBox="1">
            <a:spLocks noChangeArrowheads="1"/>
          </p:cNvSpPr>
          <p:nvPr/>
        </p:nvSpPr>
        <p:spPr bwMode="auto">
          <a:xfrm>
            <a:off x="2919413" y="3827558"/>
            <a:ext cx="84455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err="1">
                <a:ea typeface="ＭＳ Ｐゴシック" pitchFamily="34" charset="-128"/>
              </a:rPr>
              <a:t>NWn</a:t>
            </a:r>
            <a:endParaRPr lang="en-US" dirty="0">
              <a:ea typeface="ＭＳ Ｐゴシック" pitchFamily="34" charset="-128"/>
            </a:endParaRPr>
          </a:p>
        </p:txBody>
      </p:sp>
      <p:sp>
        <p:nvSpPr>
          <p:cNvPr id="116" name="TextBox 10"/>
          <p:cNvSpPr txBox="1">
            <a:spLocks noChangeArrowheads="1"/>
          </p:cNvSpPr>
          <p:nvPr/>
        </p:nvSpPr>
        <p:spPr bwMode="auto">
          <a:xfrm>
            <a:off x="3116263" y="4822920"/>
            <a:ext cx="44926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sz="1900" dirty="0" err="1">
                <a:ea typeface="ＭＳ Ｐゴシック" pitchFamily="34" charset="-128"/>
              </a:rPr>
              <a:t>fn</a:t>
            </a:r>
            <a:endParaRPr lang="en-US" sz="1900" dirty="0">
              <a:ea typeface="ＭＳ Ｐゴシック" pitchFamily="34" charset="-128"/>
            </a:endParaRPr>
          </a:p>
        </p:txBody>
      </p:sp>
      <p:sp>
        <p:nvSpPr>
          <p:cNvPr id="118" name="Freeform 5"/>
          <p:cNvSpPr>
            <a:spLocks noChangeAspect="1" noEditPoints="1"/>
          </p:cNvSpPr>
          <p:nvPr/>
        </p:nvSpPr>
        <p:spPr bwMode="auto">
          <a:xfrm>
            <a:off x="3348038" y="5272183"/>
            <a:ext cx="298450" cy="298450"/>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119" name="Freeform 8"/>
          <p:cNvSpPr>
            <a:spLocks noChangeAspect="1" noEditPoints="1"/>
          </p:cNvSpPr>
          <p:nvPr/>
        </p:nvSpPr>
        <p:spPr bwMode="auto">
          <a:xfrm>
            <a:off x="3167063" y="4306983"/>
            <a:ext cx="347662" cy="381000"/>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tx2">
              <a:lumMod val="90000"/>
              <a:lumOff val="10000"/>
            </a:schemeClr>
          </a:solidFill>
          <a:ln>
            <a:noFill/>
          </a:ln>
          <a:extLst/>
        </p:spPr>
        <p:txBody>
          <a:bodyPr lIns="91370" tIns="45690" rIns="91370" bIns="45690"/>
          <a:lstStyle/>
          <a:p>
            <a:pPr>
              <a:defRPr/>
            </a:pPr>
            <a:endParaRPr lang="en-US">
              <a:ea typeface="ＭＳ Ｐゴシック" pitchFamily="34" charset="-128"/>
            </a:endParaRPr>
          </a:p>
        </p:txBody>
      </p:sp>
      <p:sp>
        <p:nvSpPr>
          <p:cNvPr id="101" name="Freeform 6"/>
          <p:cNvSpPr>
            <a:spLocks noEditPoints="1"/>
          </p:cNvSpPr>
          <p:nvPr/>
        </p:nvSpPr>
        <p:spPr bwMode="auto">
          <a:xfrm>
            <a:off x="3087688" y="3243358"/>
            <a:ext cx="506412" cy="349250"/>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169" name="Rounded Rectangle 168"/>
          <p:cNvSpPr/>
          <p:nvPr/>
        </p:nvSpPr>
        <p:spPr bwMode="auto">
          <a:xfrm>
            <a:off x="1903413" y="2703608"/>
            <a:ext cx="693737"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70" name="Rounded Rectangle 169"/>
          <p:cNvSpPr/>
          <p:nvPr/>
        </p:nvSpPr>
        <p:spPr bwMode="auto">
          <a:xfrm>
            <a:off x="1903413" y="3811683"/>
            <a:ext cx="693737"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71" name="Rounded Rectangle 170"/>
          <p:cNvSpPr/>
          <p:nvPr/>
        </p:nvSpPr>
        <p:spPr bwMode="auto">
          <a:xfrm>
            <a:off x="1903413" y="4921345"/>
            <a:ext cx="693737" cy="692150"/>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72" name="Rounded Rectangle 171"/>
          <p:cNvSpPr/>
          <p:nvPr/>
        </p:nvSpPr>
        <p:spPr bwMode="auto">
          <a:xfrm>
            <a:off x="1079500" y="2703608"/>
            <a:ext cx="693738"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73" name="Rounded Rectangle 172"/>
          <p:cNvSpPr/>
          <p:nvPr/>
        </p:nvSpPr>
        <p:spPr bwMode="auto">
          <a:xfrm>
            <a:off x="1079500" y="3811683"/>
            <a:ext cx="693738" cy="1049337"/>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174" name="Rounded Rectangle 173"/>
          <p:cNvSpPr/>
          <p:nvPr/>
        </p:nvSpPr>
        <p:spPr bwMode="auto">
          <a:xfrm>
            <a:off x="1079500" y="4921345"/>
            <a:ext cx="693738" cy="692150"/>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endParaRPr lang="en-US" sz="1800" dirty="0">
              <a:solidFill>
                <a:schemeClr val="tx1"/>
              </a:solidFill>
            </a:endParaRPr>
          </a:p>
        </p:txBody>
      </p:sp>
      <p:sp>
        <p:nvSpPr>
          <p:cNvPr id="55" name="TextBox 54"/>
          <p:cNvSpPr txBox="1">
            <a:spLocks noChangeArrowheads="1"/>
          </p:cNvSpPr>
          <p:nvPr/>
        </p:nvSpPr>
        <p:spPr bwMode="auto">
          <a:xfrm>
            <a:off x="1017588" y="3825970"/>
            <a:ext cx="8175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err="1">
                <a:ea typeface="ＭＳ Ｐゴシック" pitchFamily="34" charset="-128"/>
              </a:rPr>
              <a:t>NW1</a:t>
            </a:r>
            <a:endParaRPr lang="en-US" dirty="0">
              <a:ea typeface="ＭＳ Ｐゴシック" pitchFamily="34" charset="-128"/>
            </a:endParaRPr>
          </a:p>
        </p:txBody>
      </p:sp>
      <p:sp>
        <p:nvSpPr>
          <p:cNvPr id="56" name="TextBox 10"/>
          <p:cNvSpPr txBox="1">
            <a:spLocks noChangeArrowheads="1"/>
          </p:cNvSpPr>
          <p:nvPr/>
        </p:nvSpPr>
        <p:spPr bwMode="auto">
          <a:xfrm>
            <a:off x="1201738" y="4821333"/>
            <a:ext cx="449262"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sz="1900">
                <a:ea typeface="ＭＳ Ｐゴシック" pitchFamily="34" charset="-128"/>
              </a:rPr>
              <a:t>f1</a:t>
            </a:r>
          </a:p>
        </p:txBody>
      </p:sp>
      <p:sp>
        <p:nvSpPr>
          <p:cNvPr id="86" name="Freeform 5"/>
          <p:cNvSpPr>
            <a:spLocks noChangeAspect="1" noEditPoints="1"/>
          </p:cNvSpPr>
          <p:nvPr/>
        </p:nvSpPr>
        <p:spPr bwMode="auto">
          <a:xfrm>
            <a:off x="1433513" y="5272183"/>
            <a:ext cx="298450" cy="298450"/>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98" name="Freeform 8"/>
          <p:cNvSpPr>
            <a:spLocks noChangeAspect="1" noEditPoints="1"/>
          </p:cNvSpPr>
          <p:nvPr/>
        </p:nvSpPr>
        <p:spPr bwMode="auto">
          <a:xfrm>
            <a:off x="1252538" y="4305395"/>
            <a:ext cx="347662" cy="381000"/>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tx2">
              <a:lumMod val="90000"/>
              <a:lumOff val="10000"/>
            </a:schemeClr>
          </a:solidFill>
          <a:ln>
            <a:noFill/>
          </a:ln>
          <a:extLst/>
        </p:spPr>
        <p:txBody>
          <a:bodyPr lIns="91370" tIns="45690" rIns="91370" bIns="45690"/>
          <a:lstStyle/>
          <a:p>
            <a:pPr>
              <a:defRPr/>
            </a:pPr>
            <a:endParaRPr lang="en-US">
              <a:ea typeface="ＭＳ Ｐゴシック" pitchFamily="34" charset="-128"/>
            </a:endParaRPr>
          </a:p>
        </p:txBody>
      </p:sp>
      <p:sp>
        <p:nvSpPr>
          <p:cNvPr id="102" name="Freeform 6"/>
          <p:cNvSpPr>
            <a:spLocks noEditPoints="1"/>
          </p:cNvSpPr>
          <p:nvPr/>
        </p:nvSpPr>
        <p:spPr bwMode="auto">
          <a:xfrm>
            <a:off x="1314450" y="3210020"/>
            <a:ext cx="222250" cy="415925"/>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107" name="TextBox 106"/>
          <p:cNvSpPr txBox="1">
            <a:spLocks noChangeArrowheads="1"/>
          </p:cNvSpPr>
          <p:nvPr/>
        </p:nvSpPr>
        <p:spPr bwMode="auto">
          <a:xfrm>
            <a:off x="1851025" y="3821208"/>
            <a:ext cx="84296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err="1">
                <a:ea typeface="ＭＳ Ｐゴシック" pitchFamily="34" charset="-128"/>
              </a:rPr>
              <a:t>NW2</a:t>
            </a:r>
            <a:endParaRPr lang="en-US" dirty="0">
              <a:ea typeface="ＭＳ Ｐゴシック" pitchFamily="34" charset="-128"/>
            </a:endParaRPr>
          </a:p>
        </p:txBody>
      </p:sp>
      <p:sp>
        <p:nvSpPr>
          <p:cNvPr id="108" name="TextBox 10"/>
          <p:cNvSpPr txBox="1">
            <a:spLocks noChangeArrowheads="1"/>
          </p:cNvSpPr>
          <p:nvPr/>
        </p:nvSpPr>
        <p:spPr bwMode="auto">
          <a:xfrm>
            <a:off x="2025650" y="4816570"/>
            <a:ext cx="449263"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sz="1900" dirty="0" err="1">
                <a:ea typeface="ＭＳ Ｐゴシック" pitchFamily="34" charset="-128"/>
              </a:rPr>
              <a:t>f2</a:t>
            </a:r>
            <a:endParaRPr lang="en-US" sz="1900" dirty="0">
              <a:ea typeface="ＭＳ Ｐゴシック" pitchFamily="34" charset="-128"/>
            </a:endParaRPr>
          </a:p>
        </p:txBody>
      </p:sp>
      <p:sp>
        <p:nvSpPr>
          <p:cNvPr id="110" name="Freeform 5"/>
          <p:cNvSpPr>
            <a:spLocks noChangeAspect="1" noEditPoints="1"/>
          </p:cNvSpPr>
          <p:nvPr/>
        </p:nvSpPr>
        <p:spPr bwMode="auto">
          <a:xfrm>
            <a:off x="2255838" y="5272183"/>
            <a:ext cx="298450" cy="298450"/>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111" name="Freeform 8"/>
          <p:cNvSpPr>
            <a:spLocks noChangeAspect="1" noEditPoints="1"/>
          </p:cNvSpPr>
          <p:nvPr/>
        </p:nvSpPr>
        <p:spPr bwMode="auto">
          <a:xfrm>
            <a:off x="2076450" y="4300633"/>
            <a:ext cx="347663" cy="381000"/>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tx2">
              <a:lumMod val="90000"/>
              <a:lumOff val="10000"/>
            </a:schemeClr>
          </a:solidFill>
          <a:ln>
            <a:noFill/>
          </a:ln>
          <a:extLst/>
        </p:spPr>
        <p:txBody>
          <a:bodyPr lIns="91370" tIns="45690" rIns="91370" bIns="45690"/>
          <a:lstStyle/>
          <a:p>
            <a:pPr>
              <a:defRPr/>
            </a:pPr>
            <a:endParaRPr lang="en-US">
              <a:ea typeface="ＭＳ Ｐゴシック" pitchFamily="34" charset="-128"/>
            </a:endParaRPr>
          </a:p>
        </p:txBody>
      </p:sp>
      <p:sp>
        <p:nvSpPr>
          <p:cNvPr id="103" name="Freeform 6"/>
          <p:cNvSpPr>
            <a:spLocks noEditPoints="1"/>
          </p:cNvSpPr>
          <p:nvPr/>
        </p:nvSpPr>
        <p:spPr bwMode="auto">
          <a:xfrm>
            <a:off x="1992313" y="3251295"/>
            <a:ext cx="515937" cy="333375"/>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229" y="104"/>
                </a:moveTo>
                <a:cubicBezTo>
                  <a:pt x="241" y="104"/>
                  <a:pt x="251" y="114"/>
                  <a:pt x="251" y="127"/>
                </a:cubicBezTo>
                <a:cubicBezTo>
                  <a:pt x="251" y="151"/>
                  <a:pt x="251" y="151"/>
                  <a:pt x="251" y="151"/>
                </a:cubicBezTo>
                <a:cubicBezTo>
                  <a:pt x="251" y="165"/>
                  <a:pt x="263" y="177"/>
                  <a:pt x="277" y="177"/>
                </a:cubicBezTo>
                <a:cubicBezTo>
                  <a:pt x="291" y="177"/>
                  <a:pt x="302" y="165"/>
                  <a:pt x="302" y="151"/>
                </a:cubicBezTo>
                <a:cubicBezTo>
                  <a:pt x="303" y="121"/>
                  <a:pt x="303" y="121"/>
                  <a:pt x="303" y="121"/>
                </a:cubicBezTo>
                <a:cubicBezTo>
                  <a:pt x="303" y="80"/>
                  <a:pt x="270" y="47"/>
                  <a:pt x="229" y="47"/>
                </a:cubicBezTo>
                <a:cubicBezTo>
                  <a:pt x="188" y="47"/>
                  <a:pt x="155" y="80"/>
                  <a:pt x="155" y="121"/>
                </a:cubicBezTo>
                <a:cubicBezTo>
                  <a:pt x="155" y="146"/>
                  <a:pt x="155" y="146"/>
                  <a:pt x="155" y="146"/>
                </a:cubicBezTo>
                <a:cubicBezTo>
                  <a:pt x="155" y="187"/>
                  <a:pt x="188" y="220"/>
                  <a:pt x="229" y="220"/>
                </a:cubicBezTo>
                <a:cubicBezTo>
                  <a:pt x="243" y="220"/>
                  <a:pt x="258" y="214"/>
                  <a:pt x="269" y="205"/>
                </a:cubicBezTo>
                <a:cubicBezTo>
                  <a:pt x="273" y="202"/>
                  <a:pt x="273" y="197"/>
                  <a:pt x="270" y="194"/>
                </a:cubicBezTo>
                <a:cubicBezTo>
                  <a:pt x="267" y="191"/>
                  <a:pt x="262" y="190"/>
                  <a:pt x="259" y="193"/>
                </a:cubicBezTo>
                <a:cubicBezTo>
                  <a:pt x="251" y="200"/>
                  <a:pt x="240" y="204"/>
                  <a:pt x="229" y="204"/>
                </a:cubicBezTo>
                <a:cubicBezTo>
                  <a:pt x="197" y="204"/>
                  <a:pt x="171" y="178"/>
                  <a:pt x="171" y="146"/>
                </a:cubicBezTo>
                <a:cubicBezTo>
                  <a:pt x="171" y="121"/>
                  <a:pt x="171" y="121"/>
                  <a:pt x="171" y="121"/>
                </a:cubicBezTo>
                <a:cubicBezTo>
                  <a:pt x="171" y="89"/>
                  <a:pt x="197" y="63"/>
                  <a:pt x="229" y="63"/>
                </a:cubicBezTo>
                <a:cubicBezTo>
                  <a:pt x="261" y="63"/>
                  <a:pt x="287" y="89"/>
                  <a:pt x="287" y="120"/>
                </a:cubicBezTo>
                <a:cubicBezTo>
                  <a:pt x="286" y="151"/>
                  <a:pt x="286" y="151"/>
                  <a:pt x="286" y="151"/>
                </a:cubicBezTo>
                <a:cubicBezTo>
                  <a:pt x="286" y="156"/>
                  <a:pt x="282" y="161"/>
                  <a:pt x="277" y="161"/>
                </a:cubicBezTo>
                <a:cubicBezTo>
                  <a:pt x="272" y="161"/>
                  <a:pt x="267" y="156"/>
                  <a:pt x="267" y="151"/>
                </a:cubicBezTo>
                <a:cubicBezTo>
                  <a:pt x="267" y="126"/>
                  <a:pt x="267" y="126"/>
                  <a:pt x="267" y="126"/>
                </a:cubicBezTo>
                <a:cubicBezTo>
                  <a:pt x="267" y="106"/>
                  <a:pt x="250" y="88"/>
                  <a:pt x="229" y="88"/>
                </a:cubicBezTo>
                <a:cubicBezTo>
                  <a:pt x="208" y="88"/>
                  <a:pt x="191" y="106"/>
                  <a:pt x="191" y="126"/>
                </a:cubicBezTo>
                <a:cubicBezTo>
                  <a:pt x="191" y="141"/>
                  <a:pt x="191" y="141"/>
                  <a:pt x="191" y="141"/>
                </a:cubicBezTo>
                <a:cubicBezTo>
                  <a:pt x="191" y="157"/>
                  <a:pt x="201" y="171"/>
                  <a:pt x="217" y="176"/>
                </a:cubicBezTo>
                <a:cubicBezTo>
                  <a:pt x="221" y="178"/>
                  <a:pt x="226" y="175"/>
                  <a:pt x="227" y="171"/>
                </a:cubicBezTo>
                <a:cubicBezTo>
                  <a:pt x="229" y="167"/>
                  <a:pt x="226" y="163"/>
                  <a:pt x="222" y="161"/>
                </a:cubicBezTo>
                <a:cubicBezTo>
                  <a:pt x="213" y="158"/>
                  <a:pt x="207" y="150"/>
                  <a:pt x="207" y="141"/>
                </a:cubicBezTo>
                <a:cubicBezTo>
                  <a:pt x="207" y="126"/>
                  <a:pt x="207" y="126"/>
                  <a:pt x="207" y="126"/>
                </a:cubicBezTo>
                <a:cubicBezTo>
                  <a:pt x="207" y="114"/>
                  <a:pt x="217" y="104"/>
                  <a:pt x="229" y="104"/>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grpSp>
        <p:nvGrpSpPr>
          <p:cNvPr id="7197" name="Group 8"/>
          <p:cNvGrpSpPr>
            <a:grpSpLocks/>
          </p:cNvGrpSpPr>
          <p:nvPr/>
        </p:nvGrpSpPr>
        <p:grpSpPr bwMode="auto">
          <a:xfrm flipV="1">
            <a:off x="2684463" y="4235545"/>
            <a:ext cx="207962" cy="46038"/>
            <a:chOff x="2330964" y="4345497"/>
            <a:chExt cx="304800" cy="67112"/>
          </a:xfrm>
        </p:grpSpPr>
        <p:sp>
          <p:nvSpPr>
            <p:cNvPr id="7236" name="Oval 120"/>
            <p:cNvSpPr>
              <a:spLocks noChangeArrowheads="1"/>
            </p:cNvSpPr>
            <p:nvPr/>
          </p:nvSpPr>
          <p:spPr bwMode="auto">
            <a:xfrm>
              <a:off x="2449808" y="4345497"/>
              <a:ext cx="67112" cy="67112"/>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37" name="Oval 121"/>
            <p:cNvSpPr>
              <a:spLocks noChangeArrowheads="1"/>
            </p:cNvSpPr>
            <p:nvPr/>
          </p:nvSpPr>
          <p:spPr bwMode="auto">
            <a:xfrm>
              <a:off x="2568652" y="4345497"/>
              <a:ext cx="67112" cy="67112"/>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38" name="Oval 2"/>
            <p:cNvSpPr>
              <a:spLocks noChangeArrowheads="1"/>
            </p:cNvSpPr>
            <p:nvPr/>
          </p:nvSpPr>
          <p:spPr bwMode="auto">
            <a:xfrm>
              <a:off x="2330964" y="4345497"/>
              <a:ext cx="67112" cy="67112"/>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grpSp>
      <p:sp>
        <p:nvSpPr>
          <p:cNvPr id="175" name="TextBox 174"/>
          <p:cNvSpPr txBox="1">
            <a:spLocks noChangeArrowheads="1"/>
          </p:cNvSpPr>
          <p:nvPr/>
        </p:nvSpPr>
        <p:spPr bwMode="auto">
          <a:xfrm>
            <a:off x="1146175" y="2675033"/>
            <a:ext cx="5603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err="1">
                <a:ea typeface="ＭＳ Ｐゴシック" pitchFamily="34" charset="-128"/>
              </a:rPr>
              <a:t>S1</a:t>
            </a:r>
            <a:endParaRPr lang="en-US" dirty="0">
              <a:ea typeface="ＭＳ Ｐゴシック" pitchFamily="34" charset="-128"/>
            </a:endParaRPr>
          </a:p>
        </p:txBody>
      </p:sp>
      <p:sp>
        <p:nvSpPr>
          <p:cNvPr id="176" name="TextBox 175"/>
          <p:cNvSpPr txBox="1">
            <a:spLocks noChangeArrowheads="1"/>
          </p:cNvSpPr>
          <p:nvPr/>
        </p:nvSpPr>
        <p:spPr bwMode="auto">
          <a:xfrm>
            <a:off x="1970088" y="2675033"/>
            <a:ext cx="56038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err="1">
                <a:ea typeface="ＭＳ Ｐゴシック" pitchFamily="34" charset="-128"/>
              </a:rPr>
              <a:t>S2</a:t>
            </a:r>
            <a:endParaRPr lang="en-US" dirty="0">
              <a:ea typeface="ＭＳ Ｐゴシック" pitchFamily="34" charset="-128"/>
            </a:endParaRPr>
          </a:p>
        </p:txBody>
      </p:sp>
      <p:sp>
        <p:nvSpPr>
          <p:cNvPr id="177" name="TextBox 176"/>
          <p:cNvSpPr txBox="1">
            <a:spLocks noChangeArrowheads="1"/>
          </p:cNvSpPr>
          <p:nvPr/>
        </p:nvSpPr>
        <p:spPr bwMode="auto">
          <a:xfrm>
            <a:off x="3060700" y="2675033"/>
            <a:ext cx="5603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6" tIns="60953" rIns="121906" bIns="60953">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defRPr/>
            </a:pPr>
            <a:r>
              <a:rPr lang="en-US" dirty="0">
                <a:ea typeface="ＭＳ Ｐゴシック" pitchFamily="34" charset="-128"/>
              </a:rPr>
              <a:t>Sn</a:t>
            </a:r>
          </a:p>
        </p:txBody>
      </p:sp>
      <p:sp>
        <p:nvSpPr>
          <p:cNvPr id="7201" name="Freeform 7"/>
          <p:cNvSpPr>
            <a:spLocks noChangeAspect="1"/>
          </p:cNvSpPr>
          <p:nvPr/>
        </p:nvSpPr>
        <p:spPr bwMode="auto">
          <a:xfrm>
            <a:off x="4427538" y="3417983"/>
            <a:ext cx="1489075" cy="925512"/>
          </a:xfrm>
          <a:custGeom>
            <a:avLst/>
            <a:gdLst>
              <a:gd name="T0" fmla="*/ 2147483647 w 733"/>
              <a:gd name="T1" fmla="*/ 2147483647 h 456"/>
              <a:gd name="T2" fmla="*/ 2147483647 w 733"/>
              <a:gd name="T3" fmla="*/ 2147483647 h 456"/>
              <a:gd name="T4" fmla="*/ 2147483647 w 733"/>
              <a:gd name="T5" fmla="*/ 2147483647 h 456"/>
              <a:gd name="T6" fmla="*/ 2147483647 w 733"/>
              <a:gd name="T7" fmla="*/ 2147483647 h 456"/>
              <a:gd name="T8" fmla="*/ 0 w 733"/>
              <a:gd name="T9" fmla="*/ 2147483647 h 456"/>
              <a:gd name="T10" fmla="*/ 2147483647 w 733"/>
              <a:gd name="T11" fmla="*/ 2147483647 h 456"/>
              <a:gd name="T12" fmla="*/ 2147483647 w 733"/>
              <a:gd name="T13" fmla="*/ 2147483647 h 456"/>
              <a:gd name="T14" fmla="*/ 2147483647 w 733"/>
              <a:gd name="T15" fmla="*/ 2147483647 h 456"/>
              <a:gd name="T16" fmla="*/ 2147483647 w 733"/>
              <a:gd name="T17" fmla="*/ 2147483647 h 456"/>
              <a:gd name="T18" fmla="*/ 2147483647 w 733"/>
              <a:gd name="T19" fmla="*/ 0 h 456"/>
              <a:gd name="T20" fmla="*/ 2147483647 w 733"/>
              <a:gd name="T21" fmla="*/ 2147483647 h 456"/>
              <a:gd name="T22" fmla="*/ 2147483647 w 733"/>
              <a:gd name="T23" fmla="*/ 2147483647 h 456"/>
              <a:gd name="T24" fmla="*/ 2147483647 w 733"/>
              <a:gd name="T25" fmla="*/ 2147483647 h 456"/>
              <a:gd name="T26" fmla="*/ 2147483647 w 733"/>
              <a:gd name="T27" fmla="*/ 2147483647 h 456"/>
              <a:gd name="T28" fmla="*/ 2147483647 w 733"/>
              <a:gd name="T29" fmla="*/ 2147483647 h 456"/>
              <a:gd name="T30" fmla="*/ 2147483647 w 733"/>
              <a:gd name="T31" fmla="*/ 2147483647 h 456"/>
              <a:gd name="T32" fmla="*/ 2147483647 w 733"/>
              <a:gd name="T33" fmla="*/ 2147483647 h 456"/>
              <a:gd name="T34" fmla="*/ 2147483647 w 733"/>
              <a:gd name="T35" fmla="*/ 2147483647 h 456"/>
              <a:gd name="T36" fmla="*/ 2147483647 w 733"/>
              <a:gd name="T37" fmla="*/ 2147483647 h 456"/>
              <a:gd name="T38" fmla="*/ 2147483647 w 733"/>
              <a:gd name="T39" fmla="*/ 2147483647 h 456"/>
              <a:gd name="T40" fmla="*/ 2147483647 w 733"/>
              <a:gd name="T41" fmla="*/ 2147483647 h 456"/>
              <a:gd name="T42" fmla="*/ 2147483647 w 733"/>
              <a:gd name="T43" fmla="*/ 2147483647 h 456"/>
              <a:gd name="T44" fmla="*/ 2147483647 w 733"/>
              <a:gd name="T45" fmla="*/ 2147483647 h 456"/>
              <a:gd name="T46" fmla="*/ 2147483647 w 733"/>
              <a:gd name="T47" fmla="*/ 2147483647 h 456"/>
              <a:gd name="T48" fmla="*/ 2147483647 w 733"/>
              <a:gd name="T49" fmla="*/ 2147483647 h 456"/>
              <a:gd name="T50" fmla="*/ 2147483647 w 733"/>
              <a:gd name="T51" fmla="*/ 2147483647 h 456"/>
              <a:gd name="T52" fmla="*/ 2147483647 w 733"/>
              <a:gd name="T53" fmla="*/ 2147483647 h 456"/>
              <a:gd name="T54" fmla="*/ 2147483647 w 733"/>
              <a:gd name="T55" fmla="*/ 2147483647 h 456"/>
              <a:gd name="T56" fmla="*/ 2147483647 w 733"/>
              <a:gd name="T57" fmla="*/ 2147483647 h 456"/>
              <a:gd name="T58" fmla="*/ 2147483647 w 733"/>
              <a:gd name="T59" fmla="*/ 2147483647 h 456"/>
              <a:gd name="T60" fmla="*/ 2147483647 w 733"/>
              <a:gd name="T61" fmla="*/ 2147483647 h 456"/>
              <a:gd name="T62" fmla="*/ 2147483647 w 733"/>
              <a:gd name="T63" fmla="*/ 2147483647 h 456"/>
              <a:gd name="T64" fmla="*/ 2147483647 w 733"/>
              <a:gd name="T65" fmla="*/ 2147483647 h 456"/>
              <a:gd name="T66" fmla="*/ 2147483647 w 733"/>
              <a:gd name="T67" fmla="*/ 2147483647 h 456"/>
              <a:gd name="T68" fmla="*/ 2147483647 w 733"/>
              <a:gd name="T69" fmla="*/ 2147483647 h 456"/>
              <a:gd name="T70" fmla="*/ 2147483647 w 733"/>
              <a:gd name="T71" fmla="*/ 2147483647 h 456"/>
              <a:gd name="T72" fmla="*/ 2147483647 w 733"/>
              <a:gd name="T73" fmla="*/ 2147483647 h 456"/>
              <a:gd name="T74" fmla="*/ 2147483647 w 733"/>
              <a:gd name="T75" fmla="*/ 2147483647 h 456"/>
              <a:gd name="T76" fmla="*/ 2147483647 w 733"/>
              <a:gd name="T77" fmla="*/ 2147483647 h 456"/>
              <a:gd name="T78" fmla="*/ 2147483647 w 733"/>
              <a:gd name="T79" fmla="*/ 2147483647 h 456"/>
              <a:gd name="T80" fmla="*/ 2147483647 w 733"/>
              <a:gd name="T81" fmla="*/ 2147483647 h 456"/>
              <a:gd name="T82" fmla="*/ 2147483647 w 733"/>
              <a:gd name="T83" fmla="*/ 2147483647 h 456"/>
              <a:gd name="T84" fmla="*/ 2147483647 w 733"/>
              <a:gd name="T85" fmla="*/ 2147483647 h 456"/>
              <a:gd name="T86" fmla="*/ 2147483647 w 733"/>
              <a:gd name="T87" fmla="*/ 2147483647 h 456"/>
              <a:gd name="T88" fmla="*/ 2147483647 w 733"/>
              <a:gd name="T89" fmla="*/ 2147483647 h 456"/>
              <a:gd name="T90" fmla="*/ 2147483647 w 733"/>
              <a:gd name="T91" fmla="*/ 2147483647 h 45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33"/>
              <a:gd name="T139" fmla="*/ 0 h 456"/>
              <a:gd name="T140" fmla="*/ 733 w 733"/>
              <a:gd name="T141" fmla="*/ 456 h 45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33" h="456">
                <a:moveTo>
                  <a:pt x="600" y="456"/>
                </a:moveTo>
                <a:cubicBezTo>
                  <a:pt x="594" y="456"/>
                  <a:pt x="589" y="453"/>
                  <a:pt x="585" y="448"/>
                </a:cubicBezTo>
                <a:cubicBezTo>
                  <a:pt x="585" y="448"/>
                  <a:pt x="585" y="448"/>
                  <a:pt x="585" y="448"/>
                </a:cubicBezTo>
                <a:cubicBezTo>
                  <a:pt x="580" y="443"/>
                  <a:pt x="578" y="437"/>
                  <a:pt x="578" y="429"/>
                </a:cubicBezTo>
                <a:cubicBezTo>
                  <a:pt x="578" y="429"/>
                  <a:pt x="578" y="429"/>
                  <a:pt x="578" y="429"/>
                </a:cubicBezTo>
                <a:cubicBezTo>
                  <a:pt x="578" y="427"/>
                  <a:pt x="578" y="424"/>
                  <a:pt x="578" y="420"/>
                </a:cubicBezTo>
                <a:cubicBezTo>
                  <a:pt x="578" y="420"/>
                  <a:pt x="578" y="420"/>
                  <a:pt x="578" y="420"/>
                </a:cubicBezTo>
                <a:cubicBezTo>
                  <a:pt x="22" y="420"/>
                  <a:pt x="22" y="420"/>
                  <a:pt x="22" y="420"/>
                </a:cubicBezTo>
                <a:cubicBezTo>
                  <a:pt x="10" y="420"/>
                  <a:pt x="0" y="411"/>
                  <a:pt x="0" y="399"/>
                </a:cubicBezTo>
                <a:cubicBezTo>
                  <a:pt x="0" y="399"/>
                  <a:pt x="0" y="399"/>
                  <a:pt x="0" y="399"/>
                </a:cubicBezTo>
                <a:cubicBezTo>
                  <a:pt x="0" y="57"/>
                  <a:pt x="0" y="57"/>
                  <a:pt x="0" y="57"/>
                </a:cubicBezTo>
                <a:cubicBezTo>
                  <a:pt x="0" y="45"/>
                  <a:pt x="10" y="35"/>
                  <a:pt x="22" y="35"/>
                </a:cubicBezTo>
                <a:cubicBezTo>
                  <a:pt x="22" y="35"/>
                  <a:pt x="22" y="35"/>
                  <a:pt x="22" y="35"/>
                </a:cubicBezTo>
                <a:cubicBezTo>
                  <a:pt x="578" y="35"/>
                  <a:pt x="578" y="35"/>
                  <a:pt x="578" y="35"/>
                </a:cubicBezTo>
                <a:cubicBezTo>
                  <a:pt x="578" y="32"/>
                  <a:pt x="578" y="29"/>
                  <a:pt x="578" y="26"/>
                </a:cubicBezTo>
                <a:cubicBezTo>
                  <a:pt x="578" y="26"/>
                  <a:pt x="578" y="26"/>
                  <a:pt x="578" y="26"/>
                </a:cubicBezTo>
                <a:cubicBezTo>
                  <a:pt x="578" y="19"/>
                  <a:pt x="580" y="12"/>
                  <a:pt x="584" y="8"/>
                </a:cubicBezTo>
                <a:cubicBezTo>
                  <a:pt x="584" y="8"/>
                  <a:pt x="584" y="8"/>
                  <a:pt x="584" y="8"/>
                </a:cubicBezTo>
                <a:cubicBezTo>
                  <a:pt x="588" y="3"/>
                  <a:pt x="594" y="0"/>
                  <a:pt x="600" y="0"/>
                </a:cubicBezTo>
                <a:cubicBezTo>
                  <a:pt x="600" y="0"/>
                  <a:pt x="600" y="0"/>
                  <a:pt x="600" y="0"/>
                </a:cubicBezTo>
                <a:cubicBezTo>
                  <a:pt x="608" y="0"/>
                  <a:pt x="616" y="5"/>
                  <a:pt x="620" y="13"/>
                </a:cubicBezTo>
                <a:cubicBezTo>
                  <a:pt x="620" y="13"/>
                  <a:pt x="620" y="13"/>
                  <a:pt x="620" y="13"/>
                </a:cubicBezTo>
                <a:cubicBezTo>
                  <a:pt x="622" y="15"/>
                  <a:pt x="625" y="21"/>
                  <a:pt x="630" y="30"/>
                </a:cubicBezTo>
                <a:cubicBezTo>
                  <a:pt x="630" y="30"/>
                  <a:pt x="630" y="30"/>
                  <a:pt x="630" y="30"/>
                </a:cubicBezTo>
                <a:cubicBezTo>
                  <a:pt x="630" y="30"/>
                  <a:pt x="630" y="30"/>
                  <a:pt x="630" y="30"/>
                </a:cubicBezTo>
                <a:cubicBezTo>
                  <a:pt x="632" y="34"/>
                  <a:pt x="631" y="39"/>
                  <a:pt x="627" y="41"/>
                </a:cubicBezTo>
                <a:cubicBezTo>
                  <a:pt x="627" y="41"/>
                  <a:pt x="627" y="41"/>
                  <a:pt x="627" y="41"/>
                </a:cubicBezTo>
                <a:cubicBezTo>
                  <a:pt x="623" y="43"/>
                  <a:pt x="618" y="42"/>
                  <a:pt x="616" y="38"/>
                </a:cubicBezTo>
                <a:cubicBezTo>
                  <a:pt x="616" y="38"/>
                  <a:pt x="616" y="38"/>
                  <a:pt x="616" y="38"/>
                </a:cubicBezTo>
                <a:cubicBezTo>
                  <a:pt x="611" y="29"/>
                  <a:pt x="608" y="23"/>
                  <a:pt x="607" y="21"/>
                </a:cubicBezTo>
                <a:cubicBezTo>
                  <a:pt x="607" y="21"/>
                  <a:pt x="607" y="21"/>
                  <a:pt x="607" y="21"/>
                </a:cubicBezTo>
                <a:cubicBezTo>
                  <a:pt x="604" y="17"/>
                  <a:pt x="602" y="16"/>
                  <a:pt x="600" y="16"/>
                </a:cubicBezTo>
                <a:cubicBezTo>
                  <a:pt x="600" y="16"/>
                  <a:pt x="600" y="16"/>
                  <a:pt x="600" y="16"/>
                </a:cubicBezTo>
                <a:cubicBezTo>
                  <a:pt x="598" y="17"/>
                  <a:pt x="595" y="17"/>
                  <a:pt x="594" y="27"/>
                </a:cubicBezTo>
                <a:cubicBezTo>
                  <a:pt x="594" y="27"/>
                  <a:pt x="594" y="27"/>
                  <a:pt x="594" y="27"/>
                </a:cubicBezTo>
                <a:cubicBezTo>
                  <a:pt x="594" y="30"/>
                  <a:pt x="594" y="36"/>
                  <a:pt x="594" y="43"/>
                </a:cubicBezTo>
                <a:cubicBezTo>
                  <a:pt x="594" y="43"/>
                  <a:pt x="594" y="43"/>
                  <a:pt x="594" y="43"/>
                </a:cubicBezTo>
                <a:cubicBezTo>
                  <a:pt x="594" y="47"/>
                  <a:pt x="590" y="51"/>
                  <a:pt x="586" y="51"/>
                </a:cubicBezTo>
                <a:cubicBezTo>
                  <a:pt x="586" y="51"/>
                  <a:pt x="586" y="51"/>
                  <a:pt x="586" y="51"/>
                </a:cubicBezTo>
                <a:cubicBezTo>
                  <a:pt x="22" y="51"/>
                  <a:pt x="22" y="51"/>
                  <a:pt x="22" y="51"/>
                </a:cubicBezTo>
                <a:cubicBezTo>
                  <a:pt x="19" y="51"/>
                  <a:pt x="16" y="53"/>
                  <a:pt x="16" y="57"/>
                </a:cubicBezTo>
                <a:cubicBezTo>
                  <a:pt x="16" y="57"/>
                  <a:pt x="16" y="57"/>
                  <a:pt x="16" y="57"/>
                </a:cubicBezTo>
                <a:cubicBezTo>
                  <a:pt x="16" y="399"/>
                  <a:pt x="16" y="399"/>
                  <a:pt x="16" y="399"/>
                </a:cubicBezTo>
                <a:cubicBezTo>
                  <a:pt x="16" y="402"/>
                  <a:pt x="19" y="404"/>
                  <a:pt x="22" y="404"/>
                </a:cubicBezTo>
                <a:cubicBezTo>
                  <a:pt x="22" y="404"/>
                  <a:pt x="22" y="404"/>
                  <a:pt x="22" y="404"/>
                </a:cubicBezTo>
                <a:cubicBezTo>
                  <a:pt x="586" y="404"/>
                  <a:pt x="586" y="404"/>
                  <a:pt x="586" y="404"/>
                </a:cubicBezTo>
                <a:cubicBezTo>
                  <a:pt x="590" y="404"/>
                  <a:pt x="594" y="408"/>
                  <a:pt x="594" y="412"/>
                </a:cubicBezTo>
                <a:cubicBezTo>
                  <a:pt x="594" y="412"/>
                  <a:pt x="594" y="412"/>
                  <a:pt x="594" y="412"/>
                </a:cubicBezTo>
                <a:cubicBezTo>
                  <a:pt x="594" y="419"/>
                  <a:pt x="594" y="425"/>
                  <a:pt x="594" y="429"/>
                </a:cubicBezTo>
                <a:cubicBezTo>
                  <a:pt x="594" y="429"/>
                  <a:pt x="594" y="429"/>
                  <a:pt x="594" y="429"/>
                </a:cubicBezTo>
                <a:cubicBezTo>
                  <a:pt x="595" y="438"/>
                  <a:pt x="598" y="439"/>
                  <a:pt x="600" y="440"/>
                </a:cubicBezTo>
                <a:cubicBezTo>
                  <a:pt x="600" y="440"/>
                  <a:pt x="600" y="440"/>
                  <a:pt x="600" y="440"/>
                </a:cubicBezTo>
                <a:cubicBezTo>
                  <a:pt x="602" y="440"/>
                  <a:pt x="604" y="439"/>
                  <a:pt x="606" y="436"/>
                </a:cubicBezTo>
                <a:cubicBezTo>
                  <a:pt x="606" y="436"/>
                  <a:pt x="606" y="436"/>
                  <a:pt x="606" y="436"/>
                </a:cubicBezTo>
                <a:cubicBezTo>
                  <a:pt x="616" y="417"/>
                  <a:pt x="688" y="286"/>
                  <a:pt x="707" y="250"/>
                </a:cubicBezTo>
                <a:cubicBezTo>
                  <a:pt x="707" y="250"/>
                  <a:pt x="707" y="250"/>
                  <a:pt x="707" y="250"/>
                </a:cubicBezTo>
                <a:cubicBezTo>
                  <a:pt x="710" y="245"/>
                  <a:pt x="712" y="241"/>
                  <a:pt x="712" y="241"/>
                </a:cubicBezTo>
                <a:cubicBezTo>
                  <a:pt x="712" y="241"/>
                  <a:pt x="712" y="241"/>
                  <a:pt x="712" y="241"/>
                </a:cubicBezTo>
                <a:cubicBezTo>
                  <a:pt x="714" y="236"/>
                  <a:pt x="716" y="233"/>
                  <a:pt x="716" y="232"/>
                </a:cubicBezTo>
                <a:cubicBezTo>
                  <a:pt x="716" y="232"/>
                  <a:pt x="716" y="232"/>
                  <a:pt x="716" y="232"/>
                </a:cubicBezTo>
                <a:cubicBezTo>
                  <a:pt x="717" y="231"/>
                  <a:pt x="717" y="231"/>
                  <a:pt x="717" y="228"/>
                </a:cubicBezTo>
                <a:cubicBezTo>
                  <a:pt x="717" y="228"/>
                  <a:pt x="717" y="228"/>
                  <a:pt x="717" y="228"/>
                </a:cubicBezTo>
                <a:cubicBezTo>
                  <a:pt x="717" y="224"/>
                  <a:pt x="717" y="224"/>
                  <a:pt x="716" y="223"/>
                </a:cubicBezTo>
                <a:cubicBezTo>
                  <a:pt x="716" y="223"/>
                  <a:pt x="716" y="223"/>
                  <a:pt x="716" y="223"/>
                </a:cubicBezTo>
                <a:cubicBezTo>
                  <a:pt x="716" y="222"/>
                  <a:pt x="715" y="219"/>
                  <a:pt x="712" y="215"/>
                </a:cubicBezTo>
                <a:cubicBezTo>
                  <a:pt x="712" y="215"/>
                  <a:pt x="712" y="215"/>
                  <a:pt x="712" y="215"/>
                </a:cubicBezTo>
                <a:cubicBezTo>
                  <a:pt x="709" y="208"/>
                  <a:pt x="660" y="119"/>
                  <a:pt x="631" y="65"/>
                </a:cubicBezTo>
                <a:cubicBezTo>
                  <a:pt x="631" y="65"/>
                  <a:pt x="631" y="65"/>
                  <a:pt x="631" y="65"/>
                </a:cubicBezTo>
                <a:cubicBezTo>
                  <a:pt x="629" y="61"/>
                  <a:pt x="630" y="56"/>
                  <a:pt x="634" y="54"/>
                </a:cubicBezTo>
                <a:cubicBezTo>
                  <a:pt x="634" y="54"/>
                  <a:pt x="634" y="54"/>
                  <a:pt x="634" y="54"/>
                </a:cubicBezTo>
                <a:cubicBezTo>
                  <a:pt x="638" y="52"/>
                  <a:pt x="643" y="53"/>
                  <a:pt x="645" y="57"/>
                </a:cubicBezTo>
                <a:cubicBezTo>
                  <a:pt x="645" y="57"/>
                  <a:pt x="645" y="57"/>
                  <a:pt x="645" y="57"/>
                </a:cubicBezTo>
                <a:cubicBezTo>
                  <a:pt x="674" y="111"/>
                  <a:pt x="723" y="200"/>
                  <a:pt x="726" y="207"/>
                </a:cubicBezTo>
                <a:cubicBezTo>
                  <a:pt x="726" y="207"/>
                  <a:pt x="726" y="207"/>
                  <a:pt x="726" y="207"/>
                </a:cubicBezTo>
                <a:cubicBezTo>
                  <a:pt x="729" y="212"/>
                  <a:pt x="730" y="214"/>
                  <a:pt x="731" y="218"/>
                </a:cubicBezTo>
                <a:cubicBezTo>
                  <a:pt x="731" y="218"/>
                  <a:pt x="731" y="218"/>
                  <a:pt x="731" y="218"/>
                </a:cubicBezTo>
                <a:cubicBezTo>
                  <a:pt x="733" y="221"/>
                  <a:pt x="733" y="224"/>
                  <a:pt x="733" y="228"/>
                </a:cubicBezTo>
                <a:cubicBezTo>
                  <a:pt x="733" y="228"/>
                  <a:pt x="733" y="228"/>
                  <a:pt x="733" y="228"/>
                </a:cubicBezTo>
                <a:cubicBezTo>
                  <a:pt x="733" y="231"/>
                  <a:pt x="732" y="235"/>
                  <a:pt x="731" y="238"/>
                </a:cubicBezTo>
                <a:cubicBezTo>
                  <a:pt x="731" y="238"/>
                  <a:pt x="731" y="238"/>
                  <a:pt x="731" y="238"/>
                </a:cubicBezTo>
                <a:cubicBezTo>
                  <a:pt x="730" y="241"/>
                  <a:pt x="729" y="243"/>
                  <a:pt x="727" y="247"/>
                </a:cubicBezTo>
                <a:cubicBezTo>
                  <a:pt x="727" y="247"/>
                  <a:pt x="727" y="247"/>
                  <a:pt x="727" y="247"/>
                </a:cubicBezTo>
                <a:cubicBezTo>
                  <a:pt x="726" y="249"/>
                  <a:pt x="724" y="252"/>
                  <a:pt x="721" y="257"/>
                </a:cubicBezTo>
                <a:cubicBezTo>
                  <a:pt x="721" y="257"/>
                  <a:pt x="721" y="257"/>
                  <a:pt x="721" y="257"/>
                </a:cubicBezTo>
                <a:cubicBezTo>
                  <a:pt x="719" y="263"/>
                  <a:pt x="715" y="270"/>
                  <a:pt x="710" y="278"/>
                </a:cubicBezTo>
                <a:cubicBezTo>
                  <a:pt x="710" y="278"/>
                  <a:pt x="710" y="278"/>
                  <a:pt x="710" y="278"/>
                </a:cubicBezTo>
                <a:cubicBezTo>
                  <a:pt x="701" y="295"/>
                  <a:pt x="689" y="317"/>
                  <a:pt x="676" y="340"/>
                </a:cubicBezTo>
                <a:cubicBezTo>
                  <a:pt x="676" y="340"/>
                  <a:pt x="676" y="340"/>
                  <a:pt x="676" y="340"/>
                </a:cubicBezTo>
                <a:cubicBezTo>
                  <a:pt x="652" y="386"/>
                  <a:pt x="626" y="433"/>
                  <a:pt x="620" y="444"/>
                </a:cubicBezTo>
                <a:cubicBezTo>
                  <a:pt x="620" y="444"/>
                  <a:pt x="620" y="444"/>
                  <a:pt x="620" y="444"/>
                </a:cubicBezTo>
                <a:cubicBezTo>
                  <a:pt x="616" y="451"/>
                  <a:pt x="608" y="456"/>
                  <a:pt x="601" y="456"/>
                </a:cubicBezTo>
                <a:cubicBezTo>
                  <a:pt x="601" y="456"/>
                  <a:pt x="601" y="456"/>
                  <a:pt x="601" y="456"/>
                </a:cubicBezTo>
                <a:cubicBezTo>
                  <a:pt x="600" y="456"/>
                  <a:pt x="600" y="456"/>
                  <a:pt x="600" y="4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08000" anchor="ctr"/>
          <a:lstStyle/>
          <a:p>
            <a:endParaRPr lang="en-US"/>
          </a:p>
        </p:txBody>
      </p:sp>
      <p:sp>
        <p:nvSpPr>
          <p:cNvPr id="162" name="Content Placeholder 1"/>
          <p:cNvSpPr txBox="1">
            <a:spLocks/>
          </p:cNvSpPr>
          <p:nvPr/>
        </p:nvSpPr>
        <p:spPr bwMode="auto">
          <a:xfrm>
            <a:off x="5970588" y="1255808"/>
            <a:ext cx="5805487" cy="782637"/>
          </a:xfrm>
          <a:prstGeom prst="rect">
            <a:avLst/>
          </a:prstGeom>
          <a:noFill/>
          <a:ln w="9525">
            <a:noFill/>
            <a:miter lim="800000"/>
            <a:headEnd/>
            <a:tailEnd/>
          </a:ln>
        </p:spPr>
        <p:txBody>
          <a:bodyPr lIns="72000" tIns="0" rIns="72000" bIns="0"/>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buFont typeface="Arial" charset="0"/>
              <a:buNone/>
              <a:defRPr/>
            </a:pPr>
            <a:r>
              <a:rPr lang="en-US" sz="2000" kern="0" dirty="0">
                <a:solidFill>
                  <a:schemeClr val="bg1"/>
                </a:solidFill>
              </a:rPr>
              <a:t>…to a “network factory” where new networks and architectures are “manufactured by software”</a:t>
            </a:r>
          </a:p>
          <a:p>
            <a:pPr marL="0" indent="0">
              <a:buFont typeface="Arial" charset="0"/>
              <a:buNone/>
              <a:defRPr/>
            </a:pPr>
            <a:endParaRPr lang="en-US" sz="2000" kern="0" dirty="0">
              <a:solidFill>
                <a:schemeClr val="bg1"/>
              </a:solidFill>
            </a:endParaRPr>
          </a:p>
        </p:txBody>
      </p:sp>
      <p:grpSp>
        <p:nvGrpSpPr>
          <p:cNvPr id="7203" name="Group 1"/>
          <p:cNvGrpSpPr>
            <a:grpSpLocks/>
          </p:cNvGrpSpPr>
          <p:nvPr/>
        </p:nvGrpSpPr>
        <p:grpSpPr bwMode="auto">
          <a:xfrm>
            <a:off x="6259513" y="1811433"/>
            <a:ext cx="4756150" cy="4241800"/>
            <a:chOff x="6244123" y="1725450"/>
            <a:chExt cx="5380524" cy="4798498"/>
          </a:xfrm>
        </p:grpSpPr>
        <p:sp>
          <p:nvSpPr>
            <p:cNvPr id="7206" name="Oval 1"/>
            <p:cNvSpPr>
              <a:spLocks noChangeArrowheads="1"/>
            </p:cNvSpPr>
            <p:nvPr/>
          </p:nvSpPr>
          <p:spPr bwMode="auto">
            <a:xfrm>
              <a:off x="7210628" y="5858742"/>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07" name="Oval 55"/>
            <p:cNvSpPr>
              <a:spLocks noChangeArrowheads="1"/>
            </p:cNvSpPr>
            <p:nvPr/>
          </p:nvSpPr>
          <p:spPr bwMode="auto">
            <a:xfrm>
              <a:off x="6928882" y="6140488"/>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08" name="Oval 56"/>
            <p:cNvSpPr>
              <a:spLocks noChangeArrowheads="1"/>
            </p:cNvSpPr>
            <p:nvPr/>
          </p:nvSpPr>
          <p:spPr bwMode="auto">
            <a:xfrm>
              <a:off x="7492374" y="6328319"/>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09" name="Oval 57"/>
            <p:cNvSpPr>
              <a:spLocks noChangeArrowheads="1"/>
            </p:cNvSpPr>
            <p:nvPr/>
          </p:nvSpPr>
          <p:spPr bwMode="auto">
            <a:xfrm>
              <a:off x="8541094" y="6038746"/>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sp>
          <p:nvSpPr>
            <p:cNvPr id="7210" name="Oval 62"/>
            <p:cNvSpPr>
              <a:spLocks noChangeArrowheads="1"/>
            </p:cNvSpPr>
            <p:nvPr/>
          </p:nvSpPr>
          <p:spPr bwMode="auto">
            <a:xfrm>
              <a:off x="9746341" y="6046573"/>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cxnSp>
          <p:nvCxnSpPr>
            <p:cNvPr id="7211" name="Straight Connector 4"/>
            <p:cNvCxnSpPr>
              <a:cxnSpLocks noChangeShapeType="1"/>
              <a:stCxn id="7206" idx="6"/>
              <a:endCxn id="7209" idx="2"/>
            </p:cNvCxnSpPr>
            <p:nvPr/>
          </p:nvCxnSpPr>
          <p:spPr bwMode="auto">
            <a:xfrm>
              <a:off x="7664551" y="5952658"/>
              <a:ext cx="876543" cy="180004"/>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7212" name="Straight Connector 6"/>
            <p:cNvCxnSpPr>
              <a:cxnSpLocks noChangeShapeType="1"/>
              <a:stCxn id="7207" idx="6"/>
              <a:endCxn id="7209" idx="2"/>
            </p:cNvCxnSpPr>
            <p:nvPr/>
          </p:nvCxnSpPr>
          <p:spPr bwMode="auto">
            <a:xfrm flipV="1">
              <a:off x="7382806" y="6132662"/>
              <a:ext cx="1158289" cy="101742"/>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7213" name="Straight Connector 64"/>
            <p:cNvCxnSpPr>
              <a:cxnSpLocks noChangeShapeType="1"/>
              <a:stCxn id="7208" idx="6"/>
              <a:endCxn id="7209" idx="2"/>
            </p:cNvCxnSpPr>
            <p:nvPr/>
          </p:nvCxnSpPr>
          <p:spPr bwMode="auto">
            <a:xfrm flipV="1">
              <a:off x="7946298" y="6132662"/>
              <a:ext cx="594797" cy="289572"/>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7214" name="Straight Connector 67"/>
            <p:cNvCxnSpPr>
              <a:cxnSpLocks noChangeShapeType="1"/>
              <a:stCxn id="7209" idx="6"/>
              <a:endCxn id="7210" idx="2"/>
            </p:cNvCxnSpPr>
            <p:nvPr/>
          </p:nvCxnSpPr>
          <p:spPr bwMode="auto">
            <a:xfrm>
              <a:off x="8995019" y="6132662"/>
              <a:ext cx="751322" cy="7827"/>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7215" name="Oval 131"/>
            <p:cNvSpPr>
              <a:spLocks noChangeArrowheads="1"/>
            </p:cNvSpPr>
            <p:nvPr/>
          </p:nvSpPr>
          <p:spPr bwMode="auto">
            <a:xfrm>
              <a:off x="10967240" y="6046573"/>
              <a:ext cx="453924" cy="187831"/>
            </a:xfrm>
            <a:prstGeom prst="ellipse">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ltLang="en-US"/>
            </a:p>
          </p:txBody>
        </p:sp>
        <p:cxnSp>
          <p:nvCxnSpPr>
            <p:cNvPr id="7216" name="Straight Connector 71"/>
            <p:cNvCxnSpPr>
              <a:cxnSpLocks noChangeShapeType="1"/>
              <a:stCxn id="7210" idx="6"/>
              <a:endCxn id="7215" idx="2"/>
            </p:cNvCxnSpPr>
            <p:nvPr/>
          </p:nvCxnSpPr>
          <p:spPr bwMode="auto">
            <a:xfrm>
              <a:off x="10200265" y="6140488"/>
              <a:ext cx="766975" cy="0"/>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7217" name="Rounded Rectangle 133"/>
            <p:cNvSpPr>
              <a:spLocks noChangeArrowheads="1"/>
            </p:cNvSpPr>
            <p:nvPr/>
          </p:nvSpPr>
          <p:spPr bwMode="auto">
            <a:xfrm>
              <a:off x="6928882" y="5107420"/>
              <a:ext cx="4601850" cy="657407"/>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72000" tIns="0" rIns="72000" bIns="0"/>
            <a:lstStyle/>
            <a:p>
              <a:pPr>
                <a:spcBef>
                  <a:spcPct val="50000"/>
                </a:spcBef>
              </a:pPr>
              <a:r>
                <a:rPr lang="en-US" altLang="en-US" sz="1800" dirty="0">
                  <a:solidFill>
                    <a:schemeClr val="bg1"/>
                  </a:solidFill>
                </a:rPr>
                <a:t>Physical Resources</a:t>
              </a:r>
              <a:br>
                <a:rPr lang="en-US" altLang="en-US" sz="1600" dirty="0">
                  <a:solidFill>
                    <a:schemeClr val="bg1"/>
                  </a:solidFill>
                </a:rPr>
              </a:br>
              <a:r>
                <a:rPr lang="en-US" altLang="en-US" sz="1600" dirty="0">
                  <a:solidFill>
                    <a:schemeClr val="bg1"/>
                  </a:solidFill>
                </a:rPr>
                <a:t>(Access, Connectivity, Computing, Storage, ..)</a:t>
              </a:r>
            </a:p>
          </p:txBody>
        </p:sp>
        <p:sp>
          <p:nvSpPr>
            <p:cNvPr id="7218" name="TextBox 134"/>
            <p:cNvSpPr txBox="1">
              <a:spLocks noChangeArrowheads="1"/>
            </p:cNvSpPr>
            <p:nvPr/>
          </p:nvSpPr>
          <p:spPr bwMode="auto">
            <a:xfrm rot="18323689">
              <a:off x="5964503" y="2883400"/>
              <a:ext cx="2733796" cy="417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800" dirty="0">
                  <a:solidFill>
                    <a:schemeClr val="bg1"/>
                  </a:solidFill>
                </a:rPr>
                <a:t>“Network slices”</a:t>
              </a:r>
            </a:p>
          </p:txBody>
        </p:sp>
        <p:cxnSp>
          <p:nvCxnSpPr>
            <p:cNvPr id="7219" name="Straight Connector 135"/>
            <p:cNvCxnSpPr>
              <a:cxnSpLocks noChangeShapeType="1"/>
            </p:cNvCxnSpPr>
            <p:nvPr/>
          </p:nvCxnSpPr>
          <p:spPr bwMode="auto">
            <a:xfrm>
              <a:off x="6475411" y="5062856"/>
              <a:ext cx="5149236" cy="0"/>
            </a:xfrm>
            <a:prstGeom prst="line">
              <a:avLst/>
            </a:prstGeom>
            <a:noFill/>
            <a:ln w="38100" algn="ctr">
              <a:solidFill>
                <a:schemeClr val="bg1"/>
              </a:solidFill>
              <a:prstDash val="dash"/>
              <a:round/>
              <a:headEnd/>
              <a:tailEnd/>
            </a:ln>
            <a:extLst>
              <a:ext uri="{909E8E84-426E-40DD-AFC4-6F175D3DCCD1}">
                <a14:hiddenFill xmlns:a14="http://schemas.microsoft.com/office/drawing/2010/main">
                  <a:noFill/>
                </a14:hiddenFill>
              </a:ext>
            </a:extLst>
          </p:spPr>
        </p:cxnSp>
        <p:sp>
          <p:nvSpPr>
            <p:cNvPr id="137" name="Rounded Rectangle 136"/>
            <p:cNvSpPr/>
            <p:nvPr/>
          </p:nvSpPr>
          <p:spPr bwMode="auto">
            <a:xfrm>
              <a:off x="8216024" y="2300120"/>
              <a:ext cx="3220053" cy="971552"/>
            </a:xfrm>
            <a:prstGeom prst="roundRect">
              <a:avLst>
                <a:gd name="adj" fmla="val 10726"/>
              </a:avLst>
            </a:prstGeom>
            <a:solidFill>
              <a:schemeClr val="bg1"/>
            </a:solidFill>
            <a:ln w="28575">
              <a:solidFill>
                <a:schemeClr val="tx2">
                  <a:lumMod val="90000"/>
                  <a:lumOff val="10000"/>
                </a:schemeClr>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r>
                <a:rPr lang="en-US" sz="1600" dirty="0">
                  <a:solidFill>
                    <a:schemeClr val="tx1"/>
                  </a:solidFill>
                </a:rPr>
                <a:t>Slice n</a:t>
              </a:r>
            </a:p>
          </p:txBody>
        </p:sp>
        <p:grpSp>
          <p:nvGrpSpPr>
            <p:cNvPr id="138" name="Group 137"/>
            <p:cNvGrpSpPr/>
            <p:nvPr/>
          </p:nvGrpSpPr>
          <p:grpSpPr>
            <a:xfrm>
              <a:off x="7764561" y="3003746"/>
              <a:ext cx="3220474" cy="1000409"/>
              <a:chOff x="6005235" y="1477217"/>
              <a:chExt cx="2612994" cy="791999"/>
            </a:xfrm>
            <a:solidFill>
              <a:schemeClr val="bg1"/>
            </a:solidFill>
          </p:grpSpPr>
          <p:sp>
            <p:nvSpPr>
              <p:cNvPr id="139" name="Rounded Rectangle 138"/>
              <p:cNvSpPr/>
              <p:nvPr/>
            </p:nvSpPr>
            <p:spPr bwMode="auto">
              <a:xfrm>
                <a:off x="6005235" y="1477217"/>
                <a:ext cx="2612994" cy="791999"/>
              </a:xfrm>
              <a:prstGeom prst="roundRect">
                <a:avLst>
                  <a:gd name="adj" fmla="val 10726"/>
                </a:avLst>
              </a:prstGeom>
              <a:grpFill/>
              <a:ln w="28575">
                <a:solidFill>
                  <a:schemeClr val="tx2">
                    <a:lumMod val="90000"/>
                    <a:lumOff val="10000"/>
                  </a:schemeClr>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r>
                  <a:rPr lang="en-US" sz="1600" dirty="0">
                    <a:solidFill>
                      <a:schemeClr val="tx1"/>
                    </a:solidFill>
                  </a:rPr>
                  <a:t>Health</a:t>
                </a:r>
              </a:p>
            </p:txBody>
          </p:sp>
          <p:sp>
            <p:nvSpPr>
              <p:cNvPr id="140" name="Freeform 3"/>
              <p:cNvSpPr>
                <a:spLocks noChangeAspect="1" noEditPoints="1"/>
              </p:cNvSpPr>
              <p:nvPr/>
            </p:nvSpPr>
            <p:spPr bwMode="auto">
              <a:xfrm>
                <a:off x="8323578" y="1493053"/>
                <a:ext cx="208359" cy="293555"/>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solidFill>
                <a:schemeClr val="tx2">
                  <a:lumMod val="90000"/>
                  <a:lumOff val="10000"/>
                </a:schemeClr>
              </a:solidFill>
              <a:ln>
                <a:solidFill>
                  <a:schemeClr val="tx2">
                    <a:lumMod val="90000"/>
                    <a:lumOff val="10000"/>
                  </a:schemeClr>
                </a:solidFill>
              </a:ln>
              <a:extLst/>
            </p:spPr>
            <p:txBody>
              <a:bodyPr/>
              <a:lstStyle/>
              <a:p>
                <a:pPr>
                  <a:defRPr/>
                </a:pPr>
                <a:endParaRPr lang="en-US" sz="2800">
                  <a:ea typeface="ＭＳ Ｐゴシック" pitchFamily="34" charset="-128"/>
                </a:endParaRPr>
              </a:p>
            </p:txBody>
          </p:sp>
        </p:grpSp>
        <p:grpSp>
          <p:nvGrpSpPr>
            <p:cNvPr id="141" name="Group 140"/>
            <p:cNvGrpSpPr/>
            <p:nvPr/>
          </p:nvGrpSpPr>
          <p:grpSpPr>
            <a:xfrm>
              <a:off x="7508827" y="3360847"/>
              <a:ext cx="3220474" cy="1042690"/>
              <a:chOff x="5797741" y="1770446"/>
              <a:chExt cx="2612994" cy="791999"/>
            </a:xfrm>
            <a:solidFill>
              <a:schemeClr val="bg1"/>
            </a:solidFill>
          </p:grpSpPr>
          <p:sp>
            <p:nvSpPr>
              <p:cNvPr id="142" name="Rounded Rectangle 141"/>
              <p:cNvSpPr/>
              <p:nvPr/>
            </p:nvSpPr>
            <p:spPr bwMode="auto">
              <a:xfrm>
                <a:off x="5797741" y="1770446"/>
                <a:ext cx="2612994" cy="791999"/>
              </a:xfrm>
              <a:prstGeom prst="roundRect">
                <a:avLst>
                  <a:gd name="adj" fmla="val 10726"/>
                </a:avLst>
              </a:prstGeom>
              <a:grpFill/>
              <a:ln w="28575">
                <a:solidFill>
                  <a:schemeClr val="tx2">
                    <a:lumMod val="90000"/>
                    <a:lumOff val="10000"/>
                  </a:schemeClr>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r>
                  <a:rPr lang="en-US" sz="1600" dirty="0">
                    <a:solidFill>
                      <a:schemeClr val="tx1"/>
                    </a:solidFill>
                  </a:rPr>
                  <a:t> Robotic communication</a:t>
                </a:r>
              </a:p>
            </p:txBody>
          </p:sp>
          <p:sp>
            <p:nvSpPr>
              <p:cNvPr id="143" name="Freeform 3"/>
              <p:cNvSpPr>
                <a:spLocks noChangeAspect="1" noEditPoints="1"/>
              </p:cNvSpPr>
              <p:nvPr/>
            </p:nvSpPr>
            <p:spPr bwMode="auto">
              <a:xfrm flipH="1">
                <a:off x="8149828" y="1841695"/>
                <a:ext cx="155972" cy="233806"/>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lumMod val="90000"/>
                  <a:lumOff val="10000"/>
                </a:schemeClr>
              </a:solidFill>
              <a:ln>
                <a:solidFill>
                  <a:schemeClr val="tx2">
                    <a:lumMod val="90000"/>
                    <a:lumOff val="10000"/>
                  </a:schemeClr>
                </a:solidFill>
              </a:ln>
              <a:extLst/>
            </p:spPr>
            <p:txBody>
              <a:bodyPr/>
              <a:lstStyle/>
              <a:p>
                <a:pPr>
                  <a:defRPr/>
                </a:pPr>
                <a:endParaRPr lang="en-US" sz="2800">
                  <a:ea typeface="ＭＳ Ｐゴシック" pitchFamily="34" charset="-128"/>
                </a:endParaRPr>
              </a:p>
            </p:txBody>
          </p:sp>
        </p:grpSp>
        <p:grpSp>
          <p:nvGrpSpPr>
            <p:cNvPr id="144" name="Group 143"/>
            <p:cNvGrpSpPr/>
            <p:nvPr/>
          </p:nvGrpSpPr>
          <p:grpSpPr>
            <a:xfrm>
              <a:off x="7217143" y="3756906"/>
              <a:ext cx="3220474" cy="912883"/>
              <a:chOff x="5382753" y="2419350"/>
              <a:chExt cx="2612994" cy="777462"/>
            </a:xfrm>
            <a:solidFill>
              <a:schemeClr val="bg1"/>
            </a:solidFill>
          </p:grpSpPr>
          <p:sp>
            <p:nvSpPr>
              <p:cNvPr id="145" name="Rounded Rectangle 144"/>
              <p:cNvSpPr/>
              <p:nvPr/>
            </p:nvSpPr>
            <p:spPr bwMode="auto">
              <a:xfrm>
                <a:off x="5382753" y="2419350"/>
                <a:ext cx="2612994" cy="777462"/>
              </a:xfrm>
              <a:prstGeom prst="roundRect">
                <a:avLst>
                  <a:gd name="adj" fmla="val 10726"/>
                </a:avLst>
              </a:prstGeom>
              <a:grpFill/>
              <a:ln w="28575">
                <a:solidFill>
                  <a:schemeClr val="tx2">
                    <a:lumMod val="90000"/>
                    <a:lumOff val="10000"/>
                  </a:schemeClr>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r>
                  <a:rPr lang="en-US" sz="1600" dirty="0">
                    <a:solidFill>
                      <a:schemeClr val="tx1"/>
                    </a:solidFill>
                  </a:rPr>
                  <a:t>Media</a:t>
                </a:r>
              </a:p>
            </p:txBody>
          </p:sp>
          <p:sp>
            <p:nvSpPr>
              <p:cNvPr id="146" name="Film"/>
              <p:cNvSpPr>
                <a:spLocks noEditPoints="1" noChangeArrowheads="1"/>
              </p:cNvSpPr>
              <p:nvPr/>
            </p:nvSpPr>
            <p:spPr bwMode="auto">
              <a:xfrm>
                <a:off x="7809310" y="2484824"/>
                <a:ext cx="115490" cy="260746"/>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4960 w 21600"/>
                  <a:gd name="T17" fmla="*/ 8129 h 21600"/>
                  <a:gd name="T18" fmla="*/ 17079 w 21600"/>
                  <a:gd name="T19" fmla="*/ 1342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21600" y="0"/>
                    </a:moveTo>
                    <a:lnTo>
                      <a:pt x="21600" y="21600"/>
                    </a:lnTo>
                    <a:lnTo>
                      <a:pt x="0" y="21600"/>
                    </a:lnTo>
                    <a:lnTo>
                      <a:pt x="0" y="0"/>
                    </a:lnTo>
                    <a:lnTo>
                      <a:pt x="21600" y="0"/>
                    </a:lnTo>
                    <a:close/>
                  </a:path>
                  <a:path w="21600" h="21600" extrusionOk="0">
                    <a:moveTo>
                      <a:pt x="3014" y="21600"/>
                    </a:moveTo>
                    <a:lnTo>
                      <a:pt x="3014" y="0"/>
                    </a:lnTo>
                    <a:lnTo>
                      <a:pt x="0" y="0"/>
                    </a:lnTo>
                    <a:lnTo>
                      <a:pt x="0" y="21600"/>
                    </a:lnTo>
                    <a:lnTo>
                      <a:pt x="3014" y="21600"/>
                    </a:lnTo>
                    <a:close/>
                  </a:path>
                  <a:path w="21600" h="21600" extrusionOk="0">
                    <a:moveTo>
                      <a:pt x="21600" y="21600"/>
                    </a:moveTo>
                    <a:lnTo>
                      <a:pt x="21600" y="0"/>
                    </a:lnTo>
                    <a:lnTo>
                      <a:pt x="18586" y="0"/>
                    </a:lnTo>
                    <a:lnTo>
                      <a:pt x="18586" y="21600"/>
                    </a:lnTo>
                    <a:lnTo>
                      <a:pt x="21600" y="21600"/>
                    </a:lnTo>
                    <a:close/>
                  </a:path>
                  <a:path w="21600" h="21600" extrusionOk="0">
                    <a:moveTo>
                      <a:pt x="6028" y="6574"/>
                    </a:moveTo>
                    <a:lnTo>
                      <a:pt x="15572" y="6574"/>
                    </a:lnTo>
                    <a:lnTo>
                      <a:pt x="16074" y="6574"/>
                    </a:lnTo>
                    <a:lnTo>
                      <a:pt x="16326" y="6457"/>
                    </a:lnTo>
                    <a:lnTo>
                      <a:pt x="16577" y="6339"/>
                    </a:lnTo>
                    <a:lnTo>
                      <a:pt x="16828" y="6222"/>
                    </a:lnTo>
                    <a:lnTo>
                      <a:pt x="17079" y="6222"/>
                    </a:lnTo>
                    <a:lnTo>
                      <a:pt x="17330" y="5987"/>
                    </a:lnTo>
                    <a:lnTo>
                      <a:pt x="17330" y="5870"/>
                    </a:lnTo>
                    <a:lnTo>
                      <a:pt x="17581" y="5635"/>
                    </a:lnTo>
                    <a:lnTo>
                      <a:pt x="17581" y="1526"/>
                    </a:lnTo>
                    <a:lnTo>
                      <a:pt x="17330" y="1291"/>
                    </a:lnTo>
                    <a:lnTo>
                      <a:pt x="17330" y="1174"/>
                    </a:lnTo>
                    <a:lnTo>
                      <a:pt x="17079" y="1057"/>
                    </a:lnTo>
                    <a:lnTo>
                      <a:pt x="16828" y="939"/>
                    </a:lnTo>
                    <a:lnTo>
                      <a:pt x="16577" y="822"/>
                    </a:lnTo>
                    <a:lnTo>
                      <a:pt x="16326" y="704"/>
                    </a:lnTo>
                    <a:lnTo>
                      <a:pt x="16074" y="704"/>
                    </a:lnTo>
                    <a:lnTo>
                      <a:pt x="15572" y="587"/>
                    </a:lnTo>
                    <a:lnTo>
                      <a:pt x="6028" y="587"/>
                    </a:lnTo>
                    <a:lnTo>
                      <a:pt x="5526" y="704"/>
                    </a:lnTo>
                    <a:lnTo>
                      <a:pt x="5274" y="704"/>
                    </a:lnTo>
                    <a:lnTo>
                      <a:pt x="5023" y="822"/>
                    </a:lnTo>
                    <a:lnTo>
                      <a:pt x="4772" y="939"/>
                    </a:lnTo>
                    <a:lnTo>
                      <a:pt x="4521" y="1057"/>
                    </a:lnTo>
                    <a:lnTo>
                      <a:pt x="4270" y="1174"/>
                    </a:lnTo>
                    <a:lnTo>
                      <a:pt x="4270" y="1291"/>
                    </a:lnTo>
                    <a:lnTo>
                      <a:pt x="4019" y="1526"/>
                    </a:lnTo>
                    <a:lnTo>
                      <a:pt x="4019" y="5635"/>
                    </a:lnTo>
                    <a:lnTo>
                      <a:pt x="4270" y="5870"/>
                    </a:lnTo>
                    <a:lnTo>
                      <a:pt x="4270" y="5987"/>
                    </a:lnTo>
                    <a:lnTo>
                      <a:pt x="4521" y="6222"/>
                    </a:lnTo>
                    <a:lnTo>
                      <a:pt x="4772" y="6222"/>
                    </a:lnTo>
                    <a:lnTo>
                      <a:pt x="5023" y="6339"/>
                    </a:lnTo>
                    <a:lnTo>
                      <a:pt x="5274" y="6457"/>
                    </a:lnTo>
                    <a:lnTo>
                      <a:pt x="5526" y="6574"/>
                    </a:lnTo>
                    <a:lnTo>
                      <a:pt x="6028" y="6574"/>
                    </a:lnTo>
                    <a:close/>
                  </a:path>
                  <a:path w="21600" h="21600" extrusionOk="0">
                    <a:moveTo>
                      <a:pt x="6028" y="13617"/>
                    </a:moveTo>
                    <a:lnTo>
                      <a:pt x="15572" y="13617"/>
                    </a:lnTo>
                    <a:lnTo>
                      <a:pt x="16074" y="13617"/>
                    </a:lnTo>
                    <a:lnTo>
                      <a:pt x="16326" y="13617"/>
                    </a:lnTo>
                    <a:lnTo>
                      <a:pt x="16577" y="13500"/>
                    </a:lnTo>
                    <a:lnTo>
                      <a:pt x="16828" y="13383"/>
                    </a:lnTo>
                    <a:lnTo>
                      <a:pt x="17079" y="13265"/>
                    </a:lnTo>
                    <a:lnTo>
                      <a:pt x="17330" y="13148"/>
                    </a:lnTo>
                    <a:lnTo>
                      <a:pt x="17330" y="12913"/>
                    </a:lnTo>
                    <a:lnTo>
                      <a:pt x="17581" y="12796"/>
                    </a:lnTo>
                    <a:lnTo>
                      <a:pt x="17581" y="8687"/>
                    </a:lnTo>
                    <a:lnTo>
                      <a:pt x="17330" y="8452"/>
                    </a:lnTo>
                    <a:lnTo>
                      <a:pt x="17330" y="8335"/>
                    </a:lnTo>
                    <a:lnTo>
                      <a:pt x="17079" y="8217"/>
                    </a:lnTo>
                    <a:lnTo>
                      <a:pt x="16828" y="7983"/>
                    </a:lnTo>
                    <a:lnTo>
                      <a:pt x="16577" y="7983"/>
                    </a:lnTo>
                    <a:lnTo>
                      <a:pt x="16326" y="7865"/>
                    </a:lnTo>
                    <a:lnTo>
                      <a:pt x="16074" y="7865"/>
                    </a:lnTo>
                    <a:lnTo>
                      <a:pt x="15572" y="7748"/>
                    </a:lnTo>
                    <a:lnTo>
                      <a:pt x="6028" y="7748"/>
                    </a:lnTo>
                    <a:lnTo>
                      <a:pt x="5526" y="7865"/>
                    </a:lnTo>
                    <a:lnTo>
                      <a:pt x="5274" y="7865"/>
                    </a:lnTo>
                    <a:lnTo>
                      <a:pt x="5023" y="7983"/>
                    </a:lnTo>
                    <a:lnTo>
                      <a:pt x="4772" y="7983"/>
                    </a:lnTo>
                    <a:lnTo>
                      <a:pt x="4521" y="8217"/>
                    </a:lnTo>
                    <a:lnTo>
                      <a:pt x="4270" y="8335"/>
                    </a:lnTo>
                    <a:lnTo>
                      <a:pt x="4270" y="8452"/>
                    </a:lnTo>
                    <a:lnTo>
                      <a:pt x="4019" y="8687"/>
                    </a:lnTo>
                    <a:lnTo>
                      <a:pt x="4019" y="12796"/>
                    </a:lnTo>
                    <a:lnTo>
                      <a:pt x="4270" y="12913"/>
                    </a:lnTo>
                    <a:lnTo>
                      <a:pt x="4270" y="13148"/>
                    </a:lnTo>
                    <a:lnTo>
                      <a:pt x="4521" y="13265"/>
                    </a:lnTo>
                    <a:lnTo>
                      <a:pt x="4772" y="13383"/>
                    </a:lnTo>
                    <a:lnTo>
                      <a:pt x="5023" y="13500"/>
                    </a:lnTo>
                    <a:lnTo>
                      <a:pt x="5274" y="13617"/>
                    </a:lnTo>
                    <a:lnTo>
                      <a:pt x="5526" y="13617"/>
                    </a:lnTo>
                    <a:lnTo>
                      <a:pt x="6028" y="13617"/>
                    </a:lnTo>
                    <a:close/>
                  </a:path>
                  <a:path w="21600" h="21600" extrusionOk="0">
                    <a:moveTo>
                      <a:pt x="6028" y="20778"/>
                    </a:moveTo>
                    <a:lnTo>
                      <a:pt x="15572" y="20778"/>
                    </a:lnTo>
                    <a:lnTo>
                      <a:pt x="16074" y="20778"/>
                    </a:lnTo>
                    <a:lnTo>
                      <a:pt x="16326" y="20661"/>
                    </a:lnTo>
                    <a:lnTo>
                      <a:pt x="16577" y="20661"/>
                    </a:lnTo>
                    <a:lnTo>
                      <a:pt x="16828" y="20543"/>
                    </a:lnTo>
                    <a:lnTo>
                      <a:pt x="17079" y="20426"/>
                    </a:lnTo>
                    <a:lnTo>
                      <a:pt x="17330" y="20309"/>
                    </a:lnTo>
                    <a:lnTo>
                      <a:pt x="17330" y="20074"/>
                    </a:lnTo>
                    <a:lnTo>
                      <a:pt x="17581" y="19957"/>
                    </a:lnTo>
                    <a:lnTo>
                      <a:pt x="17581" y="15730"/>
                    </a:lnTo>
                    <a:lnTo>
                      <a:pt x="17330" y="15613"/>
                    </a:lnTo>
                    <a:lnTo>
                      <a:pt x="17330" y="15378"/>
                    </a:lnTo>
                    <a:lnTo>
                      <a:pt x="17079" y="15378"/>
                    </a:lnTo>
                    <a:lnTo>
                      <a:pt x="16828" y="15143"/>
                    </a:lnTo>
                    <a:lnTo>
                      <a:pt x="16577" y="15026"/>
                    </a:lnTo>
                    <a:lnTo>
                      <a:pt x="16326" y="15026"/>
                    </a:lnTo>
                    <a:lnTo>
                      <a:pt x="16074" y="15026"/>
                    </a:lnTo>
                    <a:lnTo>
                      <a:pt x="15572" y="14909"/>
                    </a:lnTo>
                    <a:lnTo>
                      <a:pt x="6028" y="14909"/>
                    </a:lnTo>
                    <a:lnTo>
                      <a:pt x="5526" y="15026"/>
                    </a:lnTo>
                    <a:lnTo>
                      <a:pt x="5274" y="15026"/>
                    </a:lnTo>
                    <a:lnTo>
                      <a:pt x="5023" y="15026"/>
                    </a:lnTo>
                    <a:lnTo>
                      <a:pt x="4772" y="15143"/>
                    </a:lnTo>
                    <a:lnTo>
                      <a:pt x="4521" y="15378"/>
                    </a:lnTo>
                    <a:lnTo>
                      <a:pt x="4270" y="15378"/>
                    </a:lnTo>
                    <a:lnTo>
                      <a:pt x="4270" y="15613"/>
                    </a:lnTo>
                    <a:lnTo>
                      <a:pt x="4019" y="15730"/>
                    </a:lnTo>
                    <a:lnTo>
                      <a:pt x="4019" y="19957"/>
                    </a:lnTo>
                    <a:lnTo>
                      <a:pt x="4270" y="20074"/>
                    </a:lnTo>
                    <a:lnTo>
                      <a:pt x="4270" y="20309"/>
                    </a:lnTo>
                    <a:lnTo>
                      <a:pt x="4521" y="20426"/>
                    </a:lnTo>
                    <a:lnTo>
                      <a:pt x="4772" y="20543"/>
                    </a:lnTo>
                    <a:lnTo>
                      <a:pt x="5023" y="20661"/>
                    </a:lnTo>
                    <a:lnTo>
                      <a:pt x="5274" y="20661"/>
                    </a:lnTo>
                    <a:lnTo>
                      <a:pt x="5526" y="20778"/>
                    </a:lnTo>
                    <a:lnTo>
                      <a:pt x="6028" y="20778"/>
                    </a:lnTo>
                    <a:close/>
                  </a:path>
                  <a:path w="21600" h="21600" extrusionOk="0">
                    <a:moveTo>
                      <a:pt x="753" y="1291"/>
                    </a:moveTo>
                    <a:lnTo>
                      <a:pt x="2260" y="1291"/>
                    </a:lnTo>
                    <a:lnTo>
                      <a:pt x="2260" y="235"/>
                    </a:lnTo>
                    <a:lnTo>
                      <a:pt x="753" y="235"/>
                    </a:lnTo>
                    <a:lnTo>
                      <a:pt x="753" y="1291"/>
                    </a:lnTo>
                    <a:close/>
                  </a:path>
                  <a:path w="21600" h="21600" extrusionOk="0">
                    <a:moveTo>
                      <a:pt x="753" y="2700"/>
                    </a:moveTo>
                    <a:lnTo>
                      <a:pt x="2260" y="2700"/>
                    </a:lnTo>
                    <a:lnTo>
                      <a:pt x="2260" y="1643"/>
                    </a:lnTo>
                    <a:lnTo>
                      <a:pt x="753" y="1643"/>
                    </a:lnTo>
                    <a:lnTo>
                      <a:pt x="753" y="2700"/>
                    </a:lnTo>
                    <a:close/>
                  </a:path>
                  <a:path w="21600" h="21600" extrusionOk="0">
                    <a:moveTo>
                      <a:pt x="753" y="4109"/>
                    </a:moveTo>
                    <a:lnTo>
                      <a:pt x="2260" y="4109"/>
                    </a:lnTo>
                    <a:lnTo>
                      <a:pt x="2260" y="3052"/>
                    </a:lnTo>
                    <a:lnTo>
                      <a:pt x="753" y="3052"/>
                    </a:lnTo>
                    <a:lnTo>
                      <a:pt x="753" y="4109"/>
                    </a:lnTo>
                    <a:close/>
                  </a:path>
                  <a:path w="21600" h="21600" extrusionOk="0">
                    <a:moveTo>
                      <a:pt x="753" y="5517"/>
                    </a:moveTo>
                    <a:lnTo>
                      <a:pt x="2260" y="5517"/>
                    </a:lnTo>
                    <a:lnTo>
                      <a:pt x="2260" y="4461"/>
                    </a:lnTo>
                    <a:lnTo>
                      <a:pt x="753" y="4461"/>
                    </a:lnTo>
                    <a:lnTo>
                      <a:pt x="753" y="5517"/>
                    </a:lnTo>
                    <a:close/>
                  </a:path>
                  <a:path w="21600" h="21600" extrusionOk="0">
                    <a:moveTo>
                      <a:pt x="753" y="6926"/>
                    </a:moveTo>
                    <a:lnTo>
                      <a:pt x="2260" y="6926"/>
                    </a:lnTo>
                    <a:lnTo>
                      <a:pt x="2260" y="5870"/>
                    </a:lnTo>
                    <a:lnTo>
                      <a:pt x="753" y="5870"/>
                    </a:lnTo>
                    <a:lnTo>
                      <a:pt x="753" y="6926"/>
                    </a:lnTo>
                    <a:close/>
                  </a:path>
                  <a:path w="21600" h="21600" extrusionOk="0">
                    <a:moveTo>
                      <a:pt x="753" y="8335"/>
                    </a:moveTo>
                    <a:lnTo>
                      <a:pt x="2260" y="8335"/>
                    </a:lnTo>
                    <a:lnTo>
                      <a:pt x="2260" y="7278"/>
                    </a:lnTo>
                    <a:lnTo>
                      <a:pt x="753" y="7278"/>
                    </a:lnTo>
                    <a:lnTo>
                      <a:pt x="753" y="8335"/>
                    </a:lnTo>
                    <a:close/>
                  </a:path>
                  <a:path w="21600" h="21600" extrusionOk="0">
                    <a:moveTo>
                      <a:pt x="753" y="9743"/>
                    </a:moveTo>
                    <a:lnTo>
                      <a:pt x="2260" y="9743"/>
                    </a:lnTo>
                    <a:lnTo>
                      <a:pt x="2260" y="8687"/>
                    </a:lnTo>
                    <a:lnTo>
                      <a:pt x="753" y="8687"/>
                    </a:lnTo>
                    <a:lnTo>
                      <a:pt x="753" y="9743"/>
                    </a:lnTo>
                    <a:close/>
                  </a:path>
                  <a:path w="21600" h="21600" extrusionOk="0">
                    <a:moveTo>
                      <a:pt x="753" y="11152"/>
                    </a:moveTo>
                    <a:lnTo>
                      <a:pt x="2260" y="11152"/>
                    </a:lnTo>
                    <a:lnTo>
                      <a:pt x="2260" y="10096"/>
                    </a:lnTo>
                    <a:lnTo>
                      <a:pt x="753" y="10096"/>
                    </a:lnTo>
                    <a:lnTo>
                      <a:pt x="753" y="11152"/>
                    </a:lnTo>
                    <a:close/>
                  </a:path>
                  <a:path w="21600" h="21600" extrusionOk="0">
                    <a:moveTo>
                      <a:pt x="753" y="12561"/>
                    </a:moveTo>
                    <a:lnTo>
                      <a:pt x="2260" y="12561"/>
                    </a:lnTo>
                    <a:lnTo>
                      <a:pt x="2260" y="11504"/>
                    </a:lnTo>
                    <a:lnTo>
                      <a:pt x="753" y="11504"/>
                    </a:lnTo>
                    <a:lnTo>
                      <a:pt x="753" y="12561"/>
                    </a:lnTo>
                    <a:close/>
                  </a:path>
                  <a:path w="21600" h="21600" extrusionOk="0">
                    <a:moveTo>
                      <a:pt x="753" y="13970"/>
                    </a:moveTo>
                    <a:lnTo>
                      <a:pt x="2260" y="13970"/>
                    </a:lnTo>
                    <a:lnTo>
                      <a:pt x="2260" y="12913"/>
                    </a:lnTo>
                    <a:lnTo>
                      <a:pt x="753" y="12913"/>
                    </a:lnTo>
                    <a:lnTo>
                      <a:pt x="753" y="13970"/>
                    </a:lnTo>
                    <a:close/>
                  </a:path>
                  <a:path w="21600" h="21600" extrusionOk="0">
                    <a:moveTo>
                      <a:pt x="753" y="15378"/>
                    </a:moveTo>
                    <a:lnTo>
                      <a:pt x="2260" y="15378"/>
                    </a:lnTo>
                    <a:lnTo>
                      <a:pt x="2260" y="14322"/>
                    </a:lnTo>
                    <a:lnTo>
                      <a:pt x="753" y="14322"/>
                    </a:lnTo>
                    <a:lnTo>
                      <a:pt x="753" y="15378"/>
                    </a:lnTo>
                    <a:close/>
                  </a:path>
                  <a:path w="21600" h="21600" extrusionOk="0">
                    <a:moveTo>
                      <a:pt x="753" y="16787"/>
                    </a:moveTo>
                    <a:lnTo>
                      <a:pt x="2260" y="16787"/>
                    </a:lnTo>
                    <a:lnTo>
                      <a:pt x="2260" y="15730"/>
                    </a:lnTo>
                    <a:lnTo>
                      <a:pt x="753" y="15730"/>
                    </a:lnTo>
                    <a:lnTo>
                      <a:pt x="753" y="16787"/>
                    </a:lnTo>
                    <a:close/>
                  </a:path>
                  <a:path w="21600" h="21600" extrusionOk="0">
                    <a:moveTo>
                      <a:pt x="753" y="18196"/>
                    </a:moveTo>
                    <a:lnTo>
                      <a:pt x="2260" y="18196"/>
                    </a:lnTo>
                    <a:lnTo>
                      <a:pt x="2260" y="17139"/>
                    </a:lnTo>
                    <a:lnTo>
                      <a:pt x="753" y="17139"/>
                    </a:lnTo>
                    <a:lnTo>
                      <a:pt x="753" y="18196"/>
                    </a:lnTo>
                    <a:close/>
                  </a:path>
                  <a:path w="21600" h="21600" extrusionOk="0">
                    <a:moveTo>
                      <a:pt x="753" y="19604"/>
                    </a:moveTo>
                    <a:lnTo>
                      <a:pt x="2260" y="19604"/>
                    </a:lnTo>
                    <a:lnTo>
                      <a:pt x="2260" y="18548"/>
                    </a:lnTo>
                    <a:lnTo>
                      <a:pt x="753" y="18548"/>
                    </a:lnTo>
                    <a:lnTo>
                      <a:pt x="753" y="19604"/>
                    </a:lnTo>
                    <a:close/>
                  </a:path>
                  <a:path w="21600" h="21600" extrusionOk="0">
                    <a:moveTo>
                      <a:pt x="753" y="21013"/>
                    </a:moveTo>
                    <a:lnTo>
                      <a:pt x="2260" y="21013"/>
                    </a:lnTo>
                    <a:lnTo>
                      <a:pt x="2260" y="19957"/>
                    </a:lnTo>
                    <a:lnTo>
                      <a:pt x="753" y="19957"/>
                    </a:lnTo>
                    <a:lnTo>
                      <a:pt x="753" y="21013"/>
                    </a:lnTo>
                    <a:close/>
                  </a:path>
                  <a:path w="21600" h="21600" extrusionOk="0">
                    <a:moveTo>
                      <a:pt x="19340" y="1409"/>
                    </a:moveTo>
                    <a:lnTo>
                      <a:pt x="20595" y="1409"/>
                    </a:lnTo>
                    <a:lnTo>
                      <a:pt x="20595" y="352"/>
                    </a:lnTo>
                    <a:lnTo>
                      <a:pt x="19340" y="352"/>
                    </a:lnTo>
                    <a:lnTo>
                      <a:pt x="19340" y="1409"/>
                    </a:lnTo>
                    <a:close/>
                  </a:path>
                  <a:path w="21600" h="21600" extrusionOk="0">
                    <a:moveTo>
                      <a:pt x="19340" y="2700"/>
                    </a:moveTo>
                    <a:lnTo>
                      <a:pt x="20595" y="2700"/>
                    </a:lnTo>
                    <a:lnTo>
                      <a:pt x="20595" y="1643"/>
                    </a:lnTo>
                    <a:lnTo>
                      <a:pt x="19340" y="1643"/>
                    </a:lnTo>
                    <a:lnTo>
                      <a:pt x="19340" y="2700"/>
                    </a:lnTo>
                    <a:close/>
                  </a:path>
                  <a:path w="21600" h="21600" extrusionOk="0">
                    <a:moveTo>
                      <a:pt x="19340" y="4109"/>
                    </a:moveTo>
                    <a:lnTo>
                      <a:pt x="20595" y="4109"/>
                    </a:lnTo>
                    <a:lnTo>
                      <a:pt x="20595" y="3052"/>
                    </a:lnTo>
                    <a:lnTo>
                      <a:pt x="19340" y="3052"/>
                    </a:lnTo>
                    <a:lnTo>
                      <a:pt x="19340" y="4109"/>
                    </a:lnTo>
                    <a:close/>
                  </a:path>
                  <a:path w="21600" h="21600" extrusionOk="0">
                    <a:moveTo>
                      <a:pt x="19340" y="5517"/>
                    </a:moveTo>
                    <a:lnTo>
                      <a:pt x="20595" y="5517"/>
                    </a:lnTo>
                    <a:lnTo>
                      <a:pt x="20595" y="4461"/>
                    </a:lnTo>
                    <a:lnTo>
                      <a:pt x="19340" y="4461"/>
                    </a:lnTo>
                    <a:lnTo>
                      <a:pt x="19340" y="5517"/>
                    </a:lnTo>
                    <a:close/>
                  </a:path>
                  <a:path w="21600" h="21600" extrusionOk="0">
                    <a:moveTo>
                      <a:pt x="19340" y="6926"/>
                    </a:moveTo>
                    <a:lnTo>
                      <a:pt x="20595" y="6926"/>
                    </a:lnTo>
                    <a:lnTo>
                      <a:pt x="20595" y="5870"/>
                    </a:lnTo>
                    <a:lnTo>
                      <a:pt x="19340" y="5870"/>
                    </a:lnTo>
                    <a:lnTo>
                      <a:pt x="19340" y="6926"/>
                    </a:lnTo>
                    <a:close/>
                  </a:path>
                  <a:path w="21600" h="21600" extrusionOk="0">
                    <a:moveTo>
                      <a:pt x="19340" y="8335"/>
                    </a:moveTo>
                    <a:lnTo>
                      <a:pt x="20595" y="8335"/>
                    </a:lnTo>
                    <a:lnTo>
                      <a:pt x="20595" y="7278"/>
                    </a:lnTo>
                    <a:lnTo>
                      <a:pt x="19340" y="7278"/>
                    </a:lnTo>
                    <a:lnTo>
                      <a:pt x="19340" y="8335"/>
                    </a:lnTo>
                    <a:close/>
                  </a:path>
                  <a:path w="21600" h="21600" extrusionOk="0">
                    <a:moveTo>
                      <a:pt x="19340" y="9743"/>
                    </a:moveTo>
                    <a:lnTo>
                      <a:pt x="20595" y="9743"/>
                    </a:lnTo>
                    <a:lnTo>
                      <a:pt x="20595" y="8687"/>
                    </a:lnTo>
                    <a:lnTo>
                      <a:pt x="19340" y="8687"/>
                    </a:lnTo>
                    <a:lnTo>
                      <a:pt x="19340" y="9743"/>
                    </a:lnTo>
                    <a:close/>
                  </a:path>
                  <a:path w="21600" h="21600" extrusionOk="0">
                    <a:moveTo>
                      <a:pt x="19340" y="11152"/>
                    </a:moveTo>
                    <a:lnTo>
                      <a:pt x="20595" y="11152"/>
                    </a:lnTo>
                    <a:lnTo>
                      <a:pt x="20595" y="10096"/>
                    </a:lnTo>
                    <a:lnTo>
                      <a:pt x="19340" y="10096"/>
                    </a:lnTo>
                    <a:lnTo>
                      <a:pt x="19340" y="11152"/>
                    </a:lnTo>
                    <a:close/>
                  </a:path>
                  <a:path w="21600" h="21600" extrusionOk="0">
                    <a:moveTo>
                      <a:pt x="19340" y="12561"/>
                    </a:moveTo>
                    <a:lnTo>
                      <a:pt x="20595" y="12561"/>
                    </a:lnTo>
                    <a:lnTo>
                      <a:pt x="20595" y="11504"/>
                    </a:lnTo>
                    <a:lnTo>
                      <a:pt x="19340" y="11504"/>
                    </a:lnTo>
                    <a:lnTo>
                      <a:pt x="19340" y="12561"/>
                    </a:lnTo>
                    <a:close/>
                  </a:path>
                  <a:path w="21600" h="21600" extrusionOk="0">
                    <a:moveTo>
                      <a:pt x="19340" y="13970"/>
                    </a:moveTo>
                    <a:lnTo>
                      <a:pt x="20595" y="13970"/>
                    </a:lnTo>
                    <a:lnTo>
                      <a:pt x="20595" y="12913"/>
                    </a:lnTo>
                    <a:lnTo>
                      <a:pt x="19340" y="12913"/>
                    </a:lnTo>
                    <a:lnTo>
                      <a:pt x="19340" y="13970"/>
                    </a:lnTo>
                    <a:close/>
                  </a:path>
                  <a:path w="21600" h="21600" extrusionOk="0">
                    <a:moveTo>
                      <a:pt x="19340" y="15378"/>
                    </a:moveTo>
                    <a:lnTo>
                      <a:pt x="20595" y="15378"/>
                    </a:lnTo>
                    <a:lnTo>
                      <a:pt x="20595" y="14322"/>
                    </a:lnTo>
                    <a:lnTo>
                      <a:pt x="19340" y="14322"/>
                    </a:lnTo>
                    <a:lnTo>
                      <a:pt x="19340" y="15378"/>
                    </a:lnTo>
                    <a:close/>
                  </a:path>
                  <a:path w="21600" h="21600" extrusionOk="0">
                    <a:moveTo>
                      <a:pt x="19340" y="16787"/>
                    </a:moveTo>
                    <a:lnTo>
                      <a:pt x="20595" y="16787"/>
                    </a:lnTo>
                    <a:lnTo>
                      <a:pt x="20595" y="15730"/>
                    </a:lnTo>
                    <a:lnTo>
                      <a:pt x="19340" y="15730"/>
                    </a:lnTo>
                    <a:lnTo>
                      <a:pt x="19340" y="16787"/>
                    </a:lnTo>
                    <a:close/>
                  </a:path>
                  <a:path w="21600" h="21600" extrusionOk="0">
                    <a:moveTo>
                      <a:pt x="19340" y="18196"/>
                    </a:moveTo>
                    <a:lnTo>
                      <a:pt x="20595" y="18196"/>
                    </a:lnTo>
                    <a:lnTo>
                      <a:pt x="20595" y="17139"/>
                    </a:lnTo>
                    <a:lnTo>
                      <a:pt x="19340" y="17139"/>
                    </a:lnTo>
                    <a:lnTo>
                      <a:pt x="19340" y="18196"/>
                    </a:lnTo>
                    <a:close/>
                  </a:path>
                  <a:path w="21600" h="21600" extrusionOk="0">
                    <a:moveTo>
                      <a:pt x="19340" y="19604"/>
                    </a:moveTo>
                    <a:lnTo>
                      <a:pt x="20595" y="19604"/>
                    </a:lnTo>
                    <a:lnTo>
                      <a:pt x="20595" y="18548"/>
                    </a:lnTo>
                    <a:lnTo>
                      <a:pt x="19340" y="18548"/>
                    </a:lnTo>
                    <a:lnTo>
                      <a:pt x="19340" y="19604"/>
                    </a:lnTo>
                    <a:close/>
                  </a:path>
                  <a:path w="21600" h="21600" extrusionOk="0">
                    <a:moveTo>
                      <a:pt x="19340" y="21013"/>
                    </a:moveTo>
                    <a:lnTo>
                      <a:pt x="20595" y="21013"/>
                    </a:lnTo>
                    <a:lnTo>
                      <a:pt x="20595" y="19957"/>
                    </a:lnTo>
                    <a:lnTo>
                      <a:pt x="19340" y="19957"/>
                    </a:lnTo>
                    <a:lnTo>
                      <a:pt x="19340" y="21013"/>
                    </a:lnTo>
                    <a:close/>
                  </a:path>
                </a:pathLst>
              </a:custGeom>
              <a:grpFill/>
              <a:ln w="1270">
                <a:solidFill>
                  <a:schemeClr val="tx2">
                    <a:lumMod val="90000"/>
                    <a:lumOff val="10000"/>
                  </a:schemeClr>
                </a:solidFill>
                <a:miter lim="800000"/>
                <a:headEnd/>
                <a:tailEnd/>
              </a:ln>
            </p:spPr>
            <p:txBody>
              <a:bodyPr/>
              <a:lstStyle/>
              <a:p>
                <a:pPr>
                  <a:spcBef>
                    <a:spcPct val="50000"/>
                  </a:spcBef>
                  <a:defRPr/>
                </a:pPr>
                <a:endParaRPr lang="en-US" sz="2800" dirty="0">
                  <a:ea typeface="ＭＳ Ｐゴシック" pitchFamily="34" charset="-128"/>
                </a:endParaRPr>
              </a:p>
            </p:txBody>
          </p:sp>
        </p:grpSp>
        <p:grpSp>
          <p:nvGrpSpPr>
            <p:cNvPr id="147" name="Group 146"/>
            <p:cNvGrpSpPr/>
            <p:nvPr/>
          </p:nvGrpSpPr>
          <p:grpSpPr>
            <a:xfrm>
              <a:off x="6921067" y="4125424"/>
              <a:ext cx="3220474" cy="810619"/>
              <a:chOff x="5175259" y="2724150"/>
              <a:chExt cx="2612994" cy="791999"/>
            </a:xfrm>
            <a:solidFill>
              <a:schemeClr val="bg1"/>
            </a:solidFill>
          </p:grpSpPr>
          <p:sp>
            <p:nvSpPr>
              <p:cNvPr id="148" name="Rounded Rectangle 147"/>
              <p:cNvSpPr/>
              <p:nvPr/>
            </p:nvSpPr>
            <p:spPr bwMode="auto">
              <a:xfrm>
                <a:off x="5175259" y="2724150"/>
                <a:ext cx="2612994" cy="791999"/>
              </a:xfrm>
              <a:prstGeom prst="roundRect">
                <a:avLst>
                  <a:gd name="adj" fmla="val 10726"/>
                </a:avLst>
              </a:prstGeom>
              <a:grpFill/>
              <a:ln w="28575">
                <a:solidFill>
                  <a:schemeClr val="tx2">
                    <a:lumMod val="90000"/>
                    <a:lumOff val="10000"/>
                  </a:schemeClr>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a:defRPr/>
                </a:pPr>
                <a:r>
                  <a:rPr lang="en-US" sz="1600" dirty="0">
                    <a:solidFill>
                      <a:schemeClr val="tx1"/>
                    </a:solidFill>
                  </a:rPr>
                  <a:t>Mobile Broadband Basic</a:t>
                </a:r>
              </a:p>
            </p:txBody>
          </p:sp>
          <p:sp>
            <p:nvSpPr>
              <p:cNvPr id="149" name="Freeform 28"/>
              <p:cNvSpPr>
                <a:spLocks noChangeAspect="1" noEditPoints="1"/>
              </p:cNvSpPr>
              <p:nvPr/>
            </p:nvSpPr>
            <p:spPr bwMode="auto">
              <a:xfrm>
                <a:off x="7534628" y="2790767"/>
                <a:ext cx="119063" cy="237703"/>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grpFill/>
              <a:ln>
                <a:solidFill>
                  <a:schemeClr val="tx2">
                    <a:lumMod val="90000"/>
                    <a:lumOff val="10000"/>
                  </a:schemeClr>
                </a:solidFill>
              </a:ln>
              <a:extLst/>
            </p:spPr>
            <p:txBody>
              <a:bodyPr/>
              <a:lstStyle/>
              <a:p>
                <a:pPr>
                  <a:defRPr/>
                </a:pPr>
                <a:endParaRPr lang="en-US" sz="2800">
                  <a:ea typeface="ＭＳ Ｐゴシック" pitchFamily="34" charset="-128"/>
                </a:endParaRPr>
              </a:p>
            </p:txBody>
          </p:sp>
        </p:grpSp>
        <p:sp>
          <p:nvSpPr>
            <p:cNvPr id="7225" name="Oval 149"/>
            <p:cNvSpPr>
              <a:spLocks noChangeAspect="1"/>
            </p:cNvSpPr>
            <p:nvPr/>
          </p:nvSpPr>
          <p:spPr bwMode="auto">
            <a:xfrm>
              <a:off x="8379485" y="2890970"/>
              <a:ext cx="68251" cy="68251"/>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sp>
          <p:nvSpPr>
            <p:cNvPr id="7226" name="Oval 150"/>
            <p:cNvSpPr>
              <a:spLocks noChangeAspect="1"/>
            </p:cNvSpPr>
            <p:nvPr/>
          </p:nvSpPr>
          <p:spPr bwMode="auto">
            <a:xfrm>
              <a:off x="8473400" y="2765593"/>
              <a:ext cx="68251" cy="68251"/>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sp>
          <p:nvSpPr>
            <p:cNvPr id="7227" name="Oval 151"/>
            <p:cNvSpPr>
              <a:spLocks noChangeAspect="1"/>
            </p:cNvSpPr>
            <p:nvPr/>
          </p:nvSpPr>
          <p:spPr bwMode="auto">
            <a:xfrm>
              <a:off x="8567316" y="2640216"/>
              <a:ext cx="68251" cy="68251"/>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sp>
          <p:nvSpPr>
            <p:cNvPr id="7228" name="Freeform 28"/>
            <p:cNvSpPr>
              <a:spLocks noChangeAspect="1" noEditPoints="1"/>
            </p:cNvSpPr>
            <p:nvPr/>
          </p:nvSpPr>
          <p:spPr bwMode="auto">
            <a:xfrm>
              <a:off x="6776630" y="5894732"/>
              <a:ext cx="142552" cy="256147"/>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1917" tIns="60958" rIns="121917" bIns="60958"/>
            <a:lstStyle/>
            <a:p>
              <a:endParaRPr lang="en-US"/>
            </a:p>
          </p:txBody>
        </p:sp>
        <p:grpSp>
          <p:nvGrpSpPr>
            <p:cNvPr id="154" name="Group 153"/>
            <p:cNvGrpSpPr/>
            <p:nvPr/>
          </p:nvGrpSpPr>
          <p:grpSpPr>
            <a:xfrm>
              <a:off x="6310686" y="5761606"/>
              <a:ext cx="471890" cy="306032"/>
              <a:chOff x="1934061" y="4864780"/>
              <a:chExt cx="663372" cy="430212"/>
            </a:xfrm>
            <a:solidFill>
              <a:schemeClr val="bg1"/>
            </a:solidFill>
          </p:grpSpPr>
          <p:sp>
            <p:nvSpPr>
              <p:cNvPr id="155" name="AutoShape 14"/>
              <p:cNvSpPr>
                <a:spLocks noChangeAspect="1" noEditPoints="1"/>
              </p:cNvSpPr>
              <p:nvPr/>
            </p:nvSpPr>
            <p:spPr bwMode="auto">
              <a:xfrm>
                <a:off x="1934061" y="4936217"/>
                <a:ext cx="463134" cy="358775"/>
              </a:xfrm>
              <a:custGeom>
                <a:avLst/>
                <a:gdLst>
                  <a:gd name="T0" fmla="*/ 2147483647 w 372"/>
                  <a:gd name="T1" fmla="*/ 2147483647 h 330"/>
                  <a:gd name="T2" fmla="*/ 2147483647 w 372"/>
                  <a:gd name="T3" fmla="*/ 2147483647 h 330"/>
                  <a:gd name="T4" fmla="*/ 2147483647 w 372"/>
                  <a:gd name="T5" fmla="*/ 2147483647 h 330"/>
                  <a:gd name="T6" fmla="*/ 2147483647 w 372"/>
                  <a:gd name="T7" fmla="*/ 2147483647 h 330"/>
                  <a:gd name="T8" fmla="*/ 2147483647 w 372"/>
                  <a:gd name="T9" fmla="*/ 2147483647 h 330"/>
                  <a:gd name="T10" fmla="*/ 2147483647 w 372"/>
                  <a:gd name="T11" fmla="*/ 2147483647 h 330"/>
                  <a:gd name="T12" fmla="*/ 2147483647 w 372"/>
                  <a:gd name="T13" fmla="*/ 2147483647 h 330"/>
                  <a:gd name="T14" fmla="*/ 2147483647 w 372"/>
                  <a:gd name="T15" fmla="*/ 2147483647 h 330"/>
                  <a:gd name="T16" fmla="*/ 2147483647 w 372"/>
                  <a:gd name="T17" fmla="*/ 2147483647 h 330"/>
                  <a:gd name="T18" fmla="*/ 2147483647 w 372"/>
                  <a:gd name="T19" fmla="*/ 2147483647 h 330"/>
                  <a:gd name="T20" fmla="*/ 2147483647 w 372"/>
                  <a:gd name="T21" fmla="*/ 2147483647 h 330"/>
                  <a:gd name="T22" fmla="*/ 2147483647 w 372"/>
                  <a:gd name="T23" fmla="*/ 2147483647 h 330"/>
                  <a:gd name="T24" fmla="*/ 2147483647 w 372"/>
                  <a:gd name="T25" fmla="*/ 2147483647 h 330"/>
                  <a:gd name="T26" fmla="*/ 2147483647 w 372"/>
                  <a:gd name="T27" fmla="*/ 2147483647 h 330"/>
                  <a:gd name="T28" fmla="*/ 2147483647 w 372"/>
                  <a:gd name="T29" fmla="*/ 2147483647 h 330"/>
                  <a:gd name="T30" fmla="*/ 2147483647 w 372"/>
                  <a:gd name="T31" fmla="*/ 2147483647 h 330"/>
                  <a:gd name="T32" fmla="*/ 2147483647 w 372"/>
                  <a:gd name="T33" fmla="*/ 2147483647 h 330"/>
                  <a:gd name="T34" fmla="*/ 2147483647 w 372"/>
                  <a:gd name="T35" fmla="*/ 2147483647 h 330"/>
                  <a:gd name="T36" fmla="*/ 2147483647 w 372"/>
                  <a:gd name="T37" fmla="*/ 2147483647 h 330"/>
                  <a:gd name="T38" fmla="*/ 2147483647 w 372"/>
                  <a:gd name="T39" fmla="*/ 2147483647 h 330"/>
                  <a:gd name="T40" fmla="*/ 2147483647 w 372"/>
                  <a:gd name="T41" fmla="*/ 2147483647 h 330"/>
                  <a:gd name="T42" fmla="*/ 2147483647 w 372"/>
                  <a:gd name="T43" fmla="*/ 2147483647 h 330"/>
                  <a:gd name="T44" fmla="*/ 2147483647 w 372"/>
                  <a:gd name="T45" fmla="*/ 2147483647 h 330"/>
                  <a:gd name="T46" fmla="*/ 2147483647 w 372"/>
                  <a:gd name="T47" fmla="*/ 2147483647 h 330"/>
                  <a:gd name="T48" fmla="*/ 2147483647 w 372"/>
                  <a:gd name="T49" fmla="*/ 2147483647 h 330"/>
                  <a:gd name="T50" fmla="*/ 2147483647 w 372"/>
                  <a:gd name="T51" fmla="*/ 2147483647 h 330"/>
                  <a:gd name="T52" fmla="*/ 2147483647 w 372"/>
                  <a:gd name="T53" fmla="*/ 0 h 330"/>
                  <a:gd name="T54" fmla="*/ 2147483647 w 372"/>
                  <a:gd name="T55" fmla="*/ 2147483647 h 330"/>
                  <a:gd name="T56" fmla="*/ 2147483647 w 372"/>
                  <a:gd name="T57" fmla="*/ 2147483647 h 330"/>
                  <a:gd name="T58" fmla="*/ 2147483647 w 372"/>
                  <a:gd name="T59" fmla="*/ 2147483647 h 330"/>
                  <a:gd name="T60" fmla="*/ 2147483647 w 372"/>
                  <a:gd name="T61" fmla="*/ 2147483647 h 330"/>
                  <a:gd name="T62" fmla="*/ 2147483647 w 372"/>
                  <a:gd name="T63" fmla="*/ 2147483647 h 330"/>
                  <a:gd name="T64" fmla="*/ 2147483647 w 372"/>
                  <a:gd name="T65" fmla="*/ 2147483647 h 330"/>
                  <a:gd name="T66" fmla="*/ 2147483647 w 372"/>
                  <a:gd name="T67" fmla="*/ 2147483647 h 330"/>
                  <a:gd name="T68" fmla="*/ 2147483647 w 372"/>
                  <a:gd name="T69" fmla="*/ 2147483647 h 330"/>
                  <a:gd name="T70" fmla="*/ 2147483647 w 372"/>
                  <a:gd name="T71" fmla="*/ 2147483647 h 330"/>
                  <a:gd name="T72" fmla="*/ 2147483647 w 372"/>
                  <a:gd name="T73" fmla="*/ 2147483647 h 330"/>
                  <a:gd name="T74" fmla="*/ 2147483647 w 372"/>
                  <a:gd name="T75" fmla="*/ 2147483647 h 330"/>
                  <a:gd name="T76" fmla="*/ 2147483647 w 372"/>
                  <a:gd name="T77" fmla="*/ 2147483647 h 330"/>
                  <a:gd name="T78" fmla="*/ 2147483647 w 372"/>
                  <a:gd name="T79" fmla="*/ 2147483647 h 330"/>
                  <a:gd name="T80" fmla="*/ 2147483647 w 372"/>
                  <a:gd name="T81" fmla="*/ 2147483647 h 330"/>
                  <a:gd name="T82" fmla="*/ 2147483647 w 372"/>
                  <a:gd name="T83" fmla="*/ 2147483647 h 330"/>
                  <a:gd name="T84" fmla="*/ 2147483647 w 372"/>
                  <a:gd name="T85" fmla="*/ 2147483647 h 330"/>
                  <a:gd name="T86" fmla="*/ 2147483647 w 372"/>
                  <a:gd name="T87" fmla="*/ 2147483647 h 330"/>
                  <a:gd name="T88" fmla="*/ 2147483647 w 372"/>
                  <a:gd name="T89" fmla="*/ 2147483647 h 330"/>
                  <a:gd name="T90" fmla="*/ 2147483647 w 372"/>
                  <a:gd name="T91" fmla="*/ 2147483647 h 330"/>
                  <a:gd name="T92" fmla="*/ 2147483647 w 372"/>
                  <a:gd name="T93" fmla="*/ 2147483647 h 330"/>
                  <a:gd name="T94" fmla="*/ 2147483647 w 372"/>
                  <a:gd name="T95" fmla="*/ 2147483647 h 330"/>
                  <a:gd name="T96" fmla="*/ 2147483647 w 372"/>
                  <a:gd name="T97" fmla="*/ 2147483647 h 330"/>
                  <a:gd name="T98" fmla="*/ 2147483647 w 372"/>
                  <a:gd name="T99" fmla="*/ 2147483647 h 330"/>
                  <a:gd name="T100" fmla="*/ 2147483647 w 372"/>
                  <a:gd name="T101" fmla="*/ 2147483647 h 330"/>
                  <a:gd name="T102" fmla="*/ 2147483647 w 372"/>
                  <a:gd name="T103" fmla="*/ 2147483647 h 330"/>
                  <a:gd name="T104" fmla="*/ 2147483647 w 372"/>
                  <a:gd name="T105" fmla="*/ 2147483647 h 330"/>
                  <a:gd name="T106" fmla="*/ 2147483647 w 372"/>
                  <a:gd name="T107" fmla="*/ 2147483647 h 330"/>
                  <a:gd name="T108" fmla="*/ 2147483647 w 372"/>
                  <a:gd name="T109" fmla="*/ 2147483647 h 330"/>
                  <a:gd name="T110" fmla="*/ 2147483647 w 372"/>
                  <a:gd name="T111" fmla="*/ 2147483647 h 330"/>
                  <a:gd name="T112" fmla="*/ 2147483647 w 372"/>
                  <a:gd name="T113" fmla="*/ 2147483647 h 3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2"/>
                  <a:gd name="T172" fmla="*/ 0 h 330"/>
                  <a:gd name="T173" fmla="*/ 372 w 372"/>
                  <a:gd name="T174" fmla="*/ 330 h 33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2" h="330">
                    <a:moveTo>
                      <a:pt x="307" y="33"/>
                    </a:moveTo>
                    <a:cubicBezTo>
                      <a:pt x="305" y="29"/>
                      <a:pt x="300" y="27"/>
                      <a:pt x="296" y="29"/>
                    </a:cubicBezTo>
                    <a:cubicBezTo>
                      <a:pt x="108" y="116"/>
                      <a:pt x="108" y="116"/>
                      <a:pt x="108" y="116"/>
                    </a:cubicBezTo>
                    <a:cubicBezTo>
                      <a:pt x="104" y="118"/>
                      <a:pt x="103" y="123"/>
                      <a:pt x="104" y="127"/>
                    </a:cubicBezTo>
                    <a:cubicBezTo>
                      <a:pt x="106" y="130"/>
                      <a:pt x="109" y="131"/>
                      <a:pt x="112" y="131"/>
                    </a:cubicBezTo>
                    <a:cubicBezTo>
                      <a:pt x="113" y="131"/>
                      <a:pt x="114" y="131"/>
                      <a:pt x="115" y="130"/>
                    </a:cubicBezTo>
                    <a:cubicBezTo>
                      <a:pt x="303" y="44"/>
                      <a:pt x="303" y="44"/>
                      <a:pt x="303" y="44"/>
                    </a:cubicBezTo>
                    <a:cubicBezTo>
                      <a:pt x="307" y="42"/>
                      <a:pt x="309" y="37"/>
                      <a:pt x="307" y="33"/>
                    </a:cubicBezTo>
                    <a:close/>
                    <a:moveTo>
                      <a:pt x="144" y="209"/>
                    </a:moveTo>
                    <a:cubicBezTo>
                      <a:pt x="146" y="209"/>
                      <a:pt x="147" y="209"/>
                      <a:pt x="148" y="208"/>
                    </a:cubicBezTo>
                    <a:cubicBezTo>
                      <a:pt x="336" y="121"/>
                      <a:pt x="336" y="121"/>
                      <a:pt x="336" y="121"/>
                    </a:cubicBezTo>
                    <a:cubicBezTo>
                      <a:pt x="340" y="120"/>
                      <a:pt x="341" y="115"/>
                      <a:pt x="340" y="111"/>
                    </a:cubicBezTo>
                    <a:cubicBezTo>
                      <a:pt x="338" y="107"/>
                      <a:pt x="333" y="105"/>
                      <a:pt x="329" y="107"/>
                    </a:cubicBezTo>
                    <a:cubicBezTo>
                      <a:pt x="141" y="194"/>
                      <a:pt x="141" y="194"/>
                      <a:pt x="141" y="194"/>
                    </a:cubicBezTo>
                    <a:cubicBezTo>
                      <a:pt x="137" y="196"/>
                      <a:pt x="135" y="200"/>
                      <a:pt x="137" y="204"/>
                    </a:cubicBezTo>
                    <a:cubicBezTo>
                      <a:pt x="139" y="207"/>
                      <a:pt x="141" y="209"/>
                      <a:pt x="144" y="209"/>
                    </a:cubicBezTo>
                    <a:close/>
                    <a:moveTo>
                      <a:pt x="360" y="284"/>
                    </a:moveTo>
                    <a:cubicBezTo>
                      <a:pt x="265" y="284"/>
                      <a:pt x="265" y="284"/>
                      <a:pt x="265" y="284"/>
                    </a:cubicBezTo>
                    <a:cubicBezTo>
                      <a:pt x="262" y="284"/>
                      <a:pt x="260" y="284"/>
                      <a:pt x="258" y="284"/>
                    </a:cubicBezTo>
                    <a:cubicBezTo>
                      <a:pt x="256" y="283"/>
                      <a:pt x="257" y="283"/>
                      <a:pt x="257" y="283"/>
                    </a:cubicBezTo>
                    <a:cubicBezTo>
                      <a:pt x="257" y="283"/>
                      <a:pt x="256" y="281"/>
                      <a:pt x="256" y="277"/>
                    </a:cubicBezTo>
                    <a:cubicBezTo>
                      <a:pt x="256" y="251"/>
                      <a:pt x="256" y="251"/>
                      <a:pt x="256" y="251"/>
                    </a:cubicBezTo>
                    <a:cubicBezTo>
                      <a:pt x="269" y="251"/>
                      <a:pt x="269" y="251"/>
                      <a:pt x="269" y="251"/>
                    </a:cubicBezTo>
                    <a:cubicBezTo>
                      <a:pt x="271" y="251"/>
                      <a:pt x="273" y="250"/>
                      <a:pt x="275" y="249"/>
                    </a:cubicBezTo>
                    <a:cubicBezTo>
                      <a:pt x="276" y="248"/>
                      <a:pt x="277" y="245"/>
                      <a:pt x="277" y="243"/>
                    </a:cubicBezTo>
                    <a:cubicBezTo>
                      <a:pt x="277" y="177"/>
                      <a:pt x="277" y="177"/>
                      <a:pt x="277" y="177"/>
                    </a:cubicBezTo>
                    <a:cubicBezTo>
                      <a:pt x="355" y="141"/>
                      <a:pt x="355" y="141"/>
                      <a:pt x="355" y="141"/>
                    </a:cubicBezTo>
                    <a:cubicBezTo>
                      <a:pt x="366" y="136"/>
                      <a:pt x="372" y="125"/>
                      <a:pt x="372" y="114"/>
                    </a:cubicBezTo>
                    <a:cubicBezTo>
                      <a:pt x="372" y="110"/>
                      <a:pt x="371" y="106"/>
                      <a:pt x="370" y="102"/>
                    </a:cubicBezTo>
                    <a:cubicBezTo>
                      <a:pt x="345" y="49"/>
                      <a:pt x="345" y="49"/>
                      <a:pt x="345" y="49"/>
                    </a:cubicBezTo>
                    <a:cubicBezTo>
                      <a:pt x="343" y="45"/>
                      <a:pt x="339" y="43"/>
                      <a:pt x="335" y="45"/>
                    </a:cubicBezTo>
                    <a:cubicBezTo>
                      <a:pt x="331" y="47"/>
                      <a:pt x="329" y="52"/>
                      <a:pt x="331" y="56"/>
                    </a:cubicBezTo>
                    <a:cubicBezTo>
                      <a:pt x="331" y="56"/>
                      <a:pt x="331" y="56"/>
                      <a:pt x="331" y="56"/>
                    </a:cubicBezTo>
                    <a:cubicBezTo>
                      <a:pt x="355" y="109"/>
                      <a:pt x="355" y="109"/>
                      <a:pt x="355" y="109"/>
                    </a:cubicBezTo>
                    <a:cubicBezTo>
                      <a:pt x="356" y="111"/>
                      <a:pt x="356" y="113"/>
                      <a:pt x="356" y="114"/>
                    </a:cubicBezTo>
                    <a:cubicBezTo>
                      <a:pt x="356" y="119"/>
                      <a:pt x="354" y="124"/>
                      <a:pt x="349" y="126"/>
                    </a:cubicBezTo>
                    <a:cubicBezTo>
                      <a:pt x="147" y="220"/>
                      <a:pt x="147" y="220"/>
                      <a:pt x="147" y="220"/>
                    </a:cubicBezTo>
                    <a:cubicBezTo>
                      <a:pt x="145" y="221"/>
                      <a:pt x="143" y="221"/>
                      <a:pt x="141" y="221"/>
                    </a:cubicBezTo>
                    <a:cubicBezTo>
                      <a:pt x="136" y="221"/>
                      <a:pt x="131" y="218"/>
                      <a:pt x="129" y="213"/>
                    </a:cubicBezTo>
                    <a:cubicBezTo>
                      <a:pt x="122" y="198"/>
                      <a:pt x="122" y="198"/>
                      <a:pt x="122" y="198"/>
                    </a:cubicBezTo>
                    <a:cubicBezTo>
                      <a:pt x="122" y="198"/>
                      <a:pt x="122" y="198"/>
                      <a:pt x="122" y="198"/>
                    </a:cubicBezTo>
                    <a:cubicBezTo>
                      <a:pt x="122" y="198"/>
                      <a:pt x="122" y="198"/>
                      <a:pt x="122" y="198"/>
                    </a:cubicBezTo>
                    <a:cubicBezTo>
                      <a:pt x="96" y="141"/>
                      <a:pt x="96" y="141"/>
                      <a:pt x="96" y="141"/>
                    </a:cubicBezTo>
                    <a:cubicBezTo>
                      <a:pt x="96" y="141"/>
                      <a:pt x="96" y="141"/>
                      <a:pt x="96" y="141"/>
                    </a:cubicBezTo>
                    <a:cubicBezTo>
                      <a:pt x="96" y="141"/>
                      <a:pt x="96" y="141"/>
                      <a:pt x="96" y="141"/>
                    </a:cubicBezTo>
                    <a:cubicBezTo>
                      <a:pt x="90" y="128"/>
                      <a:pt x="90" y="128"/>
                      <a:pt x="90" y="128"/>
                    </a:cubicBezTo>
                    <a:cubicBezTo>
                      <a:pt x="89" y="126"/>
                      <a:pt x="89" y="124"/>
                      <a:pt x="89" y="123"/>
                    </a:cubicBezTo>
                    <a:cubicBezTo>
                      <a:pt x="89" y="118"/>
                      <a:pt x="91" y="113"/>
                      <a:pt x="96" y="111"/>
                    </a:cubicBezTo>
                    <a:cubicBezTo>
                      <a:pt x="298" y="17"/>
                      <a:pt x="298" y="17"/>
                      <a:pt x="298" y="17"/>
                    </a:cubicBezTo>
                    <a:cubicBezTo>
                      <a:pt x="300" y="16"/>
                      <a:pt x="302" y="16"/>
                      <a:pt x="304" y="16"/>
                    </a:cubicBezTo>
                    <a:cubicBezTo>
                      <a:pt x="309" y="16"/>
                      <a:pt x="314" y="19"/>
                      <a:pt x="316" y="24"/>
                    </a:cubicBezTo>
                    <a:cubicBezTo>
                      <a:pt x="318" y="28"/>
                      <a:pt x="322" y="29"/>
                      <a:pt x="326" y="28"/>
                    </a:cubicBezTo>
                    <a:cubicBezTo>
                      <a:pt x="330" y="26"/>
                      <a:pt x="332" y="21"/>
                      <a:pt x="330" y="17"/>
                    </a:cubicBezTo>
                    <a:cubicBezTo>
                      <a:pt x="325" y="6"/>
                      <a:pt x="315" y="0"/>
                      <a:pt x="304" y="0"/>
                    </a:cubicBezTo>
                    <a:cubicBezTo>
                      <a:pt x="300" y="0"/>
                      <a:pt x="296" y="1"/>
                      <a:pt x="292" y="3"/>
                    </a:cubicBezTo>
                    <a:cubicBezTo>
                      <a:pt x="90" y="96"/>
                      <a:pt x="90" y="96"/>
                      <a:pt x="90" y="96"/>
                    </a:cubicBezTo>
                    <a:cubicBezTo>
                      <a:pt x="79" y="101"/>
                      <a:pt x="73" y="112"/>
                      <a:pt x="73" y="123"/>
                    </a:cubicBezTo>
                    <a:cubicBezTo>
                      <a:pt x="73" y="127"/>
                      <a:pt x="73" y="131"/>
                      <a:pt x="75" y="135"/>
                    </a:cubicBezTo>
                    <a:cubicBezTo>
                      <a:pt x="78" y="140"/>
                      <a:pt x="78" y="140"/>
                      <a:pt x="78" y="140"/>
                    </a:cubicBezTo>
                    <a:cubicBezTo>
                      <a:pt x="67" y="146"/>
                      <a:pt x="67" y="146"/>
                      <a:pt x="67" y="146"/>
                    </a:cubicBezTo>
                    <a:cubicBezTo>
                      <a:pt x="42" y="136"/>
                      <a:pt x="42" y="136"/>
                      <a:pt x="42" y="136"/>
                    </a:cubicBezTo>
                    <a:cubicBezTo>
                      <a:pt x="40" y="135"/>
                      <a:pt x="37" y="136"/>
                      <a:pt x="36" y="136"/>
                    </a:cubicBezTo>
                    <a:cubicBezTo>
                      <a:pt x="6" y="150"/>
                      <a:pt x="6" y="150"/>
                      <a:pt x="6" y="150"/>
                    </a:cubicBezTo>
                    <a:cubicBezTo>
                      <a:pt x="2" y="152"/>
                      <a:pt x="0" y="157"/>
                      <a:pt x="2" y="161"/>
                    </a:cubicBezTo>
                    <a:cubicBezTo>
                      <a:pt x="46" y="257"/>
                      <a:pt x="46" y="257"/>
                      <a:pt x="46" y="257"/>
                    </a:cubicBezTo>
                    <a:cubicBezTo>
                      <a:pt x="47" y="259"/>
                      <a:pt x="49" y="260"/>
                      <a:pt x="51" y="261"/>
                    </a:cubicBezTo>
                    <a:cubicBezTo>
                      <a:pt x="52" y="261"/>
                      <a:pt x="53" y="262"/>
                      <a:pt x="54" y="262"/>
                    </a:cubicBezTo>
                    <a:cubicBezTo>
                      <a:pt x="55" y="262"/>
                      <a:pt x="56" y="261"/>
                      <a:pt x="57" y="261"/>
                    </a:cubicBezTo>
                    <a:cubicBezTo>
                      <a:pt x="87" y="247"/>
                      <a:pt x="87" y="247"/>
                      <a:pt x="87" y="247"/>
                    </a:cubicBezTo>
                    <a:cubicBezTo>
                      <a:pt x="89" y="246"/>
                      <a:pt x="90" y="245"/>
                      <a:pt x="91" y="243"/>
                    </a:cubicBezTo>
                    <a:cubicBezTo>
                      <a:pt x="100" y="217"/>
                      <a:pt x="100" y="217"/>
                      <a:pt x="100" y="217"/>
                    </a:cubicBezTo>
                    <a:cubicBezTo>
                      <a:pt x="111" y="212"/>
                      <a:pt x="111" y="212"/>
                      <a:pt x="111" y="212"/>
                    </a:cubicBezTo>
                    <a:cubicBezTo>
                      <a:pt x="115" y="220"/>
                      <a:pt x="115" y="220"/>
                      <a:pt x="115" y="220"/>
                    </a:cubicBezTo>
                    <a:cubicBezTo>
                      <a:pt x="120" y="231"/>
                      <a:pt x="130" y="237"/>
                      <a:pt x="141" y="237"/>
                    </a:cubicBezTo>
                    <a:cubicBezTo>
                      <a:pt x="145" y="237"/>
                      <a:pt x="149" y="236"/>
                      <a:pt x="153" y="234"/>
                    </a:cubicBezTo>
                    <a:cubicBezTo>
                      <a:pt x="184" y="220"/>
                      <a:pt x="184" y="220"/>
                      <a:pt x="184" y="220"/>
                    </a:cubicBezTo>
                    <a:cubicBezTo>
                      <a:pt x="184" y="243"/>
                      <a:pt x="184" y="243"/>
                      <a:pt x="184" y="243"/>
                    </a:cubicBezTo>
                    <a:cubicBezTo>
                      <a:pt x="184" y="245"/>
                      <a:pt x="185" y="248"/>
                      <a:pt x="187" y="249"/>
                    </a:cubicBezTo>
                    <a:cubicBezTo>
                      <a:pt x="188" y="250"/>
                      <a:pt x="190" y="251"/>
                      <a:pt x="192" y="251"/>
                    </a:cubicBezTo>
                    <a:cubicBezTo>
                      <a:pt x="207" y="251"/>
                      <a:pt x="207" y="251"/>
                      <a:pt x="207" y="251"/>
                    </a:cubicBezTo>
                    <a:cubicBezTo>
                      <a:pt x="207" y="300"/>
                      <a:pt x="207" y="300"/>
                      <a:pt x="207" y="300"/>
                    </a:cubicBezTo>
                    <a:cubicBezTo>
                      <a:pt x="207" y="317"/>
                      <a:pt x="221" y="330"/>
                      <a:pt x="237" y="330"/>
                    </a:cubicBezTo>
                    <a:cubicBezTo>
                      <a:pt x="360" y="330"/>
                      <a:pt x="360" y="330"/>
                      <a:pt x="360" y="330"/>
                    </a:cubicBezTo>
                    <a:cubicBezTo>
                      <a:pt x="362" y="330"/>
                      <a:pt x="364" y="330"/>
                      <a:pt x="365" y="328"/>
                    </a:cubicBezTo>
                    <a:cubicBezTo>
                      <a:pt x="367" y="326"/>
                      <a:pt x="368" y="324"/>
                      <a:pt x="368" y="322"/>
                    </a:cubicBezTo>
                    <a:cubicBezTo>
                      <a:pt x="368" y="292"/>
                      <a:pt x="368" y="292"/>
                      <a:pt x="368" y="292"/>
                    </a:cubicBezTo>
                    <a:cubicBezTo>
                      <a:pt x="368" y="290"/>
                      <a:pt x="367" y="288"/>
                      <a:pt x="365" y="286"/>
                    </a:cubicBezTo>
                    <a:cubicBezTo>
                      <a:pt x="364" y="285"/>
                      <a:pt x="362" y="284"/>
                      <a:pt x="360" y="284"/>
                    </a:cubicBezTo>
                    <a:close/>
                    <a:moveTo>
                      <a:pt x="90" y="204"/>
                    </a:moveTo>
                    <a:cubicBezTo>
                      <a:pt x="88" y="205"/>
                      <a:pt x="87" y="207"/>
                      <a:pt x="86" y="209"/>
                    </a:cubicBezTo>
                    <a:cubicBezTo>
                      <a:pt x="77" y="234"/>
                      <a:pt x="77" y="234"/>
                      <a:pt x="77" y="234"/>
                    </a:cubicBezTo>
                    <a:cubicBezTo>
                      <a:pt x="58" y="243"/>
                      <a:pt x="58" y="243"/>
                      <a:pt x="58" y="243"/>
                    </a:cubicBezTo>
                    <a:cubicBezTo>
                      <a:pt x="20" y="161"/>
                      <a:pt x="20" y="161"/>
                      <a:pt x="20" y="161"/>
                    </a:cubicBezTo>
                    <a:cubicBezTo>
                      <a:pt x="39" y="152"/>
                      <a:pt x="39" y="152"/>
                      <a:pt x="39" y="152"/>
                    </a:cubicBezTo>
                    <a:cubicBezTo>
                      <a:pt x="65" y="162"/>
                      <a:pt x="65" y="162"/>
                      <a:pt x="65" y="162"/>
                    </a:cubicBezTo>
                    <a:cubicBezTo>
                      <a:pt x="67" y="162"/>
                      <a:pt x="69" y="162"/>
                      <a:pt x="71" y="161"/>
                    </a:cubicBezTo>
                    <a:cubicBezTo>
                      <a:pt x="85" y="155"/>
                      <a:pt x="85" y="155"/>
                      <a:pt x="85" y="155"/>
                    </a:cubicBezTo>
                    <a:cubicBezTo>
                      <a:pt x="104" y="198"/>
                      <a:pt x="104" y="198"/>
                      <a:pt x="104" y="198"/>
                    </a:cubicBezTo>
                    <a:lnTo>
                      <a:pt x="90" y="204"/>
                    </a:lnTo>
                    <a:close/>
                    <a:moveTo>
                      <a:pt x="200" y="235"/>
                    </a:moveTo>
                    <a:cubicBezTo>
                      <a:pt x="200" y="213"/>
                      <a:pt x="200" y="213"/>
                      <a:pt x="200" y="213"/>
                    </a:cubicBezTo>
                    <a:cubicBezTo>
                      <a:pt x="261" y="184"/>
                      <a:pt x="261" y="184"/>
                      <a:pt x="261" y="184"/>
                    </a:cubicBezTo>
                    <a:cubicBezTo>
                      <a:pt x="261" y="235"/>
                      <a:pt x="261" y="235"/>
                      <a:pt x="261" y="235"/>
                    </a:cubicBezTo>
                    <a:lnTo>
                      <a:pt x="200" y="235"/>
                    </a:lnTo>
                    <a:close/>
                    <a:moveTo>
                      <a:pt x="352" y="314"/>
                    </a:moveTo>
                    <a:cubicBezTo>
                      <a:pt x="237" y="314"/>
                      <a:pt x="237" y="314"/>
                      <a:pt x="237" y="314"/>
                    </a:cubicBezTo>
                    <a:cubicBezTo>
                      <a:pt x="229" y="314"/>
                      <a:pt x="223" y="308"/>
                      <a:pt x="223" y="300"/>
                    </a:cubicBezTo>
                    <a:cubicBezTo>
                      <a:pt x="223" y="251"/>
                      <a:pt x="223" y="251"/>
                      <a:pt x="223" y="251"/>
                    </a:cubicBezTo>
                    <a:cubicBezTo>
                      <a:pt x="240" y="251"/>
                      <a:pt x="240" y="251"/>
                      <a:pt x="240" y="251"/>
                    </a:cubicBezTo>
                    <a:cubicBezTo>
                      <a:pt x="240" y="277"/>
                      <a:pt x="240" y="277"/>
                      <a:pt x="240" y="277"/>
                    </a:cubicBezTo>
                    <a:cubicBezTo>
                      <a:pt x="240" y="283"/>
                      <a:pt x="241" y="290"/>
                      <a:pt x="246" y="295"/>
                    </a:cubicBezTo>
                    <a:cubicBezTo>
                      <a:pt x="252" y="300"/>
                      <a:pt x="258" y="300"/>
                      <a:pt x="265" y="300"/>
                    </a:cubicBezTo>
                    <a:cubicBezTo>
                      <a:pt x="352" y="300"/>
                      <a:pt x="352" y="300"/>
                      <a:pt x="352" y="300"/>
                    </a:cubicBezTo>
                    <a:lnTo>
                      <a:pt x="352" y="314"/>
                    </a:lnTo>
                    <a:close/>
                  </a:path>
                </a:pathLst>
              </a:custGeom>
              <a:solidFill>
                <a:schemeClr val="bg1"/>
              </a:solidFill>
              <a:ln w="9525">
                <a:noFill/>
                <a:round/>
                <a:headEnd/>
                <a:tailEnd/>
              </a:ln>
              <a:extLst/>
            </p:spPr>
            <p:txBody>
              <a:bodyPr/>
              <a:lstStyle/>
              <a:p>
                <a:pPr>
                  <a:defRPr/>
                </a:pPr>
                <a:endParaRPr lang="en-US">
                  <a:ea typeface="ＭＳ Ｐゴシック" pitchFamily="34" charset="-128"/>
                </a:endParaRPr>
              </a:p>
            </p:txBody>
          </p:sp>
          <p:sp>
            <p:nvSpPr>
              <p:cNvPr id="156" name="Freeform 3"/>
              <p:cNvSpPr>
                <a:spLocks noChangeAspect="1" noEditPoints="1"/>
              </p:cNvSpPr>
              <p:nvPr/>
            </p:nvSpPr>
            <p:spPr bwMode="auto">
              <a:xfrm>
                <a:off x="2360417" y="4864780"/>
                <a:ext cx="237016" cy="177800"/>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solidFill>
                <a:schemeClr val="bg1"/>
              </a:solidFill>
              <a:ln w="9525">
                <a:solidFill>
                  <a:schemeClr val="bg1"/>
                </a:solidFill>
                <a:round/>
                <a:headEnd/>
                <a:tailEnd/>
              </a:ln>
              <a:extLst/>
            </p:spPr>
            <p:txBody>
              <a:bodyPr/>
              <a:lstStyle/>
              <a:p>
                <a:pPr>
                  <a:defRPr/>
                </a:pPr>
                <a:endParaRPr lang="en-US">
                  <a:ea typeface="ＭＳ Ｐゴシック" pitchFamily="34" charset="-128"/>
                </a:endParaRPr>
              </a:p>
            </p:txBody>
          </p:sp>
        </p:grpSp>
        <p:sp>
          <p:nvSpPr>
            <p:cNvPr id="7230" name="Freeform 3"/>
            <p:cNvSpPr>
              <a:spLocks noChangeAspect="1" noEditPoints="1"/>
            </p:cNvSpPr>
            <p:nvPr/>
          </p:nvSpPr>
          <p:spPr bwMode="auto">
            <a:xfrm>
              <a:off x="6244123" y="6160986"/>
              <a:ext cx="286957" cy="266253"/>
            </a:xfrm>
            <a:custGeom>
              <a:avLst/>
              <a:gdLst>
                <a:gd name="T0" fmla="*/ 2147483647 w 395"/>
                <a:gd name="T1" fmla="*/ 2147483647 h 395"/>
                <a:gd name="T2" fmla="*/ 2147483647 w 395"/>
                <a:gd name="T3" fmla="*/ 2147483647 h 395"/>
                <a:gd name="T4" fmla="*/ 2147483647 w 395"/>
                <a:gd name="T5" fmla="*/ 2147483647 h 395"/>
                <a:gd name="T6" fmla="*/ 2147483647 w 395"/>
                <a:gd name="T7" fmla="*/ 2147483647 h 395"/>
                <a:gd name="T8" fmla="*/ 2147483647 w 395"/>
                <a:gd name="T9" fmla="*/ 0 h 395"/>
                <a:gd name="T10" fmla="*/ 2147483647 w 395"/>
                <a:gd name="T11" fmla="*/ 2147483647 h 395"/>
                <a:gd name="T12" fmla="*/ 2147483647 w 395"/>
                <a:gd name="T13" fmla="*/ 2147483647 h 395"/>
                <a:gd name="T14" fmla="*/ 2147483647 w 395"/>
                <a:gd name="T15" fmla="*/ 2147483647 h 395"/>
                <a:gd name="T16" fmla="*/ 2147483647 w 395"/>
                <a:gd name="T17" fmla="*/ 2147483647 h 395"/>
                <a:gd name="T18" fmla="*/ 2147483647 w 395"/>
                <a:gd name="T19" fmla="*/ 2147483647 h 395"/>
                <a:gd name="T20" fmla="*/ 2147483647 w 395"/>
                <a:gd name="T21" fmla="*/ 2147483647 h 395"/>
                <a:gd name="T22" fmla="*/ 2147483647 w 395"/>
                <a:gd name="T23" fmla="*/ 2147483647 h 395"/>
                <a:gd name="T24" fmla="*/ 2147483647 w 395"/>
                <a:gd name="T25" fmla="*/ 2147483647 h 395"/>
                <a:gd name="T26" fmla="*/ 2147483647 w 395"/>
                <a:gd name="T27" fmla="*/ 2147483647 h 395"/>
                <a:gd name="T28" fmla="*/ 2147483647 w 395"/>
                <a:gd name="T29" fmla="*/ 2147483647 h 395"/>
                <a:gd name="T30" fmla="*/ 2147483647 w 395"/>
                <a:gd name="T31" fmla="*/ 2147483647 h 395"/>
                <a:gd name="T32" fmla="*/ 2147483647 w 395"/>
                <a:gd name="T33" fmla="*/ 2147483647 h 395"/>
                <a:gd name="T34" fmla="*/ 2147483647 w 395"/>
                <a:gd name="T35" fmla="*/ 2147483647 h 395"/>
                <a:gd name="T36" fmla="*/ 2147483647 w 395"/>
                <a:gd name="T37" fmla="*/ 2147483647 h 395"/>
                <a:gd name="T38" fmla="*/ 2147483647 w 395"/>
                <a:gd name="T39" fmla="*/ 2147483647 h 395"/>
                <a:gd name="T40" fmla="*/ 2147483647 w 395"/>
                <a:gd name="T41" fmla="*/ 2147483647 h 395"/>
                <a:gd name="T42" fmla="*/ 2147483647 w 395"/>
                <a:gd name="T43" fmla="*/ 2147483647 h 395"/>
                <a:gd name="T44" fmla="*/ 2147483647 w 395"/>
                <a:gd name="T45" fmla="*/ 2147483647 h 395"/>
                <a:gd name="T46" fmla="*/ 2147483647 w 395"/>
                <a:gd name="T47" fmla="*/ 2147483647 h 395"/>
                <a:gd name="T48" fmla="*/ 2147483647 w 395"/>
                <a:gd name="T49" fmla="*/ 2147483647 h 395"/>
                <a:gd name="T50" fmla="*/ 2147483647 w 395"/>
                <a:gd name="T51" fmla="*/ 2147483647 h 395"/>
                <a:gd name="T52" fmla="*/ 2147483647 w 395"/>
                <a:gd name="T53" fmla="*/ 2147483647 h 395"/>
                <a:gd name="T54" fmla="*/ 2147483647 w 395"/>
                <a:gd name="T55" fmla="*/ 2147483647 h 395"/>
                <a:gd name="T56" fmla="*/ 2147483647 w 395"/>
                <a:gd name="T57" fmla="*/ 2147483647 h 395"/>
                <a:gd name="T58" fmla="*/ 2147483647 w 395"/>
                <a:gd name="T59" fmla="*/ 2147483647 h 395"/>
                <a:gd name="T60" fmla="*/ 2147483647 w 395"/>
                <a:gd name="T61" fmla="*/ 2147483647 h 395"/>
                <a:gd name="T62" fmla="*/ 2147483647 w 395"/>
                <a:gd name="T63" fmla="*/ 2147483647 h 395"/>
                <a:gd name="T64" fmla="*/ 2147483647 w 395"/>
                <a:gd name="T65" fmla="*/ 2147483647 h 395"/>
                <a:gd name="T66" fmla="*/ 2147483647 w 395"/>
                <a:gd name="T67" fmla="*/ 2147483647 h 395"/>
                <a:gd name="T68" fmla="*/ 2147483647 w 395"/>
                <a:gd name="T69" fmla="*/ 2147483647 h 395"/>
                <a:gd name="T70" fmla="*/ 2147483647 w 395"/>
                <a:gd name="T71" fmla="*/ 2147483647 h 395"/>
                <a:gd name="T72" fmla="*/ 2147483647 w 395"/>
                <a:gd name="T73" fmla="*/ 2147483647 h 395"/>
                <a:gd name="T74" fmla="*/ 2147483647 w 395"/>
                <a:gd name="T75" fmla="*/ 2147483647 h 395"/>
                <a:gd name="T76" fmla="*/ 2147483647 w 395"/>
                <a:gd name="T77" fmla="*/ 2147483647 h 395"/>
                <a:gd name="T78" fmla="*/ 2147483647 w 395"/>
                <a:gd name="T79" fmla="*/ 2147483647 h 395"/>
                <a:gd name="T80" fmla="*/ 2147483647 w 395"/>
                <a:gd name="T81" fmla="*/ 2147483647 h 395"/>
                <a:gd name="T82" fmla="*/ 2147483647 w 395"/>
                <a:gd name="T83" fmla="*/ 2147483647 h 395"/>
                <a:gd name="T84" fmla="*/ 2147483647 w 395"/>
                <a:gd name="T85" fmla="*/ 2147483647 h 395"/>
                <a:gd name="T86" fmla="*/ 2147483647 w 395"/>
                <a:gd name="T87" fmla="*/ 2147483647 h 395"/>
                <a:gd name="T88" fmla="*/ 2147483647 w 395"/>
                <a:gd name="T89" fmla="*/ 2147483647 h 395"/>
                <a:gd name="T90" fmla="*/ 2147483647 w 395"/>
                <a:gd name="T91" fmla="*/ 2147483647 h 395"/>
                <a:gd name="T92" fmla="*/ 2147483647 w 395"/>
                <a:gd name="T93" fmla="*/ 2147483647 h 395"/>
                <a:gd name="T94" fmla="*/ 2147483647 w 395"/>
                <a:gd name="T95" fmla="*/ 2147483647 h 395"/>
                <a:gd name="T96" fmla="*/ 2147483647 w 395"/>
                <a:gd name="T97" fmla="*/ 2147483647 h 395"/>
                <a:gd name="T98" fmla="*/ 2147483647 w 395"/>
                <a:gd name="T99" fmla="*/ 2147483647 h 395"/>
                <a:gd name="T100" fmla="*/ 2147483647 w 395"/>
                <a:gd name="T101" fmla="*/ 2147483647 h 395"/>
                <a:gd name="T102" fmla="*/ 2147483647 w 395"/>
                <a:gd name="T103" fmla="*/ 2147483647 h 395"/>
                <a:gd name="T104" fmla="*/ 2147483647 w 395"/>
                <a:gd name="T105" fmla="*/ 2147483647 h 395"/>
                <a:gd name="T106" fmla="*/ 2147483647 w 395"/>
                <a:gd name="T107" fmla="*/ 2147483647 h 395"/>
                <a:gd name="T108" fmla="*/ 2147483647 w 395"/>
                <a:gd name="T109" fmla="*/ 2147483647 h 395"/>
                <a:gd name="T110" fmla="*/ 2147483647 w 395"/>
                <a:gd name="T111" fmla="*/ 2147483647 h 395"/>
                <a:gd name="T112" fmla="*/ 2147483647 w 395"/>
                <a:gd name="T113" fmla="*/ 2147483647 h 395"/>
                <a:gd name="T114" fmla="*/ 2147483647 w 395"/>
                <a:gd name="T115" fmla="*/ 2147483647 h 395"/>
                <a:gd name="T116" fmla="*/ 2147483647 w 395"/>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395"/>
                <a:gd name="T179" fmla="*/ 395 w 395"/>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395">
                  <a:moveTo>
                    <a:pt x="348" y="70"/>
                  </a:moveTo>
                  <a:cubicBezTo>
                    <a:pt x="346" y="67"/>
                    <a:pt x="341" y="66"/>
                    <a:pt x="337" y="69"/>
                  </a:cubicBezTo>
                  <a:cubicBezTo>
                    <a:pt x="334" y="72"/>
                    <a:pt x="333" y="77"/>
                    <a:pt x="336" y="80"/>
                  </a:cubicBezTo>
                  <a:cubicBezTo>
                    <a:pt x="363" y="112"/>
                    <a:pt x="379" y="153"/>
                    <a:pt x="379" y="197"/>
                  </a:cubicBezTo>
                  <a:cubicBezTo>
                    <a:pt x="379" y="247"/>
                    <a:pt x="359" y="293"/>
                    <a:pt x="326" y="325"/>
                  </a:cubicBezTo>
                  <a:cubicBezTo>
                    <a:pt x="293" y="358"/>
                    <a:pt x="248" y="379"/>
                    <a:pt x="198" y="379"/>
                  </a:cubicBezTo>
                  <a:cubicBezTo>
                    <a:pt x="148" y="379"/>
                    <a:pt x="102" y="358"/>
                    <a:pt x="69" y="325"/>
                  </a:cubicBezTo>
                  <a:cubicBezTo>
                    <a:pt x="37" y="293"/>
                    <a:pt x="16" y="247"/>
                    <a:pt x="16" y="197"/>
                  </a:cubicBezTo>
                  <a:cubicBezTo>
                    <a:pt x="16" y="147"/>
                    <a:pt x="37" y="102"/>
                    <a:pt x="69" y="69"/>
                  </a:cubicBezTo>
                  <a:cubicBezTo>
                    <a:pt x="102" y="36"/>
                    <a:pt x="148" y="16"/>
                    <a:pt x="198" y="16"/>
                  </a:cubicBezTo>
                  <a:cubicBezTo>
                    <a:pt x="242" y="16"/>
                    <a:pt x="283" y="32"/>
                    <a:pt x="315" y="59"/>
                  </a:cubicBezTo>
                  <a:cubicBezTo>
                    <a:pt x="318" y="62"/>
                    <a:pt x="323" y="61"/>
                    <a:pt x="326" y="58"/>
                  </a:cubicBezTo>
                  <a:cubicBezTo>
                    <a:pt x="329" y="54"/>
                    <a:pt x="328" y="49"/>
                    <a:pt x="325" y="46"/>
                  </a:cubicBezTo>
                  <a:cubicBezTo>
                    <a:pt x="325" y="46"/>
                    <a:pt x="325" y="46"/>
                    <a:pt x="325" y="46"/>
                  </a:cubicBezTo>
                  <a:cubicBezTo>
                    <a:pt x="291" y="17"/>
                    <a:pt x="246" y="0"/>
                    <a:pt x="198" y="0"/>
                  </a:cubicBezTo>
                  <a:cubicBezTo>
                    <a:pt x="89" y="0"/>
                    <a:pt x="0" y="88"/>
                    <a:pt x="0" y="197"/>
                  </a:cubicBezTo>
                  <a:cubicBezTo>
                    <a:pt x="0" y="306"/>
                    <a:pt x="89" y="395"/>
                    <a:pt x="198" y="395"/>
                  </a:cubicBezTo>
                  <a:cubicBezTo>
                    <a:pt x="307" y="395"/>
                    <a:pt x="395" y="306"/>
                    <a:pt x="395" y="197"/>
                  </a:cubicBezTo>
                  <a:cubicBezTo>
                    <a:pt x="395" y="149"/>
                    <a:pt x="378" y="104"/>
                    <a:pt x="348" y="70"/>
                  </a:cubicBezTo>
                  <a:close/>
                  <a:moveTo>
                    <a:pt x="75" y="300"/>
                  </a:moveTo>
                  <a:cubicBezTo>
                    <a:pt x="320" y="300"/>
                    <a:pt x="320" y="300"/>
                    <a:pt x="320" y="300"/>
                  </a:cubicBezTo>
                  <a:cubicBezTo>
                    <a:pt x="324" y="300"/>
                    <a:pt x="328" y="296"/>
                    <a:pt x="328" y="292"/>
                  </a:cubicBezTo>
                  <a:cubicBezTo>
                    <a:pt x="328" y="287"/>
                    <a:pt x="324" y="284"/>
                    <a:pt x="320" y="284"/>
                  </a:cubicBezTo>
                  <a:cubicBezTo>
                    <a:pt x="75" y="284"/>
                    <a:pt x="75" y="284"/>
                    <a:pt x="75" y="284"/>
                  </a:cubicBezTo>
                  <a:cubicBezTo>
                    <a:pt x="71" y="284"/>
                    <a:pt x="67" y="287"/>
                    <a:pt x="67" y="292"/>
                  </a:cubicBezTo>
                  <a:cubicBezTo>
                    <a:pt x="67" y="296"/>
                    <a:pt x="71" y="300"/>
                    <a:pt x="75" y="300"/>
                  </a:cubicBezTo>
                  <a:close/>
                  <a:moveTo>
                    <a:pt x="328" y="103"/>
                  </a:moveTo>
                  <a:cubicBezTo>
                    <a:pt x="328" y="98"/>
                    <a:pt x="324" y="95"/>
                    <a:pt x="320" y="95"/>
                  </a:cubicBezTo>
                  <a:cubicBezTo>
                    <a:pt x="75" y="95"/>
                    <a:pt x="75" y="95"/>
                    <a:pt x="75" y="95"/>
                  </a:cubicBezTo>
                  <a:cubicBezTo>
                    <a:pt x="71" y="95"/>
                    <a:pt x="67" y="98"/>
                    <a:pt x="67" y="103"/>
                  </a:cubicBezTo>
                  <a:cubicBezTo>
                    <a:pt x="67" y="107"/>
                    <a:pt x="71" y="111"/>
                    <a:pt x="75" y="111"/>
                  </a:cubicBezTo>
                  <a:cubicBezTo>
                    <a:pt x="320" y="111"/>
                    <a:pt x="320" y="111"/>
                    <a:pt x="320" y="111"/>
                  </a:cubicBezTo>
                  <a:cubicBezTo>
                    <a:pt x="324" y="111"/>
                    <a:pt x="328" y="107"/>
                    <a:pt x="328" y="103"/>
                  </a:cubicBezTo>
                  <a:close/>
                  <a:moveTo>
                    <a:pt x="359" y="235"/>
                  </a:moveTo>
                  <a:cubicBezTo>
                    <a:pt x="359" y="159"/>
                    <a:pt x="359" y="159"/>
                    <a:pt x="359" y="159"/>
                  </a:cubicBezTo>
                  <a:cubicBezTo>
                    <a:pt x="359" y="153"/>
                    <a:pt x="354" y="149"/>
                    <a:pt x="348" y="149"/>
                  </a:cubicBezTo>
                  <a:cubicBezTo>
                    <a:pt x="311" y="149"/>
                    <a:pt x="311" y="149"/>
                    <a:pt x="311" y="149"/>
                  </a:cubicBezTo>
                  <a:cubicBezTo>
                    <a:pt x="305" y="149"/>
                    <a:pt x="301" y="153"/>
                    <a:pt x="301" y="159"/>
                  </a:cubicBezTo>
                  <a:cubicBezTo>
                    <a:pt x="301" y="235"/>
                    <a:pt x="301" y="235"/>
                    <a:pt x="301" y="235"/>
                  </a:cubicBezTo>
                  <a:cubicBezTo>
                    <a:pt x="301" y="241"/>
                    <a:pt x="305" y="246"/>
                    <a:pt x="311" y="246"/>
                  </a:cubicBezTo>
                  <a:cubicBezTo>
                    <a:pt x="348" y="246"/>
                    <a:pt x="348" y="246"/>
                    <a:pt x="348" y="246"/>
                  </a:cubicBezTo>
                  <a:cubicBezTo>
                    <a:pt x="354" y="246"/>
                    <a:pt x="359" y="241"/>
                    <a:pt x="359" y="235"/>
                  </a:cubicBezTo>
                  <a:close/>
                  <a:moveTo>
                    <a:pt x="316" y="226"/>
                  </a:moveTo>
                  <a:cubicBezTo>
                    <a:pt x="315" y="226"/>
                    <a:pt x="313" y="225"/>
                    <a:pt x="313" y="223"/>
                  </a:cubicBezTo>
                  <a:cubicBezTo>
                    <a:pt x="313" y="222"/>
                    <a:pt x="314" y="220"/>
                    <a:pt x="316" y="220"/>
                  </a:cubicBezTo>
                  <a:cubicBezTo>
                    <a:pt x="334" y="220"/>
                    <a:pt x="343" y="215"/>
                    <a:pt x="344" y="196"/>
                  </a:cubicBezTo>
                  <a:cubicBezTo>
                    <a:pt x="344" y="193"/>
                    <a:pt x="344" y="191"/>
                    <a:pt x="344" y="188"/>
                  </a:cubicBezTo>
                  <a:cubicBezTo>
                    <a:pt x="343" y="179"/>
                    <a:pt x="338" y="174"/>
                    <a:pt x="329" y="174"/>
                  </a:cubicBezTo>
                  <a:cubicBezTo>
                    <a:pt x="320" y="174"/>
                    <a:pt x="315" y="179"/>
                    <a:pt x="315" y="187"/>
                  </a:cubicBezTo>
                  <a:cubicBezTo>
                    <a:pt x="315" y="195"/>
                    <a:pt x="319" y="199"/>
                    <a:pt x="329" y="199"/>
                  </a:cubicBezTo>
                  <a:cubicBezTo>
                    <a:pt x="331" y="199"/>
                    <a:pt x="333" y="199"/>
                    <a:pt x="337" y="198"/>
                  </a:cubicBezTo>
                  <a:cubicBezTo>
                    <a:pt x="338" y="198"/>
                    <a:pt x="340" y="199"/>
                    <a:pt x="340" y="200"/>
                  </a:cubicBezTo>
                  <a:cubicBezTo>
                    <a:pt x="340" y="202"/>
                    <a:pt x="339" y="203"/>
                    <a:pt x="338" y="203"/>
                  </a:cubicBezTo>
                  <a:cubicBezTo>
                    <a:pt x="335" y="204"/>
                    <a:pt x="333" y="205"/>
                    <a:pt x="329" y="205"/>
                  </a:cubicBezTo>
                  <a:cubicBezTo>
                    <a:pt x="316" y="205"/>
                    <a:pt x="310" y="199"/>
                    <a:pt x="310" y="188"/>
                  </a:cubicBezTo>
                  <a:cubicBezTo>
                    <a:pt x="310" y="177"/>
                    <a:pt x="317" y="169"/>
                    <a:pt x="329" y="169"/>
                  </a:cubicBezTo>
                  <a:cubicBezTo>
                    <a:pt x="342" y="169"/>
                    <a:pt x="349" y="176"/>
                    <a:pt x="350" y="188"/>
                  </a:cubicBezTo>
                  <a:cubicBezTo>
                    <a:pt x="350" y="191"/>
                    <a:pt x="350" y="193"/>
                    <a:pt x="350" y="196"/>
                  </a:cubicBezTo>
                  <a:cubicBezTo>
                    <a:pt x="349" y="218"/>
                    <a:pt x="338" y="226"/>
                    <a:pt x="316" y="226"/>
                  </a:cubicBezTo>
                  <a:close/>
                  <a:moveTo>
                    <a:pt x="179" y="149"/>
                  </a:moveTo>
                  <a:cubicBezTo>
                    <a:pt x="174" y="149"/>
                    <a:pt x="169" y="153"/>
                    <a:pt x="169" y="159"/>
                  </a:cubicBezTo>
                  <a:cubicBezTo>
                    <a:pt x="169" y="235"/>
                    <a:pt x="169" y="235"/>
                    <a:pt x="169" y="235"/>
                  </a:cubicBezTo>
                  <a:cubicBezTo>
                    <a:pt x="169" y="241"/>
                    <a:pt x="174" y="246"/>
                    <a:pt x="179" y="246"/>
                  </a:cubicBezTo>
                  <a:cubicBezTo>
                    <a:pt x="217" y="246"/>
                    <a:pt x="217" y="246"/>
                    <a:pt x="217" y="246"/>
                  </a:cubicBezTo>
                  <a:cubicBezTo>
                    <a:pt x="222" y="246"/>
                    <a:pt x="227" y="241"/>
                    <a:pt x="227" y="235"/>
                  </a:cubicBezTo>
                  <a:cubicBezTo>
                    <a:pt x="227" y="159"/>
                    <a:pt x="227" y="159"/>
                    <a:pt x="227" y="159"/>
                  </a:cubicBezTo>
                  <a:cubicBezTo>
                    <a:pt x="227" y="153"/>
                    <a:pt x="222" y="149"/>
                    <a:pt x="217" y="149"/>
                  </a:cubicBezTo>
                  <a:lnTo>
                    <a:pt x="179" y="149"/>
                  </a:lnTo>
                  <a:close/>
                  <a:moveTo>
                    <a:pt x="183" y="225"/>
                  </a:moveTo>
                  <a:cubicBezTo>
                    <a:pt x="181" y="225"/>
                    <a:pt x="180" y="224"/>
                    <a:pt x="180" y="223"/>
                  </a:cubicBezTo>
                  <a:cubicBezTo>
                    <a:pt x="180" y="221"/>
                    <a:pt x="181" y="220"/>
                    <a:pt x="183" y="220"/>
                  </a:cubicBezTo>
                  <a:cubicBezTo>
                    <a:pt x="199" y="221"/>
                    <a:pt x="211" y="216"/>
                    <a:pt x="211" y="205"/>
                  </a:cubicBezTo>
                  <a:cubicBezTo>
                    <a:pt x="211" y="199"/>
                    <a:pt x="206" y="195"/>
                    <a:pt x="199" y="195"/>
                  </a:cubicBezTo>
                  <a:cubicBezTo>
                    <a:pt x="196" y="195"/>
                    <a:pt x="195" y="195"/>
                    <a:pt x="194" y="195"/>
                  </a:cubicBezTo>
                  <a:cubicBezTo>
                    <a:pt x="192" y="195"/>
                    <a:pt x="191" y="194"/>
                    <a:pt x="191" y="193"/>
                  </a:cubicBezTo>
                  <a:cubicBezTo>
                    <a:pt x="191" y="192"/>
                    <a:pt x="191" y="191"/>
                    <a:pt x="192" y="191"/>
                  </a:cubicBezTo>
                  <a:cubicBezTo>
                    <a:pt x="206" y="175"/>
                    <a:pt x="206" y="175"/>
                    <a:pt x="206" y="175"/>
                  </a:cubicBezTo>
                  <a:cubicBezTo>
                    <a:pt x="183" y="175"/>
                    <a:pt x="183" y="175"/>
                    <a:pt x="183" y="175"/>
                  </a:cubicBezTo>
                  <a:cubicBezTo>
                    <a:pt x="181" y="175"/>
                    <a:pt x="180" y="173"/>
                    <a:pt x="180" y="172"/>
                  </a:cubicBezTo>
                  <a:cubicBezTo>
                    <a:pt x="180" y="170"/>
                    <a:pt x="181" y="169"/>
                    <a:pt x="183" y="169"/>
                  </a:cubicBezTo>
                  <a:cubicBezTo>
                    <a:pt x="209" y="169"/>
                    <a:pt x="209" y="169"/>
                    <a:pt x="209" y="169"/>
                  </a:cubicBezTo>
                  <a:cubicBezTo>
                    <a:pt x="211" y="169"/>
                    <a:pt x="213" y="171"/>
                    <a:pt x="213" y="173"/>
                  </a:cubicBezTo>
                  <a:cubicBezTo>
                    <a:pt x="213" y="174"/>
                    <a:pt x="213" y="175"/>
                    <a:pt x="212" y="176"/>
                  </a:cubicBezTo>
                  <a:cubicBezTo>
                    <a:pt x="199" y="190"/>
                    <a:pt x="199" y="190"/>
                    <a:pt x="199" y="190"/>
                  </a:cubicBezTo>
                  <a:cubicBezTo>
                    <a:pt x="209" y="189"/>
                    <a:pt x="216" y="196"/>
                    <a:pt x="216" y="205"/>
                  </a:cubicBezTo>
                  <a:cubicBezTo>
                    <a:pt x="216" y="219"/>
                    <a:pt x="204" y="226"/>
                    <a:pt x="183" y="225"/>
                  </a:cubicBezTo>
                  <a:close/>
                  <a:moveTo>
                    <a:pt x="245" y="149"/>
                  </a:moveTo>
                  <a:cubicBezTo>
                    <a:pt x="240" y="149"/>
                    <a:pt x="235" y="153"/>
                    <a:pt x="235" y="159"/>
                  </a:cubicBezTo>
                  <a:cubicBezTo>
                    <a:pt x="235" y="235"/>
                    <a:pt x="235" y="235"/>
                    <a:pt x="235" y="235"/>
                  </a:cubicBezTo>
                  <a:cubicBezTo>
                    <a:pt x="235" y="241"/>
                    <a:pt x="240" y="246"/>
                    <a:pt x="245" y="246"/>
                  </a:cubicBezTo>
                  <a:cubicBezTo>
                    <a:pt x="282" y="246"/>
                    <a:pt x="282" y="246"/>
                    <a:pt x="282" y="246"/>
                  </a:cubicBezTo>
                  <a:cubicBezTo>
                    <a:pt x="288" y="246"/>
                    <a:pt x="293" y="241"/>
                    <a:pt x="293" y="235"/>
                  </a:cubicBezTo>
                  <a:cubicBezTo>
                    <a:pt x="293" y="159"/>
                    <a:pt x="293" y="159"/>
                    <a:pt x="293" y="159"/>
                  </a:cubicBezTo>
                  <a:cubicBezTo>
                    <a:pt x="293" y="153"/>
                    <a:pt x="288" y="149"/>
                    <a:pt x="282" y="149"/>
                  </a:cubicBezTo>
                  <a:lnTo>
                    <a:pt x="245" y="149"/>
                  </a:lnTo>
                  <a:close/>
                  <a:moveTo>
                    <a:pt x="285" y="210"/>
                  </a:moveTo>
                  <a:cubicBezTo>
                    <a:pt x="285" y="219"/>
                    <a:pt x="278" y="224"/>
                    <a:pt x="269" y="225"/>
                  </a:cubicBezTo>
                  <a:cubicBezTo>
                    <a:pt x="269" y="226"/>
                    <a:pt x="268" y="226"/>
                    <a:pt x="268" y="226"/>
                  </a:cubicBezTo>
                  <a:cubicBezTo>
                    <a:pt x="266" y="226"/>
                    <a:pt x="265" y="224"/>
                    <a:pt x="265" y="223"/>
                  </a:cubicBezTo>
                  <a:cubicBezTo>
                    <a:pt x="265" y="222"/>
                    <a:pt x="266" y="220"/>
                    <a:pt x="267" y="220"/>
                  </a:cubicBezTo>
                  <a:cubicBezTo>
                    <a:pt x="274" y="219"/>
                    <a:pt x="279" y="216"/>
                    <a:pt x="279" y="210"/>
                  </a:cubicBezTo>
                  <a:cubicBezTo>
                    <a:pt x="279" y="203"/>
                    <a:pt x="273" y="199"/>
                    <a:pt x="263" y="199"/>
                  </a:cubicBezTo>
                  <a:cubicBezTo>
                    <a:pt x="254" y="199"/>
                    <a:pt x="249" y="203"/>
                    <a:pt x="249" y="210"/>
                  </a:cubicBezTo>
                  <a:cubicBezTo>
                    <a:pt x="249" y="216"/>
                    <a:pt x="254" y="219"/>
                    <a:pt x="260" y="220"/>
                  </a:cubicBezTo>
                  <a:cubicBezTo>
                    <a:pt x="262" y="221"/>
                    <a:pt x="263" y="222"/>
                    <a:pt x="263" y="223"/>
                  </a:cubicBezTo>
                  <a:cubicBezTo>
                    <a:pt x="263" y="224"/>
                    <a:pt x="261" y="226"/>
                    <a:pt x="260" y="226"/>
                  </a:cubicBezTo>
                  <a:cubicBezTo>
                    <a:pt x="260" y="226"/>
                    <a:pt x="259" y="226"/>
                    <a:pt x="258" y="225"/>
                  </a:cubicBezTo>
                  <a:cubicBezTo>
                    <a:pt x="250" y="224"/>
                    <a:pt x="243" y="219"/>
                    <a:pt x="243" y="210"/>
                  </a:cubicBezTo>
                  <a:cubicBezTo>
                    <a:pt x="243" y="202"/>
                    <a:pt x="248" y="198"/>
                    <a:pt x="253" y="196"/>
                  </a:cubicBezTo>
                  <a:cubicBezTo>
                    <a:pt x="253" y="196"/>
                    <a:pt x="253" y="196"/>
                    <a:pt x="253" y="196"/>
                  </a:cubicBezTo>
                  <a:cubicBezTo>
                    <a:pt x="248" y="194"/>
                    <a:pt x="245" y="191"/>
                    <a:pt x="245" y="183"/>
                  </a:cubicBezTo>
                  <a:cubicBezTo>
                    <a:pt x="245" y="176"/>
                    <a:pt x="249" y="171"/>
                    <a:pt x="258" y="169"/>
                  </a:cubicBezTo>
                  <a:cubicBezTo>
                    <a:pt x="259" y="169"/>
                    <a:pt x="260" y="169"/>
                    <a:pt x="260" y="169"/>
                  </a:cubicBezTo>
                  <a:cubicBezTo>
                    <a:pt x="261" y="169"/>
                    <a:pt x="263" y="170"/>
                    <a:pt x="263" y="171"/>
                  </a:cubicBezTo>
                  <a:cubicBezTo>
                    <a:pt x="263" y="173"/>
                    <a:pt x="262" y="174"/>
                    <a:pt x="260" y="174"/>
                  </a:cubicBezTo>
                  <a:cubicBezTo>
                    <a:pt x="254" y="175"/>
                    <a:pt x="250" y="178"/>
                    <a:pt x="250" y="183"/>
                  </a:cubicBezTo>
                  <a:cubicBezTo>
                    <a:pt x="250" y="190"/>
                    <a:pt x="255" y="193"/>
                    <a:pt x="264" y="193"/>
                  </a:cubicBezTo>
                  <a:cubicBezTo>
                    <a:pt x="272" y="193"/>
                    <a:pt x="277" y="189"/>
                    <a:pt x="277" y="183"/>
                  </a:cubicBezTo>
                  <a:cubicBezTo>
                    <a:pt x="277" y="178"/>
                    <a:pt x="274" y="175"/>
                    <a:pt x="267" y="174"/>
                  </a:cubicBezTo>
                  <a:cubicBezTo>
                    <a:pt x="266" y="174"/>
                    <a:pt x="265" y="173"/>
                    <a:pt x="265" y="171"/>
                  </a:cubicBezTo>
                  <a:cubicBezTo>
                    <a:pt x="265" y="170"/>
                    <a:pt x="266" y="169"/>
                    <a:pt x="268" y="169"/>
                  </a:cubicBezTo>
                  <a:cubicBezTo>
                    <a:pt x="268" y="169"/>
                    <a:pt x="269" y="169"/>
                    <a:pt x="269" y="169"/>
                  </a:cubicBezTo>
                  <a:cubicBezTo>
                    <a:pt x="278" y="171"/>
                    <a:pt x="283" y="176"/>
                    <a:pt x="283" y="183"/>
                  </a:cubicBezTo>
                  <a:cubicBezTo>
                    <a:pt x="283" y="190"/>
                    <a:pt x="279" y="194"/>
                    <a:pt x="275" y="196"/>
                  </a:cubicBezTo>
                  <a:cubicBezTo>
                    <a:pt x="275" y="196"/>
                    <a:pt x="275" y="196"/>
                    <a:pt x="275" y="196"/>
                  </a:cubicBezTo>
                  <a:cubicBezTo>
                    <a:pt x="280" y="197"/>
                    <a:pt x="284" y="202"/>
                    <a:pt x="285" y="210"/>
                  </a:cubicBezTo>
                  <a:close/>
                  <a:moveTo>
                    <a:pt x="114" y="149"/>
                  </a:moveTo>
                  <a:cubicBezTo>
                    <a:pt x="108" y="149"/>
                    <a:pt x="103" y="153"/>
                    <a:pt x="103" y="159"/>
                  </a:cubicBezTo>
                  <a:cubicBezTo>
                    <a:pt x="103" y="235"/>
                    <a:pt x="103" y="235"/>
                    <a:pt x="103" y="235"/>
                  </a:cubicBezTo>
                  <a:cubicBezTo>
                    <a:pt x="103" y="241"/>
                    <a:pt x="108" y="246"/>
                    <a:pt x="114" y="246"/>
                  </a:cubicBezTo>
                  <a:cubicBezTo>
                    <a:pt x="151" y="246"/>
                    <a:pt x="151" y="246"/>
                    <a:pt x="151" y="246"/>
                  </a:cubicBezTo>
                  <a:cubicBezTo>
                    <a:pt x="157" y="246"/>
                    <a:pt x="161" y="241"/>
                    <a:pt x="161" y="235"/>
                  </a:cubicBezTo>
                  <a:cubicBezTo>
                    <a:pt x="161" y="159"/>
                    <a:pt x="161" y="159"/>
                    <a:pt x="161" y="159"/>
                  </a:cubicBezTo>
                  <a:cubicBezTo>
                    <a:pt x="161" y="153"/>
                    <a:pt x="157" y="149"/>
                    <a:pt x="151" y="149"/>
                  </a:cubicBezTo>
                  <a:lnTo>
                    <a:pt x="114" y="149"/>
                  </a:lnTo>
                  <a:close/>
                  <a:moveTo>
                    <a:pt x="117" y="225"/>
                  </a:moveTo>
                  <a:cubicBezTo>
                    <a:pt x="115" y="225"/>
                    <a:pt x="114" y="224"/>
                    <a:pt x="114" y="223"/>
                  </a:cubicBezTo>
                  <a:cubicBezTo>
                    <a:pt x="114" y="221"/>
                    <a:pt x="115" y="220"/>
                    <a:pt x="117" y="220"/>
                  </a:cubicBezTo>
                  <a:cubicBezTo>
                    <a:pt x="133" y="221"/>
                    <a:pt x="145" y="215"/>
                    <a:pt x="145" y="204"/>
                  </a:cubicBezTo>
                  <a:cubicBezTo>
                    <a:pt x="145" y="198"/>
                    <a:pt x="140" y="194"/>
                    <a:pt x="134" y="194"/>
                  </a:cubicBezTo>
                  <a:cubicBezTo>
                    <a:pt x="127" y="194"/>
                    <a:pt x="123" y="196"/>
                    <a:pt x="120" y="197"/>
                  </a:cubicBezTo>
                  <a:cubicBezTo>
                    <a:pt x="117" y="199"/>
                    <a:pt x="115" y="197"/>
                    <a:pt x="115" y="195"/>
                  </a:cubicBezTo>
                  <a:cubicBezTo>
                    <a:pt x="115" y="174"/>
                    <a:pt x="115" y="174"/>
                    <a:pt x="115" y="174"/>
                  </a:cubicBezTo>
                  <a:cubicBezTo>
                    <a:pt x="115" y="170"/>
                    <a:pt x="118" y="169"/>
                    <a:pt x="120" y="169"/>
                  </a:cubicBezTo>
                  <a:cubicBezTo>
                    <a:pt x="144" y="169"/>
                    <a:pt x="144" y="169"/>
                    <a:pt x="144" y="169"/>
                  </a:cubicBezTo>
                  <a:cubicBezTo>
                    <a:pt x="146" y="169"/>
                    <a:pt x="147" y="170"/>
                    <a:pt x="147" y="172"/>
                  </a:cubicBezTo>
                  <a:cubicBezTo>
                    <a:pt x="147" y="173"/>
                    <a:pt x="146" y="175"/>
                    <a:pt x="144" y="175"/>
                  </a:cubicBezTo>
                  <a:cubicBezTo>
                    <a:pt x="121" y="175"/>
                    <a:pt x="121" y="175"/>
                    <a:pt x="121" y="175"/>
                  </a:cubicBezTo>
                  <a:cubicBezTo>
                    <a:pt x="121" y="192"/>
                    <a:pt x="121" y="192"/>
                    <a:pt x="121" y="192"/>
                  </a:cubicBezTo>
                  <a:cubicBezTo>
                    <a:pt x="124" y="190"/>
                    <a:pt x="128" y="188"/>
                    <a:pt x="134" y="188"/>
                  </a:cubicBezTo>
                  <a:cubicBezTo>
                    <a:pt x="144" y="188"/>
                    <a:pt x="151" y="195"/>
                    <a:pt x="151" y="204"/>
                  </a:cubicBezTo>
                  <a:cubicBezTo>
                    <a:pt x="151" y="218"/>
                    <a:pt x="137" y="226"/>
                    <a:pt x="117" y="225"/>
                  </a:cubicBezTo>
                  <a:close/>
                  <a:moveTo>
                    <a:pt x="37" y="159"/>
                  </a:moveTo>
                  <a:cubicBezTo>
                    <a:pt x="37" y="235"/>
                    <a:pt x="37" y="235"/>
                    <a:pt x="37" y="235"/>
                  </a:cubicBezTo>
                  <a:cubicBezTo>
                    <a:pt x="37" y="241"/>
                    <a:pt x="42" y="246"/>
                    <a:pt x="48" y="246"/>
                  </a:cubicBezTo>
                  <a:cubicBezTo>
                    <a:pt x="85" y="246"/>
                    <a:pt x="85" y="246"/>
                    <a:pt x="85" y="246"/>
                  </a:cubicBezTo>
                  <a:cubicBezTo>
                    <a:pt x="91" y="246"/>
                    <a:pt x="95" y="241"/>
                    <a:pt x="95" y="235"/>
                  </a:cubicBezTo>
                  <a:cubicBezTo>
                    <a:pt x="95" y="159"/>
                    <a:pt x="95" y="159"/>
                    <a:pt x="95" y="159"/>
                  </a:cubicBezTo>
                  <a:cubicBezTo>
                    <a:pt x="95" y="153"/>
                    <a:pt x="91" y="149"/>
                    <a:pt x="85" y="149"/>
                  </a:cubicBezTo>
                  <a:cubicBezTo>
                    <a:pt x="48" y="149"/>
                    <a:pt x="48" y="149"/>
                    <a:pt x="48" y="149"/>
                  </a:cubicBezTo>
                  <a:cubicBezTo>
                    <a:pt x="42" y="149"/>
                    <a:pt x="37" y="153"/>
                    <a:pt x="37" y="159"/>
                  </a:cubicBezTo>
                  <a:close/>
                  <a:moveTo>
                    <a:pt x="66" y="174"/>
                  </a:moveTo>
                  <a:cubicBezTo>
                    <a:pt x="60" y="174"/>
                    <a:pt x="56" y="177"/>
                    <a:pt x="54" y="180"/>
                  </a:cubicBezTo>
                  <a:cubicBezTo>
                    <a:pt x="53" y="181"/>
                    <a:pt x="53" y="181"/>
                    <a:pt x="52" y="181"/>
                  </a:cubicBezTo>
                  <a:cubicBezTo>
                    <a:pt x="50" y="182"/>
                    <a:pt x="49" y="181"/>
                    <a:pt x="48" y="180"/>
                  </a:cubicBezTo>
                  <a:cubicBezTo>
                    <a:pt x="48" y="179"/>
                    <a:pt x="48" y="178"/>
                    <a:pt x="49" y="177"/>
                  </a:cubicBezTo>
                  <a:cubicBezTo>
                    <a:pt x="52" y="173"/>
                    <a:pt x="57" y="169"/>
                    <a:pt x="66" y="169"/>
                  </a:cubicBezTo>
                  <a:cubicBezTo>
                    <a:pt x="77" y="169"/>
                    <a:pt x="83" y="176"/>
                    <a:pt x="83" y="184"/>
                  </a:cubicBezTo>
                  <a:cubicBezTo>
                    <a:pt x="83" y="193"/>
                    <a:pt x="78" y="197"/>
                    <a:pt x="66" y="206"/>
                  </a:cubicBezTo>
                  <a:cubicBezTo>
                    <a:pt x="57" y="212"/>
                    <a:pt x="54" y="215"/>
                    <a:pt x="54" y="220"/>
                  </a:cubicBezTo>
                  <a:cubicBezTo>
                    <a:pt x="82" y="220"/>
                    <a:pt x="82" y="220"/>
                    <a:pt x="82" y="220"/>
                  </a:cubicBezTo>
                  <a:cubicBezTo>
                    <a:pt x="83" y="220"/>
                    <a:pt x="85" y="221"/>
                    <a:pt x="85" y="223"/>
                  </a:cubicBezTo>
                  <a:cubicBezTo>
                    <a:pt x="85" y="224"/>
                    <a:pt x="83" y="226"/>
                    <a:pt x="82" y="226"/>
                  </a:cubicBezTo>
                  <a:cubicBezTo>
                    <a:pt x="53" y="226"/>
                    <a:pt x="53" y="226"/>
                    <a:pt x="53" y="226"/>
                  </a:cubicBezTo>
                  <a:cubicBezTo>
                    <a:pt x="50" y="226"/>
                    <a:pt x="48" y="224"/>
                    <a:pt x="48" y="221"/>
                  </a:cubicBezTo>
                  <a:cubicBezTo>
                    <a:pt x="48" y="214"/>
                    <a:pt x="52" y="209"/>
                    <a:pt x="61" y="203"/>
                  </a:cubicBezTo>
                  <a:cubicBezTo>
                    <a:pt x="74" y="193"/>
                    <a:pt x="78" y="191"/>
                    <a:pt x="78" y="184"/>
                  </a:cubicBezTo>
                  <a:cubicBezTo>
                    <a:pt x="78" y="180"/>
                    <a:pt x="74" y="174"/>
                    <a:pt x="66" y="1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231" name="Freeform 6"/>
            <p:cNvSpPr>
              <a:spLocks noEditPoints="1"/>
            </p:cNvSpPr>
            <p:nvPr/>
          </p:nvSpPr>
          <p:spPr bwMode="auto">
            <a:xfrm>
              <a:off x="6643503" y="6360676"/>
              <a:ext cx="266254" cy="163272"/>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8" tIns="45719" rIns="91438" bIns="45719"/>
            <a:lstStyle/>
            <a:p>
              <a:endParaRPr lang="en-US"/>
            </a:p>
          </p:txBody>
        </p:sp>
        <p:grpSp>
          <p:nvGrpSpPr>
            <p:cNvPr id="7232" name="Group 7"/>
            <p:cNvGrpSpPr>
              <a:grpSpLocks/>
            </p:cNvGrpSpPr>
            <p:nvPr/>
          </p:nvGrpSpPr>
          <p:grpSpPr bwMode="auto">
            <a:xfrm>
              <a:off x="7963076" y="2642232"/>
              <a:ext cx="156524" cy="206811"/>
              <a:chOff x="8334080" y="2500539"/>
              <a:chExt cx="277036" cy="366040"/>
            </a:xfrm>
          </p:grpSpPr>
          <p:sp>
            <p:nvSpPr>
              <p:cNvPr id="7233" name="Oval 162"/>
              <p:cNvSpPr>
                <a:spLocks noChangeAspect="1"/>
              </p:cNvSpPr>
              <p:nvPr/>
            </p:nvSpPr>
            <p:spPr bwMode="auto">
              <a:xfrm>
                <a:off x="8334080" y="2792743"/>
                <a:ext cx="73836" cy="73836"/>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sp>
            <p:nvSpPr>
              <p:cNvPr id="7234" name="Oval 163"/>
              <p:cNvSpPr>
                <a:spLocks noChangeAspect="1"/>
              </p:cNvSpPr>
              <p:nvPr/>
            </p:nvSpPr>
            <p:spPr bwMode="auto">
              <a:xfrm>
                <a:off x="8435680" y="2636175"/>
                <a:ext cx="73836" cy="73836"/>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sp>
            <p:nvSpPr>
              <p:cNvPr id="7235" name="Oval 164"/>
              <p:cNvSpPr>
                <a:spLocks noChangeAspect="1"/>
              </p:cNvSpPr>
              <p:nvPr/>
            </p:nvSpPr>
            <p:spPr bwMode="auto">
              <a:xfrm>
                <a:off x="8537280" y="2500539"/>
                <a:ext cx="73836" cy="73836"/>
              </a:xfrm>
              <a:prstGeom prst="ellipse">
                <a:avLst/>
              </a:prstGeom>
              <a:solidFill>
                <a:schemeClr val="bg1"/>
              </a:solidFill>
              <a:ln w="12700" algn="ctr">
                <a:solidFill>
                  <a:srgbClr val="FFFFFF"/>
                </a:solidFill>
                <a:round/>
                <a:headEnd/>
                <a:tailEnd/>
              </a:ln>
            </p:spPr>
            <p:txBody>
              <a:bodyPr wrap="none" lIns="72000" rIns="72000"/>
              <a:lstStyle/>
              <a:p>
                <a:pPr>
                  <a:spcBef>
                    <a:spcPct val="50000"/>
                  </a:spcBef>
                </a:pPr>
                <a:endParaRPr lang="en-US" altLang="en-US"/>
              </a:p>
            </p:txBody>
          </p:sp>
        </p:grpSp>
      </p:gr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195346" y="6075347"/>
            <a:ext cx="9839553" cy="523220"/>
          </a:xfrm>
          <a:prstGeom prst="rect">
            <a:avLst/>
          </a:prstGeom>
          <a:noFill/>
        </p:spPr>
        <p:txBody>
          <a:bodyPr wrap="none" rtlCol="0">
            <a:spAutoFit/>
          </a:bodyPr>
          <a:lstStyle/>
          <a:p>
            <a:r>
              <a:rPr lang="en-US" sz="2800" dirty="0">
                <a:solidFill>
                  <a:schemeClr val="bg1"/>
                </a:solidFill>
              </a:rPr>
              <a:t>NFV and SDN are key enablers for network LCM automation</a:t>
            </a:r>
          </a:p>
        </p:txBody>
      </p:sp>
    </p:spTree>
    <p:extLst>
      <p:ext uri="{BB962C8B-B14F-4D97-AF65-F5344CB8AC3E}">
        <p14:creationId xmlns:p14="http://schemas.microsoft.com/office/powerpoint/2010/main" val="108435365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28" name="Title 3"/>
          <p:cNvSpPr>
            <a:spLocks noGrp="1"/>
          </p:cNvSpPr>
          <p:nvPr>
            <p:ph type="title"/>
          </p:nvPr>
        </p:nvSpPr>
        <p:spPr>
          <a:xfrm>
            <a:off x="525463" y="239713"/>
            <a:ext cx="10636250" cy="1085850"/>
          </a:xfrm>
          <a:noFill/>
        </p:spPr>
        <p:txBody>
          <a:bodyPr>
            <a:normAutofit/>
          </a:bodyPr>
          <a:lstStyle/>
          <a:p>
            <a:r>
              <a:rPr lang="en-US" altLang="en-US" dirty="0">
                <a:solidFill>
                  <a:schemeClr val="bg1"/>
                </a:solidFill>
                <a:latin typeface="Ericsson Capital TT" pitchFamily="2" charset="0"/>
              </a:rPr>
              <a:t>Network Slicing</a:t>
            </a:r>
            <a:br>
              <a:rPr lang="en-US" altLang="en-US" dirty="0">
                <a:solidFill>
                  <a:schemeClr val="bg1"/>
                </a:solidFill>
                <a:latin typeface="Ericsson Capital TT" pitchFamily="2" charset="0"/>
              </a:rPr>
            </a:br>
            <a:r>
              <a:rPr lang="en-US" altLang="en-US" sz="2800" dirty="0">
                <a:solidFill>
                  <a:schemeClr val="bg1"/>
                </a:solidFill>
                <a:latin typeface="+mn-lt"/>
              </a:rPr>
              <a:t>Central Database Approach</a:t>
            </a:r>
          </a:p>
        </p:txBody>
      </p:sp>
      <p:pic>
        <p:nvPicPr>
          <p:cNvPr id="529"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p:cNvSpPr txBox="1"/>
          <p:nvPr/>
        </p:nvSpPr>
        <p:spPr>
          <a:xfrm>
            <a:off x="6166277" y="5004467"/>
            <a:ext cx="2314988" cy="584773"/>
          </a:xfrm>
          <a:prstGeom prst="rect">
            <a:avLst/>
          </a:prstGeom>
          <a:noFill/>
        </p:spPr>
        <p:txBody>
          <a:bodyPr wrap="square" lIns="91438" tIns="45719" rIns="91438" bIns="4571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rPr>
              <a:t>CUDB with Logical Zones</a:t>
            </a:r>
          </a:p>
        </p:txBody>
      </p:sp>
      <p:sp>
        <p:nvSpPr>
          <p:cNvPr id="39" name="Rounded Rectangle 28"/>
          <p:cNvSpPr/>
          <p:nvPr/>
        </p:nvSpPr>
        <p:spPr bwMode="auto">
          <a:xfrm>
            <a:off x="2720624" y="2494907"/>
            <a:ext cx="2319651" cy="508973"/>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3997" tIns="0" rIns="53997" bIns="34290" anchor="ctr"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tx1"/>
                </a:solidFill>
                <a:effectLst/>
                <a:uLnTx/>
                <a:uFillTx/>
              </a:rPr>
              <a:t>Slice 1: Meters DB</a:t>
            </a:r>
          </a:p>
        </p:txBody>
      </p:sp>
      <p:sp>
        <p:nvSpPr>
          <p:cNvPr id="40" name="Rounded Rectangle 40"/>
          <p:cNvSpPr/>
          <p:nvPr/>
        </p:nvSpPr>
        <p:spPr bwMode="auto">
          <a:xfrm>
            <a:off x="2720624" y="3079131"/>
            <a:ext cx="2319651" cy="508973"/>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3997" tIns="0" rIns="53997" bIns="34290" anchor="ctr"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tx1"/>
                </a:solidFill>
                <a:effectLst/>
                <a:uLnTx/>
                <a:uFillTx/>
              </a:rPr>
              <a:t>Slice 2: Industry DB</a:t>
            </a:r>
          </a:p>
        </p:txBody>
      </p:sp>
      <p:sp>
        <p:nvSpPr>
          <p:cNvPr id="41" name="Rounded Rectangle 43"/>
          <p:cNvSpPr/>
          <p:nvPr/>
        </p:nvSpPr>
        <p:spPr bwMode="auto">
          <a:xfrm>
            <a:off x="2720624" y="3665800"/>
            <a:ext cx="2319651" cy="508973"/>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3997" tIns="0" rIns="53997" bIns="34290" anchor="ctr"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tx1"/>
                </a:solidFill>
                <a:effectLst/>
                <a:uLnTx/>
                <a:uFillTx/>
              </a:rPr>
              <a:t>Slice 3: Agricultural DB</a:t>
            </a:r>
          </a:p>
        </p:txBody>
      </p:sp>
      <p:sp>
        <p:nvSpPr>
          <p:cNvPr id="42" name="Rounded Rectangle 49"/>
          <p:cNvSpPr/>
          <p:nvPr/>
        </p:nvSpPr>
        <p:spPr bwMode="auto">
          <a:xfrm>
            <a:off x="2720624" y="4251171"/>
            <a:ext cx="2319651" cy="508973"/>
          </a:xfrm>
          <a:prstGeom prst="roundRect">
            <a:avLst>
              <a:gd name="adj" fmla="val 10726"/>
            </a:avLst>
          </a:prstGeom>
          <a:solidFill>
            <a:schemeClr val="bg1"/>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3997" tIns="0" rIns="53997" bIns="34290" anchor="ctr"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tx1"/>
                </a:solidFill>
                <a:effectLst/>
                <a:uLnTx/>
                <a:uFillTx/>
              </a:rPr>
              <a:t>Slice 4: Robotics DB</a:t>
            </a:r>
            <a:endParaRPr kumimoji="0" lang="en-US" sz="1100" b="0" i="0" u="none" strike="noStrike" kern="0" cap="none" spc="0" normalizeH="0" baseline="0" noProof="0">
              <a:ln>
                <a:noFill/>
              </a:ln>
              <a:solidFill>
                <a:schemeClr val="tx1"/>
              </a:solidFill>
              <a:effectLst/>
              <a:uLnTx/>
              <a:uFillTx/>
            </a:endParaRPr>
          </a:p>
        </p:txBody>
      </p:sp>
      <p:sp>
        <p:nvSpPr>
          <p:cNvPr id="43" name="Freeform 6"/>
          <p:cNvSpPr>
            <a:spLocks noChangeAspect="1" noEditPoints="1"/>
          </p:cNvSpPr>
          <p:nvPr/>
        </p:nvSpPr>
        <p:spPr bwMode="auto">
          <a:xfrm>
            <a:off x="1981520" y="2485928"/>
            <a:ext cx="444334" cy="427686"/>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44" name="Freeform 2"/>
          <p:cNvSpPr>
            <a:spLocks noChangeAspect="1" noEditPoints="1"/>
          </p:cNvSpPr>
          <p:nvPr/>
        </p:nvSpPr>
        <p:spPr bwMode="auto">
          <a:xfrm>
            <a:off x="1898798" y="3065180"/>
            <a:ext cx="609778" cy="351484"/>
          </a:xfrm>
          <a:custGeom>
            <a:avLst/>
            <a:gdLst>
              <a:gd name="T0" fmla="*/ 2147483647 w 502"/>
              <a:gd name="T1" fmla="*/ 2147483647 h 301"/>
              <a:gd name="T2" fmla="*/ 2147483647 w 502"/>
              <a:gd name="T3" fmla="*/ 2147483647 h 301"/>
              <a:gd name="T4" fmla="*/ 2147483647 w 502"/>
              <a:gd name="T5" fmla="*/ 2147483647 h 301"/>
              <a:gd name="T6" fmla="*/ 2147483647 w 502"/>
              <a:gd name="T7" fmla="*/ 2147483647 h 301"/>
              <a:gd name="T8" fmla="*/ 2147483647 w 502"/>
              <a:gd name="T9" fmla="*/ 2147483647 h 301"/>
              <a:gd name="T10" fmla="*/ 2147483647 w 502"/>
              <a:gd name="T11" fmla="*/ 2147483647 h 301"/>
              <a:gd name="T12" fmla="*/ 2147483647 w 502"/>
              <a:gd name="T13" fmla="*/ 2147483647 h 301"/>
              <a:gd name="T14" fmla="*/ 2147483647 w 502"/>
              <a:gd name="T15" fmla="*/ 2147483647 h 301"/>
              <a:gd name="T16" fmla="*/ 2147483647 w 502"/>
              <a:gd name="T17" fmla="*/ 2147483647 h 301"/>
              <a:gd name="T18" fmla="*/ 2147483647 w 502"/>
              <a:gd name="T19" fmla="*/ 2147483647 h 301"/>
              <a:gd name="T20" fmla="*/ 2147483647 w 502"/>
              <a:gd name="T21" fmla="*/ 2147483647 h 301"/>
              <a:gd name="T22" fmla="*/ 2147483647 w 502"/>
              <a:gd name="T23" fmla="*/ 2147483647 h 301"/>
              <a:gd name="T24" fmla="*/ 2147483647 w 502"/>
              <a:gd name="T25" fmla="*/ 0 h 301"/>
              <a:gd name="T26" fmla="*/ 2147483647 w 502"/>
              <a:gd name="T27" fmla="*/ 2147483647 h 301"/>
              <a:gd name="T28" fmla="*/ 2147483647 w 502"/>
              <a:gd name="T29" fmla="*/ 2147483647 h 301"/>
              <a:gd name="T30" fmla="*/ 2147483647 w 502"/>
              <a:gd name="T31" fmla="*/ 2147483647 h 301"/>
              <a:gd name="T32" fmla="*/ 2147483647 w 502"/>
              <a:gd name="T33" fmla="*/ 2147483647 h 301"/>
              <a:gd name="T34" fmla="*/ 2147483647 w 502"/>
              <a:gd name="T35" fmla="*/ 2147483647 h 301"/>
              <a:gd name="T36" fmla="*/ 2147483647 w 502"/>
              <a:gd name="T37" fmla="*/ 2147483647 h 301"/>
              <a:gd name="T38" fmla="*/ 2147483647 w 502"/>
              <a:gd name="T39" fmla="*/ 2147483647 h 301"/>
              <a:gd name="T40" fmla="*/ 2147483647 w 502"/>
              <a:gd name="T41" fmla="*/ 2147483647 h 301"/>
              <a:gd name="T42" fmla="*/ 2147483647 w 502"/>
              <a:gd name="T43" fmla="*/ 2147483647 h 301"/>
              <a:gd name="T44" fmla="*/ 2147483647 w 502"/>
              <a:gd name="T45" fmla="*/ 2147483647 h 301"/>
              <a:gd name="T46" fmla="*/ 2147483647 w 502"/>
              <a:gd name="T47" fmla="*/ 2147483647 h 301"/>
              <a:gd name="T48" fmla="*/ 2147483647 w 502"/>
              <a:gd name="T49" fmla="*/ 2147483647 h 301"/>
              <a:gd name="T50" fmla="*/ 2147483647 w 502"/>
              <a:gd name="T51" fmla="*/ 2147483647 h 301"/>
              <a:gd name="T52" fmla="*/ 2147483647 w 502"/>
              <a:gd name="T53" fmla="*/ 2147483647 h 301"/>
              <a:gd name="T54" fmla="*/ 2147483647 w 502"/>
              <a:gd name="T55" fmla="*/ 2147483647 h 301"/>
              <a:gd name="T56" fmla="*/ 2147483647 w 502"/>
              <a:gd name="T57" fmla="*/ 2147483647 h 301"/>
              <a:gd name="T58" fmla="*/ 2147483647 w 502"/>
              <a:gd name="T59" fmla="*/ 2147483647 h 301"/>
              <a:gd name="T60" fmla="*/ 2147483647 w 502"/>
              <a:gd name="T61" fmla="*/ 2147483647 h 301"/>
              <a:gd name="T62" fmla="*/ 2147483647 w 502"/>
              <a:gd name="T63" fmla="*/ 2147483647 h 301"/>
              <a:gd name="T64" fmla="*/ 2147483647 w 502"/>
              <a:gd name="T65" fmla="*/ 2147483647 h 301"/>
              <a:gd name="T66" fmla="*/ 2147483647 w 502"/>
              <a:gd name="T67" fmla="*/ 2147483647 h 301"/>
              <a:gd name="T68" fmla="*/ 2147483647 w 502"/>
              <a:gd name="T69" fmla="*/ 2147483647 h 301"/>
              <a:gd name="T70" fmla="*/ 2147483647 w 502"/>
              <a:gd name="T71" fmla="*/ 2147483647 h 301"/>
              <a:gd name="T72" fmla="*/ 2147483647 w 502"/>
              <a:gd name="T73" fmla="*/ 2147483647 h 301"/>
              <a:gd name="T74" fmla="*/ 2147483647 w 502"/>
              <a:gd name="T75" fmla="*/ 2147483647 h 301"/>
              <a:gd name="T76" fmla="*/ 2147483647 w 502"/>
              <a:gd name="T77" fmla="*/ 2147483647 h 301"/>
              <a:gd name="T78" fmla="*/ 2147483647 w 502"/>
              <a:gd name="T79" fmla="*/ 2147483647 h 301"/>
              <a:gd name="T80" fmla="*/ 2147483647 w 502"/>
              <a:gd name="T81" fmla="*/ 2147483647 h 301"/>
              <a:gd name="T82" fmla="*/ 2147483647 w 502"/>
              <a:gd name="T83" fmla="*/ 2147483647 h 301"/>
              <a:gd name="T84" fmla="*/ 2147483647 w 502"/>
              <a:gd name="T85" fmla="*/ 2147483647 h 301"/>
              <a:gd name="T86" fmla="*/ 2147483647 w 502"/>
              <a:gd name="T87" fmla="*/ 2147483647 h 301"/>
              <a:gd name="T88" fmla="*/ 2147483647 w 502"/>
              <a:gd name="T89" fmla="*/ 2147483647 h 301"/>
              <a:gd name="T90" fmla="*/ 2147483647 w 502"/>
              <a:gd name="T91" fmla="*/ 2147483647 h 301"/>
              <a:gd name="T92" fmla="*/ 2147483647 w 502"/>
              <a:gd name="T93" fmla="*/ 2147483647 h 301"/>
              <a:gd name="T94" fmla="*/ 2147483647 w 502"/>
              <a:gd name="T95" fmla="*/ 2147483647 h 301"/>
              <a:gd name="T96" fmla="*/ 2147483647 w 502"/>
              <a:gd name="T97" fmla="*/ 2147483647 h 301"/>
              <a:gd name="T98" fmla="*/ 2147483647 w 502"/>
              <a:gd name="T99" fmla="*/ 2147483647 h 301"/>
              <a:gd name="T100" fmla="*/ 2147483647 w 502"/>
              <a:gd name="T101" fmla="*/ 2147483647 h 301"/>
              <a:gd name="T102" fmla="*/ 2147483647 w 502"/>
              <a:gd name="T103" fmla="*/ 2147483647 h 3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2" h="301">
                <a:moveTo>
                  <a:pt x="483" y="122"/>
                </a:moveTo>
                <a:cubicBezTo>
                  <a:pt x="449" y="122"/>
                  <a:pt x="449" y="122"/>
                  <a:pt x="449" y="122"/>
                </a:cubicBezTo>
                <a:cubicBezTo>
                  <a:pt x="449" y="98"/>
                  <a:pt x="449" y="75"/>
                  <a:pt x="449" y="75"/>
                </a:cubicBezTo>
                <a:cubicBezTo>
                  <a:pt x="449" y="71"/>
                  <a:pt x="445" y="67"/>
                  <a:pt x="441" y="67"/>
                </a:cubicBezTo>
                <a:cubicBezTo>
                  <a:pt x="436" y="67"/>
                  <a:pt x="433" y="71"/>
                  <a:pt x="433" y="75"/>
                </a:cubicBezTo>
                <a:cubicBezTo>
                  <a:pt x="433" y="75"/>
                  <a:pt x="433" y="139"/>
                  <a:pt x="433" y="163"/>
                </a:cubicBezTo>
                <a:cubicBezTo>
                  <a:pt x="433" y="169"/>
                  <a:pt x="431" y="171"/>
                  <a:pt x="430" y="172"/>
                </a:cubicBezTo>
                <a:cubicBezTo>
                  <a:pt x="429" y="173"/>
                  <a:pt x="428" y="173"/>
                  <a:pt x="425" y="173"/>
                </a:cubicBezTo>
                <a:cubicBezTo>
                  <a:pt x="424" y="173"/>
                  <a:pt x="423" y="173"/>
                  <a:pt x="422" y="173"/>
                </a:cubicBezTo>
                <a:cubicBezTo>
                  <a:pt x="422" y="173"/>
                  <a:pt x="422" y="173"/>
                  <a:pt x="422" y="173"/>
                </a:cubicBezTo>
                <a:cubicBezTo>
                  <a:pt x="421" y="173"/>
                  <a:pt x="421" y="173"/>
                  <a:pt x="421" y="173"/>
                </a:cubicBezTo>
                <a:cubicBezTo>
                  <a:pt x="282" y="132"/>
                  <a:pt x="282" y="132"/>
                  <a:pt x="282" y="132"/>
                </a:cubicBezTo>
                <a:cubicBezTo>
                  <a:pt x="313" y="46"/>
                  <a:pt x="313" y="46"/>
                  <a:pt x="313" y="46"/>
                </a:cubicBezTo>
                <a:cubicBezTo>
                  <a:pt x="313" y="46"/>
                  <a:pt x="313" y="46"/>
                  <a:pt x="313" y="45"/>
                </a:cubicBezTo>
                <a:cubicBezTo>
                  <a:pt x="315" y="42"/>
                  <a:pt x="318" y="34"/>
                  <a:pt x="325" y="28"/>
                </a:cubicBezTo>
                <a:cubicBezTo>
                  <a:pt x="331" y="21"/>
                  <a:pt x="340" y="16"/>
                  <a:pt x="353" y="16"/>
                </a:cubicBezTo>
                <a:cubicBezTo>
                  <a:pt x="387" y="16"/>
                  <a:pt x="396" y="16"/>
                  <a:pt x="412" y="16"/>
                </a:cubicBezTo>
                <a:cubicBezTo>
                  <a:pt x="419" y="16"/>
                  <a:pt x="424" y="18"/>
                  <a:pt x="427" y="21"/>
                </a:cubicBezTo>
                <a:cubicBezTo>
                  <a:pt x="430" y="23"/>
                  <a:pt x="433" y="29"/>
                  <a:pt x="433" y="39"/>
                </a:cubicBezTo>
                <a:cubicBezTo>
                  <a:pt x="433" y="44"/>
                  <a:pt x="433" y="44"/>
                  <a:pt x="433" y="44"/>
                </a:cubicBezTo>
                <a:cubicBezTo>
                  <a:pt x="433" y="48"/>
                  <a:pt x="436" y="52"/>
                  <a:pt x="441" y="52"/>
                </a:cubicBezTo>
                <a:cubicBezTo>
                  <a:pt x="445" y="52"/>
                  <a:pt x="449" y="48"/>
                  <a:pt x="449" y="44"/>
                </a:cubicBezTo>
                <a:cubicBezTo>
                  <a:pt x="449" y="39"/>
                  <a:pt x="449" y="39"/>
                  <a:pt x="449" y="39"/>
                </a:cubicBezTo>
                <a:cubicBezTo>
                  <a:pt x="449" y="26"/>
                  <a:pt x="445" y="16"/>
                  <a:pt x="438" y="9"/>
                </a:cubicBezTo>
                <a:cubicBezTo>
                  <a:pt x="431" y="2"/>
                  <a:pt x="421" y="0"/>
                  <a:pt x="412" y="0"/>
                </a:cubicBezTo>
                <a:cubicBezTo>
                  <a:pt x="396" y="0"/>
                  <a:pt x="387" y="0"/>
                  <a:pt x="353" y="0"/>
                </a:cubicBezTo>
                <a:cubicBezTo>
                  <a:pt x="332" y="0"/>
                  <a:pt x="318" y="10"/>
                  <a:pt x="310" y="20"/>
                </a:cubicBezTo>
                <a:cubicBezTo>
                  <a:pt x="302" y="30"/>
                  <a:pt x="298" y="40"/>
                  <a:pt x="298" y="41"/>
                </a:cubicBezTo>
                <a:cubicBezTo>
                  <a:pt x="247" y="182"/>
                  <a:pt x="247" y="182"/>
                  <a:pt x="247" y="182"/>
                </a:cubicBezTo>
                <a:cubicBezTo>
                  <a:pt x="226" y="183"/>
                  <a:pt x="209" y="193"/>
                  <a:pt x="198" y="209"/>
                </a:cubicBezTo>
                <a:cubicBezTo>
                  <a:pt x="161" y="209"/>
                  <a:pt x="161" y="209"/>
                  <a:pt x="161" y="209"/>
                </a:cubicBezTo>
                <a:cubicBezTo>
                  <a:pt x="161" y="8"/>
                  <a:pt x="161" y="8"/>
                  <a:pt x="161" y="8"/>
                </a:cubicBezTo>
                <a:cubicBezTo>
                  <a:pt x="161" y="4"/>
                  <a:pt x="158" y="0"/>
                  <a:pt x="153" y="0"/>
                </a:cubicBezTo>
                <a:cubicBezTo>
                  <a:pt x="149" y="0"/>
                  <a:pt x="145" y="4"/>
                  <a:pt x="145" y="8"/>
                </a:cubicBezTo>
                <a:cubicBezTo>
                  <a:pt x="145" y="270"/>
                  <a:pt x="145" y="270"/>
                  <a:pt x="145" y="270"/>
                </a:cubicBezTo>
                <a:cubicBezTo>
                  <a:pt x="8" y="270"/>
                  <a:pt x="8" y="270"/>
                  <a:pt x="8" y="270"/>
                </a:cubicBezTo>
                <a:cubicBezTo>
                  <a:pt x="4" y="270"/>
                  <a:pt x="0" y="274"/>
                  <a:pt x="0" y="278"/>
                </a:cubicBezTo>
                <a:cubicBezTo>
                  <a:pt x="0" y="283"/>
                  <a:pt x="4" y="286"/>
                  <a:pt x="8" y="286"/>
                </a:cubicBezTo>
                <a:cubicBezTo>
                  <a:pt x="8" y="286"/>
                  <a:pt x="8" y="286"/>
                  <a:pt x="8" y="286"/>
                </a:cubicBezTo>
                <a:cubicBezTo>
                  <a:pt x="153" y="286"/>
                  <a:pt x="153" y="286"/>
                  <a:pt x="153" y="286"/>
                </a:cubicBezTo>
                <a:cubicBezTo>
                  <a:pt x="156" y="286"/>
                  <a:pt x="158" y="285"/>
                  <a:pt x="159" y="284"/>
                </a:cubicBezTo>
                <a:cubicBezTo>
                  <a:pt x="161" y="282"/>
                  <a:pt x="161" y="280"/>
                  <a:pt x="161" y="278"/>
                </a:cubicBezTo>
                <a:cubicBezTo>
                  <a:pt x="161" y="257"/>
                  <a:pt x="161" y="257"/>
                  <a:pt x="161" y="257"/>
                </a:cubicBezTo>
                <a:cubicBezTo>
                  <a:pt x="191" y="257"/>
                  <a:pt x="191" y="257"/>
                  <a:pt x="191" y="257"/>
                </a:cubicBezTo>
                <a:cubicBezTo>
                  <a:pt x="197" y="282"/>
                  <a:pt x="220" y="301"/>
                  <a:pt x="248" y="301"/>
                </a:cubicBezTo>
                <a:cubicBezTo>
                  <a:pt x="265" y="301"/>
                  <a:pt x="281" y="293"/>
                  <a:pt x="292" y="281"/>
                </a:cubicBezTo>
                <a:cubicBezTo>
                  <a:pt x="403" y="281"/>
                  <a:pt x="403" y="281"/>
                  <a:pt x="403" y="281"/>
                </a:cubicBezTo>
                <a:cubicBezTo>
                  <a:pt x="409" y="293"/>
                  <a:pt x="421" y="301"/>
                  <a:pt x="435" y="301"/>
                </a:cubicBezTo>
                <a:cubicBezTo>
                  <a:pt x="448" y="301"/>
                  <a:pt x="460" y="293"/>
                  <a:pt x="466" y="281"/>
                </a:cubicBezTo>
                <a:cubicBezTo>
                  <a:pt x="483" y="281"/>
                  <a:pt x="483" y="281"/>
                  <a:pt x="483" y="281"/>
                </a:cubicBezTo>
                <a:cubicBezTo>
                  <a:pt x="493" y="281"/>
                  <a:pt x="502" y="273"/>
                  <a:pt x="502" y="262"/>
                </a:cubicBezTo>
                <a:cubicBezTo>
                  <a:pt x="502" y="141"/>
                  <a:pt x="502" y="141"/>
                  <a:pt x="502" y="141"/>
                </a:cubicBezTo>
                <a:cubicBezTo>
                  <a:pt x="502" y="131"/>
                  <a:pt x="493" y="122"/>
                  <a:pt x="483" y="122"/>
                </a:cubicBezTo>
                <a:close/>
                <a:moveTo>
                  <a:pt x="189" y="241"/>
                </a:moveTo>
                <a:cubicBezTo>
                  <a:pt x="161" y="241"/>
                  <a:pt x="161" y="241"/>
                  <a:pt x="161" y="241"/>
                </a:cubicBezTo>
                <a:cubicBezTo>
                  <a:pt x="161" y="225"/>
                  <a:pt x="161" y="225"/>
                  <a:pt x="161" y="225"/>
                </a:cubicBezTo>
                <a:cubicBezTo>
                  <a:pt x="191" y="225"/>
                  <a:pt x="191" y="225"/>
                  <a:pt x="191" y="225"/>
                </a:cubicBezTo>
                <a:cubicBezTo>
                  <a:pt x="189" y="230"/>
                  <a:pt x="189" y="235"/>
                  <a:pt x="189" y="241"/>
                </a:cubicBezTo>
                <a:close/>
                <a:moveTo>
                  <a:pt x="248" y="285"/>
                </a:moveTo>
                <a:cubicBezTo>
                  <a:pt x="224" y="285"/>
                  <a:pt x="205" y="265"/>
                  <a:pt x="204" y="241"/>
                </a:cubicBezTo>
                <a:cubicBezTo>
                  <a:pt x="205" y="217"/>
                  <a:pt x="224" y="198"/>
                  <a:pt x="248" y="198"/>
                </a:cubicBezTo>
                <a:cubicBezTo>
                  <a:pt x="272" y="198"/>
                  <a:pt x="291" y="217"/>
                  <a:pt x="291" y="241"/>
                </a:cubicBezTo>
                <a:cubicBezTo>
                  <a:pt x="291" y="241"/>
                  <a:pt x="291" y="241"/>
                  <a:pt x="291" y="241"/>
                </a:cubicBezTo>
                <a:cubicBezTo>
                  <a:pt x="291" y="265"/>
                  <a:pt x="272" y="285"/>
                  <a:pt x="248" y="285"/>
                </a:cubicBezTo>
                <a:close/>
                <a:moveTo>
                  <a:pt x="435" y="285"/>
                </a:moveTo>
                <a:cubicBezTo>
                  <a:pt x="424" y="285"/>
                  <a:pt x="415" y="276"/>
                  <a:pt x="415" y="266"/>
                </a:cubicBezTo>
                <a:cubicBezTo>
                  <a:pt x="415" y="255"/>
                  <a:pt x="424" y="246"/>
                  <a:pt x="435" y="246"/>
                </a:cubicBezTo>
                <a:cubicBezTo>
                  <a:pt x="445" y="246"/>
                  <a:pt x="454" y="255"/>
                  <a:pt x="454" y="266"/>
                </a:cubicBezTo>
                <a:cubicBezTo>
                  <a:pt x="454" y="276"/>
                  <a:pt x="445" y="285"/>
                  <a:pt x="435" y="285"/>
                </a:cubicBezTo>
                <a:close/>
                <a:moveTo>
                  <a:pt x="486" y="262"/>
                </a:moveTo>
                <a:cubicBezTo>
                  <a:pt x="486" y="264"/>
                  <a:pt x="484" y="265"/>
                  <a:pt x="483" y="265"/>
                </a:cubicBezTo>
                <a:cubicBezTo>
                  <a:pt x="470" y="265"/>
                  <a:pt x="470" y="265"/>
                  <a:pt x="470" y="265"/>
                </a:cubicBezTo>
                <a:cubicBezTo>
                  <a:pt x="470" y="246"/>
                  <a:pt x="454" y="230"/>
                  <a:pt x="435" y="230"/>
                </a:cubicBezTo>
                <a:cubicBezTo>
                  <a:pt x="415" y="230"/>
                  <a:pt x="400" y="246"/>
                  <a:pt x="399" y="265"/>
                </a:cubicBezTo>
                <a:cubicBezTo>
                  <a:pt x="302" y="265"/>
                  <a:pt x="302" y="265"/>
                  <a:pt x="302" y="265"/>
                </a:cubicBezTo>
                <a:cubicBezTo>
                  <a:pt x="305" y="258"/>
                  <a:pt x="307" y="250"/>
                  <a:pt x="307" y="241"/>
                </a:cubicBezTo>
                <a:cubicBezTo>
                  <a:pt x="307" y="241"/>
                  <a:pt x="307" y="241"/>
                  <a:pt x="307" y="241"/>
                </a:cubicBezTo>
                <a:cubicBezTo>
                  <a:pt x="307" y="214"/>
                  <a:pt x="288" y="191"/>
                  <a:pt x="263" y="184"/>
                </a:cubicBezTo>
                <a:cubicBezTo>
                  <a:pt x="276" y="148"/>
                  <a:pt x="276" y="148"/>
                  <a:pt x="276" y="148"/>
                </a:cubicBezTo>
                <a:cubicBezTo>
                  <a:pt x="417" y="188"/>
                  <a:pt x="417" y="188"/>
                  <a:pt x="417" y="188"/>
                </a:cubicBezTo>
                <a:cubicBezTo>
                  <a:pt x="417" y="188"/>
                  <a:pt x="421" y="189"/>
                  <a:pt x="425" y="189"/>
                </a:cubicBezTo>
                <a:cubicBezTo>
                  <a:pt x="430" y="189"/>
                  <a:pt x="436" y="188"/>
                  <a:pt x="441" y="184"/>
                </a:cubicBezTo>
                <a:cubicBezTo>
                  <a:pt x="446" y="180"/>
                  <a:pt x="449" y="172"/>
                  <a:pt x="449" y="163"/>
                </a:cubicBezTo>
                <a:cubicBezTo>
                  <a:pt x="449" y="157"/>
                  <a:pt x="449" y="148"/>
                  <a:pt x="449" y="138"/>
                </a:cubicBezTo>
                <a:cubicBezTo>
                  <a:pt x="483" y="138"/>
                  <a:pt x="483" y="138"/>
                  <a:pt x="483" y="138"/>
                </a:cubicBezTo>
                <a:cubicBezTo>
                  <a:pt x="485" y="138"/>
                  <a:pt x="486" y="140"/>
                  <a:pt x="486" y="141"/>
                </a:cubicBezTo>
                <a:lnTo>
                  <a:pt x="486" y="262"/>
                </a:lnTo>
                <a:close/>
                <a:moveTo>
                  <a:pt x="44" y="253"/>
                </a:moveTo>
                <a:cubicBezTo>
                  <a:pt x="112" y="253"/>
                  <a:pt x="112" y="253"/>
                  <a:pt x="112" y="253"/>
                </a:cubicBezTo>
                <a:cubicBezTo>
                  <a:pt x="121" y="253"/>
                  <a:pt x="129" y="246"/>
                  <a:pt x="129" y="236"/>
                </a:cubicBezTo>
                <a:cubicBezTo>
                  <a:pt x="129" y="169"/>
                  <a:pt x="129" y="169"/>
                  <a:pt x="129" y="169"/>
                </a:cubicBezTo>
                <a:cubicBezTo>
                  <a:pt x="129" y="159"/>
                  <a:pt x="121" y="152"/>
                  <a:pt x="112" y="152"/>
                </a:cubicBezTo>
                <a:cubicBezTo>
                  <a:pt x="44" y="152"/>
                  <a:pt x="44" y="152"/>
                  <a:pt x="44" y="152"/>
                </a:cubicBezTo>
                <a:cubicBezTo>
                  <a:pt x="35" y="152"/>
                  <a:pt x="27" y="159"/>
                  <a:pt x="27" y="169"/>
                </a:cubicBezTo>
                <a:cubicBezTo>
                  <a:pt x="27" y="236"/>
                  <a:pt x="27" y="236"/>
                  <a:pt x="27" y="236"/>
                </a:cubicBezTo>
                <a:cubicBezTo>
                  <a:pt x="27" y="246"/>
                  <a:pt x="35" y="253"/>
                  <a:pt x="44" y="253"/>
                </a:cubicBezTo>
                <a:close/>
                <a:moveTo>
                  <a:pt x="43" y="169"/>
                </a:moveTo>
                <a:cubicBezTo>
                  <a:pt x="43" y="168"/>
                  <a:pt x="44" y="168"/>
                  <a:pt x="44" y="168"/>
                </a:cubicBezTo>
                <a:cubicBezTo>
                  <a:pt x="112" y="168"/>
                  <a:pt x="112" y="168"/>
                  <a:pt x="112" y="168"/>
                </a:cubicBezTo>
                <a:cubicBezTo>
                  <a:pt x="112" y="168"/>
                  <a:pt x="113" y="168"/>
                  <a:pt x="113" y="169"/>
                </a:cubicBezTo>
                <a:cubicBezTo>
                  <a:pt x="113" y="236"/>
                  <a:pt x="113" y="236"/>
                  <a:pt x="113" y="236"/>
                </a:cubicBezTo>
                <a:cubicBezTo>
                  <a:pt x="113" y="237"/>
                  <a:pt x="112" y="237"/>
                  <a:pt x="112" y="237"/>
                </a:cubicBezTo>
                <a:cubicBezTo>
                  <a:pt x="44" y="237"/>
                  <a:pt x="44" y="237"/>
                  <a:pt x="44" y="237"/>
                </a:cubicBezTo>
                <a:cubicBezTo>
                  <a:pt x="44" y="237"/>
                  <a:pt x="43" y="237"/>
                  <a:pt x="43" y="236"/>
                </a:cubicBezTo>
                <a:lnTo>
                  <a:pt x="43" y="169"/>
                </a:lnTo>
                <a:close/>
              </a:path>
            </a:pathLst>
          </a:custGeom>
          <a:solidFill>
            <a:schemeClr val="bg1"/>
          </a:solidFill>
          <a:ln>
            <a:noFill/>
          </a:ln>
          <a:extLst/>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45" name="Freeform 3"/>
          <p:cNvSpPr>
            <a:spLocks noChangeAspect="1" noEditPoints="1"/>
          </p:cNvSpPr>
          <p:nvPr/>
        </p:nvSpPr>
        <p:spPr bwMode="auto">
          <a:xfrm>
            <a:off x="1993721" y="4180017"/>
            <a:ext cx="419933" cy="422046"/>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bg1"/>
          </a:solidFill>
          <a:ln>
            <a:noFill/>
          </a:ln>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46" name="Freeform 3"/>
          <p:cNvSpPr>
            <a:spLocks noChangeAspect="1" noEditPoints="1"/>
          </p:cNvSpPr>
          <p:nvPr/>
        </p:nvSpPr>
        <p:spPr bwMode="auto">
          <a:xfrm>
            <a:off x="1961984" y="3568230"/>
            <a:ext cx="483407" cy="460221"/>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solidFill>
            <a:schemeClr val="bg1"/>
          </a:solidFill>
          <a:ln>
            <a:noFill/>
          </a:ln>
          <a:extLst/>
        </p:spPr>
        <p:txBody>
          <a:bodyPr lIns="91438" tIns="45719" rIns="91438" bIns="45719"/>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47" name="Can 36"/>
          <p:cNvSpPr/>
          <p:nvPr/>
        </p:nvSpPr>
        <p:spPr bwMode="auto">
          <a:xfrm>
            <a:off x="6559563" y="2429001"/>
            <a:ext cx="1563501" cy="2544789"/>
          </a:xfrm>
          <a:prstGeom prst="can">
            <a:avLst>
              <a:gd name="adj" fmla="val 20739"/>
            </a:avLst>
          </a:prstGeom>
          <a:noFill/>
          <a:ln w="3810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3"/>
          <p:cNvSpPr>
            <a:spLocks noChangeAspect="1" noEditPoints="1"/>
          </p:cNvSpPr>
          <p:nvPr/>
        </p:nvSpPr>
        <p:spPr bwMode="auto">
          <a:xfrm>
            <a:off x="7201113" y="4005421"/>
            <a:ext cx="287224" cy="272442"/>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solidFill>
            <a:schemeClr val="bg1"/>
          </a:solidFill>
          <a:ln>
            <a:noFill/>
          </a:ln>
          <a:extLst/>
        </p:spPr>
        <p:txBody>
          <a:bodyPr lIns="91438" tIns="45719" rIns="91438" bIns="45719"/>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49" name="Arc 48"/>
          <p:cNvSpPr/>
          <p:nvPr/>
        </p:nvSpPr>
        <p:spPr bwMode="auto">
          <a:xfrm rot="10800000">
            <a:off x="6559563" y="2853216"/>
            <a:ext cx="1563501" cy="371159"/>
          </a:xfrm>
          <a:prstGeom prst="arc">
            <a:avLst>
              <a:gd name="adj1" fmla="val 10950424"/>
              <a:gd name="adj2" fmla="val 0"/>
            </a:avLst>
          </a:prstGeom>
          <a:noFill/>
          <a:ln w="28575" cap="flat" cmpd="sng" algn="ctr">
            <a:solidFill>
              <a:schemeClr val="accent3"/>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Arc 49"/>
          <p:cNvSpPr/>
          <p:nvPr/>
        </p:nvSpPr>
        <p:spPr bwMode="auto">
          <a:xfrm rot="10800000">
            <a:off x="6562975" y="3426374"/>
            <a:ext cx="1563501" cy="371159"/>
          </a:xfrm>
          <a:prstGeom prst="arc">
            <a:avLst>
              <a:gd name="adj1" fmla="val 10950424"/>
              <a:gd name="adj2" fmla="val 0"/>
            </a:avLst>
          </a:prstGeom>
          <a:noFill/>
          <a:ln w="28575" cap="flat" cmpd="sng" algn="ctr">
            <a:solidFill>
              <a:schemeClr val="accent3"/>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Arc 50"/>
          <p:cNvSpPr/>
          <p:nvPr/>
        </p:nvSpPr>
        <p:spPr bwMode="auto">
          <a:xfrm rot="10800000">
            <a:off x="6583490" y="4065044"/>
            <a:ext cx="1563501" cy="371159"/>
          </a:xfrm>
          <a:prstGeom prst="arc">
            <a:avLst>
              <a:gd name="adj1" fmla="val 10950424"/>
              <a:gd name="adj2" fmla="val 0"/>
            </a:avLst>
          </a:prstGeom>
          <a:noFill/>
          <a:ln w="28575" cap="flat" cmpd="sng" algn="ctr">
            <a:solidFill>
              <a:schemeClr val="accent3"/>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6"/>
          <p:cNvSpPr>
            <a:spLocks noChangeAspect="1" noEditPoints="1"/>
          </p:cNvSpPr>
          <p:nvPr/>
        </p:nvSpPr>
        <p:spPr bwMode="auto">
          <a:xfrm>
            <a:off x="7195024" y="2846312"/>
            <a:ext cx="292578" cy="280581"/>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53" name="Freeform 2"/>
          <p:cNvSpPr>
            <a:spLocks noChangeAspect="1" noEditPoints="1"/>
          </p:cNvSpPr>
          <p:nvPr/>
        </p:nvSpPr>
        <p:spPr bwMode="auto">
          <a:xfrm>
            <a:off x="7086086" y="3426373"/>
            <a:ext cx="401516" cy="230589"/>
          </a:xfrm>
          <a:custGeom>
            <a:avLst/>
            <a:gdLst>
              <a:gd name="T0" fmla="*/ 2147483647 w 502"/>
              <a:gd name="T1" fmla="*/ 2147483647 h 301"/>
              <a:gd name="T2" fmla="*/ 2147483647 w 502"/>
              <a:gd name="T3" fmla="*/ 2147483647 h 301"/>
              <a:gd name="T4" fmla="*/ 2147483647 w 502"/>
              <a:gd name="T5" fmla="*/ 2147483647 h 301"/>
              <a:gd name="T6" fmla="*/ 2147483647 w 502"/>
              <a:gd name="T7" fmla="*/ 2147483647 h 301"/>
              <a:gd name="T8" fmla="*/ 2147483647 w 502"/>
              <a:gd name="T9" fmla="*/ 2147483647 h 301"/>
              <a:gd name="T10" fmla="*/ 2147483647 w 502"/>
              <a:gd name="T11" fmla="*/ 2147483647 h 301"/>
              <a:gd name="T12" fmla="*/ 2147483647 w 502"/>
              <a:gd name="T13" fmla="*/ 2147483647 h 301"/>
              <a:gd name="T14" fmla="*/ 2147483647 w 502"/>
              <a:gd name="T15" fmla="*/ 2147483647 h 301"/>
              <a:gd name="T16" fmla="*/ 2147483647 w 502"/>
              <a:gd name="T17" fmla="*/ 2147483647 h 301"/>
              <a:gd name="T18" fmla="*/ 2147483647 w 502"/>
              <a:gd name="T19" fmla="*/ 2147483647 h 301"/>
              <a:gd name="T20" fmla="*/ 2147483647 w 502"/>
              <a:gd name="T21" fmla="*/ 2147483647 h 301"/>
              <a:gd name="T22" fmla="*/ 2147483647 w 502"/>
              <a:gd name="T23" fmla="*/ 2147483647 h 301"/>
              <a:gd name="T24" fmla="*/ 2147483647 w 502"/>
              <a:gd name="T25" fmla="*/ 0 h 301"/>
              <a:gd name="T26" fmla="*/ 2147483647 w 502"/>
              <a:gd name="T27" fmla="*/ 2147483647 h 301"/>
              <a:gd name="T28" fmla="*/ 2147483647 w 502"/>
              <a:gd name="T29" fmla="*/ 2147483647 h 301"/>
              <a:gd name="T30" fmla="*/ 2147483647 w 502"/>
              <a:gd name="T31" fmla="*/ 2147483647 h 301"/>
              <a:gd name="T32" fmla="*/ 2147483647 w 502"/>
              <a:gd name="T33" fmla="*/ 2147483647 h 301"/>
              <a:gd name="T34" fmla="*/ 2147483647 w 502"/>
              <a:gd name="T35" fmla="*/ 2147483647 h 301"/>
              <a:gd name="T36" fmla="*/ 2147483647 w 502"/>
              <a:gd name="T37" fmla="*/ 2147483647 h 301"/>
              <a:gd name="T38" fmla="*/ 2147483647 w 502"/>
              <a:gd name="T39" fmla="*/ 2147483647 h 301"/>
              <a:gd name="T40" fmla="*/ 2147483647 w 502"/>
              <a:gd name="T41" fmla="*/ 2147483647 h 301"/>
              <a:gd name="T42" fmla="*/ 2147483647 w 502"/>
              <a:gd name="T43" fmla="*/ 2147483647 h 301"/>
              <a:gd name="T44" fmla="*/ 2147483647 w 502"/>
              <a:gd name="T45" fmla="*/ 2147483647 h 301"/>
              <a:gd name="T46" fmla="*/ 2147483647 w 502"/>
              <a:gd name="T47" fmla="*/ 2147483647 h 301"/>
              <a:gd name="T48" fmla="*/ 2147483647 w 502"/>
              <a:gd name="T49" fmla="*/ 2147483647 h 301"/>
              <a:gd name="T50" fmla="*/ 2147483647 w 502"/>
              <a:gd name="T51" fmla="*/ 2147483647 h 301"/>
              <a:gd name="T52" fmla="*/ 2147483647 w 502"/>
              <a:gd name="T53" fmla="*/ 2147483647 h 301"/>
              <a:gd name="T54" fmla="*/ 2147483647 w 502"/>
              <a:gd name="T55" fmla="*/ 2147483647 h 301"/>
              <a:gd name="T56" fmla="*/ 2147483647 w 502"/>
              <a:gd name="T57" fmla="*/ 2147483647 h 301"/>
              <a:gd name="T58" fmla="*/ 2147483647 w 502"/>
              <a:gd name="T59" fmla="*/ 2147483647 h 301"/>
              <a:gd name="T60" fmla="*/ 2147483647 w 502"/>
              <a:gd name="T61" fmla="*/ 2147483647 h 301"/>
              <a:gd name="T62" fmla="*/ 2147483647 w 502"/>
              <a:gd name="T63" fmla="*/ 2147483647 h 301"/>
              <a:gd name="T64" fmla="*/ 2147483647 w 502"/>
              <a:gd name="T65" fmla="*/ 2147483647 h 301"/>
              <a:gd name="T66" fmla="*/ 2147483647 w 502"/>
              <a:gd name="T67" fmla="*/ 2147483647 h 301"/>
              <a:gd name="T68" fmla="*/ 2147483647 w 502"/>
              <a:gd name="T69" fmla="*/ 2147483647 h 301"/>
              <a:gd name="T70" fmla="*/ 2147483647 w 502"/>
              <a:gd name="T71" fmla="*/ 2147483647 h 301"/>
              <a:gd name="T72" fmla="*/ 2147483647 w 502"/>
              <a:gd name="T73" fmla="*/ 2147483647 h 301"/>
              <a:gd name="T74" fmla="*/ 2147483647 w 502"/>
              <a:gd name="T75" fmla="*/ 2147483647 h 301"/>
              <a:gd name="T76" fmla="*/ 2147483647 w 502"/>
              <a:gd name="T77" fmla="*/ 2147483647 h 301"/>
              <a:gd name="T78" fmla="*/ 2147483647 w 502"/>
              <a:gd name="T79" fmla="*/ 2147483647 h 301"/>
              <a:gd name="T80" fmla="*/ 2147483647 w 502"/>
              <a:gd name="T81" fmla="*/ 2147483647 h 301"/>
              <a:gd name="T82" fmla="*/ 2147483647 w 502"/>
              <a:gd name="T83" fmla="*/ 2147483647 h 301"/>
              <a:gd name="T84" fmla="*/ 2147483647 w 502"/>
              <a:gd name="T85" fmla="*/ 2147483647 h 301"/>
              <a:gd name="T86" fmla="*/ 2147483647 w 502"/>
              <a:gd name="T87" fmla="*/ 2147483647 h 301"/>
              <a:gd name="T88" fmla="*/ 2147483647 w 502"/>
              <a:gd name="T89" fmla="*/ 2147483647 h 301"/>
              <a:gd name="T90" fmla="*/ 2147483647 w 502"/>
              <a:gd name="T91" fmla="*/ 2147483647 h 301"/>
              <a:gd name="T92" fmla="*/ 2147483647 w 502"/>
              <a:gd name="T93" fmla="*/ 2147483647 h 301"/>
              <a:gd name="T94" fmla="*/ 2147483647 w 502"/>
              <a:gd name="T95" fmla="*/ 2147483647 h 301"/>
              <a:gd name="T96" fmla="*/ 2147483647 w 502"/>
              <a:gd name="T97" fmla="*/ 2147483647 h 301"/>
              <a:gd name="T98" fmla="*/ 2147483647 w 502"/>
              <a:gd name="T99" fmla="*/ 2147483647 h 301"/>
              <a:gd name="T100" fmla="*/ 2147483647 w 502"/>
              <a:gd name="T101" fmla="*/ 2147483647 h 301"/>
              <a:gd name="T102" fmla="*/ 2147483647 w 502"/>
              <a:gd name="T103" fmla="*/ 2147483647 h 3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2" h="301">
                <a:moveTo>
                  <a:pt x="483" y="122"/>
                </a:moveTo>
                <a:cubicBezTo>
                  <a:pt x="449" y="122"/>
                  <a:pt x="449" y="122"/>
                  <a:pt x="449" y="122"/>
                </a:cubicBezTo>
                <a:cubicBezTo>
                  <a:pt x="449" y="98"/>
                  <a:pt x="449" y="75"/>
                  <a:pt x="449" y="75"/>
                </a:cubicBezTo>
                <a:cubicBezTo>
                  <a:pt x="449" y="71"/>
                  <a:pt x="445" y="67"/>
                  <a:pt x="441" y="67"/>
                </a:cubicBezTo>
                <a:cubicBezTo>
                  <a:pt x="436" y="67"/>
                  <a:pt x="433" y="71"/>
                  <a:pt x="433" y="75"/>
                </a:cubicBezTo>
                <a:cubicBezTo>
                  <a:pt x="433" y="75"/>
                  <a:pt x="433" y="139"/>
                  <a:pt x="433" y="163"/>
                </a:cubicBezTo>
                <a:cubicBezTo>
                  <a:pt x="433" y="169"/>
                  <a:pt x="431" y="171"/>
                  <a:pt x="430" y="172"/>
                </a:cubicBezTo>
                <a:cubicBezTo>
                  <a:pt x="429" y="173"/>
                  <a:pt x="428" y="173"/>
                  <a:pt x="425" y="173"/>
                </a:cubicBezTo>
                <a:cubicBezTo>
                  <a:pt x="424" y="173"/>
                  <a:pt x="423" y="173"/>
                  <a:pt x="422" y="173"/>
                </a:cubicBezTo>
                <a:cubicBezTo>
                  <a:pt x="422" y="173"/>
                  <a:pt x="422" y="173"/>
                  <a:pt x="422" y="173"/>
                </a:cubicBezTo>
                <a:cubicBezTo>
                  <a:pt x="421" y="173"/>
                  <a:pt x="421" y="173"/>
                  <a:pt x="421" y="173"/>
                </a:cubicBezTo>
                <a:cubicBezTo>
                  <a:pt x="282" y="132"/>
                  <a:pt x="282" y="132"/>
                  <a:pt x="282" y="132"/>
                </a:cubicBezTo>
                <a:cubicBezTo>
                  <a:pt x="313" y="46"/>
                  <a:pt x="313" y="46"/>
                  <a:pt x="313" y="46"/>
                </a:cubicBezTo>
                <a:cubicBezTo>
                  <a:pt x="313" y="46"/>
                  <a:pt x="313" y="46"/>
                  <a:pt x="313" y="45"/>
                </a:cubicBezTo>
                <a:cubicBezTo>
                  <a:pt x="315" y="42"/>
                  <a:pt x="318" y="34"/>
                  <a:pt x="325" y="28"/>
                </a:cubicBezTo>
                <a:cubicBezTo>
                  <a:pt x="331" y="21"/>
                  <a:pt x="340" y="16"/>
                  <a:pt x="353" y="16"/>
                </a:cubicBezTo>
                <a:cubicBezTo>
                  <a:pt x="387" y="16"/>
                  <a:pt x="396" y="16"/>
                  <a:pt x="412" y="16"/>
                </a:cubicBezTo>
                <a:cubicBezTo>
                  <a:pt x="419" y="16"/>
                  <a:pt x="424" y="18"/>
                  <a:pt x="427" y="21"/>
                </a:cubicBezTo>
                <a:cubicBezTo>
                  <a:pt x="430" y="23"/>
                  <a:pt x="433" y="29"/>
                  <a:pt x="433" y="39"/>
                </a:cubicBezTo>
                <a:cubicBezTo>
                  <a:pt x="433" y="44"/>
                  <a:pt x="433" y="44"/>
                  <a:pt x="433" y="44"/>
                </a:cubicBezTo>
                <a:cubicBezTo>
                  <a:pt x="433" y="48"/>
                  <a:pt x="436" y="52"/>
                  <a:pt x="441" y="52"/>
                </a:cubicBezTo>
                <a:cubicBezTo>
                  <a:pt x="445" y="52"/>
                  <a:pt x="449" y="48"/>
                  <a:pt x="449" y="44"/>
                </a:cubicBezTo>
                <a:cubicBezTo>
                  <a:pt x="449" y="39"/>
                  <a:pt x="449" y="39"/>
                  <a:pt x="449" y="39"/>
                </a:cubicBezTo>
                <a:cubicBezTo>
                  <a:pt x="449" y="26"/>
                  <a:pt x="445" y="16"/>
                  <a:pt x="438" y="9"/>
                </a:cubicBezTo>
                <a:cubicBezTo>
                  <a:pt x="431" y="2"/>
                  <a:pt x="421" y="0"/>
                  <a:pt x="412" y="0"/>
                </a:cubicBezTo>
                <a:cubicBezTo>
                  <a:pt x="396" y="0"/>
                  <a:pt x="387" y="0"/>
                  <a:pt x="353" y="0"/>
                </a:cubicBezTo>
                <a:cubicBezTo>
                  <a:pt x="332" y="0"/>
                  <a:pt x="318" y="10"/>
                  <a:pt x="310" y="20"/>
                </a:cubicBezTo>
                <a:cubicBezTo>
                  <a:pt x="302" y="30"/>
                  <a:pt x="298" y="40"/>
                  <a:pt x="298" y="41"/>
                </a:cubicBezTo>
                <a:cubicBezTo>
                  <a:pt x="247" y="182"/>
                  <a:pt x="247" y="182"/>
                  <a:pt x="247" y="182"/>
                </a:cubicBezTo>
                <a:cubicBezTo>
                  <a:pt x="226" y="183"/>
                  <a:pt x="209" y="193"/>
                  <a:pt x="198" y="209"/>
                </a:cubicBezTo>
                <a:cubicBezTo>
                  <a:pt x="161" y="209"/>
                  <a:pt x="161" y="209"/>
                  <a:pt x="161" y="209"/>
                </a:cubicBezTo>
                <a:cubicBezTo>
                  <a:pt x="161" y="8"/>
                  <a:pt x="161" y="8"/>
                  <a:pt x="161" y="8"/>
                </a:cubicBezTo>
                <a:cubicBezTo>
                  <a:pt x="161" y="4"/>
                  <a:pt x="158" y="0"/>
                  <a:pt x="153" y="0"/>
                </a:cubicBezTo>
                <a:cubicBezTo>
                  <a:pt x="149" y="0"/>
                  <a:pt x="145" y="4"/>
                  <a:pt x="145" y="8"/>
                </a:cubicBezTo>
                <a:cubicBezTo>
                  <a:pt x="145" y="270"/>
                  <a:pt x="145" y="270"/>
                  <a:pt x="145" y="270"/>
                </a:cubicBezTo>
                <a:cubicBezTo>
                  <a:pt x="8" y="270"/>
                  <a:pt x="8" y="270"/>
                  <a:pt x="8" y="270"/>
                </a:cubicBezTo>
                <a:cubicBezTo>
                  <a:pt x="4" y="270"/>
                  <a:pt x="0" y="274"/>
                  <a:pt x="0" y="278"/>
                </a:cubicBezTo>
                <a:cubicBezTo>
                  <a:pt x="0" y="283"/>
                  <a:pt x="4" y="286"/>
                  <a:pt x="8" y="286"/>
                </a:cubicBezTo>
                <a:cubicBezTo>
                  <a:pt x="8" y="286"/>
                  <a:pt x="8" y="286"/>
                  <a:pt x="8" y="286"/>
                </a:cubicBezTo>
                <a:cubicBezTo>
                  <a:pt x="153" y="286"/>
                  <a:pt x="153" y="286"/>
                  <a:pt x="153" y="286"/>
                </a:cubicBezTo>
                <a:cubicBezTo>
                  <a:pt x="156" y="286"/>
                  <a:pt x="158" y="285"/>
                  <a:pt x="159" y="284"/>
                </a:cubicBezTo>
                <a:cubicBezTo>
                  <a:pt x="161" y="282"/>
                  <a:pt x="161" y="280"/>
                  <a:pt x="161" y="278"/>
                </a:cubicBezTo>
                <a:cubicBezTo>
                  <a:pt x="161" y="257"/>
                  <a:pt x="161" y="257"/>
                  <a:pt x="161" y="257"/>
                </a:cubicBezTo>
                <a:cubicBezTo>
                  <a:pt x="191" y="257"/>
                  <a:pt x="191" y="257"/>
                  <a:pt x="191" y="257"/>
                </a:cubicBezTo>
                <a:cubicBezTo>
                  <a:pt x="197" y="282"/>
                  <a:pt x="220" y="301"/>
                  <a:pt x="248" y="301"/>
                </a:cubicBezTo>
                <a:cubicBezTo>
                  <a:pt x="265" y="301"/>
                  <a:pt x="281" y="293"/>
                  <a:pt x="292" y="281"/>
                </a:cubicBezTo>
                <a:cubicBezTo>
                  <a:pt x="403" y="281"/>
                  <a:pt x="403" y="281"/>
                  <a:pt x="403" y="281"/>
                </a:cubicBezTo>
                <a:cubicBezTo>
                  <a:pt x="409" y="293"/>
                  <a:pt x="421" y="301"/>
                  <a:pt x="435" y="301"/>
                </a:cubicBezTo>
                <a:cubicBezTo>
                  <a:pt x="448" y="301"/>
                  <a:pt x="460" y="293"/>
                  <a:pt x="466" y="281"/>
                </a:cubicBezTo>
                <a:cubicBezTo>
                  <a:pt x="483" y="281"/>
                  <a:pt x="483" y="281"/>
                  <a:pt x="483" y="281"/>
                </a:cubicBezTo>
                <a:cubicBezTo>
                  <a:pt x="493" y="281"/>
                  <a:pt x="502" y="273"/>
                  <a:pt x="502" y="262"/>
                </a:cubicBezTo>
                <a:cubicBezTo>
                  <a:pt x="502" y="141"/>
                  <a:pt x="502" y="141"/>
                  <a:pt x="502" y="141"/>
                </a:cubicBezTo>
                <a:cubicBezTo>
                  <a:pt x="502" y="131"/>
                  <a:pt x="493" y="122"/>
                  <a:pt x="483" y="122"/>
                </a:cubicBezTo>
                <a:close/>
                <a:moveTo>
                  <a:pt x="189" y="241"/>
                </a:moveTo>
                <a:cubicBezTo>
                  <a:pt x="161" y="241"/>
                  <a:pt x="161" y="241"/>
                  <a:pt x="161" y="241"/>
                </a:cubicBezTo>
                <a:cubicBezTo>
                  <a:pt x="161" y="225"/>
                  <a:pt x="161" y="225"/>
                  <a:pt x="161" y="225"/>
                </a:cubicBezTo>
                <a:cubicBezTo>
                  <a:pt x="191" y="225"/>
                  <a:pt x="191" y="225"/>
                  <a:pt x="191" y="225"/>
                </a:cubicBezTo>
                <a:cubicBezTo>
                  <a:pt x="189" y="230"/>
                  <a:pt x="189" y="235"/>
                  <a:pt x="189" y="241"/>
                </a:cubicBezTo>
                <a:close/>
                <a:moveTo>
                  <a:pt x="248" y="285"/>
                </a:moveTo>
                <a:cubicBezTo>
                  <a:pt x="224" y="285"/>
                  <a:pt x="205" y="265"/>
                  <a:pt x="204" y="241"/>
                </a:cubicBezTo>
                <a:cubicBezTo>
                  <a:pt x="205" y="217"/>
                  <a:pt x="224" y="198"/>
                  <a:pt x="248" y="198"/>
                </a:cubicBezTo>
                <a:cubicBezTo>
                  <a:pt x="272" y="198"/>
                  <a:pt x="291" y="217"/>
                  <a:pt x="291" y="241"/>
                </a:cubicBezTo>
                <a:cubicBezTo>
                  <a:pt x="291" y="241"/>
                  <a:pt x="291" y="241"/>
                  <a:pt x="291" y="241"/>
                </a:cubicBezTo>
                <a:cubicBezTo>
                  <a:pt x="291" y="265"/>
                  <a:pt x="272" y="285"/>
                  <a:pt x="248" y="285"/>
                </a:cubicBezTo>
                <a:close/>
                <a:moveTo>
                  <a:pt x="435" y="285"/>
                </a:moveTo>
                <a:cubicBezTo>
                  <a:pt x="424" y="285"/>
                  <a:pt x="415" y="276"/>
                  <a:pt x="415" y="266"/>
                </a:cubicBezTo>
                <a:cubicBezTo>
                  <a:pt x="415" y="255"/>
                  <a:pt x="424" y="246"/>
                  <a:pt x="435" y="246"/>
                </a:cubicBezTo>
                <a:cubicBezTo>
                  <a:pt x="445" y="246"/>
                  <a:pt x="454" y="255"/>
                  <a:pt x="454" y="266"/>
                </a:cubicBezTo>
                <a:cubicBezTo>
                  <a:pt x="454" y="276"/>
                  <a:pt x="445" y="285"/>
                  <a:pt x="435" y="285"/>
                </a:cubicBezTo>
                <a:close/>
                <a:moveTo>
                  <a:pt x="486" y="262"/>
                </a:moveTo>
                <a:cubicBezTo>
                  <a:pt x="486" y="264"/>
                  <a:pt x="484" y="265"/>
                  <a:pt x="483" y="265"/>
                </a:cubicBezTo>
                <a:cubicBezTo>
                  <a:pt x="470" y="265"/>
                  <a:pt x="470" y="265"/>
                  <a:pt x="470" y="265"/>
                </a:cubicBezTo>
                <a:cubicBezTo>
                  <a:pt x="470" y="246"/>
                  <a:pt x="454" y="230"/>
                  <a:pt x="435" y="230"/>
                </a:cubicBezTo>
                <a:cubicBezTo>
                  <a:pt x="415" y="230"/>
                  <a:pt x="400" y="246"/>
                  <a:pt x="399" y="265"/>
                </a:cubicBezTo>
                <a:cubicBezTo>
                  <a:pt x="302" y="265"/>
                  <a:pt x="302" y="265"/>
                  <a:pt x="302" y="265"/>
                </a:cubicBezTo>
                <a:cubicBezTo>
                  <a:pt x="305" y="258"/>
                  <a:pt x="307" y="250"/>
                  <a:pt x="307" y="241"/>
                </a:cubicBezTo>
                <a:cubicBezTo>
                  <a:pt x="307" y="241"/>
                  <a:pt x="307" y="241"/>
                  <a:pt x="307" y="241"/>
                </a:cubicBezTo>
                <a:cubicBezTo>
                  <a:pt x="307" y="214"/>
                  <a:pt x="288" y="191"/>
                  <a:pt x="263" y="184"/>
                </a:cubicBezTo>
                <a:cubicBezTo>
                  <a:pt x="276" y="148"/>
                  <a:pt x="276" y="148"/>
                  <a:pt x="276" y="148"/>
                </a:cubicBezTo>
                <a:cubicBezTo>
                  <a:pt x="417" y="188"/>
                  <a:pt x="417" y="188"/>
                  <a:pt x="417" y="188"/>
                </a:cubicBezTo>
                <a:cubicBezTo>
                  <a:pt x="417" y="188"/>
                  <a:pt x="421" y="189"/>
                  <a:pt x="425" y="189"/>
                </a:cubicBezTo>
                <a:cubicBezTo>
                  <a:pt x="430" y="189"/>
                  <a:pt x="436" y="188"/>
                  <a:pt x="441" y="184"/>
                </a:cubicBezTo>
                <a:cubicBezTo>
                  <a:pt x="446" y="180"/>
                  <a:pt x="449" y="172"/>
                  <a:pt x="449" y="163"/>
                </a:cubicBezTo>
                <a:cubicBezTo>
                  <a:pt x="449" y="157"/>
                  <a:pt x="449" y="148"/>
                  <a:pt x="449" y="138"/>
                </a:cubicBezTo>
                <a:cubicBezTo>
                  <a:pt x="483" y="138"/>
                  <a:pt x="483" y="138"/>
                  <a:pt x="483" y="138"/>
                </a:cubicBezTo>
                <a:cubicBezTo>
                  <a:pt x="485" y="138"/>
                  <a:pt x="486" y="140"/>
                  <a:pt x="486" y="141"/>
                </a:cubicBezTo>
                <a:lnTo>
                  <a:pt x="486" y="262"/>
                </a:lnTo>
                <a:close/>
                <a:moveTo>
                  <a:pt x="44" y="253"/>
                </a:moveTo>
                <a:cubicBezTo>
                  <a:pt x="112" y="253"/>
                  <a:pt x="112" y="253"/>
                  <a:pt x="112" y="253"/>
                </a:cubicBezTo>
                <a:cubicBezTo>
                  <a:pt x="121" y="253"/>
                  <a:pt x="129" y="246"/>
                  <a:pt x="129" y="236"/>
                </a:cubicBezTo>
                <a:cubicBezTo>
                  <a:pt x="129" y="169"/>
                  <a:pt x="129" y="169"/>
                  <a:pt x="129" y="169"/>
                </a:cubicBezTo>
                <a:cubicBezTo>
                  <a:pt x="129" y="159"/>
                  <a:pt x="121" y="152"/>
                  <a:pt x="112" y="152"/>
                </a:cubicBezTo>
                <a:cubicBezTo>
                  <a:pt x="44" y="152"/>
                  <a:pt x="44" y="152"/>
                  <a:pt x="44" y="152"/>
                </a:cubicBezTo>
                <a:cubicBezTo>
                  <a:pt x="35" y="152"/>
                  <a:pt x="27" y="159"/>
                  <a:pt x="27" y="169"/>
                </a:cubicBezTo>
                <a:cubicBezTo>
                  <a:pt x="27" y="236"/>
                  <a:pt x="27" y="236"/>
                  <a:pt x="27" y="236"/>
                </a:cubicBezTo>
                <a:cubicBezTo>
                  <a:pt x="27" y="246"/>
                  <a:pt x="35" y="253"/>
                  <a:pt x="44" y="253"/>
                </a:cubicBezTo>
                <a:close/>
                <a:moveTo>
                  <a:pt x="43" y="169"/>
                </a:moveTo>
                <a:cubicBezTo>
                  <a:pt x="43" y="168"/>
                  <a:pt x="44" y="168"/>
                  <a:pt x="44" y="168"/>
                </a:cubicBezTo>
                <a:cubicBezTo>
                  <a:pt x="112" y="168"/>
                  <a:pt x="112" y="168"/>
                  <a:pt x="112" y="168"/>
                </a:cubicBezTo>
                <a:cubicBezTo>
                  <a:pt x="112" y="168"/>
                  <a:pt x="113" y="168"/>
                  <a:pt x="113" y="169"/>
                </a:cubicBezTo>
                <a:cubicBezTo>
                  <a:pt x="113" y="236"/>
                  <a:pt x="113" y="236"/>
                  <a:pt x="113" y="236"/>
                </a:cubicBezTo>
                <a:cubicBezTo>
                  <a:pt x="113" y="237"/>
                  <a:pt x="112" y="237"/>
                  <a:pt x="112" y="237"/>
                </a:cubicBezTo>
                <a:cubicBezTo>
                  <a:pt x="44" y="237"/>
                  <a:pt x="44" y="237"/>
                  <a:pt x="44" y="237"/>
                </a:cubicBezTo>
                <a:cubicBezTo>
                  <a:pt x="44" y="237"/>
                  <a:pt x="43" y="237"/>
                  <a:pt x="43" y="236"/>
                </a:cubicBezTo>
                <a:lnTo>
                  <a:pt x="43" y="169"/>
                </a:lnTo>
                <a:close/>
              </a:path>
            </a:pathLst>
          </a:custGeom>
          <a:solidFill>
            <a:schemeClr val="bg1"/>
          </a:solidFill>
          <a:ln>
            <a:noFill/>
          </a:ln>
          <a:extLst/>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54" name="Freeform 3"/>
          <p:cNvSpPr>
            <a:spLocks noChangeAspect="1" noEditPoints="1"/>
          </p:cNvSpPr>
          <p:nvPr/>
        </p:nvSpPr>
        <p:spPr bwMode="auto">
          <a:xfrm>
            <a:off x="7211826" y="4579546"/>
            <a:ext cx="276511" cy="27688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bg1"/>
          </a:solidFill>
          <a:ln>
            <a:noFill/>
          </a:ln>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Text" lastClr="000000"/>
              </a:solidFill>
              <a:effectLst/>
              <a:uLnTx/>
              <a:uFillTx/>
            </a:endParaRPr>
          </a:p>
        </p:txBody>
      </p:sp>
      <p:sp>
        <p:nvSpPr>
          <p:cNvPr id="55" name="Rounded Rectangle 51"/>
          <p:cNvSpPr/>
          <p:nvPr/>
        </p:nvSpPr>
        <p:spPr bwMode="auto">
          <a:xfrm rot="16200000">
            <a:off x="4476461" y="3368806"/>
            <a:ext cx="2437638" cy="517443"/>
          </a:xfrm>
          <a:prstGeom prst="roundRect">
            <a:avLst/>
          </a:prstGeom>
          <a:solidFill>
            <a:schemeClr val="bg1">
              <a:alpha val="52000"/>
            </a:schemeClr>
          </a:solidFill>
          <a:ln w="12700" cap="flat" cmpd="sng" algn="ctr">
            <a:solidFill>
              <a:schemeClr val="bg1"/>
            </a:solidFill>
            <a:prstDash val="solid"/>
            <a:round/>
            <a:headEnd type="none" w="med" len="med"/>
            <a:tailEnd type="none" w="med" len="med"/>
          </a:ln>
          <a:effectLst/>
          <a:scene3d>
            <a:camera prst="orthographicFront"/>
            <a:lightRig rig="threePt" dir="t"/>
          </a:scene3d>
          <a:sp3d>
            <a:bevelT h="38100"/>
          </a:sp3d>
        </p:spPr>
        <p:txBody>
          <a:bodyPr vert="horz" wrap="none" lIns="71998" tIns="45719" rIns="71998" bIns="45719"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rPr>
              <a:t>Common access</a:t>
            </a:r>
          </a:p>
        </p:txBody>
      </p:sp>
      <p:sp>
        <p:nvSpPr>
          <p:cNvPr id="56" name="Rounded Rectangle 56"/>
          <p:cNvSpPr/>
          <p:nvPr/>
        </p:nvSpPr>
        <p:spPr bwMode="auto">
          <a:xfrm rot="16200000">
            <a:off x="8466499" y="3381066"/>
            <a:ext cx="2422466" cy="538115"/>
          </a:xfrm>
          <a:prstGeom prst="roundRect">
            <a:avLst/>
          </a:prstGeom>
          <a:solidFill>
            <a:schemeClr val="bg1">
              <a:alpha val="52000"/>
            </a:schemeClr>
          </a:solidFill>
          <a:ln w="12700" cap="flat" cmpd="sng" algn="ctr">
            <a:noFill/>
            <a:prstDash val="solid"/>
            <a:round/>
            <a:headEnd type="none" w="med" len="med"/>
            <a:tailEnd type="none" w="med" len="med"/>
          </a:ln>
          <a:effectLst/>
          <a:scene3d>
            <a:camera prst="orthographicFront"/>
            <a:lightRig rig="threePt" dir="t"/>
          </a:scene3d>
          <a:sp3d>
            <a:bevelT h="38100"/>
          </a:sp3d>
        </p:spPr>
        <p:txBody>
          <a:bodyPr vert="horz" wrap="none" lIns="71998" tIns="45719" rIns="71998" bIns="45719"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rPr>
              <a:t>Analytics</a:t>
            </a:r>
          </a:p>
        </p:txBody>
      </p:sp>
      <p:sp>
        <p:nvSpPr>
          <p:cNvPr id="57" name="Freeform 64"/>
          <p:cNvSpPr>
            <a:spLocks noChangeAspect="1" noEditPoints="1"/>
          </p:cNvSpPr>
          <p:nvPr/>
        </p:nvSpPr>
        <p:spPr bwMode="auto">
          <a:xfrm>
            <a:off x="9408673" y="1129980"/>
            <a:ext cx="538117" cy="737322"/>
          </a:xfrm>
          <a:custGeom>
            <a:avLst/>
            <a:gdLst>
              <a:gd name="T0" fmla="*/ 2147483647 w 300"/>
              <a:gd name="T1" fmla="*/ 2147483647 h 407"/>
              <a:gd name="T2" fmla="*/ 2147483647 w 300"/>
              <a:gd name="T3" fmla="*/ 0 h 407"/>
              <a:gd name="T4" fmla="*/ 0 w 300"/>
              <a:gd name="T5" fmla="*/ 2147483647 h 407"/>
              <a:gd name="T6" fmla="*/ 2147483647 w 300"/>
              <a:gd name="T7" fmla="*/ 2147483647 h 407"/>
              <a:gd name="T8" fmla="*/ 2147483647 w 300"/>
              <a:gd name="T9" fmla="*/ 2147483647 h 407"/>
              <a:gd name="T10" fmla="*/ 2147483647 w 300"/>
              <a:gd name="T11" fmla="*/ 2147483647 h 407"/>
              <a:gd name="T12" fmla="*/ 2147483647 w 300"/>
              <a:gd name="T13" fmla="*/ 2147483647 h 407"/>
              <a:gd name="T14" fmla="*/ 2147483647 w 300"/>
              <a:gd name="T15" fmla="*/ 2147483647 h 407"/>
              <a:gd name="T16" fmla="*/ 2147483647 w 300"/>
              <a:gd name="T17" fmla="*/ 2147483647 h 407"/>
              <a:gd name="T18" fmla="*/ 2147483647 w 300"/>
              <a:gd name="T19" fmla="*/ 2147483647 h 407"/>
              <a:gd name="T20" fmla="*/ 2147483647 w 300"/>
              <a:gd name="T21" fmla="*/ 2147483647 h 407"/>
              <a:gd name="T22" fmla="*/ 2147483647 w 300"/>
              <a:gd name="T23" fmla="*/ 2147483647 h 407"/>
              <a:gd name="T24" fmla="*/ 2147483647 w 300"/>
              <a:gd name="T25" fmla="*/ 2147483647 h 407"/>
              <a:gd name="T26" fmla="*/ 2147483647 w 300"/>
              <a:gd name="T27" fmla="*/ 2147483647 h 407"/>
              <a:gd name="T28" fmla="*/ 2147483647 w 300"/>
              <a:gd name="T29" fmla="*/ 2147483647 h 407"/>
              <a:gd name="T30" fmla="*/ 2147483647 w 300"/>
              <a:gd name="T31" fmla="*/ 2147483647 h 407"/>
              <a:gd name="T32" fmla="*/ 2147483647 w 300"/>
              <a:gd name="T33" fmla="*/ 2147483647 h 407"/>
              <a:gd name="T34" fmla="*/ 2147483647 w 300"/>
              <a:gd name="T35" fmla="*/ 2147483647 h 407"/>
              <a:gd name="T36" fmla="*/ 2147483647 w 300"/>
              <a:gd name="T37" fmla="*/ 2147483647 h 407"/>
              <a:gd name="T38" fmla="*/ 2147483647 w 300"/>
              <a:gd name="T39" fmla="*/ 2147483647 h 407"/>
              <a:gd name="T40" fmla="*/ 2147483647 w 300"/>
              <a:gd name="T41" fmla="*/ 2147483647 h 407"/>
              <a:gd name="T42" fmla="*/ 2147483647 w 300"/>
              <a:gd name="T43" fmla="*/ 2147483647 h 407"/>
              <a:gd name="T44" fmla="*/ 2147483647 w 300"/>
              <a:gd name="T45" fmla="*/ 2147483647 h 407"/>
              <a:gd name="T46" fmla="*/ 2147483647 w 300"/>
              <a:gd name="T47" fmla="*/ 2147483647 h 407"/>
              <a:gd name="T48" fmla="*/ 2147483647 w 300"/>
              <a:gd name="T49" fmla="*/ 2147483647 h 407"/>
              <a:gd name="T50" fmla="*/ 2147483647 w 300"/>
              <a:gd name="T51" fmla="*/ 2147483647 h 407"/>
              <a:gd name="T52" fmla="*/ 2147483647 w 300"/>
              <a:gd name="T53" fmla="*/ 2147483647 h 407"/>
              <a:gd name="T54" fmla="*/ 2147483647 w 300"/>
              <a:gd name="T55" fmla="*/ 2147483647 h 407"/>
              <a:gd name="T56" fmla="*/ 2147483647 w 300"/>
              <a:gd name="T57" fmla="*/ 2147483647 h 407"/>
              <a:gd name="T58" fmla="*/ 2147483647 w 300"/>
              <a:gd name="T59" fmla="*/ 2147483647 h 407"/>
              <a:gd name="T60" fmla="*/ 2147483647 w 300"/>
              <a:gd name="T61" fmla="*/ 2147483647 h 407"/>
              <a:gd name="T62" fmla="*/ 2147483647 w 300"/>
              <a:gd name="T63" fmla="*/ 2147483647 h 407"/>
              <a:gd name="T64" fmla="*/ 2147483647 w 300"/>
              <a:gd name="T65" fmla="*/ 2147483647 h 407"/>
              <a:gd name="T66" fmla="*/ 2147483647 w 300"/>
              <a:gd name="T67" fmla="*/ 2147483647 h 407"/>
              <a:gd name="T68" fmla="*/ 2147483647 w 300"/>
              <a:gd name="T69" fmla="*/ 2147483647 h 4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0" h="407">
                <a:moveTo>
                  <a:pt x="292" y="57"/>
                </a:moveTo>
                <a:cubicBezTo>
                  <a:pt x="297" y="57"/>
                  <a:pt x="300" y="54"/>
                  <a:pt x="300" y="49"/>
                </a:cubicBezTo>
                <a:cubicBezTo>
                  <a:pt x="300" y="31"/>
                  <a:pt x="300" y="31"/>
                  <a:pt x="300" y="31"/>
                </a:cubicBezTo>
                <a:cubicBezTo>
                  <a:pt x="300" y="19"/>
                  <a:pt x="292" y="0"/>
                  <a:pt x="269" y="0"/>
                </a:cubicBezTo>
                <a:cubicBezTo>
                  <a:pt x="31" y="0"/>
                  <a:pt x="31" y="0"/>
                  <a:pt x="31" y="0"/>
                </a:cubicBezTo>
                <a:cubicBezTo>
                  <a:pt x="19" y="0"/>
                  <a:pt x="0" y="8"/>
                  <a:pt x="0" y="31"/>
                </a:cubicBezTo>
                <a:cubicBezTo>
                  <a:pt x="0" y="377"/>
                  <a:pt x="0" y="377"/>
                  <a:pt x="0" y="377"/>
                </a:cubicBezTo>
                <a:cubicBezTo>
                  <a:pt x="0" y="389"/>
                  <a:pt x="8" y="407"/>
                  <a:pt x="31" y="407"/>
                </a:cubicBezTo>
                <a:cubicBezTo>
                  <a:pt x="269" y="407"/>
                  <a:pt x="269" y="407"/>
                  <a:pt x="269" y="407"/>
                </a:cubicBezTo>
                <a:cubicBezTo>
                  <a:pt x="282" y="407"/>
                  <a:pt x="300" y="399"/>
                  <a:pt x="300" y="377"/>
                </a:cubicBezTo>
                <a:cubicBezTo>
                  <a:pt x="300" y="81"/>
                  <a:pt x="300" y="81"/>
                  <a:pt x="300" y="81"/>
                </a:cubicBezTo>
                <a:cubicBezTo>
                  <a:pt x="300" y="76"/>
                  <a:pt x="297" y="73"/>
                  <a:pt x="292" y="73"/>
                </a:cubicBezTo>
                <a:cubicBezTo>
                  <a:pt x="288" y="73"/>
                  <a:pt x="284" y="76"/>
                  <a:pt x="284" y="81"/>
                </a:cubicBezTo>
                <a:cubicBezTo>
                  <a:pt x="284" y="377"/>
                  <a:pt x="284" y="377"/>
                  <a:pt x="284" y="377"/>
                </a:cubicBezTo>
                <a:cubicBezTo>
                  <a:pt x="284" y="390"/>
                  <a:pt x="273" y="391"/>
                  <a:pt x="269" y="391"/>
                </a:cubicBezTo>
                <a:cubicBezTo>
                  <a:pt x="31" y="391"/>
                  <a:pt x="31" y="391"/>
                  <a:pt x="31" y="391"/>
                </a:cubicBezTo>
                <a:cubicBezTo>
                  <a:pt x="17" y="391"/>
                  <a:pt x="16" y="380"/>
                  <a:pt x="16" y="377"/>
                </a:cubicBezTo>
                <a:cubicBezTo>
                  <a:pt x="16" y="31"/>
                  <a:pt x="16" y="31"/>
                  <a:pt x="16" y="31"/>
                </a:cubicBezTo>
                <a:cubicBezTo>
                  <a:pt x="16" y="17"/>
                  <a:pt x="28" y="16"/>
                  <a:pt x="31" y="16"/>
                </a:cubicBezTo>
                <a:cubicBezTo>
                  <a:pt x="269" y="16"/>
                  <a:pt x="269" y="16"/>
                  <a:pt x="269" y="16"/>
                </a:cubicBezTo>
                <a:cubicBezTo>
                  <a:pt x="283" y="16"/>
                  <a:pt x="284" y="28"/>
                  <a:pt x="284" y="31"/>
                </a:cubicBezTo>
                <a:cubicBezTo>
                  <a:pt x="284" y="49"/>
                  <a:pt x="284" y="49"/>
                  <a:pt x="284" y="49"/>
                </a:cubicBezTo>
                <a:cubicBezTo>
                  <a:pt x="284" y="54"/>
                  <a:pt x="288" y="57"/>
                  <a:pt x="292" y="57"/>
                </a:cubicBezTo>
                <a:close/>
                <a:moveTo>
                  <a:pt x="232" y="303"/>
                </a:moveTo>
                <a:cubicBezTo>
                  <a:pt x="68" y="303"/>
                  <a:pt x="68" y="303"/>
                  <a:pt x="68" y="303"/>
                </a:cubicBezTo>
                <a:cubicBezTo>
                  <a:pt x="64" y="303"/>
                  <a:pt x="60" y="307"/>
                  <a:pt x="60" y="311"/>
                </a:cubicBezTo>
                <a:cubicBezTo>
                  <a:pt x="60" y="315"/>
                  <a:pt x="64" y="319"/>
                  <a:pt x="68" y="319"/>
                </a:cubicBezTo>
                <a:cubicBezTo>
                  <a:pt x="232" y="319"/>
                  <a:pt x="232" y="319"/>
                  <a:pt x="232" y="319"/>
                </a:cubicBezTo>
                <a:cubicBezTo>
                  <a:pt x="236" y="319"/>
                  <a:pt x="240" y="315"/>
                  <a:pt x="240" y="311"/>
                </a:cubicBezTo>
                <a:cubicBezTo>
                  <a:pt x="240" y="307"/>
                  <a:pt x="236" y="303"/>
                  <a:pt x="232" y="303"/>
                </a:cubicBezTo>
                <a:close/>
                <a:moveTo>
                  <a:pt x="150" y="226"/>
                </a:moveTo>
                <a:cubicBezTo>
                  <a:pt x="199" y="226"/>
                  <a:pt x="240" y="185"/>
                  <a:pt x="240" y="136"/>
                </a:cubicBezTo>
                <a:cubicBezTo>
                  <a:pt x="240" y="121"/>
                  <a:pt x="236" y="107"/>
                  <a:pt x="229" y="95"/>
                </a:cubicBezTo>
                <a:cubicBezTo>
                  <a:pt x="229" y="95"/>
                  <a:pt x="229" y="95"/>
                  <a:pt x="229" y="94"/>
                </a:cubicBezTo>
                <a:cubicBezTo>
                  <a:pt x="229" y="94"/>
                  <a:pt x="229" y="94"/>
                  <a:pt x="229" y="94"/>
                </a:cubicBezTo>
                <a:cubicBezTo>
                  <a:pt x="214" y="66"/>
                  <a:pt x="184" y="47"/>
                  <a:pt x="150" y="47"/>
                </a:cubicBezTo>
                <a:cubicBezTo>
                  <a:pt x="101" y="47"/>
                  <a:pt x="61" y="87"/>
                  <a:pt x="61" y="136"/>
                </a:cubicBezTo>
                <a:cubicBezTo>
                  <a:pt x="61" y="185"/>
                  <a:pt x="101" y="226"/>
                  <a:pt x="150" y="226"/>
                </a:cubicBezTo>
                <a:close/>
                <a:moveTo>
                  <a:pt x="218" y="109"/>
                </a:moveTo>
                <a:cubicBezTo>
                  <a:pt x="222" y="118"/>
                  <a:pt x="224" y="127"/>
                  <a:pt x="224" y="136"/>
                </a:cubicBezTo>
                <a:cubicBezTo>
                  <a:pt x="224" y="148"/>
                  <a:pt x="221" y="159"/>
                  <a:pt x="216" y="169"/>
                </a:cubicBezTo>
                <a:cubicBezTo>
                  <a:pt x="167" y="137"/>
                  <a:pt x="167" y="137"/>
                  <a:pt x="167" y="137"/>
                </a:cubicBezTo>
                <a:lnTo>
                  <a:pt x="218" y="109"/>
                </a:lnTo>
                <a:close/>
                <a:moveTo>
                  <a:pt x="143" y="63"/>
                </a:moveTo>
                <a:cubicBezTo>
                  <a:pt x="143" y="136"/>
                  <a:pt x="143" y="136"/>
                  <a:pt x="143" y="136"/>
                </a:cubicBezTo>
                <a:cubicBezTo>
                  <a:pt x="143" y="136"/>
                  <a:pt x="143" y="137"/>
                  <a:pt x="143" y="137"/>
                </a:cubicBezTo>
                <a:cubicBezTo>
                  <a:pt x="143" y="137"/>
                  <a:pt x="143" y="138"/>
                  <a:pt x="143" y="138"/>
                </a:cubicBezTo>
                <a:cubicBezTo>
                  <a:pt x="144" y="138"/>
                  <a:pt x="144" y="139"/>
                  <a:pt x="144" y="139"/>
                </a:cubicBezTo>
                <a:cubicBezTo>
                  <a:pt x="144" y="139"/>
                  <a:pt x="144" y="140"/>
                  <a:pt x="144" y="140"/>
                </a:cubicBezTo>
                <a:cubicBezTo>
                  <a:pt x="144" y="140"/>
                  <a:pt x="145" y="141"/>
                  <a:pt x="145" y="141"/>
                </a:cubicBezTo>
                <a:cubicBezTo>
                  <a:pt x="145" y="141"/>
                  <a:pt x="145" y="141"/>
                  <a:pt x="145" y="142"/>
                </a:cubicBezTo>
                <a:cubicBezTo>
                  <a:pt x="146" y="142"/>
                  <a:pt x="146" y="142"/>
                  <a:pt x="146" y="142"/>
                </a:cubicBezTo>
                <a:cubicBezTo>
                  <a:pt x="146" y="142"/>
                  <a:pt x="147" y="143"/>
                  <a:pt x="147" y="143"/>
                </a:cubicBezTo>
                <a:cubicBezTo>
                  <a:pt x="207" y="183"/>
                  <a:pt x="207" y="183"/>
                  <a:pt x="207" y="183"/>
                </a:cubicBezTo>
                <a:cubicBezTo>
                  <a:pt x="193" y="199"/>
                  <a:pt x="173" y="210"/>
                  <a:pt x="150" y="210"/>
                </a:cubicBezTo>
                <a:cubicBezTo>
                  <a:pt x="110" y="210"/>
                  <a:pt x="77" y="177"/>
                  <a:pt x="77" y="136"/>
                </a:cubicBezTo>
                <a:cubicBezTo>
                  <a:pt x="77" y="98"/>
                  <a:pt x="106" y="67"/>
                  <a:pt x="143" y="63"/>
                </a:cubicBezTo>
                <a:close/>
                <a:moveTo>
                  <a:pt x="232" y="347"/>
                </a:moveTo>
                <a:cubicBezTo>
                  <a:pt x="68" y="347"/>
                  <a:pt x="68" y="347"/>
                  <a:pt x="68" y="347"/>
                </a:cubicBezTo>
                <a:cubicBezTo>
                  <a:pt x="64" y="347"/>
                  <a:pt x="60" y="351"/>
                  <a:pt x="60" y="355"/>
                </a:cubicBezTo>
                <a:cubicBezTo>
                  <a:pt x="60" y="360"/>
                  <a:pt x="64" y="363"/>
                  <a:pt x="68" y="363"/>
                </a:cubicBezTo>
                <a:cubicBezTo>
                  <a:pt x="232" y="363"/>
                  <a:pt x="232" y="363"/>
                  <a:pt x="232" y="363"/>
                </a:cubicBezTo>
                <a:cubicBezTo>
                  <a:pt x="236" y="363"/>
                  <a:pt x="240" y="360"/>
                  <a:pt x="240" y="355"/>
                </a:cubicBezTo>
                <a:cubicBezTo>
                  <a:pt x="240" y="351"/>
                  <a:pt x="236" y="347"/>
                  <a:pt x="232" y="347"/>
                </a:cubicBezTo>
                <a:close/>
                <a:moveTo>
                  <a:pt x="232" y="259"/>
                </a:moveTo>
                <a:cubicBezTo>
                  <a:pt x="68" y="259"/>
                  <a:pt x="68" y="259"/>
                  <a:pt x="68" y="259"/>
                </a:cubicBezTo>
                <a:cubicBezTo>
                  <a:pt x="64" y="259"/>
                  <a:pt x="60" y="263"/>
                  <a:pt x="60" y="267"/>
                </a:cubicBezTo>
                <a:cubicBezTo>
                  <a:pt x="60" y="272"/>
                  <a:pt x="64" y="275"/>
                  <a:pt x="68" y="275"/>
                </a:cubicBezTo>
                <a:cubicBezTo>
                  <a:pt x="232" y="275"/>
                  <a:pt x="232" y="275"/>
                  <a:pt x="232" y="275"/>
                </a:cubicBezTo>
                <a:cubicBezTo>
                  <a:pt x="236" y="275"/>
                  <a:pt x="240" y="272"/>
                  <a:pt x="240" y="267"/>
                </a:cubicBezTo>
                <a:cubicBezTo>
                  <a:pt x="240" y="263"/>
                  <a:pt x="236" y="259"/>
                  <a:pt x="232" y="259"/>
                </a:cubicBezTo>
                <a:close/>
              </a:path>
            </a:pathLst>
          </a:custGeom>
          <a:solidFill>
            <a:schemeClr val="bg1"/>
          </a:solidFill>
          <a:ln>
            <a:noFill/>
          </a:ln>
          <a:extLst/>
        </p:spPr>
        <p:txBody>
          <a:bodyPr lIns="91438" tIns="45719" rIns="91438" bIns="45719"/>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Arial" charset="0"/>
              <a:ea typeface="ＭＳ Ｐゴシック" pitchFamily="34" charset="-128"/>
              <a:cs typeface="+mn-cs"/>
            </a:endParaRPr>
          </a:p>
        </p:txBody>
      </p:sp>
      <p:cxnSp>
        <p:nvCxnSpPr>
          <p:cNvPr id="58" name="Straight Arrow Connector 57"/>
          <p:cNvCxnSpPr/>
          <p:nvPr/>
        </p:nvCxnSpPr>
        <p:spPr bwMode="auto">
          <a:xfrm flipV="1">
            <a:off x="9669086" y="1976677"/>
            <a:ext cx="0" cy="417208"/>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grpSp>
        <p:nvGrpSpPr>
          <p:cNvPr id="59" name="Group 58"/>
          <p:cNvGrpSpPr/>
          <p:nvPr/>
        </p:nvGrpSpPr>
        <p:grpSpPr>
          <a:xfrm>
            <a:off x="6074764" y="2822060"/>
            <a:ext cx="365076" cy="1683596"/>
            <a:chOff x="5625914" y="3046535"/>
            <a:chExt cx="570043" cy="2064833"/>
          </a:xfrm>
        </p:grpSpPr>
        <p:cxnSp>
          <p:nvCxnSpPr>
            <p:cNvPr id="60" name="Straight Arrow Connector 59"/>
            <p:cNvCxnSpPr/>
            <p:nvPr/>
          </p:nvCxnSpPr>
          <p:spPr bwMode="auto">
            <a:xfrm>
              <a:off x="5625914" y="3046535"/>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1" name="Straight Arrow Connector 60"/>
            <p:cNvCxnSpPr/>
            <p:nvPr/>
          </p:nvCxnSpPr>
          <p:spPr bwMode="auto">
            <a:xfrm>
              <a:off x="5625914" y="3706503"/>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2" name="Straight Arrow Connector 61"/>
            <p:cNvCxnSpPr/>
            <p:nvPr/>
          </p:nvCxnSpPr>
          <p:spPr bwMode="auto">
            <a:xfrm>
              <a:off x="5631430" y="4376563"/>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3" name="Straight Arrow Connector 62"/>
            <p:cNvCxnSpPr/>
            <p:nvPr/>
          </p:nvCxnSpPr>
          <p:spPr bwMode="auto">
            <a:xfrm>
              <a:off x="5631430" y="5111368"/>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grpSp>
      <p:sp>
        <p:nvSpPr>
          <p:cNvPr id="64" name="Rounded Rectangle 101"/>
          <p:cNvSpPr/>
          <p:nvPr/>
        </p:nvSpPr>
        <p:spPr bwMode="auto">
          <a:xfrm rot="16200000">
            <a:off x="7753096" y="3357068"/>
            <a:ext cx="2417341" cy="561207"/>
          </a:xfrm>
          <a:prstGeom prst="roundRect">
            <a:avLst/>
          </a:prstGeom>
          <a:solidFill>
            <a:schemeClr val="bg1">
              <a:alpha val="52000"/>
            </a:schemeClr>
          </a:solidFill>
          <a:ln w="12700" cap="flat" cmpd="sng" algn="ctr">
            <a:noFill/>
            <a:prstDash val="solid"/>
            <a:round/>
            <a:headEnd type="none" w="med" len="med"/>
            <a:tailEnd type="none" w="med" len="med"/>
          </a:ln>
          <a:effectLst/>
          <a:scene3d>
            <a:camera prst="orthographicFront"/>
            <a:lightRig rig="threePt" dir="t"/>
          </a:scene3d>
          <a:sp3d>
            <a:bevelT h="38100"/>
          </a:sp3d>
        </p:spPr>
        <p:txBody>
          <a:bodyPr vert="horz" wrap="none" lIns="71998" tIns="45719" rIns="71998" bIns="45719"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rPr>
              <a:t>Common provisioning</a:t>
            </a:r>
          </a:p>
        </p:txBody>
      </p:sp>
      <p:grpSp>
        <p:nvGrpSpPr>
          <p:cNvPr id="65" name="Group 64"/>
          <p:cNvGrpSpPr/>
          <p:nvPr/>
        </p:nvGrpSpPr>
        <p:grpSpPr>
          <a:xfrm rot="10800000">
            <a:off x="8264443" y="2873639"/>
            <a:ext cx="416720" cy="1683596"/>
            <a:chOff x="5625914" y="3046535"/>
            <a:chExt cx="570043" cy="2064833"/>
          </a:xfrm>
        </p:grpSpPr>
        <p:cxnSp>
          <p:nvCxnSpPr>
            <p:cNvPr id="66" name="Straight Arrow Connector 65"/>
            <p:cNvCxnSpPr/>
            <p:nvPr/>
          </p:nvCxnSpPr>
          <p:spPr bwMode="auto">
            <a:xfrm>
              <a:off x="5625914" y="3046535"/>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7" name="Straight Arrow Connector 66"/>
            <p:cNvCxnSpPr/>
            <p:nvPr/>
          </p:nvCxnSpPr>
          <p:spPr bwMode="auto">
            <a:xfrm>
              <a:off x="5625914" y="3706503"/>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8" name="Straight Arrow Connector 67"/>
            <p:cNvCxnSpPr/>
            <p:nvPr/>
          </p:nvCxnSpPr>
          <p:spPr bwMode="auto">
            <a:xfrm>
              <a:off x="5631430" y="4376563"/>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cxnSp>
          <p:nvCxnSpPr>
            <p:cNvPr id="69" name="Straight Arrow Connector 68"/>
            <p:cNvCxnSpPr/>
            <p:nvPr/>
          </p:nvCxnSpPr>
          <p:spPr bwMode="auto">
            <a:xfrm>
              <a:off x="5631430" y="5111368"/>
              <a:ext cx="564527" cy="0"/>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grpSp>
      <p:sp>
        <p:nvSpPr>
          <p:cNvPr id="70" name="AutoShape 4" descr="bpct-blend3"/>
          <p:cNvSpPr>
            <a:spLocks noChangeAspect="1" noChangeArrowheads="1"/>
          </p:cNvSpPr>
          <p:nvPr/>
        </p:nvSpPr>
        <p:spPr bwMode="auto">
          <a:xfrm>
            <a:off x="785410" y="5734485"/>
            <a:ext cx="10646405" cy="664845"/>
          </a:xfrm>
          <a:prstGeom prst="roundRect">
            <a:avLst>
              <a:gd name="adj" fmla="val 5014"/>
            </a:avLst>
          </a:prstGeom>
          <a:solidFill>
            <a:srgbClr val="9E9F9E"/>
          </a:solidFill>
          <a:ln w="38100" cap="flat" cmpd="sng" algn="ctr">
            <a:solidFill>
              <a:srgbClr val="9E9F9E"/>
            </a:solidFill>
            <a:prstDash val="solid"/>
            <a:round/>
            <a:headEnd type="none" w="med" len="med"/>
            <a:tailEnd type="none" w="med" len="med"/>
          </a:ln>
          <a:effectLst/>
          <a:ex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chemeClr val="bg1"/>
                </a:solidFill>
                <a:effectLst/>
                <a:uLnTx/>
                <a:uFillTx/>
              </a:rPr>
              <a:t>Slicing while keeping the benefits of centralized storage</a:t>
            </a:r>
          </a:p>
        </p:txBody>
      </p:sp>
    </p:spTree>
    <p:extLst>
      <p:ext uri="{BB962C8B-B14F-4D97-AF65-F5344CB8AC3E}">
        <p14:creationId xmlns:p14="http://schemas.microsoft.com/office/powerpoint/2010/main" val="322390489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derated Network Slicing</a:t>
            </a:r>
          </a:p>
        </p:txBody>
      </p:sp>
      <p:sp>
        <p:nvSpPr>
          <p:cNvPr id="4" name="Freeform 3"/>
          <p:cNvSpPr>
            <a:spLocks noChangeAspect="1" noEditPoints="1"/>
          </p:cNvSpPr>
          <p:nvPr/>
        </p:nvSpPr>
        <p:spPr bwMode="auto">
          <a:xfrm>
            <a:off x="14042231" y="2954337"/>
            <a:ext cx="509588" cy="511175"/>
          </a:xfrm>
          <a:custGeom>
            <a:avLst/>
            <a:gdLst>
              <a:gd name="T0" fmla="*/ 2147483647 w 380"/>
              <a:gd name="T1" fmla="*/ 1885896919 h 380"/>
              <a:gd name="T2" fmla="*/ 2147483647 w 380"/>
              <a:gd name="T3" fmla="*/ 1731083226 h 380"/>
              <a:gd name="T4" fmla="*/ 2147483647 w 380"/>
              <a:gd name="T5" fmla="*/ 1871821242 h 380"/>
              <a:gd name="T6" fmla="*/ 2147483647 w 380"/>
              <a:gd name="T7" fmla="*/ 1984411655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25149671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942946584 w 380"/>
              <a:gd name="T37" fmla="*/ 2147483647 h 380"/>
              <a:gd name="T38" fmla="*/ 2147483647 w 380"/>
              <a:gd name="T39" fmla="*/ 802208568 h 380"/>
              <a:gd name="T40" fmla="*/ 2147483647 w 380"/>
              <a:gd name="T41" fmla="*/ 0 h 380"/>
              <a:gd name="T42" fmla="*/ 2147483647 w 380"/>
              <a:gd name="T43" fmla="*/ 2147483647 h 380"/>
              <a:gd name="T44" fmla="*/ 2147483647 w 380"/>
              <a:gd name="T45" fmla="*/ 1477754797 h 380"/>
              <a:gd name="T46" fmla="*/ 2147483647 w 380"/>
              <a:gd name="T47" fmla="*/ 1365164384 h 380"/>
              <a:gd name="T48" fmla="*/ 2147483647 w 380"/>
              <a:gd name="T49" fmla="*/ 1294793500 h 380"/>
              <a:gd name="T50" fmla="*/ 2147483647 w 380"/>
              <a:gd name="T51" fmla="*/ 1055536997 h 380"/>
              <a:gd name="T52" fmla="*/ 2147483647 w 380"/>
              <a:gd name="T53" fmla="*/ 957022261 h 380"/>
              <a:gd name="T54" fmla="*/ 2147483647 w 380"/>
              <a:gd name="T55" fmla="*/ 802208568 h 380"/>
              <a:gd name="T56" fmla="*/ 2147483647 w 380"/>
              <a:gd name="T57" fmla="*/ 957022261 h 380"/>
              <a:gd name="T58" fmla="*/ 2147483647 w 380"/>
              <a:gd name="T59" fmla="*/ 1055536997 h 380"/>
              <a:gd name="T60" fmla="*/ 2147483647 w 380"/>
              <a:gd name="T61" fmla="*/ 1294793500 h 380"/>
              <a:gd name="T62" fmla="*/ 2147483647 w 380"/>
              <a:gd name="T63" fmla="*/ 1393311987 h 380"/>
              <a:gd name="T64" fmla="*/ 2147483647 w 380"/>
              <a:gd name="T65" fmla="*/ 1041465071 h 380"/>
              <a:gd name="T66" fmla="*/ 2068854464 w 380"/>
              <a:gd name="T67" fmla="*/ 2147483647 h 380"/>
              <a:gd name="T68" fmla="*/ 2097002067 w 380"/>
              <a:gd name="T69" fmla="*/ 2147483647 h 380"/>
              <a:gd name="T70" fmla="*/ 1914044522 w 380"/>
              <a:gd name="T71" fmla="*/ 2147483647 h 380"/>
              <a:gd name="T72" fmla="*/ 1562197606 w 380"/>
              <a:gd name="T73" fmla="*/ 2147483647 h 380"/>
              <a:gd name="T74" fmla="*/ 1365164384 w 380"/>
              <a:gd name="T75" fmla="*/ 2147483647 h 380"/>
              <a:gd name="T76" fmla="*/ 1252573971 w 380"/>
              <a:gd name="T77" fmla="*/ 2147483647 h 380"/>
              <a:gd name="T78" fmla="*/ 1308869177 w 380"/>
              <a:gd name="T79" fmla="*/ 2147483647 h 380"/>
              <a:gd name="T80" fmla="*/ 1477754797 w 380"/>
              <a:gd name="T81" fmla="*/ 2147483647 h 380"/>
              <a:gd name="T82" fmla="*/ 1829601713 w 380"/>
              <a:gd name="T83" fmla="*/ 2147483647 h 380"/>
              <a:gd name="T84" fmla="*/ 1970339729 w 380"/>
              <a:gd name="T85" fmla="*/ 2147483647 h 380"/>
              <a:gd name="T86" fmla="*/ 1519974326 w 380"/>
              <a:gd name="T87" fmla="*/ 2147483647 h 380"/>
              <a:gd name="T88" fmla="*/ 2147483647 w 380"/>
              <a:gd name="T89" fmla="*/ 2147483647 h 380"/>
              <a:gd name="T90" fmla="*/ 2147483647 w 380"/>
              <a:gd name="T91" fmla="*/ 2125149671 h 380"/>
              <a:gd name="T92" fmla="*/ 2147483647 w 380"/>
              <a:gd name="T93" fmla="*/ 1815526035 h 380"/>
              <a:gd name="T94" fmla="*/ 2147483647 w 380"/>
              <a:gd name="T95" fmla="*/ 1294793500 h 380"/>
              <a:gd name="T96" fmla="*/ 2125149671 w 380"/>
              <a:gd name="T97" fmla="*/ 1097760277 h 380"/>
              <a:gd name="T98" fmla="*/ 1815526035 w 380"/>
              <a:gd name="T99" fmla="*/ 1013317468 h 380"/>
              <a:gd name="T100" fmla="*/ 1407383913 w 380"/>
              <a:gd name="T101" fmla="*/ 1196278764 h 380"/>
              <a:gd name="T102" fmla="*/ 1238498293 w 380"/>
              <a:gd name="T103" fmla="*/ 1463679119 h 380"/>
              <a:gd name="T104" fmla="*/ 928874658 w 380"/>
              <a:gd name="T105" fmla="*/ 2040706861 h 380"/>
              <a:gd name="T106" fmla="*/ 1252573971 w 380"/>
              <a:gd name="T107" fmla="*/ 2147483647 h 380"/>
              <a:gd name="T108" fmla="*/ 1407383913 w 380"/>
              <a:gd name="T109" fmla="*/ 2147483647 h 380"/>
              <a:gd name="T110" fmla="*/ 1519974326 w 380"/>
              <a:gd name="T111" fmla="*/ 2147483647 h 380"/>
              <a:gd name="T112" fmla="*/ 1899968845 w 380"/>
              <a:gd name="T113" fmla="*/ 2147483647 h 380"/>
              <a:gd name="T114" fmla="*/ 2147483647 w 380"/>
              <a:gd name="T115" fmla="*/ 2147483647 h 380"/>
              <a:gd name="T116" fmla="*/ 2147483647 w 380"/>
              <a:gd name="T117" fmla="*/ 2147483647 h 380"/>
              <a:gd name="T118" fmla="*/ 2147483647 w 380"/>
              <a:gd name="T119" fmla="*/ 2147483647 h 380"/>
              <a:gd name="T120" fmla="*/ 1351088706 w 380"/>
              <a:gd name="T121" fmla="*/ 2147483647 h 380"/>
              <a:gd name="T122" fmla="*/ 2147483647 w 380"/>
              <a:gd name="T123" fmla="*/ 1702935622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0" h="380">
                <a:moveTo>
                  <a:pt x="310" y="136"/>
                </a:moveTo>
                <a:cubicBezTo>
                  <a:pt x="309" y="134"/>
                  <a:pt x="309" y="134"/>
                  <a:pt x="309" y="134"/>
                </a:cubicBezTo>
                <a:cubicBezTo>
                  <a:pt x="308" y="132"/>
                  <a:pt x="306" y="132"/>
                  <a:pt x="304" y="133"/>
                </a:cubicBezTo>
                <a:cubicBezTo>
                  <a:pt x="302" y="134"/>
                  <a:pt x="302" y="134"/>
                  <a:pt x="302" y="134"/>
                </a:cubicBezTo>
                <a:cubicBezTo>
                  <a:pt x="300" y="132"/>
                  <a:pt x="297" y="130"/>
                  <a:pt x="294" y="129"/>
                </a:cubicBezTo>
                <a:cubicBezTo>
                  <a:pt x="294" y="126"/>
                  <a:pt x="294" y="126"/>
                  <a:pt x="294" y="126"/>
                </a:cubicBezTo>
                <a:cubicBezTo>
                  <a:pt x="294" y="124"/>
                  <a:pt x="292" y="123"/>
                  <a:pt x="290" y="123"/>
                </a:cubicBezTo>
                <a:cubicBezTo>
                  <a:pt x="288" y="123"/>
                  <a:pt x="288" y="123"/>
                  <a:pt x="288" y="123"/>
                </a:cubicBezTo>
                <a:cubicBezTo>
                  <a:pt x="286" y="123"/>
                  <a:pt x="284" y="124"/>
                  <a:pt x="284" y="126"/>
                </a:cubicBezTo>
                <a:cubicBezTo>
                  <a:pt x="284" y="129"/>
                  <a:pt x="284" y="129"/>
                  <a:pt x="284" y="129"/>
                </a:cubicBezTo>
                <a:cubicBezTo>
                  <a:pt x="282" y="129"/>
                  <a:pt x="281" y="130"/>
                  <a:pt x="279" y="130"/>
                </a:cubicBezTo>
                <a:cubicBezTo>
                  <a:pt x="278" y="131"/>
                  <a:pt x="277" y="132"/>
                  <a:pt x="275" y="133"/>
                </a:cubicBezTo>
                <a:cubicBezTo>
                  <a:pt x="273" y="132"/>
                  <a:pt x="273" y="132"/>
                  <a:pt x="273" y="132"/>
                </a:cubicBezTo>
                <a:cubicBezTo>
                  <a:pt x="272" y="131"/>
                  <a:pt x="269" y="132"/>
                  <a:pt x="268" y="133"/>
                </a:cubicBezTo>
                <a:cubicBezTo>
                  <a:pt x="267" y="135"/>
                  <a:pt x="267" y="135"/>
                  <a:pt x="267" y="135"/>
                </a:cubicBezTo>
                <a:cubicBezTo>
                  <a:pt x="266" y="137"/>
                  <a:pt x="266" y="140"/>
                  <a:pt x="268" y="141"/>
                </a:cubicBezTo>
                <a:cubicBezTo>
                  <a:pt x="270" y="142"/>
                  <a:pt x="270" y="142"/>
                  <a:pt x="270" y="142"/>
                </a:cubicBezTo>
                <a:cubicBezTo>
                  <a:pt x="270" y="145"/>
                  <a:pt x="269" y="148"/>
                  <a:pt x="270" y="151"/>
                </a:cubicBezTo>
                <a:cubicBezTo>
                  <a:pt x="268" y="153"/>
                  <a:pt x="268" y="153"/>
                  <a:pt x="268" y="153"/>
                </a:cubicBezTo>
                <a:cubicBezTo>
                  <a:pt x="266" y="154"/>
                  <a:pt x="266" y="156"/>
                  <a:pt x="267" y="158"/>
                </a:cubicBezTo>
                <a:cubicBezTo>
                  <a:pt x="267" y="159"/>
                  <a:pt x="267" y="159"/>
                  <a:pt x="267" y="159"/>
                </a:cubicBezTo>
                <a:cubicBezTo>
                  <a:pt x="268" y="161"/>
                  <a:pt x="271" y="162"/>
                  <a:pt x="272" y="161"/>
                </a:cubicBezTo>
                <a:cubicBezTo>
                  <a:pt x="275" y="159"/>
                  <a:pt x="275" y="159"/>
                  <a:pt x="275" y="159"/>
                </a:cubicBezTo>
                <a:cubicBezTo>
                  <a:pt x="277" y="162"/>
                  <a:pt x="280" y="163"/>
                  <a:pt x="283" y="164"/>
                </a:cubicBezTo>
                <a:cubicBezTo>
                  <a:pt x="283" y="167"/>
                  <a:pt x="283" y="167"/>
                  <a:pt x="283" y="167"/>
                </a:cubicBezTo>
                <a:cubicBezTo>
                  <a:pt x="283" y="169"/>
                  <a:pt x="284" y="170"/>
                  <a:pt x="286" y="171"/>
                </a:cubicBezTo>
                <a:cubicBezTo>
                  <a:pt x="289" y="171"/>
                  <a:pt x="289" y="171"/>
                  <a:pt x="289" y="171"/>
                </a:cubicBezTo>
                <a:cubicBezTo>
                  <a:pt x="291" y="171"/>
                  <a:pt x="293" y="169"/>
                  <a:pt x="293" y="167"/>
                </a:cubicBezTo>
                <a:cubicBezTo>
                  <a:pt x="293" y="165"/>
                  <a:pt x="293" y="165"/>
                  <a:pt x="293" y="165"/>
                </a:cubicBezTo>
                <a:cubicBezTo>
                  <a:pt x="294" y="164"/>
                  <a:pt x="296" y="164"/>
                  <a:pt x="297" y="163"/>
                </a:cubicBezTo>
                <a:cubicBezTo>
                  <a:pt x="299" y="162"/>
                  <a:pt x="300" y="161"/>
                  <a:pt x="301" y="160"/>
                </a:cubicBezTo>
                <a:cubicBezTo>
                  <a:pt x="303" y="161"/>
                  <a:pt x="303" y="161"/>
                  <a:pt x="303" y="161"/>
                </a:cubicBezTo>
                <a:cubicBezTo>
                  <a:pt x="305" y="162"/>
                  <a:pt x="307" y="162"/>
                  <a:pt x="308" y="160"/>
                </a:cubicBezTo>
                <a:cubicBezTo>
                  <a:pt x="309" y="158"/>
                  <a:pt x="309" y="158"/>
                  <a:pt x="309" y="158"/>
                </a:cubicBezTo>
                <a:cubicBezTo>
                  <a:pt x="311" y="156"/>
                  <a:pt x="310" y="154"/>
                  <a:pt x="308" y="153"/>
                </a:cubicBezTo>
                <a:cubicBezTo>
                  <a:pt x="306" y="151"/>
                  <a:pt x="306" y="151"/>
                  <a:pt x="306" y="151"/>
                </a:cubicBezTo>
                <a:cubicBezTo>
                  <a:pt x="307" y="148"/>
                  <a:pt x="307" y="145"/>
                  <a:pt x="306" y="142"/>
                </a:cubicBezTo>
                <a:cubicBezTo>
                  <a:pt x="308" y="141"/>
                  <a:pt x="308" y="141"/>
                  <a:pt x="308" y="141"/>
                </a:cubicBezTo>
                <a:cubicBezTo>
                  <a:pt x="310" y="140"/>
                  <a:pt x="311" y="137"/>
                  <a:pt x="310" y="136"/>
                </a:cubicBezTo>
                <a:close/>
                <a:moveTo>
                  <a:pt x="296" y="153"/>
                </a:moveTo>
                <a:cubicBezTo>
                  <a:pt x="293" y="158"/>
                  <a:pt x="286" y="158"/>
                  <a:pt x="281" y="155"/>
                </a:cubicBezTo>
                <a:cubicBezTo>
                  <a:pt x="277" y="151"/>
                  <a:pt x="276" y="144"/>
                  <a:pt x="280" y="140"/>
                </a:cubicBezTo>
                <a:cubicBezTo>
                  <a:pt x="284" y="135"/>
                  <a:pt x="291" y="135"/>
                  <a:pt x="295" y="138"/>
                </a:cubicBezTo>
                <a:cubicBezTo>
                  <a:pt x="300" y="142"/>
                  <a:pt x="300" y="149"/>
                  <a:pt x="296" y="153"/>
                </a:cubicBezTo>
                <a:close/>
                <a:moveTo>
                  <a:pt x="336" y="68"/>
                </a:moveTo>
                <a:cubicBezTo>
                  <a:pt x="333" y="65"/>
                  <a:pt x="328" y="64"/>
                  <a:pt x="325" y="67"/>
                </a:cubicBezTo>
                <a:cubicBezTo>
                  <a:pt x="321" y="70"/>
                  <a:pt x="321" y="75"/>
                  <a:pt x="324" y="78"/>
                </a:cubicBezTo>
                <a:cubicBezTo>
                  <a:pt x="349" y="108"/>
                  <a:pt x="364" y="147"/>
                  <a:pt x="364" y="190"/>
                </a:cubicBezTo>
                <a:cubicBezTo>
                  <a:pt x="364" y="225"/>
                  <a:pt x="353" y="259"/>
                  <a:pt x="335" y="286"/>
                </a:cubicBezTo>
                <a:cubicBezTo>
                  <a:pt x="333" y="288"/>
                  <a:pt x="329" y="289"/>
                  <a:pt x="326" y="285"/>
                </a:cubicBezTo>
                <a:cubicBezTo>
                  <a:pt x="299" y="258"/>
                  <a:pt x="299" y="258"/>
                  <a:pt x="299" y="258"/>
                </a:cubicBezTo>
                <a:cubicBezTo>
                  <a:pt x="296" y="255"/>
                  <a:pt x="296" y="251"/>
                  <a:pt x="296" y="251"/>
                </a:cubicBezTo>
                <a:cubicBezTo>
                  <a:pt x="302" y="229"/>
                  <a:pt x="302" y="229"/>
                  <a:pt x="302" y="229"/>
                </a:cubicBezTo>
                <a:cubicBezTo>
                  <a:pt x="303" y="226"/>
                  <a:pt x="302" y="224"/>
                  <a:pt x="301" y="222"/>
                </a:cubicBezTo>
                <a:cubicBezTo>
                  <a:pt x="259" y="181"/>
                  <a:pt x="259" y="181"/>
                  <a:pt x="259" y="181"/>
                </a:cubicBezTo>
                <a:cubicBezTo>
                  <a:pt x="258" y="179"/>
                  <a:pt x="255" y="178"/>
                  <a:pt x="253" y="179"/>
                </a:cubicBezTo>
                <a:cubicBezTo>
                  <a:pt x="233" y="184"/>
                  <a:pt x="233" y="184"/>
                  <a:pt x="233" y="184"/>
                </a:cubicBezTo>
                <a:cubicBezTo>
                  <a:pt x="233" y="184"/>
                  <a:pt x="226" y="186"/>
                  <a:pt x="231" y="191"/>
                </a:cubicBezTo>
                <a:cubicBezTo>
                  <a:pt x="237" y="196"/>
                  <a:pt x="258" y="218"/>
                  <a:pt x="258" y="218"/>
                </a:cubicBezTo>
                <a:cubicBezTo>
                  <a:pt x="259" y="219"/>
                  <a:pt x="260" y="220"/>
                  <a:pt x="259" y="221"/>
                </a:cubicBezTo>
                <a:cubicBezTo>
                  <a:pt x="251" y="251"/>
                  <a:pt x="251" y="251"/>
                  <a:pt x="251" y="251"/>
                </a:cubicBezTo>
                <a:cubicBezTo>
                  <a:pt x="251" y="252"/>
                  <a:pt x="250" y="253"/>
                  <a:pt x="249" y="254"/>
                </a:cubicBezTo>
                <a:cubicBezTo>
                  <a:pt x="219" y="262"/>
                  <a:pt x="219" y="262"/>
                  <a:pt x="219" y="262"/>
                </a:cubicBezTo>
                <a:cubicBezTo>
                  <a:pt x="217" y="262"/>
                  <a:pt x="216" y="262"/>
                  <a:pt x="215" y="261"/>
                </a:cubicBezTo>
                <a:cubicBezTo>
                  <a:pt x="215" y="261"/>
                  <a:pt x="193" y="239"/>
                  <a:pt x="188" y="234"/>
                </a:cubicBezTo>
                <a:cubicBezTo>
                  <a:pt x="183" y="229"/>
                  <a:pt x="182" y="236"/>
                  <a:pt x="182" y="236"/>
                </a:cubicBezTo>
                <a:cubicBezTo>
                  <a:pt x="176" y="255"/>
                  <a:pt x="176" y="255"/>
                  <a:pt x="176" y="255"/>
                </a:cubicBezTo>
                <a:cubicBezTo>
                  <a:pt x="176" y="258"/>
                  <a:pt x="176" y="260"/>
                  <a:pt x="178" y="262"/>
                </a:cubicBezTo>
                <a:cubicBezTo>
                  <a:pt x="219" y="303"/>
                  <a:pt x="219" y="303"/>
                  <a:pt x="219" y="303"/>
                </a:cubicBezTo>
                <a:cubicBezTo>
                  <a:pt x="221" y="305"/>
                  <a:pt x="224" y="306"/>
                  <a:pt x="226" y="305"/>
                </a:cubicBezTo>
                <a:cubicBezTo>
                  <a:pt x="248" y="299"/>
                  <a:pt x="248" y="299"/>
                  <a:pt x="248" y="299"/>
                </a:cubicBezTo>
                <a:cubicBezTo>
                  <a:pt x="249" y="299"/>
                  <a:pt x="252" y="298"/>
                  <a:pt x="255" y="301"/>
                </a:cubicBezTo>
                <a:cubicBezTo>
                  <a:pt x="282" y="328"/>
                  <a:pt x="282" y="328"/>
                  <a:pt x="282" y="328"/>
                </a:cubicBezTo>
                <a:cubicBezTo>
                  <a:pt x="286" y="332"/>
                  <a:pt x="285" y="335"/>
                  <a:pt x="282" y="337"/>
                </a:cubicBezTo>
                <a:cubicBezTo>
                  <a:pt x="255" y="354"/>
                  <a:pt x="224" y="364"/>
                  <a:pt x="190" y="364"/>
                </a:cubicBezTo>
                <a:cubicBezTo>
                  <a:pt x="142" y="364"/>
                  <a:pt x="99" y="344"/>
                  <a:pt x="67" y="313"/>
                </a:cubicBezTo>
                <a:cubicBezTo>
                  <a:pt x="36" y="281"/>
                  <a:pt x="16" y="238"/>
                  <a:pt x="16" y="190"/>
                </a:cubicBezTo>
                <a:cubicBezTo>
                  <a:pt x="16" y="142"/>
                  <a:pt x="36" y="98"/>
                  <a:pt x="67" y="67"/>
                </a:cubicBezTo>
                <a:cubicBezTo>
                  <a:pt x="99" y="35"/>
                  <a:pt x="142" y="16"/>
                  <a:pt x="190" y="16"/>
                </a:cubicBezTo>
                <a:cubicBezTo>
                  <a:pt x="233" y="16"/>
                  <a:pt x="272" y="31"/>
                  <a:pt x="302" y="57"/>
                </a:cubicBezTo>
                <a:cubicBezTo>
                  <a:pt x="305" y="59"/>
                  <a:pt x="310" y="59"/>
                  <a:pt x="313" y="56"/>
                </a:cubicBezTo>
                <a:cubicBezTo>
                  <a:pt x="316" y="52"/>
                  <a:pt x="316" y="47"/>
                  <a:pt x="312" y="44"/>
                </a:cubicBezTo>
                <a:cubicBezTo>
                  <a:pt x="312" y="44"/>
                  <a:pt x="312" y="44"/>
                  <a:pt x="312" y="44"/>
                </a:cubicBezTo>
                <a:cubicBezTo>
                  <a:pt x="279" y="17"/>
                  <a:pt x="237" y="0"/>
                  <a:pt x="190" y="0"/>
                </a:cubicBezTo>
                <a:cubicBezTo>
                  <a:pt x="85" y="0"/>
                  <a:pt x="0" y="85"/>
                  <a:pt x="0" y="190"/>
                </a:cubicBezTo>
                <a:cubicBezTo>
                  <a:pt x="0" y="295"/>
                  <a:pt x="85" y="380"/>
                  <a:pt x="190" y="380"/>
                </a:cubicBezTo>
                <a:cubicBezTo>
                  <a:pt x="224" y="380"/>
                  <a:pt x="255" y="371"/>
                  <a:pt x="282" y="356"/>
                </a:cubicBezTo>
                <a:cubicBezTo>
                  <a:pt x="283" y="356"/>
                  <a:pt x="283" y="356"/>
                  <a:pt x="283" y="356"/>
                </a:cubicBezTo>
                <a:cubicBezTo>
                  <a:pt x="284" y="355"/>
                  <a:pt x="284" y="355"/>
                  <a:pt x="284" y="355"/>
                </a:cubicBezTo>
                <a:cubicBezTo>
                  <a:pt x="341" y="322"/>
                  <a:pt x="380" y="261"/>
                  <a:pt x="380" y="190"/>
                </a:cubicBezTo>
                <a:cubicBezTo>
                  <a:pt x="380" y="143"/>
                  <a:pt x="363" y="101"/>
                  <a:pt x="336" y="68"/>
                </a:cubicBezTo>
                <a:close/>
                <a:moveTo>
                  <a:pt x="247" y="105"/>
                </a:moveTo>
                <a:cubicBezTo>
                  <a:pt x="250" y="105"/>
                  <a:pt x="250" y="105"/>
                  <a:pt x="250" y="105"/>
                </a:cubicBezTo>
                <a:cubicBezTo>
                  <a:pt x="252" y="105"/>
                  <a:pt x="254" y="103"/>
                  <a:pt x="254" y="101"/>
                </a:cubicBezTo>
                <a:cubicBezTo>
                  <a:pt x="254" y="99"/>
                  <a:pt x="254" y="99"/>
                  <a:pt x="254" y="99"/>
                </a:cubicBezTo>
                <a:cubicBezTo>
                  <a:pt x="255" y="99"/>
                  <a:pt x="257" y="98"/>
                  <a:pt x="258" y="97"/>
                </a:cubicBezTo>
                <a:cubicBezTo>
                  <a:pt x="260" y="96"/>
                  <a:pt x="261" y="95"/>
                  <a:pt x="262" y="94"/>
                </a:cubicBezTo>
                <a:cubicBezTo>
                  <a:pt x="264" y="95"/>
                  <a:pt x="264" y="95"/>
                  <a:pt x="264" y="95"/>
                </a:cubicBezTo>
                <a:cubicBezTo>
                  <a:pt x="266" y="96"/>
                  <a:pt x="268" y="96"/>
                  <a:pt x="269" y="94"/>
                </a:cubicBezTo>
                <a:cubicBezTo>
                  <a:pt x="271" y="92"/>
                  <a:pt x="271" y="92"/>
                  <a:pt x="271" y="92"/>
                </a:cubicBezTo>
                <a:cubicBezTo>
                  <a:pt x="272" y="90"/>
                  <a:pt x="271" y="88"/>
                  <a:pt x="269" y="87"/>
                </a:cubicBezTo>
                <a:cubicBezTo>
                  <a:pt x="267" y="86"/>
                  <a:pt x="267" y="86"/>
                  <a:pt x="267" y="86"/>
                </a:cubicBezTo>
                <a:cubicBezTo>
                  <a:pt x="268" y="83"/>
                  <a:pt x="268" y="79"/>
                  <a:pt x="267" y="76"/>
                </a:cubicBezTo>
                <a:cubicBezTo>
                  <a:pt x="270" y="75"/>
                  <a:pt x="270" y="75"/>
                  <a:pt x="270" y="75"/>
                </a:cubicBezTo>
                <a:cubicBezTo>
                  <a:pt x="271" y="74"/>
                  <a:pt x="272" y="72"/>
                  <a:pt x="271" y="70"/>
                </a:cubicBezTo>
                <a:cubicBezTo>
                  <a:pt x="270" y="68"/>
                  <a:pt x="270" y="68"/>
                  <a:pt x="270" y="68"/>
                </a:cubicBezTo>
                <a:cubicBezTo>
                  <a:pt x="269" y="67"/>
                  <a:pt x="267" y="66"/>
                  <a:pt x="265" y="67"/>
                </a:cubicBezTo>
                <a:cubicBezTo>
                  <a:pt x="263" y="68"/>
                  <a:pt x="263" y="68"/>
                  <a:pt x="263" y="68"/>
                </a:cubicBezTo>
                <a:cubicBezTo>
                  <a:pt x="261" y="66"/>
                  <a:pt x="258" y="64"/>
                  <a:pt x="255" y="63"/>
                </a:cubicBezTo>
                <a:cubicBezTo>
                  <a:pt x="255" y="61"/>
                  <a:pt x="255" y="61"/>
                  <a:pt x="255" y="61"/>
                </a:cubicBezTo>
                <a:cubicBezTo>
                  <a:pt x="255" y="59"/>
                  <a:pt x="253" y="57"/>
                  <a:pt x="251" y="57"/>
                </a:cubicBezTo>
                <a:cubicBezTo>
                  <a:pt x="249" y="57"/>
                  <a:pt x="249" y="57"/>
                  <a:pt x="249" y="57"/>
                </a:cubicBezTo>
                <a:cubicBezTo>
                  <a:pt x="247" y="57"/>
                  <a:pt x="245" y="58"/>
                  <a:pt x="245" y="61"/>
                </a:cubicBezTo>
                <a:cubicBezTo>
                  <a:pt x="245" y="63"/>
                  <a:pt x="245" y="63"/>
                  <a:pt x="245" y="63"/>
                </a:cubicBezTo>
                <a:cubicBezTo>
                  <a:pt x="243" y="63"/>
                  <a:pt x="242" y="64"/>
                  <a:pt x="240" y="65"/>
                </a:cubicBezTo>
                <a:cubicBezTo>
                  <a:pt x="239" y="65"/>
                  <a:pt x="238" y="66"/>
                  <a:pt x="236" y="68"/>
                </a:cubicBezTo>
                <a:cubicBezTo>
                  <a:pt x="235" y="66"/>
                  <a:pt x="235" y="66"/>
                  <a:pt x="235" y="66"/>
                </a:cubicBezTo>
                <a:cubicBezTo>
                  <a:pt x="233" y="65"/>
                  <a:pt x="230" y="66"/>
                  <a:pt x="229" y="68"/>
                </a:cubicBezTo>
                <a:cubicBezTo>
                  <a:pt x="228" y="70"/>
                  <a:pt x="228" y="70"/>
                  <a:pt x="228" y="70"/>
                </a:cubicBezTo>
                <a:cubicBezTo>
                  <a:pt x="227" y="71"/>
                  <a:pt x="228" y="74"/>
                  <a:pt x="229" y="75"/>
                </a:cubicBezTo>
                <a:cubicBezTo>
                  <a:pt x="231" y="76"/>
                  <a:pt x="231" y="76"/>
                  <a:pt x="231" y="76"/>
                </a:cubicBezTo>
                <a:cubicBezTo>
                  <a:pt x="231" y="79"/>
                  <a:pt x="231" y="82"/>
                  <a:pt x="231" y="86"/>
                </a:cubicBezTo>
                <a:cubicBezTo>
                  <a:pt x="229" y="87"/>
                  <a:pt x="229" y="87"/>
                  <a:pt x="229" y="87"/>
                </a:cubicBezTo>
                <a:cubicBezTo>
                  <a:pt x="227" y="88"/>
                  <a:pt x="227" y="90"/>
                  <a:pt x="228" y="92"/>
                </a:cubicBezTo>
                <a:cubicBezTo>
                  <a:pt x="228" y="93"/>
                  <a:pt x="228" y="93"/>
                  <a:pt x="228" y="93"/>
                </a:cubicBezTo>
                <a:cubicBezTo>
                  <a:pt x="229" y="95"/>
                  <a:pt x="232" y="96"/>
                  <a:pt x="234" y="95"/>
                </a:cubicBezTo>
                <a:cubicBezTo>
                  <a:pt x="236" y="94"/>
                  <a:pt x="236" y="94"/>
                  <a:pt x="236" y="94"/>
                </a:cubicBezTo>
                <a:cubicBezTo>
                  <a:pt x="238" y="96"/>
                  <a:pt x="241" y="98"/>
                  <a:pt x="244" y="99"/>
                </a:cubicBezTo>
                <a:cubicBezTo>
                  <a:pt x="244" y="101"/>
                  <a:pt x="244" y="101"/>
                  <a:pt x="244" y="101"/>
                </a:cubicBezTo>
                <a:cubicBezTo>
                  <a:pt x="244" y="103"/>
                  <a:pt x="245" y="105"/>
                  <a:pt x="247" y="105"/>
                </a:cubicBezTo>
                <a:close/>
                <a:moveTo>
                  <a:pt x="243" y="89"/>
                </a:moveTo>
                <a:cubicBezTo>
                  <a:pt x="238" y="85"/>
                  <a:pt x="237" y="78"/>
                  <a:pt x="241" y="74"/>
                </a:cubicBezTo>
                <a:cubicBezTo>
                  <a:pt x="245" y="70"/>
                  <a:pt x="252" y="69"/>
                  <a:pt x="256" y="73"/>
                </a:cubicBezTo>
                <a:cubicBezTo>
                  <a:pt x="261" y="77"/>
                  <a:pt x="261" y="83"/>
                  <a:pt x="257" y="88"/>
                </a:cubicBezTo>
                <a:cubicBezTo>
                  <a:pt x="254" y="92"/>
                  <a:pt x="247" y="93"/>
                  <a:pt x="243" y="89"/>
                </a:cubicBezTo>
                <a:close/>
                <a:moveTo>
                  <a:pt x="147" y="283"/>
                </a:moveTo>
                <a:cubicBezTo>
                  <a:pt x="150" y="283"/>
                  <a:pt x="150" y="283"/>
                  <a:pt x="150" y="283"/>
                </a:cubicBezTo>
                <a:cubicBezTo>
                  <a:pt x="153" y="282"/>
                  <a:pt x="155" y="280"/>
                  <a:pt x="155" y="277"/>
                </a:cubicBezTo>
                <a:cubicBezTo>
                  <a:pt x="155" y="273"/>
                  <a:pt x="155" y="273"/>
                  <a:pt x="155" y="273"/>
                </a:cubicBezTo>
                <a:cubicBezTo>
                  <a:pt x="155" y="270"/>
                  <a:pt x="152" y="268"/>
                  <a:pt x="149" y="268"/>
                </a:cubicBezTo>
                <a:cubicBezTo>
                  <a:pt x="145" y="268"/>
                  <a:pt x="145" y="268"/>
                  <a:pt x="145" y="268"/>
                </a:cubicBezTo>
                <a:cubicBezTo>
                  <a:pt x="144" y="264"/>
                  <a:pt x="141" y="260"/>
                  <a:pt x="137" y="256"/>
                </a:cubicBezTo>
                <a:cubicBezTo>
                  <a:pt x="139" y="253"/>
                  <a:pt x="139" y="253"/>
                  <a:pt x="139" y="253"/>
                </a:cubicBezTo>
                <a:cubicBezTo>
                  <a:pt x="140" y="250"/>
                  <a:pt x="139" y="247"/>
                  <a:pt x="136" y="246"/>
                </a:cubicBezTo>
                <a:cubicBezTo>
                  <a:pt x="134" y="245"/>
                  <a:pt x="134" y="245"/>
                  <a:pt x="134" y="245"/>
                </a:cubicBezTo>
                <a:cubicBezTo>
                  <a:pt x="131" y="243"/>
                  <a:pt x="128" y="244"/>
                  <a:pt x="127" y="247"/>
                </a:cubicBezTo>
                <a:cubicBezTo>
                  <a:pt x="125" y="251"/>
                  <a:pt x="125" y="251"/>
                  <a:pt x="125" y="251"/>
                </a:cubicBezTo>
                <a:cubicBezTo>
                  <a:pt x="120" y="250"/>
                  <a:pt x="115" y="250"/>
                  <a:pt x="111" y="251"/>
                </a:cubicBezTo>
                <a:cubicBezTo>
                  <a:pt x="109" y="248"/>
                  <a:pt x="109" y="248"/>
                  <a:pt x="109" y="248"/>
                </a:cubicBezTo>
                <a:cubicBezTo>
                  <a:pt x="107" y="246"/>
                  <a:pt x="104" y="245"/>
                  <a:pt x="101" y="247"/>
                </a:cubicBezTo>
                <a:cubicBezTo>
                  <a:pt x="98" y="249"/>
                  <a:pt x="98" y="249"/>
                  <a:pt x="98" y="249"/>
                </a:cubicBezTo>
                <a:cubicBezTo>
                  <a:pt x="95" y="251"/>
                  <a:pt x="95" y="254"/>
                  <a:pt x="97" y="257"/>
                </a:cubicBezTo>
                <a:cubicBezTo>
                  <a:pt x="98" y="260"/>
                  <a:pt x="98" y="260"/>
                  <a:pt x="98" y="260"/>
                </a:cubicBezTo>
                <a:cubicBezTo>
                  <a:pt x="97" y="261"/>
                  <a:pt x="96" y="263"/>
                  <a:pt x="94" y="266"/>
                </a:cubicBezTo>
                <a:cubicBezTo>
                  <a:pt x="93" y="268"/>
                  <a:pt x="93" y="270"/>
                  <a:pt x="92" y="273"/>
                </a:cubicBezTo>
                <a:cubicBezTo>
                  <a:pt x="89" y="273"/>
                  <a:pt x="89" y="273"/>
                  <a:pt x="89" y="273"/>
                </a:cubicBezTo>
                <a:cubicBezTo>
                  <a:pt x="86" y="273"/>
                  <a:pt x="83" y="276"/>
                  <a:pt x="84" y="279"/>
                </a:cubicBezTo>
                <a:cubicBezTo>
                  <a:pt x="84" y="282"/>
                  <a:pt x="84" y="282"/>
                  <a:pt x="84" y="282"/>
                </a:cubicBezTo>
                <a:cubicBezTo>
                  <a:pt x="84" y="286"/>
                  <a:pt x="87" y="288"/>
                  <a:pt x="90" y="288"/>
                </a:cubicBezTo>
                <a:cubicBezTo>
                  <a:pt x="93" y="287"/>
                  <a:pt x="93" y="287"/>
                  <a:pt x="93" y="287"/>
                </a:cubicBezTo>
                <a:cubicBezTo>
                  <a:pt x="95" y="292"/>
                  <a:pt x="98" y="296"/>
                  <a:pt x="102" y="299"/>
                </a:cubicBezTo>
                <a:cubicBezTo>
                  <a:pt x="100" y="302"/>
                  <a:pt x="100" y="302"/>
                  <a:pt x="100" y="302"/>
                </a:cubicBezTo>
                <a:cubicBezTo>
                  <a:pt x="99" y="305"/>
                  <a:pt x="100" y="308"/>
                  <a:pt x="103" y="310"/>
                </a:cubicBezTo>
                <a:cubicBezTo>
                  <a:pt x="105" y="311"/>
                  <a:pt x="105" y="311"/>
                  <a:pt x="105" y="311"/>
                </a:cubicBezTo>
                <a:cubicBezTo>
                  <a:pt x="107" y="312"/>
                  <a:pt x="111" y="311"/>
                  <a:pt x="112" y="308"/>
                </a:cubicBezTo>
                <a:cubicBezTo>
                  <a:pt x="114" y="305"/>
                  <a:pt x="114" y="305"/>
                  <a:pt x="114" y="305"/>
                </a:cubicBezTo>
                <a:cubicBezTo>
                  <a:pt x="119" y="306"/>
                  <a:pt x="123" y="305"/>
                  <a:pt x="128" y="304"/>
                </a:cubicBezTo>
                <a:cubicBezTo>
                  <a:pt x="130" y="307"/>
                  <a:pt x="130" y="307"/>
                  <a:pt x="130" y="307"/>
                </a:cubicBezTo>
                <a:cubicBezTo>
                  <a:pt x="132" y="309"/>
                  <a:pt x="135" y="310"/>
                  <a:pt x="138" y="308"/>
                </a:cubicBezTo>
                <a:cubicBezTo>
                  <a:pt x="141" y="306"/>
                  <a:pt x="141" y="306"/>
                  <a:pt x="141" y="306"/>
                </a:cubicBezTo>
                <a:cubicBezTo>
                  <a:pt x="143" y="305"/>
                  <a:pt x="144" y="301"/>
                  <a:pt x="142" y="299"/>
                </a:cubicBezTo>
                <a:cubicBezTo>
                  <a:pt x="140" y="296"/>
                  <a:pt x="140" y="296"/>
                  <a:pt x="140" y="296"/>
                </a:cubicBezTo>
                <a:cubicBezTo>
                  <a:pt x="142" y="294"/>
                  <a:pt x="143" y="292"/>
                  <a:pt x="144" y="290"/>
                </a:cubicBezTo>
                <a:cubicBezTo>
                  <a:pt x="145" y="287"/>
                  <a:pt x="146" y="285"/>
                  <a:pt x="147" y="283"/>
                </a:cubicBezTo>
                <a:close/>
                <a:moveTo>
                  <a:pt x="132" y="289"/>
                </a:moveTo>
                <a:cubicBezTo>
                  <a:pt x="126" y="296"/>
                  <a:pt x="115" y="297"/>
                  <a:pt x="108" y="291"/>
                </a:cubicBezTo>
                <a:cubicBezTo>
                  <a:pt x="101" y="285"/>
                  <a:pt x="100" y="274"/>
                  <a:pt x="106" y="267"/>
                </a:cubicBezTo>
                <a:cubicBezTo>
                  <a:pt x="112" y="259"/>
                  <a:pt x="123" y="258"/>
                  <a:pt x="130" y="265"/>
                </a:cubicBezTo>
                <a:cubicBezTo>
                  <a:pt x="138" y="271"/>
                  <a:pt x="139" y="282"/>
                  <a:pt x="132" y="289"/>
                </a:cubicBezTo>
                <a:close/>
                <a:moveTo>
                  <a:pt x="201" y="155"/>
                </a:moveTo>
                <a:cubicBezTo>
                  <a:pt x="201" y="154"/>
                  <a:pt x="201" y="154"/>
                  <a:pt x="201" y="153"/>
                </a:cubicBezTo>
                <a:cubicBezTo>
                  <a:pt x="202" y="153"/>
                  <a:pt x="202" y="152"/>
                  <a:pt x="202" y="151"/>
                </a:cubicBezTo>
                <a:cubicBezTo>
                  <a:pt x="202" y="151"/>
                  <a:pt x="202" y="151"/>
                  <a:pt x="202" y="151"/>
                </a:cubicBezTo>
                <a:cubicBezTo>
                  <a:pt x="208" y="151"/>
                  <a:pt x="208" y="151"/>
                  <a:pt x="208" y="151"/>
                </a:cubicBezTo>
                <a:cubicBezTo>
                  <a:pt x="211" y="151"/>
                  <a:pt x="214" y="148"/>
                  <a:pt x="214" y="145"/>
                </a:cubicBezTo>
                <a:cubicBezTo>
                  <a:pt x="214" y="135"/>
                  <a:pt x="214" y="135"/>
                  <a:pt x="214" y="135"/>
                </a:cubicBezTo>
                <a:cubicBezTo>
                  <a:pt x="214" y="132"/>
                  <a:pt x="211" y="129"/>
                  <a:pt x="208" y="129"/>
                </a:cubicBezTo>
                <a:cubicBezTo>
                  <a:pt x="202" y="129"/>
                  <a:pt x="202" y="129"/>
                  <a:pt x="202" y="129"/>
                </a:cubicBezTo>
                <a:cubicBezTo>
                  <a:pt x="201" y="125"/>
                  <a:pt x="200" y="120"/>
                  <a:pt x="198" y="115"/>
                </a:cubicBezTo>
                <a:cubicBezTo>
                  <a:pt x="196" y="111"/>
                  <a:pt x="194" y="107"/>
                  <a:pt x="192" y="104"/>
                </a:cubicBezTo>
                <a:cubicBezTo>
                  <a:pt x="196" y="100"/>
                  <a:pt x="196" y="100"/>
                  <a:pt x="196" y="100"/>
                </a:cubicBezTo>
                <a:cubicBezTo>
                  <a:pt x="198" y="98"/>
                  <a:pt x="198" y="94"/>
                  <a:pt x="196" y="92"/>
                </a:cubicBezTo>
                <a:cubicBezTo>
                  <a:pt x="189" y="85"/>
                  <a:pt x="189" y="85"/>
                  <a:pt x="189" y="85"/>
                </a:cubicBezTo>
                <a:cubicBezTo>
                  <a:pt x="186" y="82"/>
                  <a:pt x="183" y="82"/>
                  <a:pt x="180" y="85"/>
                </a:cubicBezTo>
                <a:cubicBezTo>
                  <a:pt x="176" y="88"/>
                  <a:pt x="176" y="88"/>
                  <a:pt x="176" y="88"/>
                </a:cubicBezTo>
                <a:cubicBezTo>
                  <a:pt x="169" y="83"/>
                  <a:pt x="160" y="79"/>
                  <a:pt x="151" y="78"/>
                </a:cubicBezTo>
                <a:cubicBezTo>
                  <a:pt x="151" y="72"/>
                  <a:pt x="151" y="72"/>
                  <a:pt x="151" y="72"/>
                </a:cubicBezTo>
                <a:cubicBezTo>
                  <a:pt x="151" y="69"/>
                  <a:pt x="148" y="66"/>
                  <a:pt x="145" y="66"/>
                </a:cubicBezTo>
                <a:cubicBezTo>
                  <a:pt x="135" y="67"/>
                  <a:pt x="135" y="67"/>
                  <a:pt x="135" y="67"/>
                </a:cubicBezTo>
                <a:cubicBezTo>
                  <a:pt x="132" y="67"/>
                  <a:pt x="129" y="69"/>
                  <a:pt x="129" y="72"/>
                </a:cubicBezTo>
                <a:cubicBezTo>
                  <a:pt x="129" y="78"/>
                  <a:pt x="129" y="78"/>
                  <a:pt x="129" y="78"/>
                </a:cubicBezTo>
                <a:cubicBezTo>
                  <a:pt x="125" y="78"/>
                  <a:pt x="120" y="80"/>
                  <a:pt x="115" y="82"/>
                </a:cubicBezTo>
                <a:cubicBezTo>
                  <a:pt x="111" y="84"/>
                  <a:pt x="107" y="86"/>
                  <a:pt x="103" y="88"/>
                </a:cubicBezTo>
                <a:cubicBezTo>
                  <a:pt x="100" y="85"/>
                  <a:pt x="100" y="85"/>
                  <a:pt x="100" y="85"/>
                </a:cubicBezTo>
                <a:cubicBezTo>
                  <a:pt x="97" y="82"/>
                  <a:pt x="94" y="82"/>
                  <a:pt x="91" y="85"/>
                </a:cubicBezTo>
                <a:cubicBezTo>
                  <a:pt x="84" y="92"/>
                  <a:pt x="84" y="92"/>
                  <a:pt x="84" y="92"/>
                </a:cubicBezTo>
                <a:cubicBezTo>
                  <a:pt x="82" y="94"/>
                  <a:pt x="82" y="98"/>
                  <a:pt x="84" y="100"/>
                </a:cubicBezTo>
                <a:cubicBezTo>
                  <a:pt x="88" y="104"/>
                  <a:pt x="88" y="104"/>
                  <a:pt x="88" y="104"/>
                </a:cubicBezTo>
                <a:cubicBezTo>
                  <a:pt x="83" y="111"/>
                  <a:pt x="79" y="120"/>
                  <a:pt x="78" y="130"/>
                </a:cubicBezTo>
                <a:cubicBezTo>
                  <a:pt x="72" y="130"/>
                  <a:pt x="72" y="130"/>
                  <a:pt x="72" y="130"/>
                </a:cubicBezTo>
                <a:cubicBezTo>
                  <a:pt x="69" y="130"/>
                  <a:pt x="66" y="132"/>
                  <a:pt x="66" y="135"/>
                </a:cubicBezTo>
                <a:cubicBezTo>
                  <a:pt x="66" y="145"/>
                  <a:pt x="66" y="145"/>
                  <a:pt x="66" y="145"/>
                </a:cubicBezTo>
                <a:cubicBezTo>
                  <a:pt x="66" y="148"/>
                  <a:pt x="69" y="151"/>
                  <a:pt x="72" y="151"/>
                </a:cubicBezTo>
                <a:cubicBezTo>
                  <a:pt x="78" y="151"/>
                  <a:pt x="78" y="151"/>
                  <a:pt x="78" y="151"/>
                </a:cubicBezTo>
                <a:cubicBezTo>
                  <a:pt x="79" y="156"/>
                  <a:pt x="80" y="160"/>
                  <a:pt x="82" y="164"/>
                </a:cubicBezTo>
                <a:cubicBezTo>
                  <a:pt x="84" y="169"/>
                  <a:pt x="86" y="173"/>
                  <a:pt x="89" y="177"/>
                </a:cubicBezTo>
                <a:cubicBezTo>
                  <a:pt x="84" y="181"/>
                  <a:pt x="84" y="181"/>
                  <a:pt x="84" y="181"/>
                </a:cubicBezTo>
                <a:cubicBezTo>
                  <a:pt x="82" y="183"/>
                  <a:pt x="82" y="187"/>
                  <a:pt x="84" y="189"/>
                </a:cubicBezTo>
                <a:cubicBezTo>
                  <a:pt x="91" y="196"/>
                  <a:pt x="91" y="196"/>
                  <a:pt x="91" y="196"/>
                </a:cubicBezTo>
                <a:cubicBezTo>
                  <a:pt x="94" y="198"/>
                  <a:pt x="97" y="198"/>
                  <a:pt x="100" y="196"/>
                </a:cubicBezTo>
                <a:cubicBezTo>
                  <a:pt x="104" y="192"/>
                  <a:pt x="104" y="192"/>
                  <a:pt x="104" y="192"/>
                </a:cubicBezTo>
                <a:cubicBezTo>
                  <a:pt x="104" y="192"/>
                  <a:pt x="104" y="192"/>
                  <a:pt x="104" y="192"/>
                </a:cubicBezTo>
                <a:cubicBezTo>
                  <a:pt x="105" y="192"/>
                  <a:pt x="106" y="193"/>
                  <a:pt x="106" y="193"/>
                </a:cubicBezTo>
                <a:cubicBezTo>
                  <a:pt x="107" y="193"/>
                  <a:pt x="107" y="194"/>
                  <a:pt x="108" y="194"/>
                </a:cubicBezTo>
                <a:cubicBezTo>
                  <a:pt x="108" y="194"/>
                  <a:pt x="108" y="194"/>
                  <a:pt x="108" y="194"/>
                </a:cubicBezTo>
                <a:cubicBezTo>
                  <a:pt x="115" y="198"/>
                  <a:pt x="122" y="201"/>
                  <a:pt x="129" y="202"/>
                </a:cubicBezTo>
                <a:cubicBezTo>
                  <a:pt x="129" y="208"/>
                  <a:pt x="129" y="208"/>
                  <a:pt x="129" y="208"/>
                </a:cubicBezTo>
                <a:cubicBezTo>
                  <a:pt x="129" y="211"/>
                  <a:pt x="132" y="214"/>
                  <a:pt x="135" y="214"/>
                </a:cubicBezTo>
                <a:cubicBezTo>
                  <a:pt x="145" y="214"/>
                  <a:pt x="145" y="214"/>
                  <a:pt x="145" y="214"/>
                </a:cubicBezTo>
                <a:cubicBezTo>
                  <a:pt x="148" y="214"/>
                  <a:pt x="151" y="211"/>
                  <a:pt x="151" y="208"/>
                </a:cubicBezTo>
                <a:cubicBezTo>
                  <a:pt x="151" y="202"/>
                  <a:pt x="151" y="202"/>
                  <a:pt x="151" y="202"/>
                </a:cubicBezTo>
                <a:cubicBezTo>
                  <a:pt x="155" y="201"/>
                  <a:pt x="160" y="200"/>
                  <a:pt x="165" y="198"/>
                </a:cubicBezTo>
                <a:cubicBezTo>
                  <a:pt x="169" y="196"/>
                  <a:pt x="173" y="194"/>
                  <a:pt x="176" y="192"/>
                </a:cubicBezTo>
                <a:cubicBezTo>
                  <a:pt x="180" y="196"/>
                  <a:pt x="180" y="196"/>
                  <a:pt x="180" y="196"/>
                </a:cubicBezTo>
                <a:cubicBezTo>
                  <a:pt x="183" y="198"/>
                  <a:pt x="186" y="198"/>
                  <a:pt x="189" y="196"/>
                </a:cubicBezTo>
                <a:cubicBezTo>
                  <a:pt x="196" y="189"/>
                  <a:pt x="196" y="189"/>
                  <a:pt x="196" y="189"/>
                </a:cubicBezTo>
                <a:cubicBezTo>
                  <a:pt x="198" y="187"/>
                  <a:pt x="198" y="183"/>
                  <a:pt x="196" y="181"/>
                </a:cubicBezTo>
                <a:cubicBezTo>
                  <a:pt x="191" y="176"/>
                  <a:pt x="191" y="176"/>
                  <a:pt x="191" y="176"/>
                </a:cubicBezTo>
                <a:cubicBezTo>
                  <a:pt x="196" y="170"/>
                  <a:pt x="199" y="163"/>
                  <a:pt x="201" y="155"/>
                </a:cubicBezTo>
                <a:cubicBezTo>
                  <a:pt x="201" y="155"/>
                  <a:pt x="201" y="155"/>
                  <a:pt x="201" y="155"/>
                </a:cubicBezTo>
                <a:close/>
                <a:moveTo>
                  <a:pt x="184" y="158"/>
                </a:moveTo>
                <a:cubicBezTo>
                  <a:pt x="180" y="169"/>
                  <a:pt x="171" y="179"/>
                  <a:pt x="159" y="184"/>
                </a:cubicBezTo>
                <a:cubicBezTo>
                  <a:pt x="146" y="189"/>
                  <a:pt x="133" y="189"/>
                  <a:pt x="122" y="184"/>
                </a:cubicBezTo>
                <a:cubicBezTo>
                  <a:pt x="110" y="180"/>
                  <a:pt x="101" y="171"/>
                  <a:pt x="96" y="158"/>
                </a:cubicBezTo>
                <a:cubicBezTo>
                  <a:pt x="91" y="146"/>
                  <a:pt x="91" y="133"/>
                  <a:pt x="95" y="122"/>
                </a:cubicBezTo>
                <a:cubicBezTo>
                  <a:pt x="100" y="110"/>
                  <a:pt x="109" y="101"/>
                  <a:pt x="121" y="96"/>
                </a:cubicBezTo>
                <a:cubicBezTo>
                  <a:pt x="133" y="91"/>
                  <a:pt x="146" y="91"/>
                  <a:pt x="158" y="95"/>
                </a:cubicBezTo>
                <a:cubicBezTo>
                  <a:pt x="169" y="100"/>
                  <a:pt x="179" y="109"/>
                  <a:pt x="184" y="121"/>
                </a:cubicBezTo>
                <a:cubicBezTo>
                  <a:pt x="189" y="133"/>
                  <a:pt x="189" y="146"/>
                  <a:pt x="184"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800">
              <a:solidFill>
                <a:srgbClr val="FFFFFF"/>
              </a:solidFill>
              <a:ea typeface="MS PGothic" pitchFamily="34" charset="-128"/>
            </a:endParaRPr>
          </a:p>
        </p:txBody>
      </p:sp>
      <p:sp>
        <p:nvSpPr>
          <p:cNvPr id="5" name="TextBox 4"/>
          <p:cNvSpPr txBox="1"/>
          <p:nvPr/>
        </p:nvSpPr>
        <p:spPr>
          <a:xfrm>
            <a:off x="996902" y="1689337"/>
            <a:ext cx="5087639" cy="1877437"/>
          </a:xfrm>
          <a:prstGeom prst="rect">
            <a:avLst/>
          </a:prstGeom>
          <a:noFill/>
        </p:spPr>
        <p:txBody>
          <a:bodyPr wrap="square" rtlCol="0">
            <a:spAutoFit/>
          </a:bodyPr>
          <a:lstStyle/>
          <a:p>
            <a:r>
              <a:rPr lang="en-US" dirty="0"/>
              <a:t>What is it?</a:t>
            </a:r>
          </a:p>
          <a:p>
            <a:pPr marL="342900" indent="-342900">
              <a:buFont typeface="Arial" panose="020B0604020202020204" pitchFamily="34" charset="0"/>
              <a:buChar char="•"/>
            </a:pPr>
            <a:r>
              <a:rPr lang="en-US" sz="1600" dirty="0"/>
              <a:t>The service providing operator sets up a network slice using infrastructure provided by the partner operators. </a:t>
            </a:r>
          </a:p>
          <a:p>
            <a:pPr marL="342900" indent="-342900">
              <a:buFont typeface="Arial" panose="020B0604020202020204" pitchFamily="34" charset="0"/>
              <a:buChar char="•"/>
            </a:pPr>
            <a:r>
              <a:rPr lang="en-US" sz="1600" dirty="0"/>
              <a:t>To extends services into the areas served by partner operators</a:t>
            </a:r>
          </a:p>
        </p:txBody>
      </p:sp>
      <p:sp>
        <p:nvSpPr>
          <p:cNvPr id="6" name="TextBox 5"/>
          <p:cNvSpPr txBox="1"/>
          <p:nvPr/>
        </p:nvSpPr>
        <p:spPr>
          <a:xfrm>
            <a:off x="876586" y="4089082"/>
            <a:ext cx="5207955" cy="1384995"/>
          </a:xfrm>
          <a:prstGeom prst="rect">
            <a:avLst/>
          </a:prstGeom>
          <a:noFill/>
        </p:spPr>
        <p:txBody>
          <a:bodyPr wrap="square" rtlCol="0">
            <a:spAutoFit/>
          </a:bodyPr>
          <a:lstStyle/>
          <a:p>
            <a:r>
              <a:rPr lang="en-US" dirty="0"/>
              <a:t>Why relevant</a:t>
            </a:r>
          </a:p>
          <a:p>
            <a:pPr marL="342900" indent="-342900">
              <a:buFont typeface="Arial" panose="020B0604020202020204" pitchFamily="34" charset="0"/>
              <a:buChar char="•"/>
            </a:pPr>
            <a:r>
              <a:rPr lang="en-US" sz="1600" dirty="0"/>
              <a:t>Enable seamless service experience and service control</a:t>
            </a:r>
          </a:p>
          <a:p>
            <a:pPr marL="342900" indent="-342900">
              <a:buFont typeface="Arial" panose="020B0604020202020204" pitchFamily="34" charset="0"/>
              <a:buChar char="•"/>
            </a:pPr>
            <a:r>
              <a:rPr lang="en-US" sz="1600" dirty="0"/>
              <a:t>Simplifies the enterprise and operator partnerships</a:t>
            </a:r>
          </a:p>
        </p:txBody>
      </p:sp>
      <p:sp>
        <p:nvSpPr>
          <p:cNvPr id="7" name="TextBox 6"/>
          <p:cNvSpPr txBox="1"/>
          <p:nvPr/>
        </p:nvSpPr>
        <p:spPr>
          <a:xfrm>
            <a:off x="6730522" y="1689337"/>
            <a:ext cx="5134197" cy="1631216"/>
          </a:xfrm>
          <a:prstGeom prst="rect">
            <a:avLst/>
          </a:prstGeom>
          <a:noFill/>
        </p:spPr>
        <p:txBody>
          <a:bodyPr wrap="square" rtlCol="0">
            <a:spAutoFit/>
          </a:bodyPr>
          <a:lstStyle/>
          <a:p>
            <a:r>
              <a:rPr lang="en-US" dirty="0"/>
              <a:t>Key business values</a:t>
            </a:r>
          </a:p>
          <a:p>
            <a:pPr marL="285750" indent="-285750">
              <a:lnSpc>
                <a:spcPct val="100000"/>
              </a:lnSpc>
              <a:buClr>
                <a:schemeClr val="tx1"/>
              </a:buClr>
              <a:buFont typeface="Arial" charset="0"/>
              <a:buChar char="•"/>
            </a:pPr>
            <a:r>
              <a:rPr lang="en-US" sz="1600" dirty="0">
                <a:latin typeface="Ericsson Sans" charset="0"/>
                <a:ea typeface="Ericsson Sans" charset="0"/>
                <a:cs typeface="Ericsson Sans" charset="0"/>
              </a:rPr>
              <a:t>Enables Global service offering for multitude of Industries</a:t>
            </a:r>
          </a:p>
          <a:p>
            <a:pPr marL="285750" indent="-285750">
              <a:lnSpc>
                <a:spcPct val="100000"/>
              </a:lnSpc>
              <a:buClr>
                <a:schemeClr val="tx1"/>
              </a:buClr>
              <a:buFont typeface="Arial" charset="0"/>
              <a:buChar char="•"/>
            </a:pPr>
            <a:r>
              <a:rPr lang="en-US" sz="1600" dirty="0"/>
              <a:t>An opportunity for operators to address </a:t>
            </a:r>
            <a:r>
              <a:rPr lang="en-US" sz="1600" dirty="0">
                <a:latin typeface="Ericsson Sans" charset="0"/>
                <a:ea typeface="Ericsson Sans" charset="0"/>
                <a:cs typeface="Ericsson Sans" charset="0"/>
              </a:rPr>
              <a:t>the use cases of Networked Society</a:t>
            </a:r>
            <a:endParaRPr lang="en-US" sz="1600" dirty="0"/>
          </a:p>
        </p:txBody>
      </p:sp>
      <p:sp>
        <p:nvSpPr>
          <p:cNvPr id="8" name="Rectangle 7"/>
          <p:cNvSpPr/>
          <p:nvPr/>
        </p:nvSpPr>
        <p:spPr bwMode="auto">
          <a:xfrm>
            <a:off x="8591052" y="4591765"/>
            <a:ext cx="2607036" cy="479481"/>
          </a:xfrm>
          <a:prstGeom prst="rect">
            <a:avLst/>
          </a:prstGeom>
          <a:no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defTabSz="914400" rtl="0" eaLnBrk="1" fontAlgn="base" latinLnBrk="0" hangingPunct="1">
              <a:spcBef>
                <a:spcPts val="0"/>
              </a:spcBef>
              <a:spcAft>
                <a:spcPct val="0"/>
              </a:spcAft>
              <a:buClrTx/>
              <a:buSzTx/>
              <a:buFontTx/>
              <a:buNone/>
              <a:tabLst/>
            </a:pPr>
            <a:r>
              <a:rPr kumimoji="0" lang="en-US" sz="1400" b="1" i="0" u="none" strike="noStrike" cap="none" normalizeH="0" baseline="0" dirty="0">
                <a:ln>
                  <a:noFill/>
                </a:ln>
                <a:solidFill>
                  <a:srgbClr val="00AAD4"/>
                </a:solidFill>
                <a:effectLst/>
                <a:latin typeface="Arial" charset="0"/>
              </a:rPr>
              <a:t>Global services for</a:t>
            </a:r>
          </a:p>
          <a:p>
            <a:pPr marL="0" marR="0" indent="0" defTabSz="914400" rtl="0" eaLnBrk="1" fontAlgn="base" latinLnBrk="0" hangingPunct="1">
              <a:spcBef>
                <a:spcPts val="0"/>
              </a:spcBef>
              <a:spcAft>
                <a:spcPct val="0"/>
              </a:spcAft>
              <a:buClrTx/>
              <a:buSzTx/>
              <a:buFontTx/>
              <a:buNone/>
              <a:tabLst/>
            </a:pPr>
            <a:r>
              <a:rPr kumimoji="0" lang="en-US" sz="1400" b="1" i="0" u="none" strike="noStrike" cap="none" normalizeH="0" baseline="0" dirty="0">
                <a:ln>
                  <a:noFill/>
                </a:ln>
                <a:solidFill>
                  <a:srgbClr val="00AAD4"/>
                </a:solidFill>
                <a:effectLst/>
                <a:latin typeface="Arial" charset="0"/>
              </a:rPr>
              <a:t>multiple industries</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1084" y="4167042"/>
            <a:ext cx="1459992" cy="1328928"/>
          </a:xfrm>
          <a:prstGeom prst="rect">
            <a:avLst/>
          </a:prstGeom>
        </p:spPr>
      </p:pic>
    </p:spTree>
    <p:extLst>
      <p:ext uri="{BB962C8B-B14F-4D97-AF65-F5344CB8AC3E}">
        <p14:creationId xmlns:p14="http://schemas.microsoft.com/office/powerpoint/2010/main" val="386009261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2"/>
          <p:cNvSpPr>
            <a:spLocks noGrp="1"/>
          </p:cNvSpPr>
          <p:nvPr>
            <p:ph type="title"/>
          </p:nvPr>
        </p:nvSpPr>
        <p:spPr>
          <a:xfrm>
            <a:off x="524935" y="239714"/>
            <a:ext cx="9992784" cy="1085371"/>
          </a:xfrm>
        </p:spPr>
        <p:txBody>
          <a:bodyPr/>
          <a:lstStyle/>
          <a:p>
            <a:r>
              <a:rPr lang="en-US" dirty="0">
                <a:solidFill>
                  <a:schemeClr val="bg1"/>
                </a:solidFill>
              </a:rPr>
              <a:t>Federated Network Slicing</a:t>
            </a:r>
            <a:endParaRPr lang="en-US" sz="3600" dirty="0">
              <a:solidFill>
                <a:schemeClr val="bg1"/>
              </a:solidFill>
            </a:endParaRPr>
          </a:p>
        </p:txBody>
      </p:sp>
      <p:pic>
        <p:nvPicPr>
          <p:cNvPr id="6" name="Picture 6" descr="ECON_whit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ktangel med rundade hörn 2"/>
          <p:cNvSpPr/>
          <p:nvPr/>
        </p:nvSpPr>
        <p:spPr bwMode="auto">
          <a:xfrm>
            <a:off x="190500" y="1821715"/>
            <a:ext cx="11765361" cy="4618515"/>
          </a:xfrm>
          <a:prstGeom prst="roundRect">
            <a:avLst>
              <a:gd name="adj" fmla="val 2170"/>
            </a:avLst>
          </a:prstGeom>
          <a:solidFill>
            <a:schemeClr val="bg1">
              <a:alpha val="20000"/>
            </a:schemeClr>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1" i="0" u="none" strike="noStrike" kern="0" cap="none" spc="0" normalizeH="0" baseline="0" noProof="0" dirty="0">
              <a:ln>
                <a:noFill/>
              </a:ln>
              <a:solidFill>
                <a:schemeClr val="bg1"/>
              </a:solidFill>
              <a:effectLst/>
              <a:uLnTx/>
              <a:uFillTx/>
              <a:latin typeface="Arial" charset="0"/>
            </a:endParaRPr>
          </a:p>
        </p:txBody>
      </p:sp>
      <p:sp>
        <p:nvSpPr>
          <p:cNvPr id="8" name="Rectangle 7"/>
          <p:cNvSpPr/>
          <p:nvPr/>
        </p:nvSpPr>
        <p:spPr>
          <a:xfrm>
            <a:off x="685800" y="2630355"/>
            <a:ext cx="2600392"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Service Providing operator</a:t>
            </a:r>
          </a:p>
        </p:txBody>
      </p:sp>
      <p:sp>
        <p:nvSpPr>
          <p:cNvPr id="9" name="Rectangle: Rounded Corners 8"/>
          <p:cNvSpPr/>
          <p:nvPr/>
        </p:nvSpPr>
        <p:spPr bwMode="auto">
          <a:xfrm>
            <a:off x="792561" y="3017249"/>
            <a:ext cx="8388409" cy="706679"/>
          </a:xfrm>
          <a:prstGeom prst="roundRect">
            <a:avLst/>
          </a:prstGeom>
          <a:solidFill>
            <a:schemeClr val="tx2">
              <a:lumMod val="50000"/>
              <a:lumOff val="50000"/>
            </a:schemeClr>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cxnSp>
        <p:nvCxnSpPr>
          <p:cNvPr id="10" name="Straight Connector 9"/>
          <p:cNvCxnSpPr>
            <a:cxnSpLocks/>
            <a:stCxn id="48" idx="2"/>
          </p:cNvCxnSpPr>
          <p:nvPr/>
        </p:nvCxnSpPr>
        <p:spPr bwMode="auto">
          <a:xfrm>
            <a:off x="4531650" y="3576272"/>
            <a:ext cx="7082" cy="1625329"/>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1" name="Rectangle 10"/>
          <p:cNvSpPr/>
          <p:nvPr/>
        </p:nvSpPr>
        <p:spPr bwMode="auto">
          <a:xfrm>
            <a:off x="6195375" y="4020880"/>
            <a:ext cx="5336624" cy="2230454"/>
          </a:xfrm>
          <a:prstGeom prst="rect">
            <a:avLst/>
          </a:prstGeom>
          <a:solidFill>
            <a:srgbClr val="8F3F7B"/>
          </a:solid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12" name="Rectangle: Rounded Corners 11"/>
          <p:cNvSpPr/>
          <p:nvPr/>
        </p:nvSpPr>
        <p:spPr bwMode="auto">
          <a:xfrm>
            <a:off x="6614493" y="4478080"/>
            <a:ext cx="2753001" cy="615465"/>
          </a:xfrm>
          <a:prstGeom prst="roundRect">
            <a:avLst/>
          </a:prstGeom>
          <a:solidFill>
            <a:srgbClr val="11C1FF"/>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13" name="TextBox 12"/>
          <p:cNvSpPr txBox="1"/>
          <p:nvPr/>
        </p:nvSpPr>
        <p:spPr>
          <a:xfrm>
            <a:off x="6583761" y="4564460"/>
            <a:ext cx="1388521" cy="523220"/>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NW Slice for</a:t>
            </a:r>
            <a:br>
              <a:rPr kumimoji="0" lang="en-US" sz="1400" b="0" i="0" u="none" strike="noStrike" kern="0" cap="none" spc="0" normalizeH="0" baseline="0" noProof="0" dirty="0">
                <a:ln>
                  <a:noFill/>
                </a:ln>
                <a:solidFill>
                  <a:schemeClr val="bg1"/>
                </a:solidFill>
                <a:effectLst/>
                <a:uLnTx/>
                <a:uFillTx/>
              </a:rPr>
            </a:br>
            <a:r>
              <a:rPr kumimoji="0" lang="en-US" sz="1400" b="0" i="0" u="none" strike="noStrike" kern="0" cap="none" spc="0" normalizeH="0" baseline="0" noProof="0" dirty="0">
                <a:ln>
                  <a:noFill/>
                </a:ln>
                <a:solidFill>
                  <a:schemeClr val="bg1"/>
                </a:solidFill>
                <a:effectLst/>
                <a:uLnTx/>
                <a:uFillTx/>
              </a:rPr>
              <a:t> hosted service</a:t>
            </a:r>
          </a:p>
        </p:txBody>
      </p:sp>
      <p:cxnSp>
        <p:nvCxnSpPr>
          <p:cNvPr id="14" name="Straight Connector 13"/>
          <p:cNvCxnSpPr>
            <a:cxnSpLocks/>
          </p:cNvCxnSpPr>
          <p:nvPr/>
        </p:nvCxnSpPr>
        <p:spPr bwMode="auto">
          <a:xfrm flipH="1">
            <a:off x="8601621" y="3576272"/>
            <a:ext cx="1" cy="988188"/>
          </a:xfrm>
          <a:prstGeom prst="line">
            <a:avLst/>
          </a:prstGeom>
          <a:solidFill>
            <a:schemeClr val="accent1"/>
          </a:solidFill>
          <a:ln w="28575" cap="flat" cmpd="sng" algn="ctr">
            <a:solidFill>
              <a:schemeClr val="bg1"/>
            </a:solidFill>
            <a:prstDash val="dash"/>
            <a:round/>
            <a:headEnd type="none" w="med" len="med"/>
            <a:tailEnd type="triangle" w="med" len="med"/>
          </a:ln>
          <a:effectLst/>
        </p:spPr>
      </p:cxnSp>
      <p:sp>
        <p:nvSpPr>
          <p:cNvPr id="15" name="Rectangle: Rounded Corners 14"/>
          <p:cNvSpPr/>
          <p:nvPr/>
        </p:nvSpPr>
        <p:spPr bwMode="auto">
          <a:xfrm>
            <a:off x="8372393" y="4571969"/>
            <a:ext cx="751422" cy="395622"/>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Arial" charset="0"/>
              </a:rPr>
              <a:t>VNF</a:t>
            </a:r>
          </a:p>
        </p:txBody>
      </p:sp>
      <p:sp>
        <p:nvSpPr>
          <p:cNvPr id="16" name="Freeform 3"/>
          <p:cNvSpPr>
            <a:spLocks noChangeAspect="1" noEditPoints="1"/>
          </p:cNvSpPr>
          <p:nvPr/>
        </p:nvSpPr>
        <p:spPr bwMode="auto">
          <a:xfrm>
            <a:off x="4334865" y="1902113"/>
            <a:ext cx="417135" cy="595378"/>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8585A"/>
              </a:solidFill>
              <a:effectLst/>
              <a:uLnTx/>
              <a:uFillTx/>
            </a:endParaRPr>
          </a:p>
        </p:txBody>
      </p:sp>
      <p:sp>
        <p:nvSpPr>
          <p:cNvPr id="17" name="TextBox 16"/>
          <p:cNvSpPr txBox="1"/>
          <p:nvPr/>
        </p:nvSpPr>
        <p:spPr>
          <a:xfrm>
            <a:off x="4945461" y="2058093"/>
            <a:ext cx="193069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Business Customers</a:t>
            </a:r>
          </a:p>
        </p:txBody>
      </p:sp>
      <p:cxnSp>
        <p:nvCxnSpPr>
          <p:cNvPr id="18" name="Straight Connector 17"/>
          <p:cNvCxnSpPr>
            <a:cxnSpLocks/>
            <a:stCxn id="48" idx="3"/>
            <a:endCxn id="46" idx="1"/>
          </p:cNvCxnSpPr>
          <p:nvPr/>
        </p:nvCxnSpPr>
        <p:spPr bwMode="auto">
          <a:xfrm flipV="1">
            <a:off x="4907361" y="3362072"/>
            <a:ext cx="3200400" cy="16389"/>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9" name="Freeform 3"/>
          <p:cNvSpPr>
            <a:spLocks noChangeAspect="1" noEditPoints="1"/>
          </p:cNvSpPr>
          <p:nvPr/>
        </p:nvSpPr>
        <p:spPr bwMode="auto">
          <a:xfrm>
            <a:off x="1021161" y="5087680"/>
            <a:ext cx="786583" cy="968102"/>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8585A"/>
                </a:solidFill>
                <a:prstDash val="solid"/>
                <a:round/>
                <a:headEnd type="none" w="med" len="med"/>
                <a:tailEnd type="none" w="med" len="me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20" name="Freeform 3"/>
          <p:cNvSpPr>
            <a:spLocks noChangeAspect="1" noEditPoints="1"/>
          </p:cNvSpPr>
          <p:nvPr/>
        </p:nvSpPr>
        <p:spPr bwMode="auto">
          <a:xfrm>
            <a:off x="2226142" y="5131486"/>
            <a:ext cx="1269665" cy="924296"/>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2"/>
              <a:gd name="T160" fmla="*/ 0 h 399"/>
              <a:gd name="T161" fmla="*/ 522 w 522"/>
              <a:gd name="T162" fmla="*/ 399 h 3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2" h="399">
                <a:moveTo>
                  <a:pt x="388" y="161"/>
                </a:moveTo>
                <a:cubicBezTo>
                  <a:pt x="388" y="147"/>
                  <a:pt x="376" y="135"/>
                  <a:pt x="362" y="135"/>
                </a:cubicBezTo>
                <a:cubicBezTo>
                  <a:pt x="356" y="135"/>
                  <a:pt x="351" y="137"/>
                  <a:pt x="347" y="140"/>
                </a:cubicBezTo>
                <a:cubicBezTo>
                  <a:pt x="307" y="111"/>
                  <a:pt x="307" y="111"/>
                  <a:pt x="307" y="111"/>
                </a:cubicBezTo>
                <a:cubicBezTo>
                  <a:pt x="308" y="109"/>
                  <a:pt x="309" y="106"/>
                  <a:pt x="309" y="103"/>
                </a:cubicBezTo>
                <a:cubicBezTo>
                  <a:pt x="309" y="89"/>
                  <a:pt x="297" y="78"/>
                  <a:pt x="283" y="78"/>
                </a:cubicBezTo>
                <a:cubicBezTo>
                  <a:pt x="269" y="78"/>
                  <a:pt x="258" y="88"/>
                  <a:pt x="257" y="101"/>
                </a:cubicBezTo>
                <a:cubicBezTo>
                  <a:pt x="187" y="115"/>
                  <a:pt x="187" y="115"/>
                  <a:pt x="187" y="115"/>
                </a:cubicBezTo>
                <a:cubicBezTo>
                  <a:pt x="182" y="108"/>
                  <a:pt x="174" y="103"/>
                  <a:pt x="164" y="103"/>
                </a:cubicBezTo>
                <a:cubicBezTo>
                  <a:pt x="150" y="103"/>
                  <a:pt x="138" y="114"/>
                  <a:pt x="138" y="128"/>
                </a:cubicBezTo>
                <a:cubicBezTo>
                  <a:pt x="138" y="140"/>
                  <a:pt x="146" y="150"/>
                  <a:pt x="157" y="153"/>
                </a:cubicBezTo>
                <a:cubicBezTo>
                  <a:pt x="158" y="226"/>
                  <a:pt x="158" y="226"/>
                  <a:pt x="158" y="226"/>
                </a:cubicBezTo>
                <a:cubicBezTo>
                  <a:pt x="148" y="230"/>
                  <a:pt x="141" y="239"/>
                  <a:pt x="141" y="251"/>
                </a:cubicBezTo>
                <a:cubicBezTo>
                  <a:pt x="141" y="265"/>
                  <a:pt x="152" y="277"/>
                  <a:pt x="166" y="277"/>
                </a:cubicBezTo>
                <a:cubicBezTo>
                  <a:pt x="170" y="277"/>
                  <a:pt x="173" y="276"/>
                  <a:pt x="175" y="275"/>
                </a:cubicBezTo>
                <a:cubicBezTo>
                  <a:pt x="195" y="300"/>
                  <a:pt x="195" y="300"/>
                  <a:pt x="195" y="300"/>
                </a:cubicBezTo>
                <a:cubicBezTo>
                  <a:pt x="192" y="304"/>
                  <a:pt x="191" y="309"/>
                  <a:pt x="191" y="314"/>
                </a:cubicBezTo>
                <a:cubicBezTo>
                  <a:pt x="191" y="329"/>
                  <a:pt x="202" y="340"/>
                  <a:pt x="216" y="340"/>
                </a:cubicBezTo>
                <a:cubicBezTo>
                  <a:pt x="230" y="340"/>
                  <a:pt x="241" y="329"/>
                  <a:pt x="242" y="316"/>
                </a:cubicBezTo>
                <a:cubicBezTo>
                  <a:pt x="328" y="293"/>
                  <a:pt x="328" y="293"/>
                  <a:pt x="328" y="293"/>
                </a:cubicBezTo>
                <a:cubicBezTo>
                  <a:pt x="333" y="300"/>
                  <a:pt x="341" y="305"/>
                  <a:pt x="350" y="305"/>
                </a:cubicBezTo>
                <a:cubicBezTo>
                  <a:pt x="364" y="305"/>
                  <a:pt x="376" y="293"/>
                  <a:pt x="376" y="279"/>
                </a:cubicBezTo>
                <a:cubicBezTo>
                  <a:pt x="376" y="268"/>
                  <a:pt x="370" y="259"/>
                  <a:pt x="361" y="255"/>
                </a:cubicBezTo>
                <a:cubicBezTo>
                  <a:pt x="368" y="186"/>
                  <a:pt x="368" y="186"/>
                  <a:pt x="368" y="186"/>
                </a:cubicBezTo>
                <a:cubicBezTo>
                  <a:pt x="379" y="184"/>
                  <a:pt x="388" y="173"/>
                  <a:pt x="388" y="161"/>
                </a:cubicBezTo>
                <a:close/>
                <a:moveTo>
                  <a:pt x="291" y="193"/>
                </a:moveTo>
                <a:cubicBezTo>
                  <a:pt x="283" y="193"/>
                  <a:pt x="276" y="197"/>
                  <a:pt x="271" y="203"/>
                </a:cubicBezTo>
                <a:cubicBezTo>
                  <a:pt x="245" y="193"/>
                  <a:pt x="245" y="193"/>
                  <a:pt x="245" y="193"/>
                </a:cubicBezTo>
                <a:cubicBezTo>
                  <a:pt x="330" y="173"/>
                  <a:pt x="330" y="173"/>
                  <a:pt x="330" y="173"/>
                </a:cubicBezTo>
                <a:cubicBezTo>
                  <a:pt x="304" y="196"/>
                  <a:pt x="304" y="196"/>
                  <a:pt x="304" y="196"/>
                </a:cubicBezTo>
                <a:cubicBezTo>
                  <a:pt x="300" y="194"/>
                  <a:pt x="296" y="193"/>
                  <a:pt x="291" y="193"/>
                </a:cubicBezTo>
                <a:close/>
                <a:moveTo>
                  <a:pt x="301" y="219"/>
                </a:moveTo>
                <a:cubicBezTo>
                  <a:pt x="301" y="224"/>
                  <a:pt x="296" y="229"/>
                  <a:pt x="291" y="229"/>
                </a:cubicBezTo>
                <a:cubicBezTo>
                  <a:pt x="286" y="229"/>
                  <a:pt x="281" y="224"/>
                  <a:pt x="281" y="219"/>
                </a:cubicBezTo>
                <a:cubicBezTo>
                  <a:pt x="281" y="213"/>
                  <a:pt x="286" y="209"/>
                  <a:pt x="291" y="209"/>
                </a:cubicBezTo>
                <a:cubicBezTo>
                  <a:pt x="296" y="209"/>
                  <a:pt x="301" y="213"/>
                  <a:pt x="301" y="219"/>
                </a:cubicBezTo>
                <a:close/>
                <a:moveTo>
                  <a:pt x="208" y="192"/>
                </a:moveTo>
                <a:cubicBezTo>
                  <a:pt x="208" y="186"/>
                  <a:pt x="212" y="182"/>
                  <a:pt x="218" y="182"/>
                </a:cubicBezTo>
                <a:cubicBezTo>
                  <a:pt x="223" y="182"/>
                  <a:pt x="228" y="186"/>
                  <a:pt x="228" y="192"/>
                </a:cubicBezTo>
                <a:cubicBezTo>
                  <a:pt x="228" y="192"/>
                  <a:pt x="228" y="192"/>
                  <a:pt x="228" y="192"/>
                </a:cubicBezTo>
                <a:cubicBezTo>
                  <a:pt x="228" y="197"/>
                  <a:pt x="223" y="202"/>
                  <a:pt x="218" y="202"/>
                </a:cubicBezTo>
                <a:cubicBezTo>
                  <a:pt x="212" y="202"/>
                  <a:pt x="208" y="197"/>
                  <a:pt x="208" y="192"/>
                </a:cubicBezTo>
                <a:close/>
                <a:moveTo>
                  <a:pt x="209" y="216"/>
                </a:moveTo>
                <a:cubicBezTo>
                  <a:pt x="209" y="249"/>
                  <a:pt x="209" y="249"/>
                  <a:pt x="209" y="249"/>
                </a:cubicBezTo>
                <a:cubicBezTo>
                  <a:pt x="192" y="247"/>
                  <a:pt x="192" y="247"/>
                  <a:pt x="192" y="247"/>
                </a:cubicBezTo>
                <a:cubicBezTo>
                  <a:pt x="191" y="243"/>
                  <a:pt x="190" y="240"/>
                  <a:pt x="189" y="237"/>
                </a:cubicBezTo>
                <a:cubicBezTo>
                  <a:pt x="208" y="216"/>
                  <a:pt x="208" y="216"/>
                  <a:pt x="208" y="216"/>
                </a:cubicBezTo>
                <a:cubicBezTo>
                  <a:pt x="208" y="216"/>
                  <a:pt x="209" y="216"/>
                  <a:pt x="209" y="216"/>
                </a:cubicBezTo>
                <a:close/>
                <a:moveTo>
                  <a:pt x="225" y="216"/>
                </a:moveTo>
                <a:cubicBezTo>
                  <a:pt x="230" y="215"/>
                  <a:pt x="235" y="212"/>
                  <a:pt x="238" y="208"/>
                </a:cubicBezTo>
                <a:cubicBezTo>
                  <a:pt x="265" y="218"/>
                  <a:pt x="265" y="218"/>
                  <a:pt x="265" y="218"/>
                </a:cubicBezTo>
                <a:cubicBezTo>
                  <a:pt x="265" y="218"/>
                  <a:pt x="265" y="218"/>
                  <a:pt x="265" y="219"/>
                </a:cubicBezTo>
                <a:cubicBezTo>
                  <a:pt x="265" y="224"/>
                  <a:pt x="267" y="229"/>
                  <a:pt x="270" y="233"/>
                </a:cubicBezTo>
                <a:cubicBezTo>
                  <a:pt x="252" y="256"/>
                  <a:pt x="252" y="256"/>
                  <a:pt x="252" y="256"/>
                </a:cubicBezTo>
                <a:cubicBezTo>
                  <a:pt x="225" y="252"/>
                  <a:pt x="225" y="252"/>
                  <a:pt x="225" y="252"/>
                </a:cubicBezTo>
                <a:lnTo>
                  <a:pt x="225" y="216"/>
                </a:lnTo>
                <a:close/>
                <a:moveTo>
                  <a:pt x="283" y="94"/>
                </a:moveTo>
                <a:cubicBezTo>
                  <a:pt x="288" y="94"/>
                  <a:pt x="293" y="98"/>
                  <a:pt x="293" y="103"/>
                </a:cubicBezTo>
                <a:cubicBezTo>
                  <a:pt x="293" y="109"/>
                  <a:pt x="288" y="113"/>
                  <a:pt x="283" y="113"/>
                </a:cubicBezTo>
                <a:cubicBezTo>
                  <a:pt x="277" y="113"/>
                  <a:pt x="273" y="109"/>
                  <a:pt x="273" y="103"/>
                </a:cubicBezTo>
                <a:cubicBezTo>
                  <a:pt x="273" y="98"/>
                  <a:pt x="277" y="94"/>
                  <a:pt x="283" y="94"/>
                </a:cubicBezTo>
                <a:close/>
                <a:moveTo>
                  <a:pt x="275" y="128"/>
                </a:moveTo>
                <a:cubicBezTo>
                  <a:pt x="277" y="129"/>
                  <a:pt x="280" y="129"/>
                  <a:pt x="283" y="129"/>
                </a:cubicBezTo>
                <a:cubicBezTo>
                  <a:pt x="288" y="129"/>
                  <a:pt x="294" y="127"/>
                  <a:pt x="298" y="124"/>
                </a:cubicBezTo>
                <a:cubicBezTo>
                  <a:pt x="326" y="145"/>
                  <a:pt x="326" y="145"/>
                  <a:pt x="326" y="145"/>
                </a:cubicBezTo>
                <a:cubicBezTo>
                  <a:pt x="269" y="136"/>
                  <a:pt x="269" y="136"/>
                  <a:pt x="269" y="136"/>
                </a:cubicBezTo>
                <a:lnTo>
                  <a:pt x="275" y="128"/>
                </a:lnTo>
                <a:close/>
                <a:moveTo>
                  <a:pt x="318" y="160"/>
                </a:moveTo>
                <a:cubicBezTo>
                  <a:pt x="240" y="178"/>
                  <a:pt x="240" y="178"/>
                  <a:pt x="240" y="178"/>
                </a:cubicBezTo>
                <a:cubicBezTo>
                  <a:pt x="239" y="178"/>
                  <a:pt x="239" y="177"/>
                  <a:pt x="239" y="177"/>
                </a:cubicBezTo>
                <a:cubicBezTo>
                  <a:pt x="258" y="151"/>
                  <a:pt x="258" y="151"/>
                  <a:pt x="258" y="151"/>
                </a:cubicBezTo>
                <a:lnTo>
                  <a:pt x="318" y="160"/>
                </a:lnTo>
                <a:close/>
                <a:moveTo>
                  <a:pt x="260" y="116"/>
                </a:moveTo>
                <a:cubicBezTo>
                  <a:pt x="261" y="117"/>
                  <a:pt x="261" y="118"/>
                  <a:pt x="262" y="118"/>
                </a:cubicBezTo>
                <a:cubicBezTo>
                  <a:pt x="251" y="133"/>
                  <a:pt x="251" y="133"/>
                  <a:pt x="251" y="133"/>
                </a:cubicBezTo>
                <a:cubicBezTo>
                  <a:pt x="209" y="127"/>
                  <a:pt x="209" y="127"/>
                  <a:pt x="209" y="127"/>
                </a:cubicBezTo>
                <a:lnTo>
                  <a:pt x="260" y="116"/>
                </a:lnTo>
                <a:close/>
                <a:moveTo>
                  <a:pt x="187" y="140"/>
                </a:moveTo>
                <a:cubicBezTo>
                  <a:pt x="240" y="148"/>
                  <a:pt x="240" y="148"/>
                  <a:pt x="240" y="148"/>
                </a:cubicBezTo>
                <a:cubicBezTo>
                  <a:pt x="226" y="167"/>
                  <a:pt x="226" y="167"/>
                  <a:pt x="226" y="167"/>
                </a:cubicBezTo>
                <a:cubicBezTo>
                  <a:pt x="223" y="166"/>
                  <a:pt x="221" y="166"/>
                  <a:pt x="218" y="166"/>
                </a:cubicBezTo>
                <a:cubicBezTo>
                  <a:pt x="214" y="166"/>
                  <a:pt x="211" y="167"/>
                  <a:pt x="208" y="168"/>
                </a:cubicBezTo>
                <a:cubicBezTo>
                  <a:pt x="186" y="142"/>
                  <a:pt x="186" y="142"/>
                  <a:pt x="186" y="142"/>
                </a:cubicBezTo>
                <a:cubicBezTo>
                  <a:pt x="187" y="141"/>
                  <a:pt x="187" y="141"/>
                  <a:pt x="187" y="140"/>
                </a:cubicBezTo>
                <a:close/>
                <a:moveTo>
                  <a:pt x="154" y="128"/>
                </a:moveTo>
                <a:cubicBezTo>
                  <a:pt x="154" y="123"/>
                  <a:pt x="159" y="119"/>
                  <a:pt x="164" y="119"/>
                </a:cubicBezTo>
                <a:cubicBezTo>
                  <a:pt x="170" y="119"/>
                  <a:pt x="174" y="123"/>
                  <a:pt x="174" y="128"/>
                </a:cubicBezTo>
                <a:cubicBezTo>
                  <a:pt x="174" y="134"/>
                  <a:pt x="170" y="138"/>
                  <a:pt x="164" y="138"/>
                </a:cubicBezTo>
                <a:cubicBezTo>
                  <a:pt x="159" y="138"/>
                  <a:pt x="154" y="134"/>
                  <a:pt x="154" y="128"/>
                </a:cubicBezTo>
                <a:close/>
                <a:moveTo>
                  <a:pt x="166" y="261"/>
                </a:moveTo>
                <a:cubicBezTo>
                  <a:pt x="161" y="261"/>
                  <a:pt x="157" y="256"/>
                  <a:pt x="157" y="251"/>
                </a:cubicBezTo>
                <a:cubicBezTo>
                  <a:pt x="157" y="245"/>
                  <a:pt x="161" y="241"/>
                  <a:pt x="166" y="241"/>
                </a:cubicBezTo>
                <a:cubicBezTo>
                  <a:pt x="172" y="241"/>
                  <a:pt x="176" y="245"/>
                  <a:pt x="176" y="251"/>
                </a:cubicBezTo>
                <a:cubicBezTo>
                  <a:pt x="176" y="256"/>
                  <a:pt x="172" y="261"/>
                  <a:pt x="166" y="261"/>
                </a:cubicBezTo>
                <a:close/>
                <a:moveTo>
                  <a:pt x="174" y="226"/>
                </a:moveTo>
                <a:cubicBezTo>
                  <a:pt x="173" y="153"/>
                  <a:pt x="173" y="153"/>
                  <a:pt x="173" y="153"/>
                </a:cubicBezTo>
                <a:cubicBezTo>
                  <a:pt x="173" y="153"/>
                  <a:pt x="173" y="152"/>
                  <a:pt x="174" y="152"/>
                </a:cubicBezTo>
                <a:cubicBezTo>
                  <a:pt x="196" y="178"/>
                  <a:pt x="196" y="178"/>
                  <a:pt x="196" y="178"/>
                </a:cubicBezTo>
                <a:cubicBezTo>
                  <a:pt x="193" y="182"/>
                  <a:pt x="192" y="187"/>
                  <a:pt x="192" y="192"/>
                </a:cubicBezTo>
                <a:cubicBezTo>
                  <a:pt x="192" y="197"/>
                  <a:pt x="193" y="201"/>
                  <a:pt x="196" y="205"/>
                </a:cubicBezTo>
                <a:cubicBezTo>
                  <a:pt x="176" y="227"/>
                  <a:pt x="176" y="227"/>
                  <a:pt x="176" y="227"/>
                </a:cubicBezTo>
                <a:cubicBezTo>
                  <a:pt x="176" y="227"/>
                  <a:pt x="175" y="226"/>
                  <a:pt x="174" y="226"/>
                </a:cubicBezTo>
                <a:close/>
                <a:moveTo>
                  <a:pt x="188" y="265"/>
                </a:moveTo>
                <a:cubicBezTo>
                  <a:pt x="188" y="264"/>
                  <a:pt x="189" y="263"/>
                  <a:pt x="189" y="262"/>
                </a:cubicBezTo>
                <a:cubicBezTo>
                  <a:pt x="209" y="265"/>
                  <a:pt x="209" y="265"/>
                  <a:pt x="209" y="265"/>
                </a:cubicBezTo>
                <a:cubicBezTo>
                  <a:pt x="209" y="290"/>
                  <a:pt x="209" y="290"/>
                  <a:pt x="209" y="290"/>
                </a:cubicBezTo>
                <a:cubicBezTo>
                  <a:pt x="208" y="290"/>
                  <a:pt x="208" y="290"/>
                  <a:pt x="208" y="290"/>
                </a:cubicBezTo>
                <a:lnTo>
                  <a:pt x="188" y="265"/>
                </a:lnTo>
                <a:close/>
                <a:moveTo>
                  <a:pt x="216" y="324"/>
                </a:moveTo>
                <a:cubicBezTo>
                  <a:pt x="211" y="324"/>
                  <a:pt x="207" y="320"/>
                  <a:pt x="207" y="314"/>
                </a:cubicBezTo>
                <a:cubicBezTo>
                  <a:pt x="207" y="309"/>
                  <a:pt x="211" y="304"/>
                  <a:pt x="216" y="304"/>
                </a:cubicBezTo>
                <a:cubicBezTo>
                  <a:pt x="222" y="304"/>
                  <a:pt x="226" y="309"/>
                  <a:pt x="226" y="314"/>
                </a:cubicBezTo>
                <a:cubicBezTo>
                  <a:pt x="226" y="320"/>
                  <a:pt x="222" y="324"/>
                  <a:pt x="216" y="324"/>
                </a:cubicBezTo>
                <a:close/>
                <a:moveTo>
                  <a:pt x="225" y="290"/>
                </a:moveTo>
                <a:cubicBezTo>
                  <a:pt x="225" y="290"/>
                  <a:pt x="225" y="290"/>
                  <a:pt x="225" y="290"/>
                </a:cubicBezTo>
                <a:cubicBezTo>
                  <a:pt x="225" y="268"/>
                  <a:pt x="225" y="268"/>
                  <a:pt x="225" y="268"/>
                </a:cubicBezTo>
                <a:cubicBezTo>
                  <a:pt x="241" y="270"/>
                  <a:pt x="241" y="270"/>
                  <a:pt x="241" y="270"/>
                </a:cubicBezTo>
                <a:lnTo>
                  <a:pt x="225" y="290"/>
                </a:lnTo>
                <a:close/>
                <a:moveTo>
                  <a:pt x="238" y="300"/>
                </a:moveTo>
                <a:cubicBezTo>
                  <a:pt x="238" y="300"/>
                  <a:pt x="238" y="300"/>
                  <a:pt x="238" y="300"/>
                </a:cubicBezTo>
                <a:cubicBezTo>
                  <a:pt x="259" y="273"/>
                  <a:pt x="259" y="273"/>
                  <a:pt x="259" y="273"/>
                </a:cubicBezTo>
                <a:cubicBezTo>
                  <a:pt x="311" y="281"/>
                  <a:pt x="311" y="281"/>
                  <a:pt x="311" y="281"/>
                </a:cubicBezTo>
                <a:lnTo>
                  <a:pt x="238" y="300"/>
                </a:lnTo>
                <a:close/>
                <a:moveTo>
                  <a:pt x="327" y="267"/>
                </a:moveTo>
                <a:cubicBezTo>
                  <a:pt x="270" y="259"/>
                  <a:pt x="270" y="259"/>
                  <a:pt x="270" y="259"/>
                </a:cubicBezTo>
                <a:cubicBezTo>
                  <a:pt x="282" y="243"/>
                  <a:pt x="282" y="243"/>
                  <a:pt x="282" y="243"/>
                </a:cubicBezTo>
                <a:cubicBezTo>
                  <a:pt x="285" y="244"/>
                  <a:pt x="288" y="245"/>
                  <a:pt x="291" y="245"/>
                </a:cubicBezTo>
                <a:cubicBezTo>
                  <a:pt x="295" y="245"/>
                  <a:pt x="299" y="244"/>
                  <a:pt x="303" y="242"/>
                </a:cubicBezTo>
                <a:cubicBezTo>
                  <a:pt x="327" y="267"/>
                  <a:pt x="327" y="267"/>
                  <a:pt x="327" y="267"/>
                </a:cubicBezTo>
                <a:cubicBezTo>
                  <a:pt x="327" y="267"/>
                  <a:pt x="327" y="267"/>
                  <a:pt x="327" y="267"/>
                </a:cubicBezTo>
                <a:close/>
                <a:moveTo>
                  <a:pt x="314" y="231"/>
                </a:moveTo>
                <a:cubicBezTo>
                  <a:pt x="316" y="227"/>
                  <a:pt x="317" y="223"/>
                  <a:pt x="317" y="219"/>
                </a:cubicBezTo>
                <a:cubicBezTo>
                  <a:pt x="317" y="215"/>
                  <a:pt x="316" y="211"/>
                  <a:pt x="315" y="208"/>
                </a:cubicBezTo>
                <a:cubicBezTo>
                  <a:pt x="345" y="181"/>
                  <a:pt x="345" y="181"/>
                  <a:pt x="345" y="181"/>
                </a:cubicBezTo>
                <a:cubicBezTo>
                  <a:pt x="347" y="182"/>
                  <a:pt x="349" y="184"/>
                  <a:pt x="352" y="185"/>
                </a:cubicBezTo>
                <a:cubicBezTo>
                  <a:pt x="345" y="254"/>
                  <a:pt x="345" y="254"/>
                  <a:pt x="345" y="254"/>
                </a:cubicBezTo>
                <a:cubicBezTo>
                  <a:pt x="343" y="254"/>
                  <a:pt x="341" y="255"/>
                  <a:pt x="339" y="256"/>
                </a:cubicBezTo>
                <a:lnTo>
                  <a:pt x="314" y="231"/>
                </a:lnTo>
                <a:close/>
                <a:moveTo>
                  <a:pt x="350" y="289"/>
                </a:moveTo>
                <a:cubicBezTo>
                  <a:pt x="345" y="289"/>
                  <a:pt x="340" y="284"/>
                  <a:pt x="340" y="279"/>
                </a:cubicBezTo>
                <a:cubicBezTo>
                  <a:pt x="340" y="274"/>
                  <a:pt x="345" y="269"/>
                  <a:pt x="350" y="269"/>
                </a:cubicBezTo>
                <a:cubicBezTo>
                  <a:pt x="356" y="269"/>
                  <a:pt x="360" y="274"/>
                  <a:pt x="360" y="279"/>
                </a:cubicBezTo>
                <a:cubicBezTo>
                  <a:pt x="360" y="284"/>
                  <a:pt x="356" y="289"/>
                  <a:pt x="350" y="289"/>
                </a:cubicBezTo>
                <a:close/>
                <a:moveTo>
                  <a:pt x="352" y="161"/>
                </a:moveTo>
                <a:cubicBezTo>
                  <a:pt x="352" y="155"/>
                  <a:pt x="357" y="151"/>
                  <a:pt x="362" y="151"/>
                </a:cubicBezTo>
                <a:cubicBezTo>
                  <a:pt x="367" y="151"/>
                  <a:pt x="372" y="155"/>
                  <a:pt x="372" y="161"/>
                </a:cubicBezTo>
                <a:cubicBezTo>
                  <a:pt x="372" y="166"/>
                  <a:pt x="367" y="171"/>
                  <a:pt x="362" y="171"/>
                </a:cubicBezTo>
                <a:cubicBezTo>
                  <a:pt x="357" y="171"/>
                  <a:pt x="352" y="166"/>
                  <a:pt x="352" y="161"/>
                </a:cubicBezTo>
                <a:close/>
                <a:moveTo>
                  <a:pt x="469" y="164"/>
                </a:moveTo>
                <a:cubicBezTo>
                  <a:pt x="469" y="162"/>
                  <a:pt x="469" y="160"/>
                  <a:pt x="469" y="158"/>
                </a:cubicBezTo>
                <a:cubicBezTo>
                  <a:pt x="469" y="140"/>
                  <a:pt x="464" y="123"/>
                  <a:pt x="454" y="109"/>
                </a:cubicBezTo>
                <a:cubicBezTo>
                  <a:pt x="452" y="105"/>
                  <a:pt x="447" y="104"/>
                  <a:pt x="443" y="107"/>
                </a:cubicBezTo>
                <a:cubicBezTo>
                  <a:pt x="439" y="109"/>
                  <a:pt x="438" y="114"/>
                  <a:pt x="441" y="118"/>
                </a:cubicBezTo>
                <a:cubicBezTo>
                  <a:pt x="449" y="129"/>
                  <a:pt x="453" y="143"/>
                  <a:pt x="453" y="158"/>
                </a:cubicBezTo>
                <a:cubicBezTo>
                  <a:pt x="453" y="162"/>
                  <a:pt x="453" y="165"/>
                  <a:pt x="453" y="169"/>
                </a:cubicBezTo>
                <a:cubicBezTo>
                  <a:pt x="452" y="171"/>
                  <a:pt x="453" y="173"/>
                  <a:pt x="454" y="175"/>
                </a:cubicBezTo>
                <a:cubicBezTo>
                  <a:pt x="456" y="177"/>
                  <a:pt x="457" y="178"/>
                  <a:pt x="460" y="178"/>
                </a:cubicBezTo>
                <a:cubicBezTo>
                  <a:pt x="485" y="181"/>
                  <a:pt x="506" y="203"/>
                  <a:pt x="506" y="229"/>
                </a:cubicBezTo>
                <a:cubicBezTo>
                  <a:pt x="506" y="255"/>
                  <a:pt x="487" y="276"/>
                  <a:pt x="462" y="280"/>
                </a:cubicBezTo>
                <a:cubicBezTo>
                  <a:pt x="458" y="281"/>
                  <a:pt x="455" y="284"/>
                  <a:pt x="455" y="288"/>
                </a:cubicBezTo>
                <a:cubicBezTo>
                  <a:pt x="455" y="288"/>
                  <a:pt x="455" y="289"/>
                  <a:pt x="455" y="289"/>
                </a:cubicBezTo>
                <a:cubicBezTo>
                  <a:pt x="455" y="289"/>
                  <a:pt x="455" y="289"/>
                  <a:pt x="455" y="289"/>
                </a:cubicBezTo>
                <a:cubicBezTo>
                  <a:pt x="455" y="322"/>
                  <a:pt x="428" y="349"/>
                  <a:pt x="394" y="349"/>
                </a:cubicBezTo>
                <a:cubicBezTo>
                  <a:pt x="380" y="349"/>
                  <a:pt x="366" y="344"/>
                  <a:pt x="356" y="336"/>
                </a:cubicBezTo>
                <a:cubicBezTo>
                  <a:pt x="354" y="334"/>
                  <a:pt x="352" y="334"/>
                  <a:pt x="349" y="334"/>
                </a:cubicBezTo>
                <a:cubicBezTo>
                  <a:pt x="347" y="334"/>
                  <a:pt x="345" y="336"/>
                  <a:pt x="344" y="338"/>
                </a:cubicBezTo>
                <a:cubicBezTo>
                  <a:pt x="332" y="357"/>
                  <a:pt x="312" y="369"/>
                  <a:pt x="288" y="369"/>
                </a:cubicBezTo>
                <a:cubicBezTo>
                  <a:pt x="273" y="369"/>
                  <a:pt x="259" y="364"/>
                  <a:pt x="248" y="355"/>
                </a:cubicBezTo>
                <a:cubicBezTo>
                  <a:pt x="246" y="354"/>
                  <a:pt x="244" y="353"/>
                  <a:pt x="242" y="353"/>
                </a:cubicBezTo>
                <a:cubicBezTo>
                  <a:pt x="240" y="354"/>
                  <a:pt x="238" y="355"/>
                  <a:pt x="236" y="357"/>
                </a:cubicBezTo>
                <a:cubicBezTo>
                  <a:pt x="224" y="373"/>
                  <a:pt x="205" y="383"/>
                  <a:pt x="184" y="383"/>
                </a:cubicBezTo>
                <a:cubicBezTo>
                  <a:pt x="156" y="383"/>
                  <a:pt x="132" y="366"/>
                  <a:pt x="122" y="341"/>
                </a:cubicBezTo>
                <a:cubicBezTo>
                  <a:pt x="122" y="339"/>
                  <a:pt x="120" y="338"/>
                  <a:pt x="118" y="337"/>
                </a:cubicBezTo>
                <a:cubicBezTo>
                  <a:pt x="116" y="336"/>
                  <a:pt x="114" y="336"/>
                  <a:pt x="112" y="337"/>
                </a:cubicBezTo>
                <a:cubicBezTo>
                  <a:pt x="105" y="340"/>
                  <a:pt x="98" y="341"/>
                  <a:pt x="91" y="341"/>
                </a:cubicBezTo>
                <a:cubicBezTo>
                  <a:pt x="62" y="341"/>
                  <a:pt x="38" y="318"/>
                  <a:pt x="38" y="289"/>
                </a:cubicBezTo>
                <a:cubicBezTo>
                  <a:pt x="38" y="282"/>
                  <a:pt x="39" y="275"/>
                  <a:pt x="42" y="269"/>
                </a:cubicBezTo>
                <a:cubicBezTo>
                  <a:pt x="43" y="266"/>
                  <a:pt x="42" y="263"/>
                  <a:pt x="40" y="260"/>
                </a:cubicBezTo>
                <a:cubicBezTo>
                  <a:pt x="25" y="247"/>
                  <a:pt x="16" y="227"/>
                  <a:pt x="16" y="205"/>
                </a:cubicBezTo>
                <a:cubicBezTo>
                  <a:pt x="16" y="165"/>
                  <a:pt x="49" y="131"/>
                  <a:pt x="89" y="130"/>
                </a:cubicBezTo>
                <a:cubicBezTo>
                  <a:pt x="92" y="130"/>
                  <a:pt x="94" y="129"/>
                  <a:pt x="95" y="128"/>
                </a:cubicBezTo>
                <a:cubicBezTo>
                  <a:pt x="97" y="126"/>
                  <a:pt x="97" y="123"/>
                  <a:pt x="97" y="121"/>
                </a:cubicBezTo>
                <a:cubicBezTo>
                  <a:pt x="96" y="118"/>
                  <a:pt x="96" y="114"/>
                  <a:pt x="96" y="111"/>
                </a:cubicBezTo>
                <a:cubicBezTo>
                  <a:pt x="96" y="81"/>
                  <a:pt x="120" y="58"/>
                  <a:pt x="149" y="58"/>
                </a:cubicBezTo>
                <a:cubicBezTo>
                  <a:pt x="163" y="58"/>
                  <a:pt x="176" y="63"/>
                  <a:pt x="185" y="72"/>
                </a:cubicBezTo>
                <a:cubicBezTo>
                  <a:pt x="187" y="73"/>
                  <a:pt x="190" y="74"/>
                  <a:pt x="192" y="74"/>
                </a:cubicBezTo>
                <a:cubicBezTo>
                  <a:pt x="195" y="73"/>
                  <a:pt x="197" y="71"/>
                  <a:pt x="198" y="69"/>
                </a:cubicBezTo>
                <a:cubicBezTo>
                  <a:pt x="211" y="38"/>
                  <a:pt x="242" y="16"/>
                  <a:pt x="278" y="16"/>
                </a:cubicBezTo>
                <a:cubicBezTo>
                  <a:pt x="319" y="16"/>
                  <a:pt x="353" y="44"/>
                  <a:pt x="362" y="82"/>
                </a:cubicBezTo>
                <a:cubicBezTo>
                  <a:pt x="363" y="87"/>
                  <a:pt x="367" y="89"/>
                  <a:pt x="371" y="89"/>
                </a:cubicBezTo>
                <a:cubicBezTo>
                  <a:pt x="375" y="88"/>
                  <a:pt x="379" y="88"/>
                  <a:pt x="383" y="88"/>
                </a:cubicBezTo>
                <a:cubicBezTo>
                  <a:pt x="395" y="88"/>
                  <a:pt x="406" y="91"/>
                  <a:pt x="416" y="96"/>
                </a:cubicBezTo>
                <a:cubicBezTo>
                  <a:pt x="420" y="98"/>
                  <a:pt x="425" y="97"/>
                  <a:pt x="427" y="93"/>
                </a:cubicBezTo>
                <a:cubicBezTo>
                  <a:pt x="429" y="89"/>
                  <a:pt x="428" y="84"/>
                  <a:pt x="424" y="82"/>
                </a:cubicBezTo>
                <a:cubicBezTo>
                  <a:pt x="424" y="82"/>
                  <a:pt x="424" y="82"/>
                  <a:pt x="424" y="82"/>
                </a:cubicBezTo>
                <a:cubicBezTo>
                  <a:pt x="412" y="75"/>
                  <a:pt x="398" y="72"/>
                  <a:pt x="383" y="72"/>
                </a:cubicBezTo>
                <a:cubicBezTo>
                  <a:pt x="381" y="72"/>
                  <a:pt x="378" y="72"/>
                  <a:pt x="376" y="72"/>
                </a:cubicBezTo>
                <a:cubicBezTo>
                  <a:pt x="363" y="30"/>
                  <a:pt x="324" y="0"/>
                  <a:pt x="278" y="0"/>
                </a:cubicBezTo>
                <a:cubicBezTo>
                  <a:pt x="239" y="0"/>
                  <a:pt x="205" y="21"/>
                  <a:pt x="188" y="53"/>
                </a:cubicBezTo>
                <a:cubicBezTo>
                  <a:pt x="177" y="46"/>
                  <a:pt x="164" y="41"/>
                  <a:pt x="149" y="42"/>
                </a:cubicBezTo>
                <a:cubicBezTo>
                  <a:pt x="111" y="42"/>
                  <a:pt x="80" y="73"/>
                  <a:pt x="80" y="111"/>
                </a:cubicBezTo>
                <a:cubicBezTo>
                  <a:pt x="80" y="112"/>
                  <a:pt x="80" y="114"/>
                  <a:pt x="80" y="115"/>
                </a:cubicBezTo>
                <a:cubicBezTo>
                  <a:pt x="35" y="120"/>
                  <a:pt x="0" y="159"/>
                  <a:pt x="0" y="205"/>
                </a:cubicBezTo>
                <a:cubicBezTo>
                  <a:pt x="0" y="230"/>
                  <a:pt x="9" y="252"/>
                  <a:pt x="25" y="268"/>
                </a:cubicBezTo>
                <a:cubicBezTo>
                  <a:pt x="23" y="275"/>
                  <a:pt x="22" y="282"/>
                  <a:pt x="22" y="289"/>
                </a:cubicBezTo>
                <a:cubicBezTo>
                  <a:pt x="22" y="326"/>
                  <a:pt x="53" y="357"/>
                  <a:pt x="91" y="357"/>
                </a:cubicBezTo>
                <a:cubicBezTo>
                  <a:pt x="98" y="357"/>
                  <a:pt x="104" y="356"/>
                  <a:pt x="111" y="354"/>
                </a:cubicBezTo>
                <a:cubicBezTo>
                  <a:pt x="124" y="381"/>
                  <a:pt x="152" y="399"/>
                  <a:pt x="184" y="399"/>
                </a:cubicBezTo>
                <a:cubicBezTo>
                  <a:pt x="208" y="399"/>
                  <a:pt x="229" y="389"/>
                  <a:pt x="244" y="372"/>
                </a:cubicBezTo>
                <a:cubicBezTo>
                  <a:pt x="257" y="380"/>
                  <a:pt x="272" y="385"/>
                  <a:pt x="288" y="385"/>
                </a:cubicBezTo>
                <a:cubicBezTo>
                  <a:pt x="314" y="385"/>
                  <a:pt x="338" y="373"/>
                  <a:pt x="353" y="353"/>
                </a:cubicBezTo>
                <a:cubicBezTo>
                  <a:pt x="365" y="361"/>
                  <a:pt x="379" y="365"/>
                  <a:pt x="394" y="365"/>
                </a:cubicBezTo>
                <a:cubicBezTo>
                  <a:pt x="435" y="365"/>
                  <a:pt x="468" y="334"/>
                  <a:pt x="471" y="294"/>
                </a:cubicBezTo>
                <a:cubicBezTo>
                  <a:pt x="500" y="287"/>
                  <a:pt x="521" y="261"/>
                  <a:pt x="522" y="229"/>
                </a:cubicBezTo>
                <a:cubicBezTo>
                  <a:pt x="522" y="197"/>
                  <a:pt x="499" y="170"/>
                  <a:pt x="469"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9" tIns="45715" rIns="91429" bIns="45715"/>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9"/>
          <p:cNvSpPr>
            <a:spLocks noChangeAspect="1"/>
          </p:cNvSpPr>
          <p:nvPr/>
        </p:nvSpPr>
        <p:spPr bwMode="auto">
          <a:xfrm>
            <a:off x="4120008" y="5131486"/>
            <a:ext cx="1320753" cy="885935"/>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9" tIns="45715" rIns="91429" bIns="45715"/>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2" name="Straight Connector 50"/>
          <p:cNvCxnSpPr>
            <a:cxnSpLocks noChangeShapeType="1"/>
          </p:cNvCxnSpPr>
          <p:nvPr/>
        </p:nvCxnSpPr>
        <p:spPr bwMode="auto">
          <a:xfrm>
            <a:off x="1402161" y="5408083"/>
            <a:ext cx="3943632" cy="392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3" name="Straight Connector 50"/>
          <p:cNvCxnSpPr>
            <a:cxnSpLocks noChangeShapeType="1"/>
          </p:cNvCxnSpPr>
          <p:nvPr/>
        </p:nvCxnSpPr>
        <p:spPr bwMode="auto">
          <a:xfrm flipV="1">
            <a:off x="1439511" y="5643987"/>
            <a:ext cx="3963150" cy="11746"/>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4" name="Straight Connector 50"/>
          <p:cNvCxnSpPr>
            <a:cxnSpLocks noChangeShapeType="1"/>
          </p:cNvCxnSpPr>
          <p:nvPr/>
        </p:nvCxnSpPr>
        <p:spPr bwMode="auto">
          <a:xfrm>
            <a:off x="1477611" y="5863434"/>
            <a:ext cx="3868182"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25" name="Rectangle 24"/>
          <p:cNvSpPr/>
          <p:nvPr/>
        </p:nvSpPr>
        <p:spPr>
          <a:xfrm>
            <a:off x="6457778" y="4062118"/>
            <a:ext cx="1726755"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Partner Operator</a:t>
            </a:r>
          </a:p>
        </p:txBody>
      </p:sp>
      <p:sp>
        <p:nvSpPr>
          <p:cNvPr id="26" name="Freeform 3"/>
          <p:cNvSpPr>
            <a:spLocks noChangeAspect="1" noEditPoints="1"/>
          </p:cNvSpPr>
          <p:nvPr/>
        </p:nvSpPr>
        <p:spPr bwMode="auto">
          <a:xfrm>
            <a:off x="6620007" y="5279263"/>
            <a:ext cx="551629" cy="678928"/>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8585A"/>
                </a:solidFill>
                <a:prstDash val="solid"/>
                <a:round/>
                <a:headEnd type="none" w="med" len="med"/>
                <a:tailEnd type="none" w="med" len="me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27" name="Freeform 3"/>
          <p:cNvSpPr>
            <a:spLocks noChangeAspect="1" noEditPoints="1"/>
          </p:cNvSpPr>
          <p:nvPr/>
        </p:nvSpPr>
        <p:spPr bwMode="auto">
          <a:xfrm>
            <a:off x="7324860" y="5250919"/>
            <a:ext cx="971547" cy="707271"/>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2"/>
              <a:gd name="T160" fmla="*/ 0 h 399"/>
              <a:gd name="T161" fmla="*/ 522 w 522"/>
              <a:gd name="T162" fmla="*/ 399 h 3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2" h="399">
                <a:moveTo>
                  <a:pt x="388" y="161"/>
                </a:moveTo>
                <a:cubicBezTo>
                  <a:pt x="388" y="147"/>
                  <a:pt x="376" y="135"/>
                  <a:pt x="362" y="135"/>
                </a:cubicBezTo>
                <a:cubicBezTo>
                  <a:pt x="356" y="135"/>
                  <a:pt x="351" y="137"/>
                  <a:pt x="347" y="140"/>
                </a:cubicBezTo>
                <a:cubicBezTo>
                  <a:pt x="307" y="111"/>
                  <a:pt x="307" y="111"/>
                  <a:pt x="307" y="111"/>
                </a:cubicBezTo>
                <a:cubicBezTo>
                  <a:pt x="308" y="109"/>
                  <a:pt x="309" y="106"/>
                  <a:pt x="309" y="103"/>
                </a:cubicBezTo>
                <a:cubicBezTo>
                  <a:pt x="309" y="89"/>
                  <a:pt x="297" y="78"/>
                  <a:pt x="283" y="78"/>
                </a:cubicBezTo>
                <a:cubicBezTo>
                  <a:pt x="269" y="78"/>
                  <a:pt x="258" y="88"/>
                  <a:pt x="257" y="101"/>
                </a:cubicBezTo>
                <a:cubicBezTo>
                  <a:pt x="187" y="115"/>
                  <a:pt x="187" y="115"/>
                  <a:pt x="187" y="115"/>
                </a:cubicBezTo>
                <a:cubicBezTo>
                  <a:pt x="182" y="108"/>
                  <a:pt x="174" y="103"/>
                  <a:pt x="164" y="103"/>
                </a:cubicBezTo>
                <a:cubicBezTo>
                  <a:pt x="150" y="103"/>
                  <a:pt x="138" y="114"/>
                  <a:pt x="138" y="128"/>
                </a:cubicBezTo>
                <a:cubicBezTo>
                  <a:pt x="138" y="140"/>
                  <a:pt x="146" y="150"/>
                  <a:pt x="157" y="153"/>
                </a:cubicBezTo>
                <a:cubicBezTo>
                  <a:pt x="158" y="226"/>
                  <a:pt x="158" y="226"/>
                  <a:pt x="158" y="226"/>
                </a:cubicBezTo>
                <a:cubicBezTo>
                  <a:pt x="148" y="230"/>
                  <a:pt x="141" y="239"/>
                  <a:pt x="141" y="251"/>
                </a:cubicBezTo>
                <a:cubicBezTo>
                  <a:pt x="141" y="265"/>
                  <a:pt x="152" y="277"/>
                  <a:pt x="166" y="277"/>
                </a:cubicBezTo>
                <a:cubicBezTo>
                  <a:pt x="170" y="277"/>
                  <a:pt x="173" y="276"/>
                  <a:pt x="175" y="275"/>
                </a:cubicBezTo>
                <a:cubicBezTo>
                  <a:pt x="195" y="300"/>
                  <a:pt x="195" y="300"/>
                  <a:pt x="195" y="300"/>
                </a:cubicBezTo>
                <a:cubicBezTo>
                  <a:pt x="192" y="304"/>
                  <a:pt x="191" y="309"/>
                  <a:pt x="191" y="314"/>
                </a:cubicBezTo>
                <a:cubicBezTo>
                  <a:pt x="191" y="329"/>
                  <a:pt x="202" y="340"/>
                  <a:pt x="216" y="340"/>
                </a:cubicBezTo>
                <a:cubicBezTo>
                  <a:pt x="230" y="340"/>
                  <a:pt x="241" y="329"/>
                  <a:pt x="242" y="316"/>
                </a:cubicBezTo>
                <a:cubicBezTo>
                  <a:pt x="328" y="293"/>
                  <a:pt x="328" y="293"/>
                  <a:pt x="328" y="293"/>
                </a:cubicBezTo>
                <a:cubicBezTo>
                  <a:pt x="333" y="300"/>
                  <a:pt x="341" y="305"/>
                  <a:pt x="350" y="305"/>
                </a:cubicBezTo>
                <a:cubicBezTo>
                  <a:pt x="364" y="305"/>
                  <a:pt x="376" y="293"/>
                  <a:pt x="376" y="279"/>
                </a:cubicBezTo>
                <a:cubicBezTo>
                  <a:pt x="376" y="268"/>
                  <a:pt x="370" y="259"/>
                  <a:pt x="361" y="255"/>
                </a:cubicBezTo>
                <a:cubicBezTo>
                  <a:pt x="368" y="186"/>
                  <a:pt x="368" y="186"/>
                  <a:pt x="368" y="186"/>
                </a:cubicBezTo>
                <a:cubicBezTo>
                  <a:pt x="379" y="184"/>
                  <a:pt x="388" y="173"/>
                  <a:pt x="388" y="161"/>
                </a:cubicBezTo>
                <a:close/>
                <a:moveTo>
                  <a:pt x="291" y="193"/>
                </a:moveTo>
                <a:cubicBezTo>
                  <a:pt x="283" y="193"/>
                  <a:pt x="276" y="197"/>
                  <a:pt x="271" y="203"/>
                </a:cubicBezTo>
                <a:cubicBezTo>
                  <a:pt x="245" y="193"/>
                  <a:pt x="245" y="193"/>
                  <a:pt x="245" y="193"/>
                </a:cubicBezTo>
                <a:cubicBezTo>
                  <a:pt x="330" y="173"/>
                  <a:pt x="330" y="173"/>
                  <a:pt x="330" y="173"/>
                </a:cubicBezTo>
                <a:cubicBezTo>
                  <a:pt x="304" y="196"/>
                  <a:pt x="304" y="196"/>
                  <a:pt x="304" y="196"/>
                </a:cubicBezTo>
                <a:cubicBezTo>
                  <a:pt x="300" y="194"/>
                  <a:pt x="296" y="193"/>
                  <a:pt x="291" y="193"/>
                </a:cubicBezTo>
                <a:close/>
                <a:moveTo>
                  <a:pt x="301" y="219"/>
                </a:moveTo>
                <a:cubicBezTo>
                  <a:pt x="301" y="224"/>
                  <a:pt x="296" y="229"/>
                  <a:pt x="291" y="229"/>
                </a:cubicBezTo>
                <a:cubicBezTo>
                  <a:pt x="286" y="229"/>
                  <a:pt x="281" y="224"/>
                  <a:pt x="281" y="219"/>
                </a:cubicBezTo>
                <a:cubicBezTo>
                  <a:pt x="281" y="213"/>
                  <a:pt x="286" y="209"/>
                  <a:pt x="291" y="209"/>
                </a:cubicBezTo>
                <a:cubicBezTo>
                  <a:pt x="296" y="209"/>
                  <a:pt x="301" y="213"/>
                  <a:pt x="301" y="219"/>
                </a:cubicBezTo>
                <a:close/>
                <a:moveTo>
                  <a:pt x="208" y="192"/>
                </a:moveTo>
                <a:cubicBezTo>
                  <a:pt x="208" y="186"/>
                  <a:pt x="212" y="182"/>
                  <a:pt x="218" y="182"/>
                </a:cubicBezTo>
                <a:cubicBezTo>
                  <a:pt x="223" y="182"/>
                  <a:pt x="228" y="186"/>
                  <a:pt x="228" y="192"/>
                </a:cubicBezTo>
                <a:cubicBezTo>
                  <a:pt x="228" y="192"/>
                  <a:pt x="228" y="192"/>
                  <a:pt x="228" y="192"/>
                </a:cubicBezTo>
                <a:cubicBezTo>
                  <a:pt x="228" y="197"/>
                  <a:pt x="223" y="202"/>
                  <a:pt x="218" y="202"/>
                </a:cubicBezTo>
                <a:cubicBezTo>
                  <a:pt x="212" y="202"/>
                  <a:pt x="208" y="197"/>
                  <a:pt x="208" y="192"/>
                </a:cubicBezTo>
                <a:close/>
                <a:moveTo>
                  <a:pt x="209" y="216"/>
                </a:moveTo>
                <a:cubicBezTo>
                  <a:pt x="209" y="249"/>
                  <a:pt x="209" y="249"/>
                  <a:pt x="209" y="249"/>
                </a:cubicBezTo>
                <a:cubicBezTo>
                  <a:pt x="192" y="247"/>
                  <a:pt x="192" y="247"/>
                  <a:pt x="192" y="247"/>
                </a:cubicBezTo>
                <a:cubicBezTo>
                  <a:pt x="191" y="243"/>
                  <a:pt x="190" y="240"/>
                  <a:pt x="189" y="237"/>
                </a:cubicBezTo>
                <a:cubicBezTo>
                  <a:pt x="208" y="216"/>
                  <a:pt x="208" y="216"/>
                  <a:pt x="208" y="216"/>
                </a:cubicBezTo>
                <a:cubicBezTo>
                  <a:pt x="208" y="216"/>
                  <a:pt x="209" y="216"/>
                  <a:pt x="209" y="216"/>
                </a:cubicBezTo>
                <a:close/>
                <a:moveTo>
                  <a:pt x="225" y="216"/>
                </a:moveTo>
                <a:cubicBezTo>
                  <a:pt x="230" y="215"/>
                  <a:pt x="235" y="212"/>
                  <a:pt x="238" y="208"/>
                </a:cubicBezTo>
                <a:cubicBezTo>
                  <a:pt x="265" y="218"/>
                  <a:pt x="265" y="218"/>
                  <a:pt x="265" y="218"/>
                </a:cubicBezTo>
                <a:cubicBezTo>
                  <a:pt x="265" y="218"/>
                  <a:pt x="265" y="218"/>
                  <a:pt x="265" y="219"/>
                </a:cubicBezTo>
                <a:cubicBezTo>
                  <a:pt x="265" y="224"/>
                  <a:pt x="267" y="229"/>
                  <a:pt x="270" y="233"/>
                </a:cubicBezTo>
                <a:cubicBezTo>
                  <a:pt x="252" y="256"/>
                  <a:pt x="252" y="256"/>
                  <a:pt x="252" y="256"/>
                </a:cubicBezTo>
                <a:cubicBezTo>
                  <a:pt x="225" y="252"/>
                  <a:pt x="225" y="252"/>
                  <a:pt x="225" y="252"/>
                </a:cubicBezTo>
                <a:lnTo>
                  <a:pt x="225" y="216"/>
                </a:lnTo>
                <a:close/>
                <a:moveTo>
                  <a:pt x="283" y="94"/>
                </a:moveTo>
                <a:cubicBezTo>
                  <a:pt x="288" y="94"/>
                  <a:pt x="293" y="98"/>
                  <a:pt x="293" y="103"/>
                </a:cubicBezTo>
                <a:cubicBezTo>
                  <a:pt x="293" y="109"/>
                  <a:pt x="288" y="113"/>
                  <a:pt x="283" y="113"/>
                </a:cubicBezTo>
                <a:cubicBezTo>
                  <a:pt x="277" y="113"/>
                  <a:pt x="273" y="109"/>
                  <a:pt x="273" y="103"/>
                </a:cubicBezTo>
                <a:cubicBezTo>
                  <a:pt x="273" y="98"/>
                  <a:pt x="277" y="94"/>
                  <a:pt x="283" y="94"/>
                </a:cubicBezTo>
                <a:close/>
                <a:moveTo>
                  <a:pt x="275" y="128"/>
                </a:moveTo>
                <a:cubicBezTo>
                  <a:pt x="277" y="129"/>
                  <a:pt x="280" y="129"/>
                  <a:pt x="283" y="129"/>
                </a:cubicBezTo>
                <a:cubicBezTo>
                  <a:pt x="288" y="129"/>
                  <a:pt x="294" y="127"/>
                  <a:pt x="298" y="124"/>
                </a:cubicBezTo>
                <a:cubicBezTo>
                  <a:pt x="326" y="145"/>
                  <a:pt x="326" y="145"/>
                  <a:pt x="326" y="145"/>
                </a:cubicBezTo>
                <a:cubicBezTo>
                  <a:pt x="269" y="136"/>
                  <a:pt x="269" y="136"/>
                  <a:pt x="269" y="136"/>
                </a:cubicBezTo>
                <a:lnTo>
                  <a:pt x="275" y="128"/>
                </a:lnTo>
                <a:close/>
                <a:moveTo>
                  <a:pt x="318" y="160"/>
                </a:moveTo>
                <a:cubicBezTo>
                  <a:pt x="240" y="178"/>
                  <a:pt x="240" y="178"/>
                  <a:pt x="240" y="178"/>
                </a:cubicBezTo>
                <a:cubicBezTo>
                  <a:pt x="239" y="178"/>
                  <a:pt x="239" y="177"/>
                  <a:pt x="239" y="177"/>
                </a:cubicBezTo>
                <a:cubicBezTo>
                  <a:pt x="258" y="151"/>
                  <a:pt x="258" y="151"/>
                  <a:pt x="258" y="151"/>
                </a:cubicBezTo>
                <a:lnTo>
                  <a:pt x="318" y="160"/>
                </a:lnTo>
                <a:close/>
                <a:moveTo>
                  <a:pt x="260" y="116"/>
                </a:moveTo>
                <a:cubicBezTo>
                  <a:pt x="261" y="117"/>
                  <a:pt x="261" y="118"/>
                  <a:pt x="262" y="118"/>
                </a:cubicBezTo>
                <a:cubicBezTo>
                  <a:pt x="251" y="133"/>
                  <a:pt x="251" y="133"/>
                  <a:pt x="251" y="133"/>
                </a:cubicBezTo>
                <a:cubicBezTo>
                  <a:pt x="209" y="127"/>
                  <a:pt x="209" y="127"/>
                  <a:pt x="209" y="127"/>
                </a:cubicBezTo>
                <a:lnTo>
                  <a:pt x="260" y="116"/>
                </a:lnTo>
                <a:close/>
                <a:moveTo>
                  <a:pt x="187" y="140"/>
                </a:moveTo>
                <a:cubicBezTo>
                  <a:pt x="240" y="148"/>
                  <a:pt x="240" y="148"/>
                  <a:pt x="240" y="148"/>
                </a:cubicBezTo>
                <a:cubicBezTo>
                  <a:pt x="226" y="167"/>
                  <a:pt x="226" y="167"/>
                  <a:pt x="226" y="167"/>
                </a:cubicBezTo>
                <a:cubicBezTo>
                  <a:pt x="223" y="166"/>
                  <a:pt x="221" y="166"/>
                  <a:pt x="218" y="166"/>
                </a:cubicBezTo>
                <a:cubicBezTo>
                  <a:pt x="214" y="166"/>
                  <a:pt x="211" y="167"/>
                  <a:pt x="208" y="168"/>
                </a:cubicBezTo>
                <a:cubicBezTo>
                  <a:pt x="186" y="142"/>
                  <a:pt x="186" y="142"/>
                  <a:pt x="186" y="142"/>
                </a:cubicBezTo>
                <a:cubicBezTo>
                  <a:pt x="187" y="141"/>
                  <a:pt x="187" y="141"/>
                  <a:pt x="187" y="140"/>
                </a:cubicBezTo>
                <a:close/>
                <a:moveTo>
                  <a:pt x="154" y="128"/>
                </a:moveTo>
                <a:cubicBezTo>
                  <a:pt x="154" y="123"/>
                  <a:pt x="159" y="119"/>
                  <a:pt x="164" y="119"/>
                </a:cubicBezTo>
                <a:cubicBezTo>
                  <a:pt x="170" y="119"/>
                  <a:pt x="174" y="123"/>
                  <a:pt x="174" y="128"/>
                </a:cubicBezTo>
                <a:cubicBezTo>
                  <a:pt x="174" y="134"/>
                  <a:pt x="170" y="138"/>
                  <a:pt x="164" y="138"/>
                </a:cubicBezTo>
                <a:cubicBezTo>
                  <a:pt x="159" y="138"/>
                  <a:pt x="154" y="134"/>
                  <a:pt x="154" y="128"/>
                </a:cubicBezTo>
                <a:close/>
                <a:moveTo>
                  <a:pt x="166" y="261"/>
                </a:moveTo>
                <a:cubicBezTo>
                  <a:pt x="161" y="261"/>
                  <a:pt x="157" y="256"/>
                  <a:pt x="157" y="251"/>
                </a:cubicBezTo>
                <a:cubicBezTo>
                  <a:pt x="157" y="245"/>
                  <a:pt x="161" y="241"/>
                  <a:pt x="166" y="241"/>
                </a:cubicBezTo>
                <a:cubicBezTo>
                  <a:pt x="172" y="241"/>
                  <a:pt x="176" y="245"/>
                  <a:pt x="176" y="251"/>
                </a:cubicBezTo>
                <a:cubicBezTo>
                  <a:pt x="176" y="256"/>
                  <a:pt x="172" y="261"/>
                  <a:pt x="166" y="261"/>
                </a:cubicBezTo>
                <a:close/>
                <a:moveTo>
                  <a:pt x="174" y="226"/>
                </a:moveTo>
                <a:cubicBezTo>
                  <a:pt x="173" y="153"/>
                  <a:pt x="173" y="153"/>
                  <a:pt x="173" y="153"/>
                </a:cubicBezTo>
                <a:cubicBezTo>
                  <a:pt x="173" y="153"/>
                  <a:pt x="173" y="152"/>
                  <a:pt x="174" y="152"/>
                </a:cubicBezTo>
                <a:cubicBezTo>
                  <a:pt x="196" y="178"/>
                  <a:pt x="196" y="178"/>
                  <a:pt x="196" y="178"/>
                </a:cubicBezTo>
                <a:cubicBezTo>
                  <a:pt x="193" y="182"/>
                  <a:pt x="192" y="187"/>
                  <a:pt x="192" y="192"/>
                </a:cubicBezTo>
                <a:cubicBezTo>
                  <a:pt x="192" y="197"/>
                  <a:pt x="193" y="201"/>
                  <a:pt x="196" y="205"/>
                </a:cubicBezTo>
                <a:cubicBezTo>
                  <a:pt x="176" y="227"/>
                  <a:pt x="176" y="227"/>
                  <a:pt x="176" y="227"/>
                </a:cubicBezTo>
                <a:cubicBezTo>
                  <a:pt x="176" y="227"/>
                  <a:pt x="175" y="226"/>
                  <a:pt x="174" y="226"/>
                </a:cubicBezTo>
                <a:close/>
                <a:moveTo>
                  <a:pt x="188" y="265"/>
                </a:moveTo>
                <a:cubicBezTo>
                  <a:pt x="188" y="264"/>
                  <a:pt x="189" y="263"/>
                  <a:pt x="189" y="262"/>
                </a:cubicBezTo>
                <a:cubicBezTo>
                  <a:pt x="209" y="265"/>
                  <a:pt x="209" y="265"/>
                  <a:pt x="209" y="265"/>
                </a:cubicBezTo>
                <a:cubicBezTo>
                  <a:pt x="209" y="290"/>
                  <a:pt x="209" y="290"/>
                  <a:pt x="209" y="290"/>
                </a:cubicBezTo>
                <a:cubicBezTo>
                  <a:pt x="208" y="290"/>
                  <a:pt x="208" y="290"/>
                  <a:pt x="208" y="290"/>
                </a:cubicBezTo>
                <a:lnTo>
                  <a:pt x="188" y="265"/>
                </a:lnTo>
                <a:close/>
                <a:moveTo>
                  <a:pt x="216" y="324"/>
                </a:moveTo>
                <a:cubicBezTo>
                  <a:pt x="211" y="324"/>
                  <a:pt x="207" y="320"/>
                  <a:pt x="207" y="314"/>
                </a:cubicBezTo>
                <a:cubicBezTo>
                  <a:pt x="207" y="309"/>
                  <a:pt x="211" y="304"/>
                  <a:pt x="216" y="304"/>
                </a:cubicBezTo>
                <a:cubicBezTo>
                  <a:pt x="222" y="304"/>
                  <a:pt x="226" y="309"/>
                  <a:pt x="226" y="314"/>
                </a:cubicBezTo>
                <a:cubicBezTo>
                  <a:pt x="226" y="320"/>
                  <a:pt x="222" y="324"/>
                  <a:pt x="216" y="324"/>
                </a:cubicBezTo>
                <a:close/>
                <a:moveTo>
                  <a:pt x="225" y="290"/>
                </a:moveTo>
                <a:cubicBezTo>
                  <a:pt x="225" y="290"/>
                  <a:pt x="225" y="290"/>
                  <a:pt x="225" y="290"/>
                </a:cubicBezTo>
                <a:cubicBezTo>
                  <a:pt x="225" y="268"/>
                  <a:pt x="225" y="268"/>
                  <a:pt x="225" y="268"/>
                </a:cubicBezTo>
                <a:cubicBezTo>
                  <a:pt x="241" y="270"/>
                  <a:pt x="241" y="270"/>
                  <a:pt x="241" y="270"/>
                </a:cubicBezTo>
                <a:lnTo>
                  <a:pt x="225" y="290"/>
                </a:lnTo>
                <a:close/>
                <a:moveTo>
                  <a:pt x="238" y="300"/>
                </a:moveTo>
                <a:cubicBezTo>
                  <a:pt x="238" y="300"/>
                  <a:pt x="238" y="300"/>
                  <a:pt x="238" y="300"/>
                </a:cubicBezTo>
                <a:cubicBezTo>
                  <a:pt x="259" y="273"/>
                  <a:pt x="259" y="273"/>
                  <a:pt x="259" y="273"/>
                </a:cubicBezTo>
                <a:cubicBezTo>
                  <a:pt x="311" y="281"/>
                  <a:pt x="311" y="281"/>
                  <a:pt x="311" y="281"/>
                </a:cubicBezTo>
                <a:lnTo>
                  <a:pt x="238" y="300"/>
                </a:lnTo>
                <a:close/>
                <a:moveTo>
                  <a:pt x="327" y="267"/>
                </a:moveTo>
                <a:cubicBezTo>
                  <a:pt x="270" y="259"/>
                  <a:pt x="270" y="259"/>
                  <a:pt x="270" y="259"/>
                </a:cubicBezTo>
                <a:cubicBezTo>
                  <a:pt x="282" y="243"/>
                  <a:pt x="282" y="243"/>
                  <a:pt x="282" y="243"/>
                </a:cubicBezTo>
                <a:cubicBezTo>
                  <a:pt x="285" y="244"/>
                  <a:pt x="288" y="245"/>
                  <a:pt x="291" y="245"/>
                </a:cubicBezTo>
                <a:cubicBezTo>
                  <a:pt x="295" y="245"/>
                  <a:pt x="299" y="244"/>
                  <a:pt x="303" y="242"/>
                </a:cubicBezTo>
                <a:cubicBezTo>
                  <a:pt x="327" y="267"/>
                  <a:pt x="327" y="267"/>
                  <a:pt x="327" y="267"/>
                </a:cubicBezTo>
                <a:cubicBezTo>
                  <a:pt x="327" y="267"/>
                  <a:pt x="327" y="267"/>
                  <a:pt x="327" y="267"/>
                </a:cubicBezTo>
                <a:close/>
                <a:moveTo>
                  <a:pt x="314" y="231"/>
                </a:moveTo>
                <a:cubicBezTo>
                  <a:pt x="316" y="227"/>
                  <a:pt x="317" y="223"/>
                  <a:pt x="317" y="219"/>
                </a:cubicBezTo>
                <a:cubicBezTo>
                  <a:pt x="317" y="215"/>
                  <a:pt x="316" y="211"/>
                  <a:pt x="315" y="208"/>
                </a:cubicBezTo>
                <a:cubicBezTo>
                  <a:pt x="345" y="181"/>
                  <a:pt x="345" y="181"/>
                  <a:pt x="345" y="181"/>
                </a:cubicBezTo>
                <a:cubicBezTo>
                  <a:pt x="347" y="182"/>
                  <a:pt x="349" y="184"/>
                  <a:pt x="352" y="185"/>
                </a:cubicBezTo>
                <a:cubicBezTo>
                  <a:pt x="345" y="254"/>
                  <a:pt x="345" y="254"/>
                  <a:pt x="345" y="254"/>
                </a:cubicBezTo>
                <a:cubicBezTo>
                  <a:pt x="343" y="254"/>
                  <a:pt x="341" y="255"/>
                  <a:pt x="339" y="256"/>
                </a:cubicBezTo>
                <a:lnTo>
                  <a:pt x="314" y="231"/>
                </a:lnTo>
                <a:close/>
                <a:moveTo>
                  <a:pt x="350" y="289"/>
                </a:moveTo>
                <a:cubicBezTo>
                  <a:pt x="345" y="289"/>
                  <a:pt x="340" y="284"/>
                  <a:pt x="340" y="279"/>
                </a:cubicBezTo>
                <a:cubicBezTo>
                  <a:pt x="340" y="274"/>
                  <a:pt x="345" y="269"/>
                  <a:pt x="350" y="269"/>
                </a:cubicBezTo>
                <a:cubicBezTo>
                  <a:pt x="356" y="269"/>
                  <a:pt x="360" y="274"/>
                  <a:pt x="360" y="279"/>
                </a:cubicBezTo>
                <a:cubicBezTo>
                  <a:pt x="360" y="284"/>
                  <a:pt x="356" y="289"/>
                  <a:pt x="350" y="289"/>
                </a:cubicBezTo>
                <a:close/>
                <a:moveTo>
                  <a:pt x="352" y="161"/>
                </a:moveTo>
                <a:cubicBezTo>
                  <a:pt x="352" y="155"/>
                  <a:pt x="357" y="151"/>
                  <a:pt x="362" y="151"/>
                </a:cubicBezTo>
                <a:cubicBezTo>
                  <a:pt x="367" y="151"/>
                  <a:pt x="372" y="155"/>
                  <a:pt x="372" y="161"/>
                </a:cubicBezTo>
                <a:cubicBezTo>
                  <a:pt x="372" y="166"/>
                  <a:pt x="367" y="171"/>
                  <a:pt x="362" y="171"/>
                </a:cubicBezTo>
                <a:cubicBezTo>
                  <a:pt x="357" y="171"/>
                  <a:pt x="352" y="166"/>
                  <a:pt x="352" y="161"/>
                </a:cubicBezTo>
                <a:close/>
                <a:moveTo>
                  <a:pt x="469" y="164"/>
                </a:moveTo>
                <a:cubicBezTo>
                  <a:pt x="469" y="162"/>
                  <a:pt x="469" y="160"/>
                  <a:pt x="469" y="158"/>
                </a:cubicBezTo>
                <a:cubicBezTo>
                  <a:pt x="469" y="140"/>
                  <a:pt x="464" y="123"/>
                  <a:pt x="454" y="109"/>
                </a:cubicBezTo>
                <a:cubicBezTo>
                  <a:pt x="452" y="105"/>
                  <a:pt x="447" y="104"/>
                  <a:pt x="443" y="107"/>
                </a:cubicBezTo>
                <a:cubicBezTo>
                  <a:pt x="439" y="109"/>
                  <a:pt x="438" y="114"/>
                  <a:pt x="441" y="118"/>
                </a:cubicBezTo>
                <a:cubicBezTo>
                  <a:pt x="449" y="129"/>
                  <a:pt x="453" y="143"/>
                  <a:pt x="453" y="158"/>
                </a:cubicBezTo>
                <a:cubicBezTo>
                  <a:pt x="453" y="162"/>
                  <a:pt x="453" y="165"/>
                  <a:pt x="453" y="169"/>
                </a:cubicBezTo>
                <a:cubicBezTo>
                  <a:pt x="452" y="171"/>
                  <a:pt x="453" y="173"/>
                  <a:pt x="454" y="175"/>
                </a:cubicBezTo>
                <a:cubicBezTo>
                  <a:pt x="456" y="177"/>
                  <a:pt x="457" y="178"/>
                  <a:pt x="460" y="178"/>
                </a:cubicBezTo>
                <a:cubicBezTo>
                  <a:pt x="485" y="181"/>
                  <a:pt x="506" y="203"/>
                  <a:pt x="506" y="229"/>
                </a:cubicBezTo>
                <a:cubicBezTo>
                  <a:pt x="506" y="255"/>
                  <a:pt x="487" y="276"/>
                  <a:pt x="462" y="280"/>
                </a:cubicBezTo>
                <a:cubicBezTo>
                  <a:pt x="458" y="281"/>
                  <a:pt x="455" y="284"/>
                  <a:pt x="455" y="288"/>
                </a:cubicBezTo>
                <a:cubicBezTo>
                  <a:pt x="455" y="288"/>
                  <a:pt x="455" y="289"/>
                  <a:pt x="455" y="289"/>
                </a:cubicBezTo>
                <a:cubicBezTo>
                  <a:pt x="455" y="289"/>
                  <a:pt x="455" y="289"/>
                  <a:pt x="455" y="289"/>
                </a:cubicBezTo>
                <a:cubicBezTo>
                  <a:pt x="455" y="322"/>
                  <a:pt x="428" y="349"/>
                  <a:pt x="394" y="349"/>
                </a:cubicBezTo>
                <a:cubicBezTo>
                  <a:pt x="380" y="349"/>
                  <a:pt x="366" y="344"/>
                  <a:pt x="356" y="336"/>
                </a:cubicBezTo>
                <a:cubicBezTo>
                  <a:pt x="354" y="334"/>
                  <a:pt x="352" y="334"/>
                  <a:pt x="349" y="334"/>
                </a:cubicBezTo>
                <a:cubicBezTo>
                  <a:pt x="347" y="334"/>
                  <a:pt x="345" y="336"/>
                  <a:pt x="344" y="338"/>
                </a:cubicBezTo>
                <a:cubicBezTo>
                  <a:pt x="332" y="357"/>
                  <a:pt x="312" y="369"/>
                  <a:pt x="288" y="369"/>
                </a:cubicBezTo>
                <a:cubicBezTo>
                  <a:pt x="273" y="369"/>
                  <a:pt x="259" y="364"/>
                  <a:pt x="248" y="355"/>
                </a:cubicBezTo>
                <a:cubicBezTo>
                  <a:pt x="246" y="354"/>
                  <a:pt x="244" y="353"/>
                  <a:pt x="242" y="353"/>
                </a:cubicBezTo>
                <a:cubicBezTo>
                  <a:pt x="240" y="354"/>
                  <a:pt x="238" y="355"/>
                  <a:pt x="236" y="357"/>
                </a:cubicBezTo>
                <a:cubicBezTo>
                  <a:pt x="224" y="373"/>
                  <a:pt x="205" y="383"/>
                  <a:pt x="184" y="383"/>
                </a:cubicBezTo>
                <a:cubicBezTo>
                  <a:pt x="156" y="383"/>
                  <a:pt x="132" y="366"/>
                  <a:pt x="122" y="341"/>
                </a:cubicBezTo>
                <a:cubicBezTo>
                  <a:pt x="122" y="339"/>
                  <a:pt x="120" y="338"/>
                  <a:pt x="118" y="337"/>
                </a:cubicBezTo>
                <a:cubicBezTo>
                  <a:pt x="116" y="336"/>
                  <a:pt x="114" y="336"/>
                  <a:pt x="112" y="337"/>
                </a:cubicBezTo>
                <a:cubicBezTo>
                  <a:pt x="105" y="340"/>
                  <a:pt x="98" y="341"/>
                  <a:pt x="91" y="341"/>
                </a:cubicBezTo>
                <a:cubicBezTo>
                  <a:pt x="62" y="341"/>
                  <a:pt x="38" y="318"/>
                  <a:pt x="38" y="289"/>
                </a:cubicBezTo>
                <a:cubicBezTo>
                  <a:pt x="38" y="282"/>
                  <a:pt x="39" y="275"/>
                  <a:pt x="42" y="269"/>
                </a:cubicBezTo>
                <a:cubicBezTo>
                  <a:pt x="43" y="266"/>
                  <a:pt x="42" y="263"/>
                  <a:pt x="40" y="260"/>
                </a:cubicBezTo>
                <a:cubicBezTo>
                  <a:pt x="25" y="247"/>
                  <a:pt x="16" y="227"/>
                  <a:pt x="16" y="205"/>
                </a:cubicBezTo>
                <a:cubicBezTo>
                  <a:pt x="16" y="165"/>
                  <a:pt x="49" y="131"/>
                  <a:pt x="89" y="130"/>
                </a:cubicBezTo>
                <a:cubicBezTo>
                  <a:pt x="92" y="130"/>
                  <a:pt x="94" y="129"/>
                  <a:pt x="95" y="128"/>
                </a:cubicBezTo>
                <a:cubicBezTo>
                  <a:pt x="97" y="126"/>
                  <a:pt x="97" y="123"/>
                  <a:pt x="97" y="121"/>
                </a:cubicBezTo>
                <a:cubicBezTo>
                  <a:pt x="96" y="118"/>
                  <a:pt x="96" y="114"/>
                  <a:pt x="96" y="111"/>
                </a:cubicBezTo>
                <a:cubicBezTo>
                  <a:pt x="96" y="81"/>
                  <a:pt x="120" y="58"/>
                  <a:pt x="149" y="58"/>
                </a:cubicBezTo>
                <a:cubicBezTo>
                  <a:pt x="163" y="58"/>
                  <a:pt x="176" y="63"/>
                  <a:pt x="185" y="72"/>
                </a:cubicBezTo>
                <a:cubicBezTo>
                  <a:pt x="187" y="73"/>
                  <a:pt x="190" y="74"/>
                  <a:pt x="192" y="74"/>
                </a:cubicBezTo>
                <a:cubicBezTo>
                  <a:pt x="195" y="73"/>
                  <a:pt x="197" y="71"/>
                  <a:pt x="198" y="69"/>
                </a:cubicBezTo>
                <a:cubicBezTo>
                  <a:pt x="211" y="38"/>
                  <a:pt x="242" y="16"/>
                  <a:pt x="278" y="16"/>
                </a:cubicBezTo>
                <a:cubicBezTo>
                  <a:pt x="319" y="16"/>
                  <a:pt x="353" y="44"/>
                  <a:pt x="362" y="82"/>
                </a:cubicBezTo>
                <a:cubicBezTo>
                  <a:pt x="363" y="87"/>
                  <a:pt x="367" y="89"/>
                  <a:pt x="371" y="89"/>
                </a:cubicBezTo>
                <a:cubicBezTo>
                  <a:pt x="375" y="88"/>
                  <a:pt x="379" y="88"/>
                  <a:pt x="383" y="88"/>
                </a:cubicBezTo>
                <a:cubicBezTo>
                  <a:pt x="395" y="88"/>
                  <a:pt x="406" y="91"/>
                  <a:pt x="416" y="96"/>
                </a:cubicBezTo>
                <a:cubicBezTo>
                  <a:pt x="420" y="98"/>
                  <a:pt x="425" y="97"/>
                  <a:pt x="427" y="93"/>
                </a:cubicBezTo>
                <a:cubicBezTo>
                  <a:pt x="429" y="89"/>
                  <a:pt x="428" y="84"/>
                  <a:pt x="424" y="82"/>
                </a:cubicBezTo>
                <a:cubicBezTo>
                  <a:pt x="424" y="82"/>
                  <a:pt x="424" y="82"/>
                  <a:pt x="424" y="82"/>
                </a:cubicBezTo>
                <a:cubicBezTo>
                  <a:pt x="412" y="75"/>
                  <a:pt x="398" y="72"/>
                  <a:pt x="383" y="72"/>
                </a:cubicBezTo>
                <a:cubicBezTo>
                  <a:pt x="381" y="72"/>
                  <a:pt x="378" y="72"/>
                  <a:pt x="376" y="72"/>
                </a:cubicBezTo>
                <a:cubicBezTo>
                  <a:pt x="363" y="30"/>
                  <a:pt x="324" y="0"/>
                  <a:pt x="278" y="0"/>
                </a:cubicBezTo>
                <a:cubicBezTo>
                  <a:pt x="239" y="0"/>
                  <a:pt x="205" y="21"/>
                  <a:pt x="188" y="53"/>
                </a:cubicBezTo>
                <a:cubicBezTo>
                  <a:pt x="177" y="46"/>
                  <a:pt x="164" y="41"/>
                  <a:pt x="149" y="42"/>
                </a:cubicBezTo>
                <a:cubicBezTo>
                  <a:pt x="111" y="42"/>
                  <a:pt x="80" y="73"/>
                  <a:pt x="80" y="111"/>
                </a:cubicBezTo>
                <a:cubicBezTo>
                  <a:pt x="80" y="112"/>
                  <a:pt x="80" y="114"/>
                  <a:pt x="80" y="115"/>
                </a:cubicBezTo>
                <a:cubicBezTo>
                  <a:pt x="35" y="120"/>
                  <a:pt x="0" y="159"/>
                  <a:pt x="0" y="205"/>
                </a:cubicBezTo>
                <a:cubicBezTo>
                  <a:pt x="0" y="230"/>
                  <a:pt x="9" y="252"/>
                  <a:pt x="25" y="268"/>
                </a:cubicBezTo>
                <a:cubicBezTo>
                  <a:pt x="23" y="275"/>
                  <a:pt x="22" y="282"/>
                  <a:pt x="22" y="289"/>
                </a:cubicBezTo>
                <a:cubicBezTo>
                  <a:pt x="22" y="326"/>
                  <a:pt x="53" y="357"/>
                  <a:pt x="91" y="357"/>
                </a:cubicBezTo>
                <a:cubicBezTo>
                  <a:pt x="98" y="357"/>
                  <a:pt x="104" y="356"/>
                  <a:pt x="111" y="354"/>
                </a:cubicBezTo>
                <a:cubicBezTo>
                  <a:pt x="124" y="381"/>
                  <a:pt x="152" y="399"/>
                  <a:pt x="184" y="399"/>
                </a:cubicBezTo>
                <a:cubicBezTo>
                  <a:pt x="208" y="399"/>
                  <a:pt x="229" y="389"/>
                  <a:pt x="244" y="372"/>
                </a:cubicBezTo>
                <a:cubicBezTo>
                  <a:pt x="257" y="380"/>
                  <a:pt x="272" y="385"/>
                  <a:pt x="288" y="385"/>
                </a:cubicBezTo>
                <a:cubicBezTo>
                  <a:pt x="314" y="385"/>
                  <a:pt x="338" y="373"/>
                  <a:pt x="353" y="353"/>
                </a:cubicBezTo>
                <a:cubicBezTo>
                  <a:pt x="365" y="361"/>
                  <a:pt x="379" y="365"/>
                  <a:pt x="394" y="365"/>
                </a:cubicBezTo>
                <a:cubicBezTo>
                  <a:pt x="435" y="365"/>
                  <a:pt x="468" y="334"/>
                  <a:pt x="471" y="294"/>
                </a:cubicBezTo>
                <a:cubicBezTo>
                  <a:pt x="500" y="287"/>
                  <a:pt x="521" y="261"/>
                  <a:pt x="522" y="229"/>
                </a:cubicBezTo>
                <a:cubicBezTo>
                  <a:pt x="522" y="197"/>
                  <a:pt x="499" y="170"/>
                  <a:pt x="469"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9" tIns="45715" rIns="91429" bIns="45715"/>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9"/>
          <p:cNvSpPr>
            <a:spLocks noChangeAspect="1"/>
          </p:cNvSpPr>
          <p:nvPr/>
        </p:nvSpPr>
        <p:spPr bwMode="auto">
          <a:xfrm>
            <a:off x="8505957" y="5279668"/>
            <a:ext cx="954354" cy="640162"/>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9" tIns="45715" rIns="91429" bIns="45715"/>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9" name="Straight Connector 28"/>
          <p:cNvCxnSpPr>
            <a:cxnSpLocks/>
          </p:cNvCxnSpPr>
          <p:nvPr/>
        </p:nvCxnSpPr>
        <p:spPr bwMode="auto">
          <a:xfrm flipH="1">
            <a:off x="8802084" y="4967591"/>
            <a:ext cx="3170" cy="357825"/>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30" name="Straight Connector 50"/>
          <p:cNvCxnSpPr>
            <a:cxnSpLocks noChangeShapeType="1"/>
          </p:cNvCxnSpPr>
          <p:nvPr/>
        </p:nvCxnSpPr>
        <p:spPr bwMode="auto">
          <a:xfrm>
            <a:off x="6741714" y="5480093"/>
            <a:ext cx="2661447"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1" name="Straight Connector 50"/>
          <p:cNvCxnSpPr>
            <a:cxnSpLocks noChangeShapeType="1"/>
          </p:cNvCxnSpPr>
          <p:nvPr/>
        </p:nvCxnSpPr>
        <p:spPr bwMode="auto">
          <a:xfrm>
            <a:off x="6760764" y="5632493"/>
            <a:ext cx="2642397"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2" name="Straight Connector 50"/>
          <p:cNvCxnSpPr>
            <a:cxnSpLocks noChangeShapeType="1"/>
          </p:cNvCxnSpPr>
          <p:nvPr/>
        </p:nvCxnSpPr>
        <p:spPr bwMode="auto">
          <a:xfrm>
            <a:off x="6760764" y="5784893"/>
            <a:ext cx="2642397"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33" name="Rectangle: Rounded Corners 32"/>
          <p:cNvSpPr/>
          <p:nvPr/>
        </p:nvSpPr>
        <p:spPr bwMode="auto">
          <a:xfrm>
            <a:off x="9433706" y="2708126"/>
            <a:ext cx="1813081" cy="859561"/>
          </a:xfrm>
          <a:prstGeom prst="roundRect">
            <a:avLst/>
          </a:prstGeom>
          <a:noFill/>
          <a:ln w="28575" cap="flat" cmpd="sng" algn="ctr">
            <a:solidFill>
              <a:schemeClr val="bg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Arial" charset="0"/>
            </a:endParaRPr>
          </a:p>
        </p:txBody>
      </p:sp>
      <p:sp>
        <p:nvSpPr>
          <p:cNvPr id="34" name="Rectangle: Rounded Corners 33"/>
          <p:cNvSpPr/>
          <p:nvPr/>
        </p:nvSpPr>
        <p:spPr bwMode="auto">
          <a:xfrm>
            <a:off x="9573405" y="2939366"/>
            <a:ext cx="751422"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Service</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35" name="Rectangle: Rounded Corners 34"/>
          <p:cNvSpPr/>
          <p:nvPr/>
        </p:nvSpPr>
        <p:spPr bwMode="auto">
          <a:xfrm>
            <a:off x="9968583" y="3261409"/>
            <a:ext cx="751422"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NW Slice</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36" name="Rectangle: Rounded Corners 35"/>
          <p:cNvSpPr/>
          <p:nvPr/>
        </p:nvSpPr>
        <p:spPr bwMode="auto">
          <a:xfrm>
            <a:off x="10478020" y="2947348"/>
            <a:ext cx="621227"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SLA</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37" name="Rectangle 36"/>
          <p:cNvSpPr/>
          <p:nvPr/>
        </p:nvSpPr>
        <p:spPr>
          <a:xfrm>
            <a:off x="9710907" y="2645483"/>
            <a:ext cx="1258678"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Orchestration</a:t>
            </a:r>
          </a:p>
        </p:txBody>
      </p:sp>
      <p:sp>
        <p:nvSpPr>
          <p:cNvPr id="38" name="Rectangle: Rounded Corners 37"/>
          <p:cNvSpPr/>
          <p:nvPr/>
        </p:nvSpPr>
        <p:spPr bwMode="auto">
          <a:xfrm>
            <a:off x="9473169" y="4148961"/>
            <a:ext cx="1813081" cy="859561"/>
          </a:xfrm>
          <a:prstGeom prst="roundRect">
            <a:avLst/>
          </a:prstGeom>
          <a:noFill/>
          <a:ln w="28575" cap="flat" cmpd="sng" algn="ctr">
            <a:solidFill>
              <a:schemeClr val="bg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Arial" charset="0"/>
            </a:endParaRPr>
          </a:p>
        </p:txBody>
      </p:sp>
      <p:sp>
        <p:nvSpPr>
          <p:cNvPr id="39" name="Rectangle: Rounded Corners 38"/>
          <p:cNvSpPr/>
          <p:nvPr/>
        </p:nvSpPr>
        <p:spPr bwMode="auto">
          <a:xfrm>
            <a:off x="9612868" y="4380201"/>
            <a:ext cx="751422"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Service</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40" name="Rectangle: Rounded Corners 39"/>
          <p:cNvSpPr/>
          <p:nvPr/>
        </p:nvSpPr>
        <p:spPr bwMode="auto">
          <a:xfrm>
            <a:off x="10008046" y="4702244"/>
            <a:ext cx="751422"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NW Slice</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41" name="Rectangle: Rounded Corners 40"/>
          <p:cNvSpPr/>
          <p:nvPr/>
        </p:nvSpPr>
        <p:spPr bwMode="auto">
          <a:xfrm>
            <a:off x="10517483" y="4388183"/>
            <a:ext cx="621227" cy="234401"/>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rPr>
              <a:t>SLA</a:t>
            </a:r>
            <a:endParaRPr kumimoji="0" lang="en-US" sz="1200" b="0" i="0" u="none" strike="noStrike" kern="0" cap="none" spc="0" normalizeH="0" baseline="0" noProof="0" dirty="0">
              <a:ln>
                <a:noFill/>
              </a:ln>
              <a:solidFill>
                <a:schemeClr val="bg1"/>
              </a:solidFill>
              <a:effectLst/>
              <a:uLnTx/>
              <a:uFillTx/>
              <a:latin typeface="Arial" charset="0"/>
            </a:endParaRPr>
          </a:p>
        </p:txBody>
      </p:sp>
      <p:sp>
        <p:nvSpPr>
          <p:cNvPr id="42" name="Rectangle 41"/>
          <p:cNvSpPr/>
          <p:nvPr/>
        </p:nvSpPr>
        <p:spPr>
          <a:xfrm>
            <a:off x="9750370" y="4086318"/>
            <a:ext cx="1258678"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Orchestration</a:t>
            </a:r>
          </a:p>
        </p:txBody>
      </p:sp>
      <p:sp>
        <p:nvSpPr>
          <p:cNvPr id="43" name="TextBox 42"/>
          <p:cNvSpPr txBox="1"/>
          <p:nvPr/>
        </p:nvSpPr>
        <p:spPr>
          <a:xfrm>
            <a:off x="1520615" y="1095773"/>
            <a:ext cx="9143850"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Enable seamless service experience and service control</a:t>
            </a:r>
            <a:endParaRPr kumimoji="0" lang="en-US" sz="2800" b="0" i="0" u="none" strike="noStrike" kern="0" cap="none" spc="0" normalizeH="0" baseline="0" noProof="0" dirty="0">
              <a:ln>
                <a:noFill/>
              </a:ln>
              <a:solidFill>
                <a:sysClr val="windowText" lastClr="000000"/>
              </a:solidFill>
              <a:effectLst/>
              <a:uLnTx/>
              <a:uFillTx/>
            </a:endParaRPr>
          </a:p>
        </p:txBody>
      </p:sp>
      <p:cxnSp>
        <p:nvCxnSpPr>
          <p:cNvPr id="44" name="Straight Connector 43"/>
          <p:cNvCxnSpPr>
            <a:cxnSpLocks/>
          </p:cNvCxnSpPr>
          <p:nvPr/>
        </p:nvCxnSpPr>
        <p:spPr bwMode="auto">
          <a:xfrm flipH="1">
            <a:off x="10379709" y="3521327"/>
            <a:ext cx="1" cy="718879"/>
          </a:xfrm>
          <a:prstGeom prst="line">
            <a:avLst/>
          </a:prstGeom>
          <a:solidFill>
            <a:schemeClr val="accent1"/>
          </a:solidFill>
          <a:ln w="28575" cap="flat" cmpd="sng" algn="ctr">
            <a:solidFill>
              <a:schemeClr val="bg1"/>
            </a:solidFill>
            <a:prstDash val="dash"/>
            <a:round/>
            <a:headEnd type="none" w="med" len="med"/>
            <a:tailEnd type="none" w="med" len="med"/>
          </a:ln>
          <a:effectLst/>
        </p:spPr>
      </p:cxnSp>
      <p:sp>
        <p:nvSpPr>
          <p:cNvPr id="45" name="Freeform: Shape 44"/>
          <p:cNvSpPr/>
          <p:nvPr/>
        </p:nvSpPr>
        <p:spPr bwMode="auto">
          <a:xfrm>
            <a:off x="648215" y="2556632"/>
            <a:ext cx="10883784" cy="3697084"/>
          </a:xfrm>
          <a:custGeom>
            <a:avLst/>
            <a:gdLst>
              <a:gd name="connsiteX0" fmla="*/ 29029 w 7329714"/>
              <a:gd name="connsiteY0" fmla="*/ 3468915 h 3468915"/>
              <a:gd name="connsiteX1" fmla="*/ 3599543 w 7329714"/>
              <a:gd name="connsiteY1" fmla="*/ 3439886 h 3468915"/>
              <a:gd name="connsiteX2" fmla="*/ 3614057 w 7329714"/>
              <a:gd name="connsiteY2" fmla="*/ 1233715 h 3468915"/>
              <a:gd name="connsiteX3" fmla="*/ 7329714 w 7329714"/>
              <a:gd name="connsiteY3" fmla="*/ 1233715 h 3468915"/>
              <a:gd name="connsiteX4" fmla="*/ 7271657 w 7329714"/>
              <a:gd name="connsiteY4" fmla="*/ 0 h 3468915"/>
              <a:gd name="connsiteX5" fmla="*/ 0 w 7329714"/>
              <a:gd name="connsiteY5" fmla="*/ 130629 h 3468915"/>
              <a:gd name="connsiteX6" fmla="*/ 29029 w 7329714"/>
              <a:gd name="connsiteY6" fmla="*/ 3468915 h 3468915"/>
              <a:gd name="connsiteX0" fmla="*/ 29029 w 7329714"/>
              <a:gd name="connsiteY0" fmla="*/ 3468915 h 3468915"/>
              <a:gd name="connsiteX1" fmla="*/ 3599543 w 7329714"/>
              <a:gd name="connsiteY1" fmla="*/ 3439886 h 3468915"/>
              <a:gd name="connsiteX2" fmla="*/ 3614057 w 7329714"/>
              <a:gd name="connsiteY2" fmla="*/ 1233715 h 3468915"/>
              <a:gd name="connsiteX3" fmla="*/ 7329714 w 7329714"/>
              <a:gd name="connsiteY3" fmla="*/ 1233715 h 3468915"/>
              <a:gd name="connsiteX4" fmla="*/ 7271657 w 7329714"/>
              <a:gd name="connsiteY4" fmla="*/ 0 h 3468915"/>
              <a:gd name="connsiteX5" fmla="*/ 0 w 7329714"/>
              <a:gd name="connsiteY5" fmla="*/ 0 h 3468915"/>
              <a:gd name="connsiteX6" fmla="*/ 29029 w 7329714"/>
              <a:gd name="connsiteY6" fmla="*/ 3468915 h 3468915"/>
              <a:gd name="connsiteX0" fmla="*/ 29029 w 7329714"/>
              <a:gd name="connsiteY0" fmla="*/ 3468915 h 3468915"/>
              <a:gd name="connsiteX1" fmla="*/ 3599543 w 7329714"/>
              <a:gd name="connsiteY1" fmla="*/ 3439886 h 3468915"/>
              <a:gd name="connsiteX2" fmla="*/ 3614057 w 7329714"/>
              <a:gd name="connsiteY2" fmla="*/ 1233715 h 3468915"/>
              <a:gd name="connsiteX3" fmla="*/ 7329714 w 7329714"/>
              <a:gd name="connsiteY3" fmla="*/ 1248230 h 3468915"/>
              <a:gd name="connsiteX4" fmla="*/ 7271657 w 7329714"/>
              <a:gd name="connsiteY4" fmla="*/ 0 h 3468915"/>
              <a:gd name="connsiteX5" fmla="*/ 0 w 7329714"/>
              <a:gd name="connsiteY5" fmla="*/ 0 h 3468915"/>
              <a:gd name="connsiteX6" fmla="*/ 29029 w 7329714"/>
              <a:gd name="connsiteY6" fmla="*/ 3468915 h 3468915"/>
              <a:gd name="connsiteX0" fmla="*/ 29029 w 7329714"/>
              <a:gd name="connsiteY0" fmla="*/ 3468915 h 3468915"/>
              <a:gd name="connsiteX1" fmla="*/ 3599543 w 7329714"/>
              <a:gd name="connsiteY1" fmla="*/ 3439886 h 3468915"/>
              <a:gd name="connsiteX2" fmla="*/ 3614057 w 7329714"/>
              <a:gd name="connsiteY2" fmla="*/ 1233715 h 3468915"/>
              <a:gd name="connsiteX3" fmla="*/ 7329714 w 7329714"/>
              <a:gd name="connsiteY3" fmla="*/ 1248230 h 3468915"/>
              <a:gd name="connsiteX4" fmla="*/ 7329714 w 7329714"/>
              <a:gd name="connsiteY4" fmla="*/ 0 h 3468915"/>
              <a:gd name="connsiteX5" fmla="*/ 0 w 7329714"/>
              <a:gd name="connsiteY5" fmla="*/ 0 h 3468915"/>
              <a:gd name="connsiteX6" fmla="*/ 29029 w 7329714"/>
              <a:gd name="connsiteY6" fmla="*/ 3468915 h 3468915"/>
              <a:gd name="connsiteX0" fmla="*/ 29029 w 7329714"/>
              <a:gd name="connsiteY0" fmla="*/ 3468915 h 3468915"/>
              <a:gd name="connsiteX1" fmla="*/ 3599543 w 7329714"/>
              <a:gd name="connsiteY1" fmla="*/ 3439886 h 3468915"/>
              <a:gd name="connsiteX2" fmla="*/ 3614057 w 7329714"/>
              <a:gd name="connsiteY2" fmla="*/ 1233715 h 3468915"/>
              <a:gd name="connsiteX3" fmla="*/ 7329714 w 7329714"/>
              <a:gd name="connsiteY3" fmla="*/ 1248230 h 3468915"/>
              <a:gd name="connsiteX4" fmla="*/ 7329714 w 7329714"/>
              <a:gd name="connsiteY4" fmla="*/ 0 h 3468915"/>
              <a:gd name="connsiteX5" fmla="*/ 0 w 7329714"/>
              <a:gd name="connsiteY5" fmla="*/ 0 h 3468915"/>
              <a:gd name="connsiteX6" fmla="*/ 29029 w 7329714"/>
              <a:gd name="connsiteY6" fmla="*/ 3468915 h 3468915"/>
              <a:gd name="connsiteX0" fmla="*/ 29029 w 7329714"/>
              <a:gd name="connsiteY0" fmla="*/ 3483430 h 3483430"/>
              <a:gd name="connsiteX1" fmla="*/ 3599543 w 7329714"/>
              <a:gd name="connsiteY1" fmla="*/ 3454401 h 3483430"/>
              <a:gd name="connsiteX2" fmla="*/ 3614057 w 7329714"/>
              <a:gd name="connsiteY2" fmla="*/ 1248230 h 3483430"/>
              <a:gd name="connsiteX3" fmla="*/ 7329714 w 7329714"/>
              <a:gd name="connsiteY3" fmla="*/ 1262745 h 3483430"/>
              <a:gd name="connsiteX4" fmla="*/ 7315200 w 7329714"/>
              <a:gd name="connsiteY4" fmla="*/ 0 h 3483430"/>
              <a:gd name="connsiteX5" fmla="*/ 0 w 7329714"/>
              <a:gd name="connsiteY5" fmla="*/ 14515 h 3483430"/>
              <a:gd name="connsiteX6" fmla="*/ 29029 w 7329714"/>
              <a:gd name="connsiteY6" fmla="*/ 3483430 h 3483430"/>
              <a:gd name="connsiteX0" fmla="*/ 29029 w 7329714"/>
              <a:gd name="connsiteY0" fmla="*/ 3697954 h 3697954"/>
              <a:gd name="connsiteX1" fmla="*/ 3599543 w 7329714"/>
              <a:gd name="connsiteY1" fmla="*/ 3668925 h 3697954"/>
              <a:gd name="connsiteX2" fmla="*/ 3614057 w 7329714"/>
              <a:gd name="connsiteY2" fmla="*/ 1462754 h 3697954"/>
              <a:gd name="connsiteX3" fmla="*/ 7329714 w 7329714"/>
              <a:gd name="connsiteY3" fmla="*/ 1477269 h 3697954"/>
              <a:gd name="connsiteX4" fmla="*/ 7315200 w 7329714"/>
              <a:gd name="connsiteY4" fmla="*/ 214524 h 3697954"/>
              <a:gd name="connsiteX5" fmla="*/ 0 w 7329714"/>
              <a:gd name="connsiteY5" fmla="*/ 229039 h 3697954"/>
              <a:gd name="connsiteX6" fmla="*/ 29029 w 7329714"/>
              <a:gd name="connsiteY6" fmla="*/ 3697954 h 3697954"/>
              <a:gd name="connsiteX0" fmla="*/ 29029 w 7329714"/>
              <a:gd name="connsiteY0" fmla="*/ 3483430 h 3483430"/>
              <a:gd name="connsiteX1" fmla="*/ 3599543 w 7329714"/>
              <a:gd name="connsiteY1" fmla="*/ 3454401 h 3483430"/>
              <a:gd name="connsiteX2" fmla="*/ 3614057 w 7329714"/>
              <a:gd name="connsiteY2" fmla="*/ 1248230 h 3483430"/>
              <a:gd name="connsiteX3" fmla="*/ 7329714 w 7329714"/>
              <a:gd name="connsiteY3" fmla="*/ 1262745 h 3483430"/>
              <a:gd name="connsiteX4" fmla="*/ 7315200 w 7329714"/>
              <a:gd name="connsiteY4" fmla="*/ 0 h 3483430"/>
              <a:gd name="connsiteX5" fmla="*/ 0 w 7329714"/>
              <a:gd name="connsiteY5" fmla="*/ 14515 h 3483430"/>
              <a:gd name="connsiteX6" fmla="*/ 29029 w 7329714"/>
              <a:gd name="connsiteY6" fmla="*/ 3483430 h 3483430"/>
              <a:gd name="connsiteX0" fmla="*/ 101885 w 7402570"/>
              <a:gd name="connsiteY0" fmla="*/ 3526325 h 3526325"/>
              <a:gd name="connsiteX1" fmla="*/ 3672399 w 7402570"/>
              <a:gd name="connsiteY1" fmla="*/ 3497296 h 3526325"/>
              <a:gd name="connsiteX2" fmla="*/ 3686913 w 7402570"/>
              <a:gd name="connsiteY2" fmla="*/ 1291125 h 3526325"/>
              <a:gd name="connsiteX3" fmla="*/ 7402570 w 7402570"/>
              <a:gd name="connsiteY3" fmla="*/ 1305640 h 3526325"/>
              <a:gd name="connsiteX4" fmla="*/ 7388056 w 7402570"/>
              <a:gd name="connsiteY4" fmla="*/ 42895 h 3526325"/>
              <a:gd name="connsiteX5" fmla="*/ 0 w 7402570"/>
              <a:gd name="connsiteY5" fmla="*/ 0 h 3526325"/>
              <a:gd name="connsiteX6" fmla="*/ 101885 w 7402570"/>
              <a:gd name="connsiteY6" fmla="*/ 3526325 h 3526325"/>
              <a:gd name="connsiteX0" fmla="*/ 101885 w 7402570"/>
              <a:gd name="connsiteY0" fmla="*/ 3555030 h 3555030"/>
              <a:gd name="connsiteX1" fmla="*/ 3672399 w 7402570"/>
              <a:gd name="connsiteY1" fmla="*/ 3497296 h 3555030"/>
              <a:gd name="connsiteX2" fmla="*/ 3686913 w 7402570"/>
              <a:gd name="connsiteY2" fmla="*/ 1291125 h 3555030"/>
              <a:gd name="connsiteX3" fmla="*/ 7402570 w 7402570"/>
              <a:gd name="connsiteY3" fmla="*/ 1305640 h 3555030"/>
              <a:gd name="connsiteX4" fmla="*/ 7388056 w 7402570"/>
              <a:gd name="connsiteY4" fmla="*/ 42895 h 3555030"/>
              <a:gd name="connsiteX5" fmla="*/ 0 w 7402570"/>
              <a:gd name="connsiteY5" fmla="*/ 0 h 3555030"/>
              <a:gd name="connsiteX6" fmla="*/ 101885 w 7402570"/>
              <a:gd name="connsiteY6" fmla="*/ 3555030 h 3555030"/>
              <a:gd name="connsiteX0" fmla="*/ 101885 w 7402570"/>
              <a:gd name="connsiteY0" fmla="*/ 3555030 h 3555030"/>
              <a:gd name="connsiteX1" fmla="*/ 3672399 w 7402570"/>
              <a:gd name="connsiteY1" fmla="*/ 3526001 h 3555030"/>
              <a:gd name="connsiteX2" fmla="*/ 3686913 w 7402570"/>
              <a:gd name="connsiteY2" fmla="*/ 1291125 h 3555030"/>
              <a:gd name="connsiteX3" fmla="*/ 7402570 w 7402570"/>
              <a:gd name="connsiteY3" fmla="*/ 1305640 h 3555030"/>
              <a:gd name="connsiteX4" fmla="*/ 7388056 w 7402570"/>
              <a:gd name="connsiteY4" fmla="*/ 42895 h 3555030"/>
              <a:gd name="connsiteX5" fmla="*/ 0 w 7402570"/>
              <a:gd name="connsiteY5" fmla="*/ 0 h 3555030"/>
              <a:gd name="connsiteX6" fmla="*/ 101885 w 7402570"/>
              <a:gd name="connsiteY6" fmla="*/ 3555030 h 3555030"/>
              <a:gd name="connsiteX0" fmla="*/ 43601 w 7344286"/>
              <a:gd name="connsiteY0" fmla="*/ 3539915 h 3539915"/>
              <a:gd name="connsiteX1" fmla="*/ 3614115 w 7344286"/>
              <a:gd name="connsiteY1" fmla="*/ 3510886 h 3539915"/>
              <a:gd name="connsiteX2" fmla="*/ 3628629 w 7344286"/>
              <a:gd name="connsiteY2" fmla="*/ 1276010 h 3539915"/>
              <a:gd name="connsiteX3" fmla="*/ 7344286 w 7344286"/>
              <a:gd name="connsiteY3" fmla="*/ 1290525 h 3539915"/>
              <a:gd name="connsiteX4" fmla="*/ 7329772 w 7344286"/>
              <a:gd name="connsiteY4" fmla="*/ 27780 h 3539915"/>
              <a:gd name="connsiteX5" fmla="*/ 0 w 7344286"/>
              <a:gd name="connsiteY5" fmla="*/ 0 h 3539915"/>
              <a:gd name="connsiteX6" fmla="*/ 43601 w 7344286"/>
              <a:gd name="connsiteY6" fmla="*/ 3539915 h 3539915"/>
              <a:gd name="connsiteX0" fmla="*/ 43601 w 7344286"/>
              <a:gd name="connsiteY0" fmla="*/ 3539915 h 3539915"/>
              <a:gd name="connsiteX1" fmla="*/ 3614115 w 7344286"/>
              <a:gd name="connsiteY1" fmla="*/ 3510886 h 3539915"/>
              <a:gd name="connsiteX2" fmla="*/ 3628629 w 7344286"/>
              <a:gd name="connsiteY2" fmla="*/ 1276010 h 3539915"/>
              <a:gd name="connsiteX3" fmla="*/ 7344286 w 7344286"/>
              <a:gd name="connsiteY3" fmla="*/ 1290525 h 3539915"/>
              <a:gd name="connsiteX4" fmla="*/ 7329772 w 7344286"/>
              <a:gd name="connsiteY4" fmla="*/ 27780 h 3539915"/>
              <a:gd name="connsiteX5" fmla="*/ 0 w 7344286"/>
              <a:gd name="connsiteY5" fmla="*/ 0 h 3539915"/>
              <a:gd name="connsiteX6" fmla="*/ 43601 w 7344286"/>
              <a:gd name="connsiteY6" fmla="*/ 3539915 h 3539915"/>
              <a:gd name="connsiteX0" fmla="*/ 43601 w 7344344"/>
              <a:gd name="connsiteY0" fmla="*/ 3539915 h 3539915"/>
              <a:gd name="connsiteX1" fmla="*/ 3614115 w 7344344"/>
              <a:gd name="connsiteY1" fmla="*/ 3510886 h 3539915"/>
              <a:gd name="connsiteX2" fmla="*/ 3628629 w 7344344"/>
              <a:gd name="connsiteY2" fmla="*/ 1276010 h 3539915"/>
              <a:gd name="connsiteX3" fmla="*/ 7344286 w 7344344"/>
              <a:gd name="connsiteY3" fmla="*/ 1290525 h 3539915"/>
              <a:gd name="connsiteX4" fmla="*/ 7344344 w 7344344"/>
              <a:gd name="connsiteY4" fmla="*/ 27780 h 3539915"/>
              <a:gd name="connsiteX5" fmla="*/ 0 w 7344344"/>
              <a:gd name="connsiteY5" fmla="*/ 0 h 3539915"/>
              <a:gd name="connsiteX6" fmla="*/ 43601 w 7344344"/>
              <a:gd name="connsiteY6" fmla="*/ 3539915 h 3539915"/>
              <a:gd name="connsiteX0" fmla="*/ 43601 w 7344344"/>
              <a:gd name="connsiteY0" fmla="*/ 3512135 h 3512135"/>
              <a:gd name="connsiteX1" fmla="*/ 3614115 w 7344344"/>
              <a:gd name="connsiteY1" fmla="*/ 3483106 h 3512135"/>
              <a:gd name="connsiteX2" fmla="*/ 3628629 w 7344344"/>
              <a:gd name="connsiteY2" fmla="*/ 1248230 h 3512135"/>
              <a:gd name="connsiteX3" fmla="*/ 7344286 w 7344344"/>
              <a:gd name="connsiteY3" fmla="*/ 1262745 h 3512135"/>
              <a:gd name="connsiteX4" fmla="*/ 7344344 w 7344344"/>
              <a:gd name="connsiteY4" fmla="*/ 0 h 3512135"/>
              <a:gd name="connsiteX5" fmla="*/ 0 w 7344344"/>
              <a:gd name="connsiteY5" fmla="*/ 2449 h 3512135"/>
              <a:gd name="connsiteX6" fmla="*/ 43601 w 7344344"/>
              <a:gd name="connsiteY6" fmla="*/ 3512135 h 3512135"/>
              <a:gd name="connsiteX0" fmla="*/ 43601 w 7344344"/>
              <a:gd name="connsiteY0" fmla="*/ 3512135 h 3512135"/>
              <a:gd name="connsiteX1" fmla="*/ 3657829 w 7344344"/>
              <a:gd name="connsiteY1" fmla="*/ 3483106 h 3512135"/>
              <a:gd name="connsiteX2" fmla="*/ 3628629 w 7344344"/>
              <a:gd name="connsiteY2" fmla="*/ 1248230 h 3512135"/>
              <a:gd name="connsiteX3" fmla="*/ 7344286 w 7344344"/>
              <a:gd name="connsiteY3" fmla="*/ 1262745 h 3512135"/>
              <a:gd name="connsiteX4" fmla="*/ 7344344 w 7344344"/>
              <a:gd name="connsiteY4" fmla="*/ 0 h 3512135"/>
              <a:gd name="connsiteX5" fmla="*/ 0 w 7344344"/>
              <a:gd name="connsiteY5" fmla="*/ 2449 h 3512135"/>
              <a:gd name="connsiteX6" fmla="*/ 43601 w 7344344"/>
              <a:gd name="connsiteY6" fmla="*/ 3512135 h 3512135"/>
              <a:gd name="connsiteX0" fmla="*/ 3689 w 7344344"/>
              <a:gd name="connsiteY0" fmla="*/ 3512135 h 3512135"/>
              <a:gd name="connsiteX1" fmla="*/ 3657829 w 7344344"/>
              <a:gd name="connsiteY1" fmla="*/ 3483106 h 3512135"/>
              <a:gd name="connsiteX2" fmla="*/ 3628629 w 7344344"/>
              <a:gd name="connsiteY2" fmla="*/ 1248230 h 3512135"/>
              <a:gd name="connsiteX3" fmla="*/ 7344286 w 7344344"/>
              <a:gd name="connsiteY3" fmla="*/ 1262745 h 3512135"/>
              <a:gd name="connsiteX4" fmla="*/ 7344344 w 7344344"/>
              <a:gd name="connsiteY4" fmla="*/ 0 h 3512135"/>
              <a:gd name="connsiteX5" fmla="*/ 0 w 7344344"/>
              <a:gd name="connsiteY5" fmla="*/ 2449 h 3512135"/>
              <a:gd name="connsiteX6" fmla="*/ 3689 w 7344344"/>
              <a:gd name="connsiteY6" fmla="*/ 3512135 h 3512135"/>
              <a:gd name="connsiteX0" fmla="*/ 30297 w 7344344"/>
              <a:gd name="connsiteY0" fmla="*/ 3456932 h 3483106"/>
              <a:gd name="connsiteX1" fmla="*/ 3657829 w 7344344"/>
              <a:gd name="connsiteY1" fmla="*/ 3483106 h 3483106"/>
              <a:gd name="connsiteX2" fmla="*/ 3628629 w 7344344"/>
              <a:gd name="connsiteY2" fmla="*/ 1248230 h 3483106"/>
              <a:gd name="connsiteX3" fmla="*/ 7344286 w 7344344"/>
              <a:gd name="connsiteY3" fmla="*/ 1262745 h 3483106"/>
              <a:gd name="connsiteX4" fmla="*/ 7344344 w 7344344"/>
              <a:gd name="connsiteY4" fmla="*/ 0 h 3483106"/>
              <a:gd name="connsiteX5" fmla="*/ 0 w 7344344"/>
              <a:gd name="connsiteY5" fmla="*/ 2449 h 3483106"/>
              <a:gd name="connsiteX6" fmla="*/ 30297 w 7344344"/>
              <a:gd name="connsiteY6" fmla="*/ 3456932 h 3483106"/>
              <a:gd name="connsiteX0" fmla="*/ 16993 w 7344344"/>
              <a:gd name="connsiteY0" fmla="*/ 3456932 h 3483106"/>
              <a:gd name="connsiteX1" fmla="*/ 3657829 w 7344344"/>
              <a:gd name="connsiteY1" fmla="*/ 3483106 h 3483106"/>
              <a:gd name="connsiteX2" fmla="*/ 3628629 w 7344344"/>
              <a:gd name="connsiteY2" fmla="*/ 1248230 h 3483106"/>
              <a:gd name="connsiteX3" fmla="*/ 7344286 w 7344344"/>
              <a:gd name="connsiteY3" fmla="*/ 1262745 h 3483106"/>
              <a:gd name="connsiteX4" fmla="*/ 7344344 w 7344344"/>
              <a:gd name="connsiteY4" fmla="*/ 0 h 3483106"/>
              <a:gd name="connsiteX5" fmla="*/ 0 w 7344344"/>
              <a:gd name="connsiteY5" fmla="*/ 2449 h 3483106"/>
              <a:gd name="connsiteX6" fmla="*/ 16993 w 7344344"/>
              <a:gd name="connsiteY6" fmla="*/ 3456932 h 3483106"/>
              <a:gd name="connsiteX0" fmla="*/ 16993 w 7344344"/>
              <a:gd name="connsiteY0" fmla="*/ 3481730 h 3483106"/>
              <a:gd name="connsiteX1" fmla="*/ 3657829 w 7344344"/>
              <a:gd name="connsiteY1" fmla="*/ 3483106 h 3483106"/>
              <a:gd name="connsiteX2" fmla="*/ 3628629 w 7344344"/>
              <a:gd name="connsiteY2" fmla="*/ 1248230 h 3483106"/>
              <a:gd name="connsiteX3" fmla="*/ 7344286 w 7344344"/>
              <a:gd name="connsiteY3" fmla="*/ 1262745 h 3483106"/>
              <a:gd name="connsiteX4" fmla="*/ 7344344 w 7344344"/>
              <a:gd name="connsiteY4" fmla="*/ 0 h 3483106"/>
              <a:gd name="connsiteX5" fmla="*/ 0 w 7344344"/>
              <a:gd name="connsiteY5" fmla="*/ 2449 h 3483106"/>
              <a:gd name="connsiteX6" fmla="*/ 16993 w 7344344"/>
              <a:gd name="connsiteY6" fmla="*/ 3481730 h 3483106"/>
              <a:gd name="connsiteX0" fmla="*/ 388 w 7344473"/>
              <a:gd name="connsiteY0" fmla="*/ 3479251 h 3483106"/>
              <a:gd name="connsiteX1" fmla="*/ 3657958 w 7344473"/>
              <a:gd name="connsiteY1" fmla="*/ 3483106 h 3483106"/>
              <a:gd name="connsiteX2" fmla="*/ 3628758 w 7344473"/>
              <a:gd name="connsiteY2" fmla="*/ 1248230 h 3483106"/>
              <a:gd name="connsiteX3" fmla="*/ 7344415 w 7344473"/>
              <a:gd name="connsiteY3" fmla="*/ 1262745 h 3483106"/>
              <a:gd name="connsiteX4" fmla="*/ 7344473 w 7344473"/>
              <a:gd name="connsiteY4" fmla="*/ 0 h 3483106"/>
              <a:gd name="connsiteX5" fmla="*/ 129 w 7344473"/>
              <a:gd name="connsiteY5" fmla="*/ 2449 h 3483106"/>
              <a:gd name="connsiteX6" fmla="*/ 388 w 7344473"/>
              <a:gd name="connsiteY6" fmla="*/ 3479251 h 3483106"/>
              <a:gd name="connsiteX0" fmla="*/ 388 w 7363539"/>
              <a:gd name="connsiteY0" fmla="*/ 3479251 h 3483106"/>
              <a:gd name="connsiteX1" fmla="*/ 3657958 w 7363539"/>
              <a:gd name="connsiteY1" fmla="*/ 3483106 h 3483106"/>
              <a:gd name="connsiteX2" fmla="*/ 3628758 w 7363539"/>
              <a:gd name="connsiteY2" fmla="*/ 1248230 h 3483106"/>
              <a:gd name="connsiteX3" fmla="*/ 7363539 w 7363539"/>
              <a:gd name="connsiteY3" fmla="*/ 1262745 h 3483106"/>
              <a:gd name="connsiteX4" fmla="*/ 7344473 w 7363539"/>
              <a:gd name="connsiteY4" fmla="*/ 0 h 3483106"/>
              <a:gd name="connsiteX5" fmla="*/ 129 w 7363539"/>
              <a:gd name="connsiteY5" fmla="*/ 2449 h 3483106"/>
              <a:gd name="connsiteX6" fmla="*/ 388 w 7363539"/>
              <a:gd name="connsiteY6" fmla="*/ 3479251 h 3483106"/>
              <a:gd name="connsiteX0" fmla="*/ 388 w 7363539"/>
              <a:gd name="connsiteY0" fmla="*/ 3479251 h 3485352"/>
              <a:gd name="connsiteX1" fmla="*/ 3612816 w 7363539"/>
              <a:gd name="connsiteY1" fmla="*/ 3485352 h 3485352"/>
              <a:gd name="connsiteX2" fmla="*/ 3628758 w 7363539"/>
              <a:gd name="connsiteY2" fmla="*/ 1248230 h 3485352"/>
              <a:gd name="connsiteX3" fmla="*/ 7363539 w 7363539"/>
              <a:gd name="connsiteY3" fmla="*/ 1262745 h 3485352"/>
              <a:gd name="connsiteX4" fmla="*/ 7344473 w 7363539"/>
              <a:gd name="connsiteY4" fmla="*/ 0 h 3485352"/>
              <a:gd name="connsiteX5" fmla="*/ 129 w 7363539"/>
              <a:gd name="connsiteY5" fmla="*/ 2449 h 3485352"/>
              <a:gd name="connsiteX6" fmla="*/ 388 w 7363539"/>
              <a:gd name="connsiteY6" fmla="*/ 3479251 h 3485352"/>
              <a:gd name="connsiteX0" fmla="*/ 39 w 7388986"/>
              <a:gd name="connsiteY0" fmla="*/ 3479251 h 3485352"/>
              <a:gd name="connsiteX1" fmla="*/ 3638263 w 7388986"/>
              <a:gd name="connsiteY1" fmla="*/ 3485352 h 3485352"/>
              <a:gd name="connsiteX2" fmla="*/ 3654205 w 7388986"/>
              <a:gd name="connsiteY2" fmla="*/ 1248230 h 3485352"/>
              <a:gd name="connsiteX3" fmla="*/ 7388986 w 7388986"/>
              <a:gd name="connsiteY3" fmla="*/ 1262745 h 3485352"/>
              <a:gd name="connsiteX4" fmla="*/ 7369920 w 7388986"/>
              <a:gd name="connsiteY4" fmla="*/ 0 h 3485352"/>
              <a:gd name="connsiteX5" fmla="*/ 25576 w 7388986"/>
              <a:gd name="connsiteY5" fmla="*/ 2449 h 3485352"/>
              <a:gd name="connsiteX6" fmla="*/ 39 w 7388986"/>
              <a:gd name="connsiteY6" fmla="*/ 3479251 h 348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8986" h="3485352">
                <a:moveTo>
                  <a:pt x="39" y="3479251"/>
                </a:moveTo>
                <a:lnTo>
                  <a:pt x="3638263" y="3485352"/>
                </a:lnTo>
                <a:lnTo>
                  <a:pt x="3654205" y="1248230"/>
                </a:lnTo>
                <a:lnTo>
                  <a:pt x="7388986" y="1262745"/>
                </a:lnTo>
                <a:cubicBezTo>
                  <a:pt x="7389005" y="841830"/>
                  <a:pt x="7369901" y="420915"/>
                  <a:pt x="7369920" y="0"/>
                </a:cubicBezTo>
                <a:lnTo>
                  <a:pt x="25576" y="2449"/>
                </a:lnTo>
                <a:cubicBezTo>
                  <a:pt x="26806" y="1172344"/>
                  <a:pt x="-1191" y="2309356"/>
                  <a:pt x="39" y="3479251"/>
                </a:cubicBezTo>
                <a:close/>
              </a:path>
            </a:pathLst>
          </a:custGeom>
          <a:solidFill>
            <a:srgbClr val="FFFFFF">
              <a:alpha val="20000"/>
            </a:srgbClr>
          </a:solid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Arial" charset="0"/>
            </a:endParaRPr>
          </a:p>
        </p:txBody>
      </p:sp>
      <p:sp>
        <p:nvSpPr>
          <p:cNvPr id="46" name="Rectangle: Rounded Corners 45"/>
          <p:cNvSpPr/>
          <p:nvPr/>
        </p:nvSpPr>
        <p:spPr bwMode="auto">
          <a:xfrm>
            <a:off x="8107761" y="3164261"/>
            <a:ext cx="751422" cy="395622"/>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err="1">
                <a:ln>
                  <a:noFill/>
                </a:ln>
                <a:solidFill>
                  <a:schemeClr val="bg1"/>
                </a:solidFill>
                <a:effectLst/>
                <a:uLnTx/>
                <a:uFillTx/>
                <a:latin typeface="Arial" charset="0"/>
              </a:rPr>
              <a:t>vUP</a:t>
            </a:r>
            <a:endParaRPr kumimoji="0" lang="en-US" sz="1400" b="0" i="0" u="none" strike="noStrike" kern="0" cap="none" spc="0" normalizeH="0" baseline="0" noProof="0" dirty="0">
              <a:ln>
                <a:noFill/>
              </a:ln>
              <a:solidFill>
                <a:schemeClr val="bg1"/>
              </a:solidFill>
              <a:effectLst/>
              <a:uLnTx/>
              <a:uFillTx/>
              <a:latin typeface="Arial" charset="0"/>
            </a:endParaRPr>
          </a:p>
        </p:txBody>
      </p:sp>
      <p:sp>
        <p:nvSpPr>
          <p:cNvPr id="47" name="Freeform 3"/>
          <p:cNvSpPr>
            <a:spLocks noChangeAspect="1" noEditPoints="1"/>
          </p:cNvSpPr>
          <p:nvPr/>
        </p:nvSpPr>
        <p:spPr bwMode="auto">
          <a:xfrm>
            <a:off x="2521760" y="3176014"/>
            <a:ext cx="687594" cy="368974"/>
          </a:xfrm>
          <a:custGeom>
            <a:avLst/>
            <a:gdLst>
              <a:gd name="T0" fmla="*/ 2147483646 w 671"/>
              <a:gd name="T1" fmla="*/ 2147483646 h 360"/>
              <a:gd name="T2" fmla="*/ 2147483646 w 671"/>
              <a:gd name="T3" fmla="*/ 2147483646 h 360"/>
              <a:gd name="T4" fmla="*/ 2147483646 w 671"/>
              <a:gd name="T5" fmla="*/ 2147483646 h 360"/>
              <a:gd name="T6" fmla="*/ 2147483646 w 671"/>
              <a:gd name="T7" fmla="*/ 2147483646 h 360"/>
              <a:gd name="T8" fmla="*/ 2147483646 w 671"/>
              <a:gd name="T9" fmla="*/ 2147483646 h 360"/>
              <a:gd name="T10" fmla="*/ 2147483646 w 671"/>
              <a:gd name="T11" fmla="*/ 2147483646 h 360"/>
              <a:gd name="T12" fmla="*/ 2147483646 w 671"/>
              <a:gd name="T13" fmla="*/ 2147483646 h 360"/>
              <a:gd name="T14" fmla="*/ 2147483646 w 671"/>
              <a:gd name="T15" fmla="*/ 2147483646 h 360"/>
              <a:gd name="T16" fmla="*/ 2147483646 w 671"/>
              <a:gd name="T17" fmla="*/ 2147483646 h 360"/>
              <a:gd name="T18" fmla="*/ 2147483646 w 671"/>
              <a:gd name="T19" fmla="*/ 2147483646 h 360"/>
              <a:gd name="T20" fmla="*/ 2147483646 w 671"/>
              <a:gd name="T21" fmla="*/ 2147483646 h 360"/>
              <a:gd name="T22" fmla="*/ 2147483646 w 671"/>
              <a:gd name="T23" fmla="*/ 2147483646 h 360"/>
              <a:gd name="T24" fmla="*/ 2147483646 w 671"/>
              <a:gd name="T25" fmla="*/ 2147483646 h 360"/>
              <a:gd name="T26" fmla="*/ 2147483646 w 671"/>
              <a:gd name="T27" fmla="*/ 2147483646 h 360"/>
              <a:gd name="T28" fmla="*/ 2147483646 w 671"/>
              <a:gd name="T29" fmla="*/ 2147483646 h 360"/>
              <a:gd name="T30" fmla="*/ 2147483646 w 671"/>
              <a:gd name="T31" fmla="*/ 2147483646 h 360"/>
              <a:gd name="T32" fmla="*/ 2147483646 w 671"/>
              <a:gd name="T33" fmla="*/ 2147483646 h 360"/>
              <a:gd name="T34" fmla="*/ 2147483646 w 671"/>
              <a:gd name="T35" fmla="*/ 2147483646 h 360"/>
              <a:gd name="T36" fmla="*/ 2147483646 w 671"/>
              <a:gd name="T37" fmla="*/ 2147483646 h 360"/>
              <a:gd name="T38" fmla="*/ 2147483646 w 671"/>
              <a:gd name="T39" fmla="*/ 2147483646 h 360"/>
              <a:gd name="T40" fmla="*/ 2147483646 w 671"/>
              <a:gd name="T41" fmla="*/ 2147483646 h 360"/>
              <a:gd name="T42" fmla="*/ 2147483646 w 671"/>
              <a:gd name="T43" fmla="*/ 2147483646 h 360"/>
              <a:gd name="T44" fmla="*/ 2147483646 w 671"/>
              <a:gd name="T45" fmla="*/ 2147483646 h 360"/>
              <a:gd name="T46" fmla="*/ 2147483646 w 671"/>
              <a:gd name="T47" fmla="*/ 2147483646 h 360"/>
              <a:gd name="T48" fmla="*/ 2147483646 w 671"/>
              <a:gd name="T49" fmla="*/ 2147483646 h 360"/>
              <a:gd name="T50" fmla="*/ 2147483646 w 671"/>
              <a:gd name="T51" fmla="*/ 2147483646 h 360"/>
              <a:gd name="T52" fmla="*/ 2147483646 w 671"/>
              <a:gd name="T53" fmla="*/ 2147483646 h 360"/>
              <a:gd name="T54" fmla="*/ 2147483646 w 671"/>
              <a:gd name="T55" fmla="*/ 2147483646 h 360"/>
              <a:gd name="T56" fmla="*/ 2147483646 w 671"/>
              <a:gd name="T57" fmla="*/ 2147483646 h 360"/>
              <a:gd name="T58" fmla="*/ 2147483646 w 671"/>
              <a:gd name="T59" fmla="*/ 2147483646 h 360"/>
              <a:gd name="T60" fmla="*/ 2147483646 w 671"/>
              <a:gd name="T61" fmla="*/ 2147483646 h 360"/>
              <a:gd name="T62" fmla="*/ 2147483646 w 671"/>
              <a:gd name="T63" fmla="*/ 2147483646 h 360"/>
              <a:gd name="T64" fmla="*/ 2147483646 w 671"/>
              <a:gd name="T65" fmla="*/ 2147483646 h 360"/>
              <a:gd name="T66" fmla="*/ 2147483646 w 671"/>
              <a:gd name="T67" fmla="*/ 2147483646 h 360"/>
              <a:gd name="T68" fmla="*/ 2147483646 w 671"/>
              <a:gd name="T69" fmla="*/ 2147483646 h 360"/>
              <a:gd name="T70" fmla="*/ 2147483646 w 671"/>
              <a:gd name="T71" fmla="*/ 2147483646 h 360"/>
              <a:gd name="T72" fmla="*/ 2147483646 w 671"/>
              <a:gd name="T73" fmla="*/ 2147483646 h 360"/>
              <a:gd name="T74" fmla="*/ 2147483646 w 671"/>
              <a:gd name="T75" fmla="*/ 2147483646 h 360"/>
              <a:gd name="T76" fmla="*/ 2147483646 w 671"/>
              <a:gd name="T77" fmla="*/ 2147483646 h 360"/>
              <a:gd name="T78" fmla="*/ 2147483646 w 671"/>
              <a:gd name="T79" fmla="*/ 2147483646 h 360"/>
              <a:gd name="T80" fmla="*/ 2147483646 w 671"/>
              <a:gd name="T81" fmla="*/ 2147483646 h 360"/>
              <a:gd name="T82" fmla="*/ 2147483646 w 671"/>
              <a:gd name="T83" fmla="*/ 2147483646 h 360"/>
              <a:gd name="T84" fmla="*/ 2147483646 w 671"/>
              <a:gd name="T85" fmla="*/ 2147483646 h 360"/>
              <a:gd name="T86" fmla="*/ 2147483646 w 671"/>
              <a:gd name="T87" fmla="*/ 2147483646 h 360"/>
              <a:gd name="T88" fmla="*/ 2147483646 w 671"/>
              <a:gd name="T89" fmla="*/ 2147483646 h 360"/>
              <a:gd name="T90" fmla="*/ 2147483646 w 671"/>
              <a:gd name="T91" fmla="*/ 2147483646 h 360"/>
              <a:gd name="T92" fmla="*/ 2147483646 w 671"/>
              <a:gd name="T93" fmla="*/ 2147483646 h 360"/>
              <a:gd name="T94" fmla="*/ 2147483646 w 671"/>
              <a:gd name="T95" fmla="*/ 2147483646 h 360"/>
              <a:gd name="T96" fmla="*/ 2147483646 w 671"/>
              <a:gd name="T97" fmla="*/ 2147483646 h 360"/>
              <a:gd name="T98" fmla="*/ 2147483646 w 671"/>
              <a:gd name="T99" fmla="*/ 2147483646 h 360"/>
              <a:gd name="T100" fmla="*/ 2147483646 w 671"/>
              <a:gd name="T101" fmla="*/ 2147483646 h 3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71" h="360">
                <a:moveTo>
                  <a:pt x="663" y="88"/>
                </a:moveTo>
                <a:cubicBezTo>
                  <a:pt x="667" y="88"/>
                  <a:pt x="671" y="85"/>
                  <a:pt x="671" y="80"/>
                </a:cubicBezTo>
                <a:cubicBezTo>
                  <a:pt x="671" y="68"/>
                  <a:pt x="671" y="68"/>
                  <a:pt x="671" y="68"/>
                </a:cubicBezTo>
                <a:cubicBezTo>
                  <a:pt x="671" y="47"/>
                  <a:pt x="650" y="41"/>
                  <a:pt x="643" y="38"/>
                </a:cubicBezTo>
                <a:cubicBezTo>
                  <a:pt x="635" y="35"/>
                  <a:pt x="547" y="0"/>
                  <a:pt x="339" y="0"/>
                </a:cubicBezTo>
                <a:cubicBezTo>
                  <a:pt x="130" y="0"/>
                  <a:pt x="35" y="35"/>
                  <a:pt x="28" y="38"/>
                </a:cubicBezTo>
                <a:cubicBezTo>
                  <a:pt x="9" y="44"/>
                  <a:pt x="0" y="54"/>
                  <a:pt x="0" y="68"/>
                </a:cubicBezTo>
                <a:cubicBezTo>
                  <a:pt x="0" y="275"/>
                  <a:pt x="0" y="275"/>
                  <a:pt x="0" y="275"/>
                </a:cubicBezTo>
                <a:cubicBezTo>
                  <a:pt x="0" y="293"/>
                  <a:pt x="12" y="306"/>
                  <a:pt x="30" y="306"/>
                </a:cubicBezTo>
                <a:cubicBezTo>
                  <a:pt x="36" y="306"/>
                  <a:pt x="43" y="304"/>
                  <a:pt x="54" y="302"/>
                </a:cubicBezTo>
                <a:cubicBezTo>
                  <a:pt x="59" y="300"/>
                  <a:pt x="65" y="299"/>
                  <a:pt x="72" y="297"/>
                </a:cubicBezTo>
                <a:cubicBezTo>
                  <a:pt x="72" y="341"/>
                  <a:pt x="72" y="341"/>
                  <a:pt x="72" y="341"/>
                </a:cubicBezTo>
                <a:cubicBezTo>
                  <a:pt x="72" y="349"/>
                  <a:pt x="79" y="358"/>
                  <a:pt x="90" y="358"/>
                </a:cubicBezTo>
                <a:cubicBezTo>
                  <a:pt x="208" y="358"/>
                  <a:pt x="208" y="358"/>
                  <a:pt x="208" y="358"/>
                </a:cubicBezTo>
                <a:cubicBezTo>
                  <a:pt x="216" y="358"/>
                  <a:pt x="225" y="352"/>
                  <a:pt x="225" y="341"/>
                </a:cubicBezTo>
                <a:cubicBezTo>
                  <a:pt x="225" y="286"/>
                  <a:pt x="225" y="286"/>
                  <a:pt x="225" y="286"/>
                </a:cubicBezTo>
                <a:cubicBezTo>
                  <a:pt x="225" y="282"/>
                  <a:pt x="225" y="278"/>
                  <a:pt x="224" y="275"/>
                </a:cubicBezTo>
                <a:cubicBezTo>
                  <a:pt x="233" y="274"/>
                  <a:pt x="246" y="273"/>
                  <a:pt x="260" y="272"/>
                </a:cubicBezTo>
                <a:cubicBezTo>
                  <a:pt x="259" y="277"/>
                  <a:pt x="258" y="281"/>
                  <a:pt x="258" y="286"/>
                </a:cubicBezTo>
                <a:cubicBezTo>
                  <a:pt x="258" y="341"/>
                  <a:pt x="258" y="341"/>
                  <a:pt x="258" y="341"/>
                </a:cubicBezTo>
                <a:cubicBezTo>
                  <a:pt x="258" y="349"/>
                  <a:pt x="264" y="358"/>
                  <a:pt x="276" y="358"/>
                </a:cubicBezTo>
                <a:cubicBezTo>
                  <a:pt x="394" y="358"/>
                  <a:pt x="394" y="358"/>
                  <a:pt x="394" y="358"/>
                </a:cubicBezTo>
                <a:cubicBezTo>
                  <a:pt x="402" y="358"/>
                  <a:pt x="411" y="352"/>
                  <a:pt x="411" y="341"/>
                </a:cubicBezTo>
                <a:cubicBezTo>
                  <a:pt x="411" y="286"/>
                  <a:pt x="411" y="286"/>
                  <a:pt x="411" y="286"/>
                </a:cubicBezTo>
                <a:cubicBezTo>
                  <a:pt x="411" y="281"/>
                  <a:pt x="410" y="277"/>
                  <a:pt x="409" y="272"/>
                </a:cubicBezTo>
                <a:cubicBezTo>
                  <a:pt x="424" y="273"/>
                  <a:pt x="437" y="274"/>
                  <a:pt x="446" y="275"/>
                </a:cubicBezTo>
                <a:cubicBezTo>
                  <a:pt x="445" y="279"/>
                  <a:pt x="444" y="283"/>
                  <a:pt x="444" y="288"/>
                </a:cubicBezTo>
                <a:cubicBezTo>
                  <a:pt x="444" y="342"/>
                  <a:pt x="444" y="342"/>
                  <a:pt x="444" y="342"/>
                </a:cubicBezTo>
                <a:cubicBezTo>
                  <a:pt x="444" y="351"/>
                  <a:pt x="450" y="360"/>
                  <a:pt x="462" y="360"/>
                </a:cubicBezTo>
                <a:cubicBezTo>
                  <a:pt x="580" y="360"/>
                  <a:pt x="580" y="360"/>
                  <a:pt x="580" y="360"/>
                </a:cubicBezTo>
                <a:cubicBezTo>
                  <a:pt x="588" y="360"/>
                  <a:pt x="597" y="354"/>
                  <a:pt x="597" y="342"/>
                </a:cubicBezTo>
                <a:cubicBezTo>
                  <a:pt x="597" y="298"/>
                  <a:pt x="597" y="298"/>
                  <a:pt x="597" y="298"/>
                </a:cubicBezTo>
                <a:cubicBezTo>
                  <a:pt x="603" y="299"/>
                  <a:pt x="608" y="300"/>
                  <a:pt x="612" y="301"/>
                </a:cubicBezTo>
                <a:cubicBezTo>
                  <a:pt x="626" y="304"/>
                  <a:pt x="633" y="306"/>
                  <a:pt x="640" y="306"/>
                </a:cubicBezTo>
                <a:cubicBezTo>
                  <a:pt x="658" y="306"/>
                  <a:pt x="671" y="293"/>
                  <a:pt x="671" y="275"/>
                </a:cubicBezTo>
                <a:cubicBezTo>
                  <a:pt x="671" y="112"/>
                  <a:pt x="671" y="112"/>
                  <a:pt x="671" y="112"/>
                </a:cubicBezTo>
                <a:cubicBezTo>
                  <a:pt x="671" y="107"/>
                  <a:pt x="667" y="104"/>
                  <a:pt x="663" y="104"/>
                </a:cubicBezTo>
                <a:cubicBezTo>
                  <a:pt x="658" y="104"/>
                  <a:pt x="655" y="107"/>
                  <a:pt x="655" y="112"/>
                </a:cubicBezTo>
                <a:cubicBezTo>
                  <a:pt x="655" y="275"/>
                  <a:pt x="655" y="275"/>
                  <a:pt x="655" y="275"/>
                </a:cubicBezTo>
                <a:cubicBezTo>
                  <a:pt x="655" y="280"/>
                  <a:pt x="653" y="290"/>
                  <a:pt x="640" y="290"/>
                </a:cubicBezTo>
                <a:cubicBezTo>
                  <a:pt x="635" y="290"/>
                  <a:pt x="628" y="288"/>
                  <a:pt x="615" y="285"/>
                </a:cubicBezTo>
                <a:cubicBezTo>
                  <a:pt x="610" y="284"/>
                  <a:pt x="604" y="283"/>
                  <a:pt x="597" y="281"/>
                </a:cubicBezTo>
                <a:cubicBezTo>
                  <a:pt x="594" y="258"/>
                  <a:pt x="579" y="243"/>
                  <a:pt x="565" y="235"/>
                </a:cubicBezTo>
                <a:cubicBezTo>
                  <a:pt x="576" y="223"/>
                  <a:pt x="583" y="208"/>
                  <a:pt x="583" y="191"/>
                </a:cubicBezTo>
                <a:cubicBezTo>
                  <a:pt x="583" y="157"/>
                  <a:pt x="555" y="129"/>
                  <a:pt x="521" y="129"/>
                </a:cubicBezTo>
                <a:cubicBezTo>
                  <a:pt x="486" y="129"/>
                  <a:pt x="458" y="157"/>
                  <a:pt x="458" y="191"/>
                </a:cubicBezTo>
                <a:cubicBezTo>
                  <a:pt x="458" y="208"/>
                  <a:pt x="465" y="223"/>
                  <a:pt x="476" y="235"/>
                </a:cubicBezTo>
                <a:cubicBezTo>
                  <a:pt x="467" y="240"/>
                  <a:pt x="458" y="248"/>
                  <a:pt x="452" y="259"/>
                </a:cubicBezTo>
                <a:cubicBezTo>
                  <a:pt x="443" y="258"/>
                  <a:pt x="423" y="257"/>
                  <a:pt x="403" y="256"/>
                </a:cubicBezTo>
                <a:cubicBezTo>
                  <a:pt x="397" y="246"/>
                  <a:pt x="388" y="238"/>
                  <a:pt x="380" y="233"/>
                </a:cubicBezTo>
                <a:cubicBezTo>
                  <a:pt x="391" y="222"/>
                  <a:pt x="397" y="207"/>
                  <a:pt x="397" y="190"/>
                </a:cubicBezTo>
                <a:cubicBezTo>
                  <a:pt x="397" y="155"/>
                  <a:pt x="369" y="127"/>
                  <a:pt x="335" y="127"/>
                </a:cubicBezTo>
                <a:cubicBezTo>
                  <a:pt x="300" y="127"/>
                  <a:pt x="272" y="155"/>
                  <a:pt x="272" y="190"/>
                </a:cubicBezTo>
                <a:cubicBezTo>
                  <a:pt x="272" y="207"/>
                  <a:pt x="279" y="222"/>
                  <a:pt x="290" y="233"/>
                </a:cubicBezTo>
                <a:cubicBezTo>
                  <a:pt x="282" y="238"/>
                  <a:pt x="273" y="246"/>
                  <a:pt x="266" y="256"/>
                </a:cubicBezTo>
                <a:cubicBezTo>
                  <a:pt x="247" y="257"/>
                  <a:pt x="228" y="258"/>
                  <a:pt x="219" y="259"/>
                </a:cubicBezTo>
                <a:cubicBezTo>
                  <a:pt x="212" y="247"/>
                  <a:pt x="203" y="239"/>
                  <a:pt x="194" y="233"/>
                </a:cubicBezTo>
                <a:cubicBezTo>
                  <a:pt x="205" y="222"/>
                  <a:pt x="211" y="206"/>
                  <a:pt x="211" y="190"/>
                </a:cubicBezTo>
                <a:cubicBezTo>
                  <a:pt x="211" y="155"/>
                  <a:pt x="183" y="127"/>
                  <a:pt x="149" y="127"/>
                </a:cubicBezTo>
                <a:cubicBezTo>
                  <a:pt x="114" y="127"/>
                  <a:pt x="86" y="155"/>
                  <a:pt x="86" y="190"/>
                </a:cubicBezTo>
                <a:cubicBezTo>
                  <a:pt x="86" y="207"/>
                  <a:pt x="93" y="222"/>
                  <a:pt x="104" y="233"/>
                </a:cubicBezTo>
                <a:cubicBezTo>
                  <a:pt x="90" y="242"/>
                  <a:pt x="75" y="257"/>
                  <a:pt x="73" y="281"/>
                </a:cubicBezTo>
                <a:cubicBezTo>
                  <a:pt x="63" y="283"/>
                  <a:pt x="56" y="285"/>
                  <a:pt x="50" y="286"/>
                </a:cubicBezTo>
                <a:cubicBezTo>
                  <a:pt x="40" y="288"/>
                  <a:pt x="34" y="290"/>
                  <a:pt x="30" y="290"/>
                </a:cubicBezTo>
                <a:cubicBezTo>
                  <a:pt x="20" y="290"/>
                  <a:pt x="16" y="282"/>
                  <a:pt x="16" y="275"/>
                </a:cubicBezTo>
                <a:cubicBezTo>
                  <a:pt x="16" y="68"/>
                  <a:pt x="16" y="68"/>
                  <a:pt x="16" y="68"/>
                </a:cubicBezTo>
                <a:cubicBezTo>
                  <a:pt x="16" y="64"/>
                  <a:pt x="18" y="58"/>
                  <a:pt x="33" y="53"/>
                </a:cubicBezTo>
                <a:cubicBezTo>
                  <a:pt x="33" y="53"/>
                  <a:pt x="33" y="53"/>
                  <a:pt x="33" y="53"/>
                </a:cubicBezTo>
                <a:cubicBezTo>
                  <a:pt x="34" y="53"/>
                  <a:pt x="129" y="16"/>
                  <a:pt x="339" y="16"/>
                </a:cubicBezTo>
                <a:cubicBezTo>
                  <a:pt x="548" y="16"/>
                  <a:pt x="636" y="53"/>
                  <a:pt x="637" y="53"/>
                </a:cubicBezTo>
                <a:cubicBezTo>
                  <a:pt x="637" y="53"/>
                  <a:pt x="637" y="53"/>
                  <a:pt x="638" y="53"/>
                </a:cubicBezTo>
                <a:cubicBezTo>
                  <a:pt x="653" y="58"/>
                  <a:pt x="655" y="64"/>
                  <a:pt x="655" y="68"/>
                </a:cubicBezTo>
                <a:cubicBezTo>
                  <a:pt x="655" y="80"/>
                  <a:pt x="655" y="80"/>
                  <a:pt x="655" y="80"/>
                </a:cubicBezTo>
                <a:cubicBezTo>
                  <a:pt x="655" y="85"/>
                  <a:pt x="658" y="88"/>
                  <a:pt x="663" y="88"/>
                </a:cubicBezTo>
                <a:close/>
                <a:moveTo>
                  <a:pt x="474" y="191"/>
                </a:moveTo>
                <a:cubicBezTo>
                  <a:pt x="474" y="166"/>
                  <a:pt x="495" y="145"/>
                  <a:pt x="521" y="145"/>
                </a:cubicBezTo>
                <a:cubicBezTo>
                  <a:pt x="546" y="145"/>
                  <a:pt x="567" y="166"/>
                  <a:pt x="567" y="191"/>
                </a:cubicBezTo>
                <a:cubicBezTo>
                  <a:pt x="567" y="217"/>
                  <a:pt x="546" y="238"/>
                  <a:pt x="521" y="238"/>
                </a:cubicBezTo>
                <a:cubicBezTo>
                  <a:pt x="495" y="238"/>
                  <a:pt x="474" y="217"/>
                  <a:pt x="474" y="191"/>
                </a:cubicBezTo>
                <a:close/>
                <a:moveTo>
                  <a:pt x="460" y="288"/>
                </a:moveTo>
                <a:cubicBezTo>
                  <a:pt x="460" y="265"/>
                  <a:pt x="477" y="252"/>
                  <a:pt x="489" y="245"/>
                </a:cubicBezTo>
                <a:cubicBezTo>
                  <a:pt x="499" y="251"/>
                  <a:pt x="509" y="254"/>
                  <a:pt x="521" y="254"/>
                </a:cubicBezTo>
                <a:cubicBezTo>
                  <a:pt x="532" y="254"/>
                  <a:pt x="543" y="251"/>
                  <a:pt x="552" y="245"/>
                </a:cubicBezTo>
                <a:cubicBezTo>
                  <a:pt x="564" y="252"/>
                  <a:pt x="581" y="265"/>
                  <a:pt x="581" y="288"/>
                </a:cubicBezTo>
                <a:cubicBezTo>
                  <a:pt x="581" y="342"/>
                  <a:pt x="581" y="342"/>
                  <a:pt x="581" y="342"/>
                </a:cubicBezTo>
                <a:cubicBezTo>
                  <a:pt x="581" y="343"/>
                  <a:pt x="581" y="343"/>
                  <a:pt x="581" y="343"/>
                </a:cubicBezTo>
                <a:cubicBezTo>
                  <a:pt x="581" y="343"/>
                  <a:pt x="580" y="344"/>
                  <a:pt x="580" y="344"/>
                </a:cubicBezTo>
                <a:cubicBezTo>
                  <a:pt x="565" y="344"/>
                  <a:pt x="565" y="344"/>
                  <a:pt x="565" y="344"/>
                </a:cubicBezTo>
                <a:cubicBezTo>
                  <a:pt x="565" y="287"/>
                  <a:pt x="565" y="287"/>
                  <a:pt x="565" y="287"/>
                </a:cubicBezTo>
                <a:cubicBezTo>
                  <a:pt x="565" y="283"/>
                  <a:pt x="561" y="279"/>
                  <a:pt x="557" y="279"/>
                </a:cubicBezTo>
                <a:cubicBezTo>
                  <a:pt x="552" y="279"/>
                  <a:pt x="549" y="283"/>
                  <a:pt x="549" y="287"/>
                </a:cubicBezTo>
                <a:cubicBezTo>
                  <a:pt x="549" y="344"/>
                  <a:pt x="549" y="344"/>
                  <a:pt x="549" y="344"/>
                </a:cubicBezTo>
                <a:cubicBezTo>
                  <a:pt x="492" y="344"/>
                  <a:pt x="492" y="344"/>
                  <a:pt x="492" y="344"/>
                </a:cubicBezTo>
                <a:cubicBezTo>
                  <a:pt x="492" y="287"/>
                  <a:pt x="492" y="287"/>
                  <a:pt x="492" y="287"/>
                </a:cubicBezTo>
                <a:cubicBezTo>
                  <a:pt x="492" y="283"/>
                  <a:pt x="489" y="279"/>
                  <a:pt x="484" y="279"/>
                </a:cubicBezTo>
                <a:cubicBezTo>
                  <a:pt x="480" y="279"/>
                  <a:pt x="476" y="283"/>
                  <a:pt x="476" y="287"/>
                </a:cubicBezTo>
                <a:cubicBezTo>
                  <a:pt x="476" y="344"/>
                  <a:pt x="476" y="344"/>
                  <a:pt x="476" y="344"/>
                </a:cubicBezTo>
                <a:cubicBezTo>
                  <a:pt x="462" y="344"/>
                  <a:pt x="462" y="344"/>
                  <a:pt x="462" y="344"/>
                </a:cubicBezTo>
                <a:cubicBezTo>
                  <a:pt x="461" y="344"/>
                  <a:pt x="461" y="344"/>
                  <a:pt x="461" y="344"/>
                </a:cubicBezTo>
                <a:cubicBezTo>
                  <a:pt x="461" y="343"/>
                  <a:pt x="460" y="343"/>
                  <a:pt x="460" y="342"/>
                </a:cubicBezTo>
                <a:lnTo>
                  <a:pt x="460" y="288"/>
                </a:lnTo>
                <a:close/>
                <a:moveTo>
                  <a:pt x="288" y="190"/>
                </a:moveTo>
                <a:cubicBezTo>
                  <a:pt x="288" y="164"/>
                  <a:pt x="309" y="143"/>
                  <a:pt x="335" y="143"/>
                </a:cubicBezTo>
                <a:cubicBezTo>
                  <a:pt x="360" y="143"/>
                  <a:pt x="381" y="164"/>
                  <a:pt x="381" y="190"/>
                </a:cubicBezTo>
                <a:cubicBezTo>
                  <a:pt x="381" y="215"/>
                  <a:pt x="360" y="236"/>
                  <a:pt x="335" y="236"/>
                </a:cubicBezTo>
                <a:cubicBezTo>
                  <a:pt x="309" y="236"/>
                  <a:pt x="288" y="215"/>
                  <a:pt x="288" y="190"/>
                </a:cubicBezTo>
                <a:close/>
                <a:moveTo>
                  <a:pt x="274" y="286"/>
                </a:moveTo>
                <a:cubicBezTo>
                  <a:pt x="274" y="263"/>
                  <a:pt x="291" y="250"/>
                  <a:pt x="303" y="244"/>
                </a:cubicBezTo>
                <a:cubicBezTo>
                  <a:pt x="313" y="249"/>
                  <a:pt x="323" y="252"/>
                  <a:pt x="335" y="252"/>
                </a:cubicBezTo>
                <a:cubicBezTo>
                  <a:pt x="346" y="252"/>
                  <a:pt x="357" y="249"/>
                  <a:pt x="366" y="244"/>
                </a:cubicBezTo>
                <a:cubicBezTo>
                  <a:pt x="378" y="250"/>
                  <a:pt x="395" y="263"/>
                  <a:pt x="395" y="286"/>
                </a:cubicBezTo>
                <a:cubicBezTo>
                  <a:pt x="395" y="341"/>
                  <a:pt x="395" y="341"/>
                  <a:pt x="395" y="341"/>
                </a:cubicBezTo>
                <a:cubicBezTo>
                  <a:pt x="395" y="341"/>
                  <a:pt x="395" y="342"/>
                  <a:pt x="395" y="342"/>
                </a:cubicBezTo>
                <a:cubicBezTo>
                  <a:pt x="395" y="342"/>
                  <a:pt x="394" y="342"/>
                  <a:pt x="394" y="342"/>
                </a:cubicBezTo>
                <a:cubicBezTo>
                  <a:pt x="379" y="342"/>
                  <a:pt x="379" y="342"/>
                  <a:pt x="379" y="342"/>
                </a:cubicBezTo>
                <a:cubicBezTo>
                  <a:pt x="379" y="286"/>
                  <a:pt x="379" y="286"/>
                  <a:pt x="379" y="286"/>
                </a:cubicBezTo>
                <a:cubicBezTo>
                  <a:pt x="379" y="281"/>
                  <a:pt x="375" y="278"/>
                  <a:pt x="371" y="278"/>
                </a:cubicBezTo>
                <a:cubicBezTo>
                  <a:pt x="366" y="278"/>
                  <a:pt x="363" y="281"/>
                  <a:pt x="363" y="286"/>
                </a:cubicBezTo>
                <a:cubicBezTo>
                  <a:pt x="363" y="342"/>
                  <a:pt x="363" y="342"/>
                  <a:pt x="363" y="342"/>
                </a:cubicBezTo>
                <a:cubicBezTo>
                  <a:pt x="306" y="342"/>
                  <a:pt x="306" y="342"/>
                  <a:pt x="306" y="342"/>
                </a:cubicBezTo>
                <a:cubicBezTo>
                  <a:pt x="306" y="286"/>
                  <a:pt x="306" y="286"/>
                  <a:pt x="306" y="286"/>
                </a:cubicBezTo>
                <a:cubicBezTo>
                  <a:pt x="306" y="281"/>
                  <a:pt x="303" y="278"/>
                  <a:pt x="298" y="278"/>
                </a:cubicBezTo>
                <a:cubicBezTo>
                  <a:pt x="294" y="278"/>
                  <a:pt x="290" y="281"/>
                  <a:pt x="290" y="286"/>
                </a:cubicBezTo>
                <a:cubicBezTo>
                  <a:pt x="290" y="342"/>
                  <a:pt x="290" y="342"/>
                  <a:pt x="290" y="342"/>
                </a:cubicBezTo>
                <a:cubicBezTo>
                  <a:pt x="276" y="342"/>
                  <a:pt x="276" y="342"/>
                  <a:pt x="276" y="342"/>
                </a:cubicBezTo>
                <a:cubicBezTo>
                  <a:pt x="275" y="342"/>
                  <a:pt x="275" y="342"/>
                  <a:pt x="275" y="342"/>
                </a:cubicBezTo>
                <a:cubicBezTo>
                  <a:pt x="275" y="342"/>
                  <a:pt x="274" y="341"/>
                  <a:pt x="274" y="341"/>
                </a:cubicBezTo>
                <a:lnTo>
                  <a:pt x="274" y="286"/>
                </a:lnTo>
                <a:close/>
                <a:moveTo>
                  <a:pt x="102" y="190"/>
                </a:moveTo>
                <a:cubicBezTo>
                  <a:pt x="102" y="164"/>
                  <a:pt x="123" y="143"/>
                  <a:pt x="149" y="143"/>
                </a:cubicBezTo>
                <a:cubicBezTo>
                  <a:pt x="174" y="143"/>
                  <a:pt x="195" y="164"/>
                  <a:pt x="195" y="190"/>
                </a:cubicBezTo>
                <a:cubicBezTo>
                  <a:pt x="195" y="215"/>
                  <a:pt x="174" y="236"/>
                  <a:pt x="149" y="236"/>
                </a:cubicBezTo>
                <a:cubicBezTo>
                  <a:pt x="123" y="236"/>
                  <a:pt x="102" y="215"/>
                  <a:pt x="102" y="190"/>
                </a:cubicBezTo>
                <a:close/>
                <a:moveTo>
                  <a:pt x="88" y="286"/>
                </a:moveTo>
                <a:cubicBezTo>
                  <a:pt x="88" y="263"/>
                  <a:pt x="105" y="250"/>
                  <a:pt x="118" y="244"/>
                </a:cubicBezTo>
                <a:cubicBezTo>
                  <a:pt x="127" y="249"/>
                  <a:pt x="137" y="252"/>
                  <a:pt x="149" y="252"/>
                </a:cubicBezTo>
                <a:cubicBezTo>
                  <a:pt x="160" y="252"/>
                  <a:pt x="171" y="249"/>
                  <a:pt x="180" y="244"/>
                </a:cubicBezTo>
                <a:cubicBezTo>
                  <a:pt x="192" y="250"/>
                  <a:pt x="209" y="263"/>
                  <a:pt x="209" y="286"/>
                </a:cubicBezTo>
                <a:cubicBezTo>
                  <a:pt x="209" y="341"/>
                  <a:pt x="209" y="341"/>
                  <a:pt x="209" y="341"/>
                </a:cubicBezTo>
                <a:cubicBezTo>
                  <a:pt x="209" y="341"/>
                  <a:pt x="209" y="342"/>
                  <a:pt x="209" y="342"/>
                </a:cubicBezTo>
                <a:cubicBezTo>
                  <a:pt x="209" y="342"/>
                  <a:pt x="208" y="342"/>
                  <a:pt x="208" y="342"/>
                </a:cubicBezTo>
                <a:cubicBezTo>
                  <a:pt x="193" y="342"/>
                  <a:pt x="193" y="342"/>
                  <a:pt x="193" y="342"/>
                </a:cubicBezTo>
                <a:cubicBezTo>
                  <a:pt x="193" y="286"/>
                  <a:pt x="193" y="286"/>
                  <a:pt x="193" y="286"/>
                </a:cubicBezTo>
                <a:cubicBezTo>
                  <a:pt x="193" y="281"/>
                  <a:pt x="189" y="278"/>
                  <a:pt x="185" y="278"/>
                </a:cubicBezTo>
                <a:cubicBezTo>
                  <a:pt x="181" y="278"/>
                  <a:pt x="177" y="281"/>
                  <a:pt x="177" y="286"/>
                </a:cubicBezTo>
                <a:cubicBezTo>
                  <a:pt x="177" y="342"/>
                  <a:pt x="177" y="342"/>
                  <a:pt x="177" y="342"/>
                </a:cubicBezTo>
                <a:cubicBezTo>
                  <a:pt x="121" y="342"/>
                  <a:pt x="121" y="342"/>
                  <a:pt x="121" y="342"/>
                </a:cubicBezTo>
                <a:cubicBezTo>
                  <a:pt x="121" y="286"/>
                  <a:pt x="121" y="286"/>
                  <a:pt x="121" y="286"/>
                </a:cubicBezTo>
                <a:cubicBezTo>
                  <a:pt x="121" y="281"/>
                  <a:pt x="117" y="278"/>
                  <a:pt x="113" y="278"/>
                </a:cubicBezTo>
                <a:cubicBezTo>
                  <a:pt x="108" y="278"/>
                  <a:pt x="105" y="281"/>
                  <a:pt x="105" y="286"/>
                </a:cubicBezTo>
                <a:cubicBezTo>
                  <a:pt x="105" y="342"/>
                  <a:pt x="105" y="342"/>
                  <a:pt x="105" y="342"/>
                </a:cubicBezTo>
                <a:cubicBezTo>
                  <a:pt x="90" y="342"/>
                  <a:pt x="90" y="342"/>
                  <a:pt x="90" y="342"/>
                </a:cubicBezTo>
                <a:cubicBezTo>
                  <a:pt x="89" y="342"/>
                  <a:pt x="89" y="342"/>
                  <a:pt x="89" y="342"/>
                </a:cubicBezTo>
                <a:cubicBezTo>
                  <a:pt x="89" y="342"/>
                  <a:pt x="89" y="341"/>
                  <a:pt x="88" y="341"/>
                </a:cubicBezTo>
                <a:lnTo>
                  <a:pt x="88" y="286"/>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Rounded Corners 47"/>
          <p:cNvSpPr/>
          <p:nvPr/>
        </p:nvSpPr>
        <p:spPr bwMode="auto">
          <a:xfrm>
            <a:off x="4155939" y="3180650"/>
            <a:ext cx="751422" cy="395622"/>
          </a:xfrm>
          <a:prstGeom prst="roundRect">
            <a:avLst/>
          </a:prstGeom>
          <a:no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err="1">
                <a:ln>
                  <a:noFill/>
                </a:ln>
                <a:solidFill>
                  <a:schemeClr val="bg1"/>
                </a:solidFill>
                <a:effectLst/>
                <a:uLnTx/>
                <a:uFillTx/>
              </a:rPr>
              <a:t>vCore</a:t>
            </a:r>
            <a:endParaRPr kumimoji="0" lang="en-US" sz="1400" b="0" i="0" u="none" strike="noStrike" kern="0" cap="none" spc="0" normalizeH="0" baseline="0" noProof="0" dirty="0">
              <a:ln>
                <a:noFill/>
              </a:ln>
              <a:solidFill>
                <a:schemeClr val="bg1"/>
              </a:solidFill>
              <a:effectLst/>
              <a:uLnTx/>
              <a:uFillTx/>
              <a:latin typeface="Arial" charset="0"/>
            </a:endParaRPr>
          </a:p>
        </p:txBody>
      </p:sp>
      <p:sp>
        <p:nvSpPr>
          <p:cNvPr id="49" name="TextBox 48"/>
          <p:cNvSpPr txBox="1"/>
          <p:nvPr/>
        </p:nvSpPr>
        <p:spPr>
          <a:xfrm>
            <a:off x="1067528" y="3222191"/>
            <a:ext cx="102624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NW Slice</a:t>
            </a:r>
          </a:p>
        </p:txBody>
      </p:sp>
    </p:spTree>
    <p:extLst>
      <p:ext uri="{BB962C8B-B14F-4D97-AF65-F5344CB8AC3E}">
        <p14:creationId xmlns:p14="http://schemas.microsoft.com/office/powerpoint/2010/main" val="403513670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Rounded Rectangle 85"/>
          <p:cNvSpPr/>
          <p:nvPr/>
        </p:nvSpPr>
        <p:spPr bwMode="auto">
          <a:xfrm>
            <a:off x="3812099" y="4676300"/>
            <a:ext cx="6966134" cy="1838800"/>
          </a:xfrm>
          <a:prstGeom prst="roundRect">
            <a:avLst>
              <a:gd name="adj" fmla="val 10726"/>
            </a:avLst>
          </a:prstGeom>
          <a:solidFill>
            <a:srgbClr val="575A5B">
              <a:alpha val="63922"/>
            </a:srgb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Network slices</a:t>
            </a: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6" name="Rounded Rectangle 35"/>
          <p:cNvSpPr/>
          <p:nvPr/>
        </p:nvSpPr>
        <p:spPr bwMode="auto">
          <a:xfrm>
            <a:off x="5558608" y="4969640"/>
            <a:ext cx="2571243" cy="1186352"/>
          </a:xfrm>
          <a:prstGeom prst="roundRect">
            <a:avLst/>
          </a:prstGeom>
          <a:solidFill>
            <a:srgbClr val="89BA17"/>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7" name="TextBox 6"/>
          <p:cNvSpPr txBox="1"/>
          <p:nvPr/>
        </p:nvSpPr>
        <p:spPr>
          <a:xfrm>
            <a:off x="5656941" y="5034177"/>
            <a:ext cx="152798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NW Slice MBB</a:t>
            </a:r>
          </a:p>
        </p:txBody>
      </p:sp>
      <p:sp>
        <p:nvSpPr>
          <p:cNvPr id="8" name="Rounded Rectangle 41"/>
          <p:cNvSpPr/>
          <p:nvPr/>
        </p:nvSpPr>
        <p:spPr bwMode="auto">
          <a:xfrm>
            <a:off x="8465580" y="4983705"/>
            <a:ext cx="2044082" cy="1172287"/>
          </a:xfrm>
          <a:prstGeom prst="roundRect">
            <a:avLst/>
          </a:prstGeom>
          <a:solidFill>
            <a:srgbClr val="89BA17"/>
          </a:solidFill>
          <a:ln w="28575">
            <a:solidFill>
              <a:schemeClr val="bg1"/>
            </a:solidFill>
            <a:prstDash val="dash"/>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9" name="TextBox 8"/>
          <p:cNvSpPr txBox="1"/>
          <p:nvPr/>
        </p:nvSpPr>
        <p:spPr>
          <a:xfrm>
            <a:off x="8830405" y="5052965"/>
            <a:ext cx="158268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NW Slice  Dedicated</a:t>
            </a:r>
          </a:p>
        </p:txBody>
      </p:sp>
      <p:pic>
        <p:nvPicPr>
          <p:cNvPr id="10" name="Picture 6" descr="ECON_whit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10"/>
          <p:cNvCxnSpPr/>
          <p:nvPr/>
        </p:nvCxnSpPr>
        <p:spPr bwMode="auto">
          <a:xfrm flipH="1" flipV="1">
            <a:off x="7486273" y="4435187"/>
            <a:ext cx="1978144" cy="193574"/>
          </a:xfrm>
          <a:prstGeom prst="straightConnector1">
            <a:avLst/>
          </a:prstGeom>
          <a:solidFill>
            <a:schemeClr val="accent1"/>
          </a:solidFill>
          <a:ln w="12700" cap="flat" cmpd="sng" algn="ctr">
            <a:solidFill>
              <a:schemeClr val="tx1"/>
            </a:solidFill>
            <a:prstDash val="dashDot"/>
            <a:round/>
            <a:headEnd type="none" w="med" len="med"/>
            <a:tailEnd type="arrow"/>
          </a:ln>
          <a:effectLst/>
        </p:spPr>
      </p:cxnSp>
      <p:sp>
        <p:nvSpPr>
          <p:cNvPr id="12" name="Rounded Rectangle 93"/>
          <p:cNvSpPr/>
          <p:nvPr/>
        </p:nvSpPr>
        <p:spPr bwMode="auto">
          <a:xfrm>
            <a:off x="3812099" y="1709531"/>
            <a:ext cx="6966133" cy="2726275"/>
          </a:xfrm>
          <a:prstGeom prst="roundRect">
            <a:avLst>
              <a:gd name="adj" fmla="val 10726"/>
            </a:avLst>
          </a:prstGeom>
          <a:solidFill>
            <a:srgbClr val="575A5B">
              <a:alpha val="63922"/>
            </a:srgb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Governance</a:t>
            </a: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cxnSp>
        <p:nvCxnSpPr>
          <p:cNvPr id="13" name="Straight Arrow Connector 12"/>
          <p:cNvCxnSpPr/>
          <p:nvPr/>
        </p:nvCxnSpPr>
        <p:spPr bwMode="auto">
          <a:xfrm flipH="1">
            <a:off x="8299661" y="2456511"/>
            <a:ext cx="2093959" cy="337191"/>
          </a:xfrm>
          <a:prstGeom prst="straightConnector1">
            <a:avLst/>
          </a:prstGeom>
          <a:solidFill>
            <a:schemeClr val="accent1"/>
          </a:solidFill>
          <a:ln w="12700" cap="flat" cmpd="sng" algn="ctr">
            <a:solidFill>
              <a:schemeClr val="tx1"/>
            </a:solidFill>
            <a:prstDash val="dashDot"/>
            <a:round/>
            <a:headEnd type="none" w="med" len="med"/>
            <a:tailEnd type="arrow"/>
          </a:ln>
          <a:effectLst/>
        </p:spPr>
      </p:cxnSp>
      <p:sp>
        <p:nvSpPr>
          <p:cNvPr id="14" name="Rounded Rectangle 63"/>
          <p:cNvSpPr/>
          <p:nvPr/>
        </p:nvSpPr>
        <p:spPr bwMode="auto">
          <a:xfrm>
            <a:off x="5914265" y="2029850"/>
            <a:ext cx="4390424" cy="1042818"/>
          </a:xfrm>
          <a:prstGeom prst="roundRect">
            <a:avLst/>
          </a:prstGeom>
          <a:solidFill>
            <a:srgbClr val="007B78"/>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15" name="Rectangle 14"/>
          <p:cNvSpPr/>
          <p:nvPr/>
        </p:nvSpPr>
        <p:spPr>
          <a:xfrm>
            <a:off x="7869618" y="2029850"/>
            <a:ext cx="1871026"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chemeClr val="bg1"/>
                </a:solidFill>
                <a:effectLst/>
                <a:uLnTx/>
                <a:uFillTx/>
                <a:cs typeface="Arial" charset="0"/>
              </a:rPr>
              <a:t>NaaS</a:t>
            </a:r>
            <a:r>
              <a:rPr kumimoji="0" lang="en-US" sz="1600" b="0" i="0" u="none" strike="noStrike" kern="0" cap="none" spc="0" normalizeH="0" baseline="0" noProof="0" dirty="0">
                <a:ln>
                  <a:noFill/>
                </a:ln>
                <a:solidFill>
                  <a:schemeClr val="bg1"/>
                </a:solidFill>
                <a:effectLst/>
                <a:uLnTx/>
                <a:uFillTx/>
                <a:cs typeface="Arial" charset="0"/>
              </a:rPr>
              <a:t> Governance</a:t>
            </a:r>
          </a:p>
        </p:txBody>
      </p:sp>
      <p:sp>
        <p:nvSpPr>
          <p:cNvPr id="16" name="Oval 15"/>
          <p:cNvSpPr/>
          <p:nvPr/>
        </p:nvSpPr>
        <p:spPr bwMode="auto">
          <a:xfrm>
            <a:off x="6844229" y="5544691"/>
            <a:ext cx="943808" cy="475116"/>
          </a:xfrm>
          <a:prstGeom prst="ellipse">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Arial" charset="0"/>
              </a:rPr>
              <a:t>User</a:t>
            </a:r>
          </a:p>
        </p:txBody>
      </p:sp>
      <p:cxnSp>
        <p:nvCxnSpPr>
          <p:cNvPr id="17" name="Straight Arrow Connector 16"/>
          <p:cNvCxnSpPr>
            <a:stCxn id="16" idx="6"/>
          </p:cNvCxnSpPr>
          <p:nvPr/>
        </p:nvCxnSpPr>
        <p:spPr bwMode="auto">
          <a:xfrm>
            <a:off x="7788037" y="5782249"/>
            <a:ext cx="1176610" cy="0"/>
          </a:xfrm>
          <a:prstGeom prst="straightConnector1">
            <a:avLst/>
          </a:prstGeom>
          <a:solidFill>
            <a:schemeClr val="accent1"/>
          </a:solidFill>
          <a:ln w="12700" cap="flat" cmpd="sng" algn="ctr">
            <a:solidFill>
              <a:srgbClr val="FFFFFF"/>
            </a:solidFill>
            <a:prstDash val="solid"/>
            <a:round/>
            <a:headEnd type="none" w="med" len="med"/>
            <a:tailEnd type="arrow"/>
          </a:ln>
          <a:effectLst/>
        </p:spPr>
      </p:cxnSp>
      <p:sp>
        <p:nvSpPr>
          <p:cNvPr id="18" name="Rounded Rectangle 94"/>
          <p:cNvSpPr/>
          <p:nvPr/>
        </p:nvSpPr>
        <p:spPr bwMode="auto">
          <a:xfrm>
            <a:off x="6104264" y="2828501"/>
            <a:ext cx="1488927" cy="407538"/>
          </a:xfrm>
          <a:prstGeom prst="roundRect">
            <a:avLst/>
          </a:prstGeom>
          <a:solidFill>
            <a:srgbClr val="B1B3B4"/>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ea typeface="MS PGothic" pitchFamily="34" charset="-128"/>
                <a:cs typeface="Arial" pitchFamily="34" charset="0"/>
              </a:rPr>
              <a:t>COMPA</a:t>
            </a:r>
          </a:p>
        </p:txBody>
      </p:sp>
      <p:cxnSp>
        <p:nvCxnSpPr>
          <p:cNvPr id="19" name="Straight Arrow Connector 18"/>
          <p:cNvCxnSpPr>
            <a:cxnSpLocks/>
          </p:cNvCxnSpPr>
          <p:nvPr/>
        </p:nvCxnSpPr>
        <p:spPr bwMode="auto">
          <a:xfrm flipV="1">
            <a:off x="6401646" y="3236040"/>
            <a:ext cx="252037" cy="1733600"/>
          </a:xfrm>
          <a:prstGeom prst="straightConnector1">
            <a:avLst/>
          </a:prstGeom>
          <a:solidFill>
            <a:schemeClr val="accent1"/>
          </a:solidFill>
          <a:ln w="12700" cap="flat" cmpd="sng" algn="ctr">
            <a:solidFill>
              <a:schemeClr val="accent3"/>
            </a:solidFill>
            <a:prstDash val="dash"/>
            <a:round/>
            <a:headEnd type="none" w="med" len="med"/>
            <a:tailEnd type="arrow"/>
          </a:ln>
          <a:effectLst/>
        </p:spPr>
      </p:cxnSp>
      <p:cxnSp>
        <p:nvCxnSpPr>
          <p:cNvPr id="20" name="Straight Arrow Connector 19"/>
          <p:cNvCxnSpPr>
            <a:cxnSpLocks/>
          </p:cNvCxnSpPr>
          <p:nvPr/>
        </p:nvCxnSpPr>
        <p:spPr bwMode="auto">
          <a:xfrm>
            <a:off x="8976829" y="3032271"/>
            <a:ext cx="0" cy="1951434"/>
          </a:xfrm>
          <a:prstGeom prst="straightConnector1">
            <a:avLst/>
          </a:prstGeom>
          <a:solidFill>
            <a:schemeClr val="accent1"/>
          </a:solidFill>
          <a:ln w="12700" cap="flat" cmpd="sng" algn="ctr">
            <a:solidFill>
              <a:schemeClr val="accent3"/>
            </a:solidFill>
            <a:prstDash val="dash"/>
            <a:round/>
            <a:headEnd type="none" w="med" len="med"/>
            <a:tailEnd type="arrow"/>
          </a:ln>
          <a:effectLst/>
        </p:spPr>
      </p:cxnSp>
      <p:sp>
        <p:nvSpPr>
          <p:cNvPr id="21" name="Rounded Rectangle 48"/>
          <p:cNvSpPr/>
          <p:nvPr/>
        </p:nvSpPr>
        <p:spPr bwMode="auto">
          <a:xfrm>
            <a:off x="7573434" y="3295759"/>
            <a:ext cx="2731254" cy="988237"/>
          </a:xfrm>
          <a:prstGeom prst="roundRect">
            <a:avLst/>
          </a:prstGeom>
          <a:solidFill>
            <a:srgbClr val="007B78"/>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22" name="TextBox 21"/>
          <p:cNvSpPr txBox="1"/>
          <p:nvPr/>
        </p:nvSpPr>
        <p:spPr>
          <a:xfrm>
            <a:off x="523231" y="2471070"/>
            <a:ext cx="3288529" cy="147732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3"/>
                </a:solidFill>
                <a:effectLst/>
                <a:uLnTx/>
                <a:uFillTx/>
              </a:rPr>
              <a:t>Monitor Service/</a:t>
            </a:r>
            <a:r>
              <a:rPr kumimoji="0" lang="en-US" sz="1800" b="0" i="0" u="none" strike="noStrike" kern="0" cap="none" spc="0" normalizeH="0" baseline="0" noProof="0" dirty="0" err="1">
                <a:ln>
                  <a:noFill/>
                </a:ln>
                <a:solidFill>
                  <a:schemeClr val="accent3"/>
                </a:solidFill>
                <a:effectLst/>
                <a:uLnTx/>
                <a:uFillTx/>
              </a:rPr>
              <a:t>NaaS</a:t>
            </a:r>
            <a:r>
              <a:rPr kumimoji="0" lang="en-US" sz="1800" b="0" i="0" u="none" strike="noStrike" kern="0" cap="none" spc="0" normalizeH="0" baseline="0" noProof="0" dirty="0">
                <a:ln>
                  <a:noFill/>
                </a:ln>
                <a:solidFill>
                  <a:schemeClr val="accent3"/>
                </a:solidFill>
                <a:effectLst/>
                <a:uLnTx/>
                <a:uFillTx/>
              </a:rPr>
              <a:t> </a:t>
            </a:r>
            <a:br>
              <a:rPr kumimoji="0" lang="en-US" sz="1800" b="0" i="0" u="none" strike="noStrike" kern="0" cap="none" spc="0" normalizeH="0" baseline="0" noProof="0" dirty="0">
                <a:ln>
                  <a:noFill/>
                </a:ln>
                <a:solidFill>
                  <a:schemeClr val="accent3"/>
                </a:solidFill>
                <a:effectLst/>
                <a:uLnTx/>
                <a:uFillTx/>
              </a:rPr>
            </a:br>
            <a:r>
              <a:rPr kumimoji="0" lang="en-US" sz="1800" b="0" i="0" u="none" strike="noStrike" kern="0" cap="none" spc="0" normalizeH="0" baseline="0" noProof="0" dirty="0">
                <a:ln>
                  <a:noFill/>
                </a:ln>
                <a:solidFill>
                  <a:schemeClr val="accent3"/>
                </a:solidFill>
                <a:effectLst/>
                <a:uLnTx/>
                <a:uFillTx/>
              </a:rPr>
              <a:t>based on SL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3"/>
                </a:solidFill>
                <a:effectLst/>
                <a:uLnTx/>
                <a:uFillTx/>
              </a:rPr>
              <a:t>Take action, e.g. instantiate</a:t>
            </a:r>
            <a:br>
              <a:rPr kumimoji="0" lang="en-US" sz="1800" b="0" i="0" u="none" strike="noStrike" kern="0" cap="none" spc="0" normalizeH="0" baseline="0" noProof="0" dirty="0">
                <a:ln>
                  <a:noFill/>
                </a:ln>
                <a:solidFill>
                  <a:schemeClr val="accent3"/>
                </a:solidFill>
                <a:effectLst/>
                <a:uLnTx/>
                <a:uFillTx/>
              </a:rPr>
            </a:br>
            <a:r>
              <a:rPr kumimoji="0" lang="en-US" sz="1800" b="0" i="0" u="none" strike="noStrike" kern="0" cap="none" spc="0" normalizeH="0" baseline="0" noProof="0" dirty="0">
                <a:ln>
                  <a:noFill/>
                </a:ln>
                <a:solidFill>
                  <a:schemeClr val="accent3"/>
                </a:solidFill>
                <a:effectLst/>
                <a:uLnTx/>
                <a:uFillTx/>
              </a:rPr>
              <a:t>dedicated slice as needed</a:t>
            </a:r>
          </a:p>
        </p:txBody>
      </p:sp>
      <p:sp>
        <p:nvSpPr>
          <p:cNvPr id="23" name="Rectangle 22"/>
          <p:cNvSpPr/>
          <p:nvPr/>
        </p:nvSpPr>
        <p:spPr>
          <a:xfrm>
            <a:off x="7729506" y="3333134"/>
            <a:ext cx="2611612"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cs typeface="Arial" charset="0"/>
              </a:rPr>
              <a:t>Network Slice Governance</a:t>
            </a:r>
          </a:p>
        </p:txBody>
      </p:sp>
      <p:sp>
        <p:nvSpPr>
          <p:cNvPr id="24" name="Title 11"/>
          <p:cNvSpPr>
            <a:spLocks noGrp="1"/>
          </p:cNvSpPr>
          <p:nvPr>
            <p:ph type="title"/>
          </p:nvPr>
        </p:nvSpPr>
        <p:spPr>
          <a:xfrm>
            <a:off x="524935" y="239714"/>
            <a:ext cx="9992784" cy="1085371"/>
          </a:xfrm>
        </p:spPr>
        <p:txBody>
          <a:bodyPr>
            <a:normAutofit/>
          </a:bodyPr>
          <a:lstStyle/>
          <a:p>
            <a:r>
              <a:rPr lang="en-US" altLang="ja-JP" dirty="0">
                <a:solidFill>
                  <a:srgbClr val="FFFFFF"/>
                </a:solidFill>
              </a:rPr>
              <a:t>Dynamic network slicing</a:t>
            </a:r>
            <a:br>
              <a:rPr lang="en-US" altLang="ja-JP" dirty="0">
                <a:solidFill>
                  <a:srgbClr val="FFFFFF"/>
                </a:solidFill>
              </a:rPr>
            </a:br>
            <a:r>
              <a:rPr lang="en-US" altLang="ja-JP" sz="2800" dirty="0">
                <a:solidFill>
                  <a:srgbClr val="FFFFFF"/>
                </a:solidFill>
                <a:latin typeface="+mn-lt"/>
              </a:rPr>
              <a:t>Combining Automation (COMPA) with network slicing</a:t>
            </a:r>
            <a:endParaRPr lang="en-US" sz="2800" dirty="0">
              <a:latin typeface="+mn-lt"/>
            </a:endParaRPr>
          </a:p>
        </p:txBody>
      </p:sp>
      <p:sp>
        <p:nvSpPr>
          <p:cNvPr id="25" name="Oval 24"/>
          <p:cNvSpPr/>
          <p:nvPr/>
        </p:nvSpPr>
        <p:spPr bwMode="auto">
          <a:xfrm>
            <a:off x="8945780" y="5576185"/>
            <a:ext cx="943808" cy="475116"/>
          </a:xfrm>
          <a:prstGeom prst="ellipse">
            <a:avLst/>
          </a:prstGeom>
          <a:solidFill>
            <a:srgbClr val="B1B3B4"/>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2"/>
              </a:solidFill>
              <a:effectLst/>
              <a:uLnTx/>
              <a:uFillTx/>
              <a:latin typeface="Arial" charset="0"/>
            </a:endParaRPr>
          </a:p>
        </p:txBody>
      </p:sp>
      <p:sp>
        <p:nvSpPr>
          <p:cNvPr id="26" name="TextBox 25"/>
          <p:cNvSpPr txBox="1"/>
          <p:nvPr/>
        </p:nvSpPr>
        <p:spPr>
          <a:xfrm>
            <a:off x="6176455" y="3786269"/>
            <a:ext cx="397866" cy="400110"/>
          </a:xfrm>
          <a:prstGeom prst="rect">
            <a:avLst/>
          </a:prstGeom>
          <a:noFill/>
        </p:spPr>
        <p:txBody>
          <a:bodyPr wrap="none" rtlCol="0">
            <a:spAutoFit/>
          </a:bodyPr>
          <a:lstStyle/>
          <a:p>
            <a:r>
              <a:rPr lang="en-US" dirty="0">
                <a:solidFill>
                  <a:schemeClr val="bg1"/>
                </a:solidFill>
              </a:rPr>
              <a:t>1.</a:t>
            </a:r>
          </a:p>
        </p:txBody>
      </p:sp>
      <p:sp>
        <p:nvSpPr>
          <p:cNvPr id="27" name="TextBox 26"/>
          <p:cNvSpPr txBox="1"/>
          <p:nvPr/>
        </p:nvSpPr>
        <p:spPr>
          <a:xfrm>
            <a:off x="8622346" y="4343401"/>
            <a:ext cx="397866" cy="400110"/>
          </a:xfrm>
          <a:prstGeom prst="rect">
            <a:avLst/>
          </a:prstGeom>
          <a:noFill/>
        </p:spPr>
        <p:txBody>
          <a:bodyPr wrap="none" rtlCol="0">
            <a:spAutoFit/>
          </a:bodyPr>
          <a:lstStyle/>
          <a:p>
            <a:r>
              <a:rPr lang="en-US" dirty="0">
                <a:solidFill>
                  <a:schemeClr val="bg1"/>
                </a:solidFill>
              </a:rPr>
              <a:t>2.</a:t>
            </a:r>
          </a:p>
        </p:txBody>
      </p:sp>
      <p:sp>
        <p:nvSpPr>
          <p:cNvPr id="28" name="TextBox 27"/>
          <p:cNvSpPr txBox="1"/>
          <p:nvPr/>
        </p:nvSpPr>
        <p:spPr>
          <a:xfrm>
            <a:off x="8145162" y="5455170"/>
            <a:ext cx="397866" cy="400110"/>
          </a:xfrm>
          <a:prstGeom prst="rect">
            <a:avLst/>
          </a:prstGeom>
          <a:noFill/>
        </p:spPr>
        <p:txBody>
          <a:bodyPr wrap="none" rtlCol="0">
            <a:spAutoFit/>
          </a:bodyPr>
          <a:lstStyle/>
          <a:p>
            <a:r>
              <a:rPr lang="en-US" dirty="0">
                <a:solidFill>
                  <a:schemeClr val="bg1"/>
                </a:solidFill>
              </a:rPr>
              <a:t>3.</a:t>
            </a:r>
          </a:p>
        </p:txBody>
      </p:sp>
    </p:spTree>
    <p:extLst>
      <p:ext uri="{BB962C8B-B14F-4D97-AF65-F5344CB8AC3E}">
        <p14:creationId xmlns:p14="http://schemas.microsoft.com/office/powerpoint/2010/main" val="339951981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6</a:t>
            </a:r>
          </a:p>
          <a:p>
            <a:r>
              <a:rPr lang="en-US" dirty="0"/>
              <a:t>Orchestration</a:t>
            </a:r>
          </a:p>
        </p:txBody>
      </p:sp>
    </p:spTree>
    <p:custDataLst>
      <p:tags r:id="rId1"/>
    </p:custDataLst>
    <p:extLst>
      <p:ext uri="{BB962C8B-B14F-4D97-AF65-F5344CB8AC3E}">
        <p14:creationId xmlns:p14="http://schemas.microsoft.com/office/powerpoint/2010/main" val="6192120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the basic concepts for 5G core orchestration and management</a:t>
            </a:r>
            <a:br>
              <a:rPr lang="en-US" dirty="0"/>
            </a:br>
            <a:endParaRPr lang="en-US" sz="2000" dirty="0"/>
          </a:p>
          <a:p>
            <a:pPr marL="735013" lvl="1" indent="-381000">
              <a:lnSpc>
                <a:spcPct val="90000"/>
              </a:lnSpc>
            </a:pPr>
            <a:r>
              <a:rPr lang="en-US" dirty="0"/>
              <a:t>Explain the Network as a service (</a:t>
            </a:r>
            <a:r>
              <a:rPr lang="en-US" dirty="0" err="1"/>
              <a:t>NaaS</a:t>
            </a:r>
            <a:r>
              <a:rPr lang="en-US" dirty="0"/>
              <a:t>) concept</a:t>
            </a:r>
            <a:br>
              <a:rPr lang="en-US" dirty="0"/>
            </a:br>
            <a:endParaRPr lang="en-US" dirty="0"/>
          </a:p>
          <a:p>
            <a:pPr marL="735013" lvl="1" indent="-381000">
              <a:lnSpc>
                <a:spcPct val="90000"/>
              </a:lnSpc>
            </a:pPr>
            <a:r>
              <a:rPr lang="en-US" dirty="0"/>
              <a:t>Explain the network slice blueprint concept</a:t>
            </a:r>
            <a:br>
              <a:rPr lang="en-US" dirty="0"/>
            </a:br>
            <a:endParaRPr lang="en-US" dirty="0"/>
          </a:p>
          <a:p>
            <a:pPr marL="735013" lvl="1" indent="-381000">
              <a:lnSpc>
                <a:spcPct val="90000"/>
              </a:lnSpc>
            </a:pPr>
            <a:r>
              <a:rPr lang="en-US" dirty="0"/>
              <a:t>Explain the basic principle of lifecycle management for network slice instances</a:t>
            </a:r>
          </a:p>
        </p:txBody>
      </p:sp>
    </p:spTree>
    <p:extLst>
      <p:ext uri="{BB962C8B-B14F-4D97-AF65-F5344CB8AC3E}">
        <p14:creationId xmlns:p14="http://schemas.microsoft.com/office/powerpoint/2010/main" val="226554008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3"/>
          <p:cNvSpPr>
            <a:spLocks noChangeArrowheads="1"/>
          </p:cNvSpPr>
          <p:nvPr/>
        </p:nvSpPr>
        <p:spPr bwMode="auto">
          <a:xfrm>
            <a:off x="0" y="0"/>
            <a:ext cx="12192000" cy="6858000"/>
          </a:xfrm>
          <a:prstGeom prst="rect">
            <a:avLst/>
          </a:prstGeom>
          <a:blipFill dpi="0" rotWithShape="1">
            <a:blip r:embed="rId4"/>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3" name="Title 2"/>
          <p:cNvSpPr>
            <a:spLocks noGrp="1"/>
          </p:cNvSpPr>
          <p:nvPr>
            <p:ph type="title"/>
          </p:nvPr>
        </p:nvSpPr>
        <p:spPr/>
        <p:txBody>
          <a:bodyPr/>
          <a:lstStyle/>
          <a:p>
            <a:r>
              <a:rPr lang="en-US" dirty="0">
                <a:solidFill>
                  <a:schemeClr val="bg1"/>
                </a:solidFill>
              </a:rPr>
              <a:t>Business services/model</a:t>
            </a:r>
          </a:p>
        </p:txBody>
      </p:sp>
      <p:sp>
        <p:nvSpPr>
          <p:cNvPr id="27" name="Rounded Rectangle 26"/>
          <p:cNvSpPr/>
          <p:nvPr/>
        </p:nvSpPr>
        <p:spPr bwMode="auto">
          <a:xfrm>
            <a:off x="2840465" y="3333977"/>
            <a:ext cx="6050604" cy="2566185"/>
          </a:xfrm>
          <a:prstGeom prst="roundRect">
            <a:avLst>
              <a:gd name="adj" fmla="val 10726"/>
            </a:avLst>
          </a:prstGeom>
          <a:solidFill>
            <a:schemeClr val="bg1">
              <a:alpha val="2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31" name="Rounded Rectangle 30"/>
          <p:cNvSpPr/>
          <p:nvPr/>
        </p:nvSpPr>
        <p:spPr bwMode="auto">
          <a:xfrm>
            <a:off x="3374565" y="3528528"/>
            <a:ext cx="2283271" cy="2213909"/>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44" name="Rectangle 43"/>
          <p:cNvSpPr/>
          <p:nvPr/>
        </p:nvSpPr>
        <p:spPr>
          <a:xfrm>
            <a:off x="3569116" y="5434661"/>
            <a:ext cx="152958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Network Slice X</a:t>
            </a:r>
          </a:p>
        </p:txBody>
      </p:sp>
      <p:sp>
        <p:nvSpPr>
          <p:cNvPr id="101" name="Freeform 3"/>
          <p:cNvSpPr>
            <a:spLocks noChangeAspect="1" noEditPoints="1"/>
          </p:cNvSpPr>
          <p:nvPr/>
        </p:nvSpPr>
        <p:spPr bwMode="auto">
          <a:xfrm>
            <a:off x="8170836" y="1772275"/>
            <a:ext cx="460901" cy="628091"/>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pic>
        <p:nvPicPr>
          <p:cNvPr id="64" name="Picture 6" descr="ECON_white"/>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Rounded Rectangle 68"/>
          <p:cNvSpPr/>
          <p:nvPr/>
        </p:nvSpPr>
        <p:spPr bwMode="auto">
          <a:xfrm>
            <a:off x="3591483" y="4362070"/>
            <a:ext cx="1347215" cy="293964"/>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Fcn</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1</a:t>
            </a:r>
          </a:p>
        </p:txBody>
      </p:sp>
      <p:sp>
        <p:nvSpPr>
          <p:cNvPr id="70" name="Rounded Rectangle 69"/>
          <p:cNvSpPr/>
          <p:nvPr/>
        </p:nvSpPr>
        <p:spPr bwMode="auto">
          <a:xfrm>
            <a:off x="3743883" y="4456105"/>
            <a:ext cx="1347215" cy="293964"/>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Function </a:t>
            </a:r>
          </a:p>
        </p:txBody>
      </p:sp>
      <p:sp>
        <p:nvSpPr>
          <p:cNvPr id="72" name="Rounded Rectangle 71"/>
          <p:cNvSpPr/>
          <p:nvPr/>
        </p:nvSpPr>
        <p:spPr bwMode="auto">
          <a:xfrm>
            <a:off x="3743883" y="4903063"/>
            <a:ext cx="1331175" cy="299558"/>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Resource</a:t>
            </a:r>
          </a:p>
        </p:txBody>
      </p:sp>
      <p:sp>
        <p:nvSpPr>
          <p:cNvPr id="73" name="Rounded Rectangle 72"/>
          <p:cNvSpPr/>
          <p:nvPr/>
        </p:nvSpPr>
        <p:spPr bwMode="auto">
          <a:xfrm>
            <a:off x="3896283" y="5055463"/>
            <a:ext cx="1331175" cy="299558"/>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Resource</a:t>
            </a:r>
          </a:p>
        </p:txBody>
      </p:sp>
      <p:sp>
        <p:nvSpPr>
          <p:cNvPr id="74" name="Freeform 3"/>
          <p:cNvSpPr>
            <a:spLocks noChangeAspect="1" noEditPoints="1"/>
          </p:cNvSpPr>
          <p:nvPr/>
        </p:nvSpPr>
        <p:spPr bwMode="auto">
          <a:xfrm>
            <a:off x="4764313" y="1762088"/>
            <a:ext cx="668777" cy="696643"/>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 name="TextBox 1"/>
          <p:cNvSpPr txBox="1"/>
          <p:nvPr/>
        </p:nvSpPr>
        <p:spPr>
          <a:xfrm>
            <a:off x="6618566" y="2596029"/>
            <a:ext cx="213391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Business customer</a:t>
            </a:r>
          </a:p>
        </p:txBody>
      </p:sp>
      <p:sp>
        <p:nvSpPr>
          <p:cNvPr id="76" name="Rounded Rectangle 75"/>
          <p:cNvSpPr/>
          <p:nvPr/>
        </p:nvSpPr>
        <p:spPr bwMode="auto">
          <a:xfrm>
            <a:off x="3487728" y="3766860"/>
            <a:ext cx="1917193" cy="293964"/>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User service  </a:t>
            </a: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77" name="Rounded Rectangle 76"/>
          <p:cNvSpPr/>
          <p:nvPr/>
        </p:nvSpPr>
        <p:spPr bwMode="auto">
          <a:xfrm>
            <a:off x="6332698" y="3963384"/>
            <a:ext cx="1446465" cy="797117"/>
          </a:xfrm>
          <a:prstGeom prst="roundRect">
            <a:avLst/>
          </a:prstGeom>
          <a:solidFill>
            <a:srgbClr val="007B78"/>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78" name="Rectangle 77"/>
          <p:cNvSpPr/>
          <p:nvPr/>
        </p:nvSpPr>
        <p:spPr>
          <a:xfrm>
            <a:off x="6309048" y="3987134"/>
            <a:ext cx="1486304" cy="7386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Governance of </a:t>
            </a:r>
            <a:br>
              <a:rPr kumimoji="0" lang="en-US" sz="1400" b="1" i="0" u="none" strike="noStrike" kern="0" cap="none" spc="0" normalizeH="0" baseline="0" noProof="0" dirty="0">
                <a:ln>
                  <a:noFill/>
                </a:ln>
                <a:solidFill>
                  <a:schemeClr val="bg1"/>
                </a:solidFill>
                <a:effectLst/>
                <a:uLnTx/>
                <a:uFillTx/>
              </a:rPr>
            </a:br>
            <a:r>
              <a:rPr kumimoji="0" lang="en-US" sz="1400" b="1" i="0" u="none" strike="noStrike" kern="0" cap="none" spc="0" normalizeH="0" baseline="0" noProof="0" dirty="0" err="1">
                <a:ln>
                  <a:noFill/>
                </a:ln>
                <a:solidFill>
                  <a:schemeClr val="bg1"/>
                </a:solidFill>
                <a:effectLst/>
                <a:uLnTx/>
                <a:uFillTx/>
              </a:rPr>
              <a:t>NaaS</a:t>
            </a:r>
            <a:r>
              <a:rPr kumimoji="0" lang="en-US" sz="1400" b="1" i="0" u="none" strike="noStrike" kern="0" cap="none" spc="0" normalizeH="0" baseline="0" noProof="0" dirty="0">
                <a:ln>
                  <a:noFill/>
                </a:ln>
                <a:solidFill>
                  <a:schemeClr val="bg1"/>
                </a:solidFill>
                <a:effectLst/>
                <a:uLnTx/>
                <a:uFillTx/>
              </a:rPr>
              <a:t> and</a:t>
            </a:r>
            <a:br>
              <a:rPr kumimoji="0" lang="en-US" sz="1400" b="1" i="0" u="none" strike="noStrike" kern="0" cap="none" spc="0" normalizeH="0" baseline="0" noProof="0" dirty="0">
                <a:ln>
                  <a:noFill/>
                </a:ln>
                <a:solidFill>
                  <a:schemeClr val="bg1"/>
                </a:solidFill>
                <a:effectLst/>
                <a:uLnTx/>
                <a:uFillTx/>
              </a:rPr>
            </a:br>
            <a:r>
              <a:rPr kumimoji="0" lang="en-US" sz="1400" b="1" i="0" u="none" strike="noStrike" kern="0" cap="none" spc="0" normalizeH="0" baseline="0" noProof="0" dirty="0">
                <a:ln>
                  <a:noFill/>
                </a:ln>
                <a:solidFill>
                  <a:schemeClr val="bg1"/>
                </a:solidFill>
                <a:effectLst/>
                <a:uLnTx/>
                <a:uFillTx/>
              </a:rPr>
              <a:t>network slices</a:t>
            </a:r>
          </a:p>
        </p:txBody>
      </p:sp>
      <p:sp>
        <p:nvSpPr>
          <p:cNvPr id="79" name="TextBox 78"/>
          <p:cNvSpPr txBox="1"/>
          <p:nvPr/>
        </p:nvSpPr>
        <p:spPr>
          <a:xfrm>
            <a:off x="3531858" y="1801288"/>
            <a:ext cx="1358064"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end user”</a:t>
            </a:r>
          </a:p>
        </p:txBody>
      </p:sp>
      <p:sp>
        <p:nvSpPr>
          <p:cNvPr id="80" name="Rectangle 79"/>
          <p:cNvSpPr/>
          <p:nvPr/>
        </p:nvSpPr>
        <p:spPr>
          <a:xfrm>
            <a:off x="7256735" y="5588549"/>
            <a:ext cx="1600118"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Service</a:t>
            </a:r>
            <a:r>
              <a:rPr kumimoji="0" lang="en-US" sz="1400" b="1" i="0" u="none" strike="noStrike" kern="0" cap="none" spc="0" normalizeH="0" noProof="0" dirty="0">
                <a:ln>
                  <a:noFill/>
                </a:ln>
                <a:solidFill>
                  <a:schemeClr val="bg1"/>
                </a:solidFill>
                <a:effectLst/>
                <a:uLnTx/>
                <a:uFillTx/>
              </a:rPr>
              <a:t> Provider</a:t>
            </a:r>
            <a:endParaRPr kumimoji="0" lang="en-US" sz="1400" b="1" i="0" u="none" strike="noStrike" kern="0" cap="none" spc="0" normalizeH="0" baseline="0" noProof="0" dirty="0">
              <a:ln>
                <a:noFill/>
              </a:ln>
              <a:solidFill>
                <a:schemeClr val="bg1"/>
              </a:solidFill>
              <a:effectLst/>
              <a:uLnTx/>
              <a:uFillTx/>
            </a:endParaRPr>
          </a:p>
        </p:txBody>
      </p:sp>
      <p:cxnSp>
        <p:nvCxnSpPr>
          <p:cNvPr id="6" name="Straight Arrow Connector 5"/>
          <p:cNvCxnSpPr/>
          <p:nvPr/>
        </p:nvCxnSpPr>
        <p:spPr bwMode="auto">
          <a:xfrm flipH="1">
            <a:off x="5756778" y="4362070"/>
            <a:ext cx="430206" cy="94035"/>
          </a:xfrm>
          <a:prstGeom prst="straightConnector1">
            <a:avLst/>
          </a:prstGeom>
          <a:solidFill>
            <a:schemeClr val="accent1"/>
          </a:solidFill>
          <a:ln w="12700" cap="flat" cmpd="sng" algn="ctr">
            <a:solidFill>
              <a:schemeClr val="bg1"/>
            </a:solidFill>
            <a:prstDash val="solid"/>
            <a:round/>
            <a:headEnd type="none" w="med" len="med"/>
            <a:tailEnd type="arrow"/>
          </a:ln>
          <a:effectLst/>
        </p:spPr>
      </p:cxnSp>
      <p:sp>
        <p:nvSpPr>
          <p:cNvPr id="85" name="Rounded Rectangle 84"/>
          <p:cNvSpPr/>
          <p:nvPr/>
        </p:nvSpPr>
        <p:spPr bwMode="auto">
          <a:xfrm>
            <a:off x="2731476" y="1625247"/>
            <a:ext cx="6050604" cy="1340114"/>
          </a:xfrm>
          <a:prstGeom prst="roundRect">
            <a:avLst>
              <a:gd name="adj" fmla="val 10726"/>
            </a:avLst>
          </a:prstGeom>
          <a:solidFill>
            <a:schemeClr val="bg1">
              <a:alpha val="2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91" name="Freeform 3"/>
          <p:cNvSpPr>
            <a:spLocks noChangeAspect="1"/>
          </p:cNvSpPr>
          <p:nvPr/>
        </p:nvSpPr>
        <p:spPr bwMode="auto">
          <a:xfrm rot="16200000">
            <a:off x="4026017" y="2484962"/>
            <a:ext cx="972766" cy="942176"/>
          </a:xfrm>
          <a:custGeom>
            <a:avLst/>
            <a:gdLst>
              <a:gd name="T0" fmla="*/ 2147483647 w 350"/>
              <a:gd name="T1" fmla="*/ 2147483647 h 300"/>
              <a:gd name="T2" fmla="*/ 2147483647 w 350"/>
              <a:gd name="T3" fmla="*/ 2147483647 h 300"/>
              <a:gd name="T4" fmla="*/ 2147483647 w 350"/>
              <a:gd name="T5" fmla="*/ 2147483647 h 300"/>
              <a:gd name="T6" fmla="*/ 2147483647 w 350"/>
              <a:gd name="T7" fmla="*/ 2147483647 h 300"/>
              <a:gd name="T8" fmla="*/ 2147483647 w 350"/>
              <a:gd name="T9" fmla="*/ 2147483647 h 300"/>
              <a:gd name="T10" fmla="*/ 2147483647 w 350"/>
              <a:gd name="T11" fmla="*/ 2147483647 h 300"/>
              <a:gd name="T12" fmla="*/ 2147483647 w 350"/>
              <a:gd name="T13" fmla="*/ 2147483647 h 300"/>
              <a:gd name="T14" fmla="*/ 2147483647 w 350"/>
              <a:gd name="T15" fmla="*/ 2147483647 h 300"/>
              <a:gd name="T16" fmla="*/ 2147483647 w 350"/>
              <a:gd name="T17" fmla="*/ 2147483647 h 300"/>
              <a:gd name="T18" fmla="*/ 2147483647 w 350"/>
              <a:gd name="T19" fmla="*/ 2147483647 h 300"/>
              <a:gd name="T20" fmla="*/ 2147483647 w 350"/>
              <a:gd name="T21" fmla="*/ 2147483647 h 300"/>
              <a:gd name="T22" fmla="*/ 2147483647 w 350"/>
              <a:gd name="T23" fmla="*/ 2147483647 h 300"/>
              <a:gd name="T24" fmla="*/ 2147483647 w 350"/>
              <a:gd name="T25" fmla="*/ 2147483647 h 300"/>
              <a:gd name="T26" fmla="*/ 2147483647 w 350"/>
              <a:gd name="T27" fmla="*/ 2147483647 h 300"/>
              <a:gd name="T28" fmla="*/ 2147483647 w 350"/>
              <a:gd name="T29" fmla="*/ 2147483647 h 300"/>
              <a:gd name="T30" fmla="*/ 2147483647 w 350"/>
              <a:gd name="T31" fmla="*/ 2147483647 h 300"/>
              <a:gd name="T32" fmla="*/ 2147483647 w 350"/>
              <a:gd name="T33" fmla="*/ 2147483647 h 300"/>
              <a:gd name="T34" fmla="*/ 2147483647 w 350"/>
              <a:gd name="T35" fmla="*/ 2147483647 h 300"/>
              <a:gd name="T36" fmla="*/ 2147483647 w 350"/>
              <a:gd name="T37" fmla="*/ 2147483647 h 300"/>
              <a:gd name="T38" fmla="*/ 2147483647 w 350"/>
              <a:gd name="T39" fmla="*/ 2147483647 h 300"/>
              <a:gd name="T40" fmla="*/ 2147483647 w 350"/>
              <a:gd name="T41" fmla="*/ 2147483647 h 300"/>
              <a:gd name="T42" fmla="*/ 2147483647 w 350"/>
              <a:gd name="T43" fmla="*/ 2147483647 h 300"/>
              <a:gd name="T44" fmla="*/ 2147483647 w 350"/>
              <a:gd name="T45" fmla="*/ 2147483647 h 300"/>
              <a:gd name="T46" fmla="*/ 2147483647 w 350"/>
              <a:gd name="T47" fmla="*/ 2147483647 h 300"/>
              <a:gd name="T48" fmla="*/ 2147483647 w 350"/>
              <a:gd name="T49" fmla="*/ 2147483647 h 300"/>
              <a:gd name="T50" fmla="*/ 2147483647 w 350"/>
              <a:gd name="T51" fmla="*/ 2147483647 h 300"/>
              <a:gd name="T52" fmla="*/ 2147483647 w 350"/>
              <a:gd name="T53" fmla="*/ 2147483647 h 300"/>
              <a:gd name="T54" fmla="*/ 2147483647 w 350"/>
              <a:gd name="T55" fmla="*/ 2147483647 h 300"/>
              <a:gd name="T56" fmla="*/ 2147483647 w 350"/>
              <a:gd name="T57" fmla="*/ 2147483647 h 300"/>
              <a:gd name="T58" fmla="*/ 2147483647 w 350"/>
              <a:gd name="T59" fmla="*/ 0 h 300"/>
              <a:gd name="T60" fmla="*/ 2147483647 w 350"/>
              <a:gd name="T61" fmla="*/ 2147483647 h 300"/>
              <a:gd name="T62" fmla="*/ 2147483647 w 350"/>
              <a:gd name="T63" fmla="*/ 2147483647 h 300"/>
              <a:gd name="T64" fmla="*/ 2147483647 w 350"/>
              <a:gd name="T65" fmla="*/ 2147483647 h 300"/>
              <a:gd name="T66" fmla="*/ 2147483647 w 350"/>
              <a:gd name="T67" fmla="*/ 2147483647 h 300"/>
              <a:gd name="T68" fmla="*/ 0 w 350"/>
              <a:gd name="T69" fmla="*/ 2147483647 h 300"/>
              <a:gd name="T70" fmla="*/ 0 w 350"/>
              <a:gd name="T71" fmla="*/ 2147483647 h 300"/>
              <a:gd name="T72" fmla="*/ 2147483647 w 350"/>
              <a:gd name="T73" fmla="*/ 2147483647 h 300"/>
              <a:gd name="T74" fmla="*/ 2147483647 w 350"/>
              <a:gd name="T75" fmla="*/ 2147483647 h 300"/>
              <a:gd name="T76" fmla="*/ 2147483647 w 350"/>
              <a:gd name="T77" fmla="*/ 2147483647 h 300"/>
              <a:gd name="T78" fmla="*/ 2147483647 w 350"/>
              <a:gd name="T79" fmla="*/ 2147483647 h 300"/>
              <a:gd name="T80" fmla="*/ 2147483647 w 350"/>
              <a:gd name="T81" fmla="*/ 2147483647 h 300"/>
              <a:gd name="T82" fmla="*/ 2147483647 w 350"/>
              <a:gd name="T83" fmla="*/ 2147483647 h 300"/>
              <a:gd name="T84" fmla="*/ 2147483647 w 350"/>
              <a:gd name="T85" fmla="*/ 2147483647 h 300"/>
              <a:gd name="T86" fmla="*/ 2147483647 w 350"/>
              <a:gd name="T87" fmla="*/ 2147483647 h 300"/>
              <a:gd name="T88" fmla="*/ 2147483647 w 350"/>
              <a:gd name="T89" fmla="*/ 2147483647 h 300"/>
              <a:gd name="T90" fmla="*/ 2147483647 w 350"/>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0" h="300">
                <a:moveTo>
                  <a:pt x="335" y="121"/>
                </a:moveTo>
                <a:cubicBezTo>
                  <a:pt x="331" y="118"/>
                  <a:pt x="296" y="90"/>
                  <a:pt x="258" y="60"/>
                </a:cubicBezTo>
                <a:cubicBezTo>
                  <a:pt x="255" y="58"/>
                  <a:pt x="250" y="58"/>
                  <a:pt x="247" y="62"/>
                </a:cubicBezTo>
                <a:cubicBezTo>
                  <a:pt x="244" y="65"/>
                  <a:pt x="245" y="70"/>
                  <a:pt x="249" y="73"/>
                </a:cubicBezTo>
                <a:cubicBezTo>
                  <a:pt x="286" y="103"/>
                  <a:pt x="321" y="131"/>
                  <a:pt x="325" y="134"/>
                </a:cubicBezTo>
                <a:cubicBezTo>
                  <a:pt x="332" y="139"/>
                  <a:pt x="334" y="143"/>
                  <a:pt x="334" y="150"/>
                </a:cubicBezTo>
                <a:cubicBezTo>
                  <a:pt x="334" y="157"/>
                  <a:pt x="332" y="161"/>
                  <a:pt x="325" y="166"/>
                </a:cubicBezTo>
                <a:cubicBezTo>
                  <a:pt x="310" y="179"/>
                  <a:pt x="201" y="265"/>
                  <a:pt x="184" y="278"/>
                </a:cubicBezTo>
                <a:cubicBezTo>
                  <a:pt x="179" y="282"/>
                  <a:pt x="175" y="284"/>
                  <a:pt x="172" y="284"/>
                </a:cubicBezTo>
                <a:cubicBezTo>
                  <a:pt x="170" y="284"/>
                  <a:pt x="168" y="283"/>
                  <a:pt x="167" y="281"/>
                </a:cubicBezTo>
                <a:cubicBezTo>
                  <a:pt x="165" y="279"/>
                  <a:pt x="163" y="274"/>
                  <a:pt x="163" y="267"/>
                </a:cubicBezTo>
                <a:cubicBezTo>
                  <a:pt x="163" y="261"/>
                  <a:pt x="163" y="253"/>
                  <a:pt x="163" y="244"/>
                </a:cubicBezTo>
                <a:cubicBezTo>
                  <a:pt x="163" y="242"/>
                  <a:pt x="162" y="240"/>
                  <a:pt x="161" y="238"/>
                </a:cubicBezTo>
                <a:cubicBezTo>
                  <a:pt x="160" y="237"/>
                  <a:pt x="157" y="236"/>
                  <a:pt x="155" y="236"/>
                </a:cubicBezTo>
                <a:cubicBezTo>
                  <a:pt x="19" y="236"/>
                  <a:pt x="19" y="236"/>
                  <a:pt x="19" y="236"/>
                </a:cubicBezTo>
                <a:cubicBezTo>
                  <a:pt x="18" y="236"/>
                  <a:pt x="16" y="235"/>
                  <a:pt x="16" y="233"/>
                </a:cubicBezTo>
                <a:cubicBezTo>
                  <a:pt x="16" y="67"/>
                  <a:pt x="16" y="67"/>
                  <a:pt x="16" y="67"/>
                </a:cubicBezTo>
                <a:cubicBezTo>
                  <a:pt x="16" y="65"/>
                  <a:pt x="18" y="63"/>
                  <a:pt x="19" y="63"/>
                </a:cubicBezTo>
                <a:cubicBezTo>
                  <a:pt x="155" y="63"/>
                  <a:pt x="155" y="63"/>
                  <a:pt x="155" y="63"/>
                </a:cubicBezTo>
                <a:cubicBezTo>
                  <a:pt x="160" y="63"/>
                  <a:pt x="163" y="60"/>
                  <a:pt x="163" y="56"/>
                </a:cubicBezTo>
                <a:cubicBezTo>
                  <a:pt x="163" y="46"/>
                  <a:pt x="163" y="39"/>
                  <a:pt x="163" y="33"/>
                </a:cubicBezTo>
                <a:cubicBezTo>
                  <a:pt x="163" y="26"/>
                  <a:pt x="165" y="21"/>
                  <a:pt x="167" y="19"/>
                </a:cubicBezTo>
                <a:cubicBezTo>
                  <a:pt x="168" y="16"/>
                  <a:pt x="169" y="16"/>
                  <a:pt x="172" y="16"/>
                </a:cubicBezTo>
                <a:cubicBezTo>
                  <a:pt x="174" y="16"/>
                  <a:pt x="179" y="17"/>
                  <a:pt x="184" y="22"/>
                </a:cubicBezTo>
                <a:cubicBezTo>
                  <a:pt x="185" y="23"/>
                  <a:pt x="206" y="39"/>
                  <a:pt x="224" y="53"/>
                </a:cubicBezTo>
                <a:cubicBezTo>
                  <a:pt x="227" y="56"/>
                  <a:pt x="232" y="55"/>
                  <a:pt x="235" y="52"/>
                </a:cubicBezTo>
                <a:cubicBezTo>
                  <a:pt x="238" y="48"/>
                  <a:pt x="237" y="43"/>
                  <a:pt x="234" y="41"/>
                </a:cubicBezTo>
                <a:cubicBezTo>
                  <a:pt x="234" y="41"/>
                  <a:pt x="234" y="41"/>
                  <a:pt x="234" y="41"/>
                </a:cubicBezTo>
                <a:cubicBezTo>
                  <a:pt x="216" y="27"/>
                  <a:pt x="195" y="10"/>
                  <a:pt x="195" y="10"/>
                </a:cubicBezTo>
                <a:cubicBezTo>
                  <a:pt x="187" y="4"/>
                  <a:pt x="180" y="0"/>
                  <a:pt x="172" y="0"/>
                </a:cubicBezTo>
                <a:cubicBezTo>
                  <a:pt x="165" y="0"/>
                  <a:pt x="158" y="3"/>
                  <a:pt x="153" y="10"/>
                </a:cubicBezTo>
                <a:cubicBezTo>
                  <a:pt x="149" y="16"/>
                  <a:pt x="148" y="24"/>
                  <a:pt x="147" y="33"/>
                </a:cubicBezTo>
                <a:cubicBezTo>
                  <a:pt x="147" y="37"/>
                  <a:pt x="147" y="42"/>
                  <a:pt x="147" y="47"/>
                </a:cubicBezTo>
                <a:cubicBezTo>
                  <a:pt x="19" y="47"/>
                  <a:pt x="19" y="47"/>
                  <a:pt x="19" y="47"/>
                </a:cubicBezTo>
                <a:cubicBezTo>
                  <a:pt x="9" y="47"/>
                  <a:pt x="0" y="56"/>
                  <a:pt x="0" y="67"/>
                </a:cubicBezTo>
                <a:cubicBezTo>
                  <a:pt x="0" y="233"/>
                  <a:pt x="0" y="233"/>
                  <a:pt x="0" y="233"/>
                </a:cubicBezTo>
                <a:cubicBezTo>
                  <a:pt x="0" y="243"/>
                  <a:pt x="9" y="252"/>
                  <a:pt x="19" y="252"/>
                </a:cubicBezTo>
                <a:cubicBezTo>
                  <a:pt x="147" y="252"/>
                  <a:pt x="147" y="252"/>
                  <a:pt x="147" y="252"/>
                </a:cubicBezTo>
                <a:cubicBezTo>
                  <a:pt x="147" y="258"/>
                  <a:pt x="147" y="263"/>
                  <a:pt x="147" y="267"/>
                </a:cubicBezTo>
                <a:cubicBezTo>
                  <a:pt x="148" y="276"/>
                  <a:pt x="149" y="284"/>
                  <a:pt x="154" y="290"/>
                </a:cubicBezTo>
                <a:cubicBezTo>
                  <a:pt x="158" y="296"/>
                  <a:pt x="165" y="300"/>
                  <a:pt x="172" y="300"/>
                </a:cubicBezTo>
                <a:cubicBezTo>
                  <a:pt x="172" y="300"/>
                  <a:pt x="172" y="300"/>
                  <a:pt x="172" y="300"/>
                </a:cubicBezTo>
                <a:cubicBezTo>
                  <a:pt x="180" y="300"/>
                  <a:pt x="187" y="296"/>
                  <a:pt x="194" y="290"/>
                </a:cubicBezTo>
                <a:cubicBezTo>
                  <a:pt x="211" y="277"/>
                  <a:pt x="320" y="191"/>
                  <a:pt x="335" y="179"/>
                </a:cubicBezTo>
                <a:cubicBezTo>
                  <a:pt x="344" y="172"/>
                  <a:pt x="350" y="162"/>
                  <a:pt x="350" y="150"/>
                </a:cubicBezTo>
                <a:cubicBezTo>
                  <a:pt x="350" y="138"/>
                  <a:pt x="344" y="128"/>
                  <a:pt x="335" y="121"/>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Title 3"/>
          <p:cNvSpPr txBox="1">
            <a:spLocks/>
          </p:cNvSpPr>
          <p:nvPr/>
        </p:nvSpPr>
        <p:spPr bwMode="auto">
          <a:xfrm>
            <a:off x="356553" y="1625247"/>
            <a:ext cx="2203880" cy="3806561"/>
          </a:xfrm>
          <a:prstGeom prst="rect">
            <a:avLst/>
          </a:prstGeom>
          <a:noFill/>
          <a:ln w="9525">
            <a:noFill/>
            <a:miter lim="800000"/>
            <a:headEnd/>
            <a:tailEnd/>
          </a:ln>
          <a:extLst>
            <a:ext uri="{909E8E84-426E-40DD-AFC4-6F175D3DCCD1}">
              <a14:hiddenFill xmlns:a14="http://schemas.microsoft.com/office/drawing/2010/main">
                <a:solidFill>
                  <a:srgbClr val="2E4275"/>
                </a:solidFill>
              </a14:hiddenFill>
            </a:ext>
          </a:extLst>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marL="0" marR="0" lvl="0" indent="0" algn="l" defTabSz="914400" rtl="0" eaLnBrk="1" fontAlgn="base" latinLnBrk="0" hangingPunct="1">
              <a:lnSpc>
                <a:spcPct val="100000"/>
              </a:lnSpc>
              <a:spcBef>
                <a:spcPct val="0"/>
              </a:spcBef>
              <a:spcAft>
                <a:spcPts val="18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mn-lt"/>
                <a:ea typeface="+mj-ea"/>
                <a:cs typeface="+mj-cs"/>
              </a:rPr>
              <a:t>End user services realized </a:t>
            </a:r>
            <a:r>
              <a:rPr kumimoji="0" lang="en-US" sz="2400" b="0" i="0" u="sng" strike="noStrike" kern="0" cap="none" spc="0" normalizeH="0" baseline="0" noProof="0" dirty="0">
                <a:ln>
                  <a:noFill/>
                </a:ln>
                <a:solidFill>
                  <a:srgbClr val="FFFFFF"/>
                </a:solidFill>
                <a:effectLst/>
                <a:uLnTx/>
                <a:uFillTx/>
                <a:latin typeface="+mn-lt"/>
                <a:ea typeface="+mj-ea"/>
                <a:cs typeface="+mj-cs"/>
              </a:rPr>
              <a:t>within</a:t>
            </a:r>
            <a:r>
              <a:rPr kumimoji="0" lang="en-US" sz="2400" b="0" i="0" u="none" strike="noStrike" kern="0" cap="none" spc="0" normalizeH="0" baseline="0" noProof="0" dirty="0">
                <a:ln>
                  <a:noFill/>
                </a:ln>
                <a:solidFill>
                  <a:srgbClr val="FFFFFF"/>
                </a:solidFill>
                <a:effectLst/>
                <a:uLnTx/>
                <a:uFillTx/>
                <a:latin typeface="+mn-lt"/>
                <a:ea typeface="+mj-ea"/>
                <a:cs typeface="+mj-cs"/>
              </a:rPr>
              <a:t> a network slice</a:t>
            </a:r>
          </a:p>
        </p:txBody>
      </p:sp>
      <p:sp>
        <p:nvSpPr>
          <p:cNvPr id="93" name="Title 3"/>
          <p:cNvSpPr txBox="1">
            <a:spLocks/>
          </p:cNvSpPr>
          <p:nvPr/>
        </p:nvSpPr>
        <p:spPr bwMode="auto">
          <a:xfrm>
            <a:off x="9449958" y="1713798"/>
            <a:ext cx="2203880" cy="3806561"/>
          </a:xfrm>
          <a:prstGeom prst="rect">
            <a:avLst/>
          </a:prstGeom>
          <a:noFill/>
          <a:ln w="9525">
            <a:noFill/>
            <a:miter lim="800000"/>
            <a:headEnd/>
            <a:tailEnd/>
          </a:ln>
          <a:extLst>
            <a:ext uri="{909E8E84-426E-40DD-AFC4-6F175D3DCCD1}">
              <a14:hiddenFill xmlns:a14="http://schemas.microsoft.com/office/drawing/2010/main">
                <a:solidFill>
                  <a:srgbClr val="2E4275"/>
                </a:solidFill>
              </a14:hiddenFill>
            </a:ext>
          </a:extLst>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marL="0" marR="0" lvl="0" indent="0" algn="l" defTabSz="914400" rtl="0" eaLnBrk="1" fontAlgn="base" latinLnBrk="0" hangingPunct="1">
              <a:lnSpc>
                <a:spcPct val="100000"/>
              </a:lnSpc>
              <a:spcBef>
                <a:spcPct val="0"/>
              </a:spcBef>
              <a:spcAft>
                <a:spcPts val="18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mn-lt"/>
                <a:ea typeface="+mj-ea"/>
                <a:cs typeface="+mj-cs"/>
              </a:rPr>
              <a:t>Network as a service  (</a:t>
            </a:r>
            <a:r>
              <a:rPr kumimoji="0" lang="en-US" sz="2400" b="0" i="0" u="none" strike="noStrike" kern="0" cap="none" spc="0" normalizeH="0" baseline="0" noProof="0" dirty="0" err="1">
                <a:ln>
                  <a:noFill/>
                </a:ln>
                <a:solidFill>
                  <a:srgbClr val="FFFFFF"/>
                </a:solidFill>
                <a:effectLst/>
                <a:uLnTx/>
                <a:uFillTx/>
                <a:latin typeface="+mn-lt"/>
                <a:ea typeface="+mj-ea"/>
                <a:cs typeface="+mj-cs"/>
              </a:rPr>
              <a:t>NaaS</a:t>
            </a:r>
            <a:r>
              <a:rPr kumimoji="0" lang="en-US" sz="2400" b="0" i="0" u="none" strike="noStrike" kern="0" cap="none" spc="0" normalizeH="0" baseline="0" noProof="0" dirty="0">
                <a:ln>
                  <a:noFill/>
                </a:ln>
                <a:solidFill>
                  <a:srgbClr val="FFFFFF"/>
                </a:solidFill>
                <a:effectLst/>
                <a:uLnTx/>
                <a:uFillTx/>
                <a:latin typeface="+mn-lt"/>
                <a:ea typeface="+mj-ea"/>
                <a:cs typeface="+mj-cs"/>
              </a:rPr>
              <a:t>) realized </a:t>
            </a:r>
            <a:r>
              <a:rPr kumimoji="0" lang="en-US" sz="2400" b="0" i="0" u="sng" strike="noStrike" kern="0" cap="none" spc="0" normalizeH="0" baseline="0" noProof="0" dirty="0">
                <a:ln>
                  <a:noFill/>
                </a:ln>
                <a:solidFill>
                  <a:srgbClr val="FFFFFF"/>
                </a:solidFill>
                <a:effectLst/>
                <a:uLnTx/>
                <a:uFillTx/>
                <a:latin typeface="+mn-lt"/>
                <a:ea typeface="+mj-ea"/>
                <a:cs typeface="+mj-cs"/>
              </a:rPr>
              <a:t>by</a:t>
            </a:r>
            <a:r>
              <a:rPr kumimoji="0" lang="en-US" sz="2400" b="0" i="0" u="none" strike="noStrike" kern="0" cap="none" spc="0" normalizeH="0" baseline="0" noProof="0" dirty="0">
                <a:ln>
                  <a:noFill/>
                </a:ln>
                <a:solidFill>
                  <a:srgbClr val="FFFFFF"/>
                </a:solidFill>
                <a:effectLst/>
                <a:uLnTx/>
                <a:uFillTx/>
                <a:latin typeface="+mn-lt"/>
                <a:ea typeface="+mj-ea"/>
                <a:cs typeface="+mj-cs"/>
              </a:rPr>
              <a:t> a network slice</a:t>
            </a:r>
          </a:p>
          <a:p>
            <a:pPr marL="0" marR="0" lvl="0" indent="0" algn="l" defTabSz="914400" rtl="0" eaLnBrk="1" fontAlgn="base" latinLnBrk="0" hangingPunct="1">
              <a:lnSpc>
                <a:spcPct val="100000"/>
              </a:lnSpc>
              <a:spcBef>
                <a:spcPct val="0"/>
              </a:spcBef>
              <a:spcAft>
                <a:spcPts val="180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mn-lt"/>
              <a:ea typeface="+mj-ea"/>
              <a:cs typeface="+mj-cs"/>
            </a:endParaRPr>
          </a:p>
        </p:txBody>
      </p:sp>
      <p:sp>
        <p:nvSpPr>
          <p:cNvPr id="26" name="Rounded Rectangle 76"/>
          <p:cNvSpPr/>
          <p:nvPr/>
        </p:nvSpPr>
        <p:spPr bwMode="auto">
          <a:xfrm>
            <a:off x="6316509" y="1748525"/>
            <a:ext cx="1446465" cy="797117"/>
          </a:xfrm>
          <a:prstGeom prst="roundRect">
            <a:avLst/>
          </a:prstGeom>
          <a:solidFill>
            <a:srgbClr val="007B78"/>
          </a:solidFill>
          <a:ln w="12700" cap="flat" cmpd="sng" algn="ctr">
            <a:solidFill>
              <a:srgbClr val="FFFFFF"/>
            </a:solidFill>
            <a:prstDash val="dash"/>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28" name="Rectangle 27"/>
          <p:cNvSpPr/>
          <p:nvPr/>
        </p:nvSpPr>
        <p:spPr>
          <a:xfrm>
            <a:off x="6292859" y="1772275"/>
            <a:ext cx="1495922" cy="7386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Management</a:t>
            </a:r>
            <a:r>
              <a:rPr kumimoji="0" lang="en-US" sz="1400" b="1" i="0" u="none" strike="noStrike" kern="0" cap="none" spc="0" normalizeH="0" noProof="0" dirty="0">
                <a:ln>
                  <a:noFill/>
                </a:ln>
                <a:solidFill>
                  <a:schemeClr val="bg1"/>
                </a:solidFill>
                <a:effectLst/>
                <a:uLnTx/>
                <a:uFillTx/>
              </a:rPr>
              <a:t> of</a:t>
            </a:r>
            <a:br>
              <a:rPr kumimoji="0" lang="en-US" sz="1400" b="1" i="0" u="none" strike="noStrike" kern="0" cap="none" spc="0" normalizeH="0" noProof="0" dirty="0">
                <a:ln>
                  <a:noFill/>
                </a:ln>
                <a:solidFill>
                  <a:schemeClr val="bg1"/>
                </a:solidFill>
                <a:effectLst/>
                <a:uLnTx/>
                <a:uFillTx/>
              </a:rPr>
            </a:br>
            <a:r>
              <a:rPr kumimoji="0" lang="en-US" sz="1400" b="1" i="0" u="none" strike="noStrike" kern="0" cap="none" spc="0" normalizeH="0" noProof="0" dirty="0">
                <a:ln>
                  <a:noFill/>
                </a:ln>
                <a:solidFill>
                  <a:schemeClr val="bg1"/>
                </a:solidFill>
                <a:effectLst/>
                <a:uLnTx/>
                <a:uFillTx/>
              </a:rPr>
              <a:t>the end user </a:t>
            </a:r>
            <a:br>
              <a:rPr kumimoji="0" lang="en-US" sz="1400" b="1" i="0" u="none" strike="noStrike" kern="0" cap="none" spc="0" normalizeH="0" noProof="0" dirty="0">
                <a:ln>
                  <a:noFill/>
                </a:ln>
                <a:solidFill>
                  <a:schemeClr val="bg1"/>
                </a:solidFill>
                <a:effectLst/>
                <a:uLnTx/>
                <a:uFillTx/>
              </a:rPr>
            </a:br>
            <a:r>
              <a:rPr kumimoji="0" lang="en-US" sz="1400" b="1" i="0" u="none" strike="noStrike" kern="0" cap="none" spc="0" normalizeH="0" noProof="0" dirty="0">
                <a:ln>
                  <a:noFill/>
                </a:ln>
                <a:solidFill>
                  <a:schemeClr val="bg1"/>
                </a:solidFill>
                <a:effectLst/>
                <a:uLnTx/>
                <a:uFillTx/>
              </a:rPr>
              <a:t>services</a:t>
            </a:r>
            <a:endParaRPr kumimoji="0" lang="en-US" sz="1400" b="1" i="0" u="none" strike="noStrike" kern="0" cap="none" spc="0" normalizeH="0" baseline="0" noProof="0" dirty="0">
              <a:ln>
                <a:noFill/>
              </a:ln>
              <a:solidFill>
                <a:schemeClr val="bg1"/>
              </a:solidFill>
              <a:effectLst/>
              <a:uLnTx/>
              <a:uFillTx/>
            </a:endParaRPr>
          </a:p>
        </p:txBody>
      </p:sp>
      <p:cxnSp>
        <p:nvCxnSpPr>
          <p:cNvPr id="29" name="Straight Arrow Connector 28"/>
          <p:cNvCxnSpPr>
            <a:cxnSpLocks/>
          </p:cNvCxnSpPr>
          <p:nvPr/>
        </p:nvCxnSpPr>
        <p:spPr bwMode="auto">
          <a:xfrm flipH="1">
            <a:off x="5442733" y="2458485"/>
            <a:ext cx="744251" cy="972767"/>
          </a:xfrm>
          <a:prstGeom prst="straightConnector1">
            <a:avLst/>
          </a:prstGeom>
          <a:solidFill>
            <a:schemeClr val="accent1"/>
          </a:solidFill>
          <a:ln w="12700" cap="flat" cmpd="sng" algn="ctr">
            <a:solidFill>
              <a:schemeClr val="bg1"/>
            </a:solidFill>
            <a:prstDash val="sysDash"/>
            <a:round/>
            <a:headEnd type="none" w="med" len="med"/>
            <a:tailEnd type="arrow"/>
          </a:ln>
          <a:effectLst/>
        </p:spPr>
      </p:cxnSp>
    </p:spTree>
    <p:custDataLst>
      <p:tags r:id="rId1"/>
    </p:custDataLst>
    <p:extLst>
      <p:ext uri="{BB962C8B-B14F-4D97-AF65-F5344CB8AC3E}">
        <p14:creationId xmlns:p14="http://schemas.microsoft.com/office/powerpoint/2010/main" val="304379393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sp>
        <p:nvSpPr>
          <p:cNvPr id="5" name="Rounded Rectangle 3"/>
          <p:cNvSpPr/>
          <p:nvPr/>
        </p:nvSpPr>
        <p:spPr bwMode="auto">
          <a:xfrm>
            <a:off x="166258" y="2589790"/>
            <a:ext cx="11707089" cy="3934690"/>
          </a:xfrm>
          <a:prstGeom prst="roundRect">
            <a:avLst>
              <a:gd name="adj" fmla="val 10726"/>
            </a:avLst>
          </a:prstGeom>
          <a:solidFill>
            <a:srgbClr val="002060">
              <a:alpha val="50000"/>
            </a:srgb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6" name="Rounded Rectangle 12"/>
          <p:cNvSpPr/>
          <p:nvPr/>
        </p:nvSpPr>
        <p:spPr bwMode="auto">
          <a:xfrm>
            <a:off x="378372" y="1299636"/>
            <a:ext cx="11494973" cy="985333"/>
          </a:xfrm>
          <a:prstGeom prst="roundRect">
            <a:avLst>
              <a:gd name="adj" fmla="val 10726"/>
            </a:avLst>
          </a:prstGeom>
          <a:solidFill>
            <a:schemeClr val="tx2">
              <a:lumMod val="25000"/>
              <a:lumOff val="75000"/>
              <a:alpha val="5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Services/Products</a:t>
            </a: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7" name="Rounded Rectangle 4"/>
          <p:cNvSpPr/>
          <p:nvPr/>
        </p:nvSpPr>
        <p:spPr bwMode="auto">
          <a:xfrm>
            <a:off x="768434" y="5559381"/>
            <a:ext cx="1331175" cy="299558"/>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ccess</a:t>
            </a:r>
          </a:p>
        </p:txBody>
      </p:sp>
      <p:sp>
        <p:nvSpPr>
          <p:cNvPr id="8" name="Rounded Rectangle 5"/>
          <p:cNvSpPr/>
          <p:nvPr/>
        </p:nvSpPr>
        <p:spPr bwMode="auto">
          <a:xfrm>
            <a:off x="7580972" y="5581624"/>
            <a:ext cx="1139720" cy="292707"/>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EPC</a:t>
            </a: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9" name="Rounded Rectangle 6"/>
          <p:cNvSpPr/>
          <p:nvPr/>
        </p:nvSpPr>
        <p:spPr bwMode="auto">
          <a:xfrm>
            <a:off x="9024473" y="5566484"/>
            <a:ext cx="1433305" cy="293969"/>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Netw.Mgmt</a:t>
            </a: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0" name="Rounded Rectangle 7"/>
          <p:cNvSpPr/>
          <p:nvPr/>
        </p:nvSpPr>
        <p:spPr bwMode="auto">
          <a:xfrm>
            <a:off x="2348999" y="5571822"/>
            <a:ext cx="1419981" cy="287121"/>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Transport </a:t>
            </a:r>
          </a:p>
        </p:txBody>
      </p:sp>
      <p:sp>
        <p:nvSpPr>
          <p:cNvPr id="11" name="Rounded Rectangle 8"/>
          <p:cNvSpPr/>
          <p:nvPr/>
        </p:nvSpPr>
        <p:spPr bwMode="auto">
          <a:xfrm>
            <a:off x="3979269" y="5569560"/>
            <a:ext cx="1066383" cy="283335"/>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Cloud</a:t>
            </a:r>
          </a:p>
        </p:txBody>
      </p:sp>
      <p:sp>
        <p:nvSpPr>
          <p:cNvPr id="12" name="Rounded Rectangle 10"/>
          <p:cNvSpPr/>
          <p:nvPr/>
        </p:nvSpPr>
        <p:spPr bwMode="auto">
          <a:xfrm>
            <a:off x="4045528" y="1447224"/>
            <a:ext cx="2983922" cy="690274"/>
          </a:xfrm>
          <a:prstGeom prst="roundRect">
            <a:avLst>
              <a:gd name="adj" fmla="val 10726"/>
            </a:avLst>
          </a:prstGeom>
          <a:solidFill>
            <a:srgbClr val="00206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 MTC </a:t>
            </a:r>
            <a:r>
              <a:rPr kumimoji="0" lang="en-US" sz="1800" b="0" i="0" u="none" strike="noStrike" kern="0" cap="none" spc="0" normalizeH="0" baseline="0" noProof="0" dirty="0" err="1">
                <a:ln>
                  <a:noFill/>
                </a:ln>
                <a:solidFill>
                  <a:schemeClr val="bg1"/>
                </a:solidFill>
                <a:effectLst/>
                <a:uLnTx/>
                <a:uFillTx/>
              </a:rPr>
              <a:t>NaaS</a:t>
            </a:r>
            <a:endParaRPr kumimoji="0" lang="en-US" sz="1800" b="0" i="0" u="none" strike="noStrike" kern="0" cap="none" spc="0" normalizeH="0" baseline="0" noProof="0" dirty="0">
              <a:ln>
                <a:noFill/>
              </a:ln>
              <a:solidFill>
                <a:schemeClr val="bg1"/>
              </a:solidFill>
              <a:effectLst/>
              <a:uLnTx/>
              <a:uFillTx/>
            </a:endParaRPr>
          </a:p>
        </p:txBody>
      </p:sp>
      <p:sp>
        <p:nvSpPr>
          <p:cNvPr id="13" name="Rounded Rectangle 14"/>
          <p:cNvSpPr/>
          <p:nvPr/>
        </p:nvSpPr>
        <p:spPr bwMode="auto">
          <a:xfrm>
            <a:off x="7817421" y="1447225"/>
            <a:ext cx="2929123" cy="671494"/>
          </a:xfrm>
          <a:prstGeom prst="roundRect">
            <a:avLst>
              <a:gd name="adj" fmla="val 10726"/>
            </a:avLst>
          </a:prstGeom>
          <a:solidFill>
            <a:srgbClr val="00206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Enterprise  </a:t>
            </a:r>
            <a:r>
              <a:rPr kumimoji="0" lang="en-US" sz="1800" b="0" i="0" u="none" strike="noStrike" kern="0" cap="none" spc="0" normalizeH="0" baseline="0" noProof="0" dirty="0" err="1">
                <a:ln>
                  <a:noFill/>
                </a:ln>
                <a:solidFill>
                  <a:schemeClr val="bg1"/>
                </a:solidFill>
                <a:effectLst/>
                <a:uLnTx/>
                <a:uFillTx/>
              </a:rPr>
              <a:t>NaaS</a:t>
            </a:r>
            <a:r>
              <a:rPr kumimoji="0" lang="en-US" sz="1800" b="0" i="0" u="none" strike="noStrike" kern="0" cap="none" spc="0" normalizeH="0" baseline="0" noProof="0" dirty="0">
                <a:ln>
                  <a:noFill/>
                </a:ln>
                <a:solidFill>
                  <a:schemeClr val="bg1"/>
                </a:solidFill>
                <a:effectLst/>
                <a:uLnTx/>
                <a:uFillTx/>
              </a:rPr>
              <a:t> </a:t>
            </a:r>
          </a:p>
        </p:txBody>
      </p:sp>
      <p:sp>
        <p:nvSpPr>
          <p:cNvPr id="14" name="Down Arrow 26"/>
          <p:cNvSpPr/>
          <p:nvPr/>
        </p:nvSpPr>
        <p:spPr bwMode="auto">
          <a:xfrm flipV="1">
            <a:off x="4630748" y="5178036"/>
            <a:ext cx="1303995" cy="106371"/>
          </a:xfrm>
          <a:prstGeom prst="downArrow">
            <a:avLst/>
          </a:prstGeom>
          <a:solidFill>
            <a:schemeClr val="bg2">
              <a:lumMod val="40000"/>
              <a:lumOff val="6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15" name="Rectangle 14"/>
          <p:cNvSpPr/>
          <p:nvPr/>
        </p:nvSpPr>
        <p:spPr bwMode="auto">
          <a:xfrm>
            <a:off x="524937" y="5374552"/>
            <a:ext cx="10655683" cy="739562"/>
          </a:xfrm>
          <a:prstGeom prst="rect">
            <a:avLst/>
          </a:prstGeom>
          <a:noFill/>
          <a:ln w="28575" cap="flat" cmpd="sng" algn="ctr">
            <a:solidFill>
              <a:schemeClr val="bg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16" name="TextBox 15"/>
          <p:cNvSpPr txBox="1"/>
          <p:nvPr/>
        </p:nvSpPr>
        <p:spPr>
          <a:xfrm>
            <a:off x="524935" y="5863088"/>
            <a:ext cx="236314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Infrastructure Resources </a:t>
            </a:r>
          </a:p>
        </p:txBody>
      </p:sp>
      <p:sp>
        <p:nvSpPr>
          <p:cNvPr id="17" name="Rectangle 16"/>
          <p:cNvSpPr/>
          <p:nvPr/>
        </p:nvSpPr>
        <p:spPr bwMode="auto">
          <a:xfrm>
            <a:off x="611646" y="2797608"/>
            <a:ext cx="10568975" cy="2331390"/>
          </a:xfrm>
          <a:prstGeom prst="rect">
            <a:avLst/>
          </a:prstGeom>
          <a:noFill/>
          <a:ln w="28575" cap="flat" cmpd="sng" algn="ctr">
            <a:solidFill>
              <a:schemeClr val="bg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18" name="Title 11"/>
          <p:cNvSpPr>
            <a:spLocks noGrp="1"/>
          </p:cNvSpPr>
          <p:nvPr>
            <p:ph type="title"/>
          </p:nvPr>
        </p:nvSpPr>
        <p:spPr>
          <a:xfrm>
            <a:off x="524935" y="239714"/>
            <a:ext cx="9992784" cy="1085371"/>
          </a:xfrm>
        </p:spPr>
        <p:txBody>
          <a:bodyPr>
            <a:normAutofit/>
          </a:bodyPr>
          <a:lstStyle/>
          <a:p>
            <a:r>
              <a:rPr lang="en-US" dirty="0">
                <a:solidFill>
                  <a:schemeClr val="bg1"/>
                </a:solidFill>
              </a:rPr>
              <a:t>Network slices</a:t>
            </a:r>
            <a:br>
              <a:rPr lang="en-US" dirty="0">
                <a:solidFill>
                  <a:schemeClr val="bg1"/>
                </a:solidFill>
              </a:rPr>
            </a:br>
            <a:r>
              <a:rPr lang="en-US" sz="3100" dirty="0">
                <a:solidFill>
                  <a:schemeClr val="bg1"/>
                </a:solidFill>
              </a:rPr>
              <a:t>Flexibility in several dimensions.. </a:t>
            </a:r>
          </a:p>
        </p:txBody>
      </p:sp>
      <p:sp>
        <p:nvSpPr>
          <p:cNvPr id="19" name="Rounded Rectangle 60"/>
          <p:cNvSpPr/>
          <p:nvPr/>
        </p:nvSpPr>
        <p:spPr bwMode="auto">
          <a:xfrm>
            <a:off x="1233299" y="1708365"/>
            <a:ext cx="2062756" cy="429132"/>
          </a:xfrm>
          <a:prstGeom prst="roundRect">
            <a:avLst>
              <a:gd name="adj" fmla="val 10726"/>
            </a:avLst>
          </a:prstGeom>
          <a:solidFill>
            <a:srgbClr val="00206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Regular MBB</a:t>
            </a:r>
          </a:p>
        </p:txBody>
      </p:sp>
      <p:sp>
        <p:nvSpPr>
          <p:cNvPr id="20" name="Rectangle 19"/>
          <p:cNvSpPr/>
          <p:nvPr/>
        </p:nvSpPr>
        <p:spPr>
          <a:xfrm>
            <a:off x="10617805" y="6114114"/>
            <a:ext cx="1125629"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Network</a:t>
            </a:r>
          </a:p>
        </p:txBody>
      </p:sp>
      <p:sp>
        <p:nvSpPr>
          <p:cNvPr id="21" name="TextBox 20"/>
          <p:cNvSpPr txBox="1"/>
          <p:nvPr/>
        </p:nvSpPr>
        <p:spPr>
          <a:xfrm>
            <a:off x="8170470" y="5834913"/>
            <a:ext cx="300595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Components(Network Functions)</a:t>
            </a:r>
          </a:p>
        </p:txBody>
      </p:sp>
      <p:cxnSp>
        <p:nvCxnSpPr>
          <p:cNvPr id="22" name="Straight Connector 21"/>
          <p:cNvCxnSpPr/>
          <p:nvPr/>
        </p:nvCxnSpPr>
        <p:spPr bwMode="auto">
          <a:xfrm>
            <a:off x="5520391" y="5374552"/>
            <a:ext cx="0" cy="739562"/>
          </a:xfrm>
          <a:prstGeom prst="line">
            <a:avLst/>
          </a:prstGeom>
          <a:solidFill>
            <a:schemeClr val="accent1"/>
          </a:solidFill>
          <a:ln w="28575" cap="flat" cmpd="sng" algn="ctr">
            <a:solidFill>
              <a:schemeClr val="bg1"/>
            </a:solidFill>
            <a:prstDash val="dash"/>
            <a:round/>
            <a:headEnd type="none" w="med" len="med"/>
            <a:tailEnd type="none" w="med" len="med"/>
          </a:ln>
          <a:effectLst/>
        </p:spPr>
      </p:cxnSp>
      <p:sp>
        <p:nvSpPr>
          <p:cNvPr id="23" name="Rounded Rectangle 40"/>
          <p:cNvSpPr/>
          <p:nvPr/>
        </p:nvSpPr>
        <p:spPr bwMode="auto">
          <a:xfrm>
            <a:off x="6125858" y="5581623"/>
            <a:ext cx="1139720" cy="292707"/>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IMS</a:t>
            </a: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grpSp>
        <p:nvGrpSpPr>
          <p:cNvPr id="24" name="Group 23"/>
          <p:cNvGrpSpPr/>
          <p:nvPr/>
        </p:nvGrpSpPr>
        <p:grpSpPr>
          <a:xfrm>
            <a:off x="9463690" y="1751229"/>
            <a:ext cx="533192" cy="1193769"/>
            <a:chOff x="9463690" y="1918494"/>
            <a:chExt cx="533192" cy="1193769"/>
          </a:xfrm>
        </p:grpSpPr>
        <p:sp>
          <p:nvSpPr>
            <p:cNvPr id="25" name="Oval 24"/>
            <p:cNvSpPr/>
            <p:nvPr/>
          </p:nvSpPr>
          <p:spPr bwMode="auto">
            <a:xfrm>
              <a:off x="9463690" y="1918494"/>
              <a:ext cx="533192" cy="32438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dirty="0">
                  <a:ln>
                    <a:noFill/>
                  </a:ln>
                  <a:solidFill>
                    <a:schemeClr val="tx1"/>
                  </a:solidFill>
                  <a:effectLst/>
                  <a:uLnTx/>
                  <a:uFillTx/>
                  <a:latin typeface="Arial" charset="0"/>
                </a:rPr>
                <a:t>C#2</a:t>
              </a:r>
            </a:p>
          </p:txBody>
        </p:sp>
        <p:cxnSp>
          <p:nvCxnSpPr>
            <p:cNvPr id="26" name="Straight Arrow Connector 25"/>
            <p:cNvCxnSpPr>
              <a:cxnSpLocks/>
              <a:endCxn id="47" idx="0"/>
            </p:cNvCxnSpPr>
            <p:nvPr/>
          </p:nvCxnSpPr>
          <p:spPr bwMode="auto">
            <a:xfrm flipH="1">
              <a:off x="9630271" y="2236447"/>
              <a:ext cx="100016" cy="875816"/>
            </a:xfrm>
            <a:prstGeom prst="straightConnector1">
              <a:avLst/>
            </a:prstGeom>
            <a:solidFill>
              <a:schemeClr val="accent1"/>
            </a:solidFill>
            <a:ln w="38100" cap="flat" cmpd="sng" algn="ctr">
              <a:solidFill>
                <a:schemeClr val="accent1">
                  <a:lumMod val="20000"/>
                  <a:lumOff val="80000"/>
                </a:schemeClr>
              </a:solidFill>
              <a:prstDash val="solid"/>
              <a:round/>
              <a:headEnd type="none" w="med" len="med"/>
              <a:tailEnd type="arrow"/>
            </a:ln>
            <a:effectLst/>
          </p:spPr>
        </p:cxnSp>
      </p:grpSp>
      <p:grpSp>
        <p:nvGrpSpPr>
          <p:cNvPr id="27" name="Group 26"/>
          <p:cNvGrpSpPr/>
          <p:nvPr/>
        </p:nvGrpSpPr>
        <p:grpSpPr>
          <a:xfrm>
            <a:off x="8637129" y="1746431"/>
            <a:ext cx="826561" cy="1198567"/>
            <a:chOff x="8637129" y="1913696"/>
            <a:chExt cx="826561" cy="1198567"/>
          </a:xfrm>
        </p:grpSpPr>
        <p:sp>
          <p:nvSpPr>
            <p:cNvPr id="28" name="Oval 27"/>
            <p:cNvSpPr/>
            <p:nvPr/>
          </p:nvSpPr>
          <p:spPr bwMode="auto">
            <a:xfrm>
              <a:off x="8637129" y="1913696"/>
              <a:ext cx="533192" cy="32438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dirty="0">
                  <a:ln>
                    <a:noFill/>
                  </a:ln>
                  <a:solidFill>
                    <a:schemeClr val="tx1"/>
                  </a:solidFill>
                  <a:effectLst/>
                  <a:uLnTx/>
                  <a:uFillTx/>
                  <a:latin typeface="Arial" charset="0"/>
                </a:rPr>
                <a:t>C#1</a:t>
              </a:r>
            </a:p>
          </p:txBody>
        </p:sp>
        <p:cxnSp>
          <p:nvCxnSpPr>
            <p:cNvPr id="29" name="Straight Arrow Connector 28"/>
            <p:cNvCxnSpPr>
              <a:stCxn id="28" idx="4"/>
            </p:cNvCxnSpPr>
            <p:nvPr/>
          </p:nvCxnSpPr>
          <p:spPr bwMode="auto">
            <a:xfrm>
              <a:off x="8903725" y="2238076"/>
              <a:ext cx="559965" cy="874187"/>
            </a:xfrm>
            <a:prstGeom prst="straightConnector1">
              <a:avLst/>
            </a:prstGeom>
            <a:solidFill>
              <a:schemeClr val="accent1"/>
            </a:solidFill>
            <a:ln w="38100" cap="flat" cmpd="sng" algn="ctr">
              <a:solidFill>
                <a:schemeClr val="accent1">
                  <a:lumMod val="20000"/>
                  <a:lumOff val="80000"/>
                </a:schemeClr>
              </a:solidFill>
              <a:prstDash val="solid"/>
              <a:round/>
              <a:headEnd type="none" w="med" len="med"/>
              <a:tailEnd type="arrow"/>
            </a:ln>
            <a:effectLst/>
          </p:spPr>
        </p:cxnSp>
      </p:grpSp>
      <p:sp>
        <p:nvSpPr>
          <p:cNvPr id="31" name="Rounded Rectangle 20"/>
          <p:cNvSpPr/>
          <p:nvPr/>
        </p:nvSpPr>
        <p:spPr bwMode="auto">
          <a:xfrm>
            <a:off x="1319535" y="2991580"/>
            <a:ext cx="1976520" cy="2036617"/>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32" name="TextBox 31"/>
          <p:cNvSpPr txBox="1"/>
          <p:nvPr/>
        </p:nvSpPr>
        <p:spPr>
          <a:xfrm>
            <a:off x="1395124" y="3060845"/>
            <a:ext cx="136287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NW Slice MBB</a:t>
            </a:r>
          </a:p>
        </p:txBody>
      </p:sp>
      <p:sp>
        <p:nvSpPr>
          <p:cNvPr id="33" name="Rounded Rectangle 64"/>
          <p:cNvSpPr/>
          <p:nvPr/>
        </p:nvSpPr>
        <p:spPr bwMode="auto">
          <a:xfrm>
            <a:off x="1448914" y="3725435"/>
            <a:ext cx="1331175" cy="299558"/>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EPC</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
        <p:nvSpPr>
          <p:cNvPr id="34" name="Rounded Rectangle 66"/>
          <p:cNvSpPr/>
          <p:nvPr/>
        </p:nvSpPr>
        <p:spPr bwMode="auto">
          <a:xfrm>
            <a:off x="1432875" y="3357933"/>
            <a:ext cx="1347215" cy="293964"/>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
        <p:nvSpPr>
          <p:cNvPr id="35" name="Rounded Rectangle 63"/>
          <p:cNvSpPr/>
          <p:nvPr/>
        </p:nvSpPr>
        <p:spPr bwMode="auto">
          <a:xfrm>
            <a:off x="1476710" y="4695462"/>
            <a:ext cx="1331175" cy="299558"/>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ccess “share”</a:t>
            </a:r>
          </a:p>
        </p:txBody>
      </p:sp>
      <p:sp>
        <p:nvSpPr>
          <p:cNvPr id="36" name="Rounded Rectangle 65"/>
          <p:cNvSpPr/>
          <p:nvPr/>
        </p:nvSpPr>
        <p:spPr bwMode="auto">
          <a:xfrm>
            <a:off x="1446730" y="4395731"/>
            <a:ext cx="1439345" cy="299553"/>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Transport  “share”</a:t>
            </a:r>
          </a:p>
        </p:txBody>
      </p:sp>
      <p:sp>
        <p:nvSpPr>
          <p:cNvPr id="38" name="Rounded Rectangle 67"/>
          <p:cNvSpPr/>
          <p:nvPr/>
        </p:nvSpPr>
        <p:spPr bwMode="auto">
          <a:xfrm>
            <a:off x="4040307" y="2991577"/>
            <a:ext cx="1799791" cy="2036617"/>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39" name="TextBox 38"/>
          <p:cNvSpPr txBox="1"/>
          <p:nvPr/>
        </p:nvSpPr>
        <p:spPr>
          <a:xfrm>
            <a:off x="4115895" y="3060838"/>
            <a:ext cx="158268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NW Slice MTC1</a:t>
            </a:r>
          </a:p>
        </p:txBody>
      </p:sp>
      <p:sp>
        <p:nvSpPr>
          <p:cNvPr id="40" name="Oval 39"/>
          <p:cNvSpPr/>
          <p:nvPr/>
        </p:nvSpPr>
        <p:spPr bwMode="auto">
          <a:xfrm>
            <a:off x="4512460" y="1765763"/>
            <a:ext cx="533192" cy="32438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dirty="0">
                <a:ln>
                  <a:noFill/>
                </a:ln>
                <a:solidFill>
                  <a:schemeClr val="tx1"/>
                </a:solidFill>
                <a:effectLst/>
                <a:uLnTx/>
                <a:uFillTx/>
                <a:latin typeface="Arial" charset="0"/>
              </a:rPr>
              <a:t>C#1</a:t>
            </a:r>
          </a:p>
        </p:txBody>
      </p:sp>
      <p:cxnSp>
        <p:nvCxnSpPr>
          <p:cNvPr id="41" name="Straight Arrow Connector 40"/>
          <p:cNvCxnSpPr/>
          <p:nvPr/>
        </p:nvCxnSpPr>
        <p:spPr bwMode="auto">
          <a:xfrm flipH="1">
            <a:off x="4779056" y="2096544"/>
            <a:ext cx="52852" cy="848454"/>
          </a:xfrm>
          <a:prstGeom prst="straightConnector1">
            <a:avLst/>
          </a:prstGeom>
          <a:solidFill>
            <a:schemeClr val="accent1"/>
          </a:solidFill>
          <a:ln w="38100" cap="flat" cmpd="sng" algn="ctr">
            <a:solidFill>
              <a:schemeClr val="accent1">
                <a:lumMod val="20000"/>
                <a:lumOff val="80000"/>
              </a:schemeClr>
            </a:solidFill>
            <a:prstDash val="solid"/>
            <a:round/>
            <a:headEnd type="none" w="med" len="med"/>
            <a:tailEnd type="arrow"/>
          </a:ln>
          <a:effectLst/>
        </p:spPr>
      </p:cxnSp>
      <p:sp>
        <p:nvSpPr>
          <p:cNvPr id="42" name="Rounded Rectangle 70"/>
          <p:cNvSpPr/>
          <p:nvPr/>
        </p:nvSpPr>
        <p:spPr bwMode="auto">
          <a:xfrm>
            <a:off x="4169683" y="4185454"/>
            <a:ext cx="1506884" cy="299558"/>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EPC</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
        <p:nvSpPr>
          <p:cNvPr id="43" name="Rounded Rectangle 71"/>
          <p:cNvSpPr/>
          <p:nvPr/>
        </p:nvSpPr>
        <p:spPr bwMode="auto">
          <a:xfrm>
            <a:off x="4167499" y="3785802"/>
            <a:ext cx="1506884" cy="299558"/>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IMS</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
        <p:nvSpPr>
          <p:cNvPr id="44" name="Rounded Rectangle 72"/>
          <p:cNvSpPr/>
          <p:nvPr/>
        </p:nvSpPr>
        <p:spPr bwMode="auto">
          <a:xfrm>
            <a:off x="4153643" y="3417887"/>
            <a:ext cx="1522568" cy="293969"/>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t>
            </a:r>
          </a:p>
        </p:txBody>
      </p:sp>
      <p:sp>
        <p:nvSpPr>
          <p:cNvPr id="45" name="Rounded Rectangle 68"/>
          <p:cNvSpPr/>
          <p:nvPr/>
        </p:nvSpPr>
        <p:spPr bwMode="auto">
          <a:xfrm>
            <a:off x="4167496" y="4575536"/>
            <a:ext cx="1506885" cy="299564"/>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ccess “share”</a:t>
            </a:r>
          </a:p>
        </p:txBody>
      </p:sp>
      <p:grpSp>
        <p:nvGrpSpPr>
          <p:cNvPr id="46" name="Group 45"/>
          <p:cNvGrpSpPr/>
          <p:nvPr/>
        </p:nvGrpSpPr>
        <p:grpSpPr>
          <a:xfrm>
            <a:off x="8720692" y="2944998"/>
            <a:ext cx="1819159" cy="2036617"/>
            <a:chOff x="8720692" y="3112263"/>
            <a:chExt cx="1819159" cy="2036617"/>
          </a:xfrm>
        </p:grpSpPr>
        <p:sp>
          <p:nvSpPr>
            <p:cNvPr id="47" name="Rounded Rectangle 77"/>
            <p:cNvSpPr/>
            <p:nvPr/>
          </p:nvSpPr>
          <p:spPr bwMode="auto">
            <a:xfrm>
              <a:off x="8720692" y="3112263"/>
              <a:ext cx="1819157" cy="2036617"/>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48" name="TextBox 47"/>
            <p:cNvSpPr txBox="1"/>
            <p:nvPr/>
          </p:nvSpPr>
          <p:spPr>
            <a:xfrm>
              <a:off x="8861186" y="3228065"/>
              <a:ext cx="167866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NW Slice  Enterprises</a:t>
              </a:r>
            </a:p>
          </p:txBody>
        </p:sp>
        <p:sp>
          <p:nvSpPr>
            <p:cNvPr id="49" name="Rounded Rectangle 82"/>
            <p:cNvSpPr/>
            <p:nvPr/>
          </p:nvSpPr>
          <p:spPr bwMode="auto">
            <a:xfrm>
              <a:off x="9009879" y="3659105"/>
              <a:ext cx="1267823" cy="293969"/>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t>
              </a:r>
            </a:p>
          </p:txBody>
        </p:sp>
        <p:sp>
          <p:nvSpPr>
            <p:cNvPr id="50" name="Rounded Rectangle 80"/>
            <p:cNvSpPr/>
            <p:nvPr/>
          </p:nvSpPr>
          <p:spPr bwMode="auto">
            <a:xfrm>
              <a:off x="8991368" y="4632386"/>
              <a:ext cx="1242547" cy="319684"/>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Cloud “Share”</a:t>
              </a:r>
            </a:p>
          </p:txBody>
        </p:sp>
        <p:sp>
          <p:nvSpPr>
            <p:cNvPr id="51" name="Rounded Rectangle 41"/>
            <p:cNvSpPr/>
            <p:nvPr/>
          </p:nvSpPr>
          <p:spPr bwMode="auto">
            <a:xfrm>
              <a:off x="8867316" y="4167836"/>
              <a:ext cx="1439345" cy="299553"/>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Transport  “share”</a:t>
              </a:r>
            </a:p>
          </p:txBody>
        </p:sp>
      </p:grpSp>
      <p:sp>
        <p:nvSpPr>
          <p:cNvPr id="53" name="Rounded Rectangle 42"/>
          <p:cNvSpPr/>
          <p:nvPr/>
        </p:nvSpPr>
        <p:spPr bwMode="auto">
          <a:xfrm>
            <a:off x="5992995" y="2986809"/>
            <a:ext cx="1799791" cy="2036617"/>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54" name="Oval 53"/>
          <p:cNvSpPr/>
          <p:nvPr/>
        </p:nvSpPr>
        <p:spPr bwMode="auto">
          <a:xfrm>
            <a:off x="6007932" y="1760995"/>
            <a:ext cx="533192" cy="32438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0" cap="none" spc="0" normalizeH="0" baseline="0" noProof="0" dirty="0">
                <a:ln>
                  <a:noFill/>
                </a:ln>
                <a:solidFill>
                  <a:schemeClr val="tx1"/>
                </a:solidFill>
                <a:effectLst/>
                <a:uLnTx/>
                <a:uFillTx/>
                <a:latin typeface="Arial" charset="0"/>
              </a:rPr>
              <a:t>C#2</a:t>
            </a:r>
          </a:p>
        </p:txBody>
      </p:sp>
      <p:sp>
        <p:nvSpPr>
          <p:cNvPr id="55" name="TextBox 54"/>
          <p:cNvSpPr txBox="1"/>
          <p:nvPr/>
        </p:nvSpPr>
        <p:spPr>
          <a:xfrm>
            <a:off x="6068583" y="3056070"/>
            <a:ext cx="158268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NW Slice MTC2</a:t>
            </a:r>
          </a:p>
        </p:txBody>
      </p:sp>
      <p:cxnSp>
        <p:nvCxnSpPr>
          <p:cNvPr id="56" name="Straight Arrow Connector 55"/>
          <p:cNvCxnSpPr/>
          <p:nvPr/>
        </p:nvCxnSpPr>
        <p:spPr bwMode="auto">
          <a:xfrm>
            <a:off x="6324536" y="2102946"/>
            <a:ext cx="216588" cy="842052"/>
          </a:xfrm>
          <a:prstGeom prst="straightConnector1">
            <a:avLst/>
          </a:prstGeom>
          <a:solidFill>
            <a:schemeClr val="accent1"/>
          </a:solidFill>
          <a:ln w="38100" cap="flat" cmpd="sng" algn="ctr">
            <a:solidFill>
              <a:schemeClr val="accent1">
                <a:lumMod val="20000"/>
                <a:lumOff val="80000"/>
              </a:schemeClr>
            </a:solidFill>
            <a:prstDash val="solid"/>
            <a:round/>
            <a:headEnd type="none" w="med" len="med"/>
            <a:tailEnd type="arrow"/>
          </a:ln>
          <a:effectLst/>
        </p:spPr>
      </p:cxnSp>
      <p:sp>
        <p:nvSpPr>
          <p:cNvPr id="57" name="Rounded Rectangle 47"/>
          <p:cNvSpPr/>
          <p:nvPr/>
        </p:nvSpPr>
        <p:spPr bwMode="auto">
          <a:xfrm>
            <a:off x="6122371" y="4180686"/>
            <a:ext cx="1506884" cy="299558"/>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EPC</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
        <p:nvSpPr>
          <p:cNvPr id="58" name="Rounded Rectangle 48"/>
          <p:cNvSpPr/>
          <p:nvPr/>
        </p:nvSpPr>
        <p:spPr bwMode="auto">
          <a:xfrm>
            <a:off x="6120187" y="3781034"/>
            <a:ext cx="1506884" cy="299558"/>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IMS instance</a:t>
            </a:r>
          </a:p>
        </p:txBody>
      </p:sp>
      <p:sp>
        <p:nvSpPr>
          <p:cNvPr id="59" name="Rounded Rectangle 49"/>
          <p:cNvSpPr/>
          <p:nvPr/>
        </p:nvSpPr>
        <p:spPr bwMode="auto">
          <a:xfrm>
            <a:off x="6106331" y="3413119"/>
            <a:ext cx="1522568" cy="293969"/>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t>
            </a:r>
          </a:p>
        </p:txBody>
      </p:sp>
      <p:sp>
        <p:nvSpPr>
          <p:cNvPr id="60" name="Rounded Rectangle 50"/>
          <p:cNvSpPr/>
          <p:nvPr/>
        </p:nvSpPr>
        <p:spPr bwMode="auto">
          <a:xfrm>
            <a:off x="6120184" y="4570768"/>
            <a:ext cx="1506885" cy="299564"/>
          </a:xfrm>
          <a:prstGeom prst="roundRect">
            <a:avLst/>
          </a:prstGeom>
          <a:solidFill>
            <a:schemeClr val="accent2">
              <a:lumMod val="7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ccess “share”</a:t>
            </a:r>
          </a:p>
        </p:txBody>
      </p:sp>
      <p:sp>
        <p:nvSpPr>
          <p:cNvPr id="61" name="TextBox 60"/>
          <p:cNvSpPr txBox="1"/>
          <p:nvPr/>
        </p:nvSpPr>
        <p:spPr>
          <a:xfrm>
            <a:off x="9002889" y="6540970"/>
            <a:ext cx="3175549" cy="307777"/>
          </a:xfrm>
          <a:prstGeom prst="rect">
            <a:avLst/>
          </a:prstGeom>
          <a:noFill/>
        </p:spPr>
        <p:txBody>
          <a:bodyPr wrap="none" rtlCol="0">
            <a:spAutoFit/>
          </a:bodyPr>
          <a:lstStyle/>
          <a:p>
            <a:r>
              <a:rPr lang="en-US" sz="1400" dirty="0">
                <a:solidFill>
                  <a:schemeClr val="bg1"/>
                </a:solidFill>
              </a:rPr>
              <a:t>MTC – Machine Type Communication</a:t>
            </a:r>
          </a:p>
        </p:txBody>
      </p:sp>
      <p:cxnSp>
        <p:nvCxnSpPr>
          <p:cNvPr id="62" name="Straight Arrow Connector 61"/>
          <p:cNvCxnSpPr>
            <a:endCxn id="31" idx="0"/>
          </p:cNvCxnSpPr>
          <p:nvPr/>
        </p:nvCxnSpPr>
        <p:spPr bwMode="auto">
          <a:xfrm>
            <a:off x="2280921" y="2232145"/>
            <a:ext cx="26874" cy="759435"/>
          </a:xfrm>
          <a:prstGeom prst="straightConnector1">
            <a:avLst/>
          </a:prstGeom>
          <a:solidFill>
            <a:schemeClr val="accent1"/>
          </a:solidFill>
          <a:ln w="38100" cap="flat" cmpd="sng" algn="ctr">
            <a:solidFill>
              <a:schemeClr val="accent1">
                <a:lumMod val="20000"/>
                <a:lumOff val="80000"/>
              </a:schemeClr>
            </a:solidFill>
            <a:prstDash val="solid"/>
            <a:round/>
            <a:headEnd type="none" w="med" len="med"/>
            <a:tailEnd type="arrow"/>
          </a:ln>
          <a:effectLst/>
        </p:spPr>
      </p:cxnSp>
      <p:sp>
        <p:nvSpPr>
          <p:cNvPr id="65" name="Rounded Rectangle 71"/>
          <p:cNvSpPr/>
          <p:nvPr/>
        </p:nvSpPr>
        <p:spPr bwMode="auto">
          <a:xfrm>
            <a:off x="1455640" y="4073466"/>
            <a:ext cx="1352245" cy="288217"/>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vIMS</a:t>
            </a:r>
            <a:r>
              <a:rPr kumimoji="0" lang="en-US" sz="1400" b="0" i="0" u="none" strike="noStrike" kern="1200" cap="none" spc="0" normalizeH="0" baseline="0" noProof="0" dirty="0">
                <a:ln>
                  <a:noFill/>
                </a:ln>
                <a:solidFill>
                  <a:srgbClr val="FFFFFF"/>
                </a:solidFill>
                <a:effectLst/>
                <a:uLnTx/>
                <a:uFillTx/>
                <a:latin typeface="+mn-lt"/>
                <a:ea typeface="+mn-ea"/>
                <a:cs typeface="Arial" charset="0"/>
              </a:rPr>
              <a:t> instance</a:t>
            </a:r>
          </a:p>
        </p:txBody>
      </p:sp>
    </p:spTree>
    <p:extLst>
      <p:ext uri="{BB962C8B-B14F-4D97-AF65-F5344CB8AC3E}">
        <p14:creationId xmlns:p14="http://schemas.microsoft.com/office/powerpoint/2010/main" val="2674256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9"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2"/>
          <p:cNvSpPr>
            <a:spLocks noGrp="1"/>
          </p:cNvSpPr>
          <p:nvPr>
            <p:ph type="title"/>
          </p:nvPr>
        </p:nvSpPr>
        <p:spPr>
          <a:xfrm>
            <a:off x="524935" y="239714"/>
            <a:ext cx="9992784" cy="1085371"/>
          </a:xfrm>
        </p:spPr>
        <p:txBody>
          <a:bodyPr/>
          <a:lstStyle/>
          <a:p>
            <a:r>
              <a:rPr lang="en-US" dirty="0">
                <a:solidFill>
                  <a:schemeClr val="bg1"/>
                </a:solidFill>
              </a:rPr>
              <a:t>governance</a:t>
            </a:r>
            <a:br>
              <a:rPr lang="en-US" dirty="0">
                <a:solidFill>
                  <a:schemeClr val="bg1"/>
                </a:solidFill>
              </a:rPr>
            </a:br>
            <a:r>
              <a:rPr lang="en-US" dirty="0">
                <a:solidFill>
                  <a:schemeClr val="bg1"/>
                </a:solidFill>
              </a:rPr>
              <a:t>architecture</a:t>
            </a:r>
          </a:p>
        </p:txBody>
      </p:sp>
      <p:sp>
        <p:nvSpPr>
          <p:cNvPr id="6" name="Rounded Rectangle 15"/>
          <p:cNvSpPr/>
          <p:nvPr/>
        </p:nvSpPr>
        <p:spPr bwMode="auto">
          <a:xfrm>
            <a:off x="378372" y="5019777"/>
            <a:ext cx="10741912" cy="1430593"/>
          </a:xfrm>
          <a:prstGeom prst="roundRect">
            <a:avLst>
              <a:gd name="adj" fmla="val 10726"/>
            </a:avLst>
          </a:prstGeom>
          <a:solidFill>
            <a:schemeClr val="bg2">
              <a:lumMod val="50000"/>
              <a:alpha val="76078"/>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7" name="Rounded Rectangle 17"/>
          <p:cNvSpPr/>
          <p:nvPr/>
        </p:nvSpPr>
        <p:spPr bwMode="auto">
          <a:xfrm>
            <a:off x="1211347" y="5159403"/>
            <a:ext cx="2357754" cy="902272"/>
          </a:xfrm>
          <a:prstGeom prst="roundRect">
            <a:avLst/>
          </a:prstGeom>
          <a:solidFill>
            <a:schemeClr val="tx2">
              <a:lumMod val="75000"/>
              <a:lumOff val="2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8" name="Rounded Rectangle 18"/>
          <p:cNvSpPr/>
          <p:nvPr/>
        </p:nvSpPr>
        <p:spPr bwMode="auto">
          <a:xfrm>
            <a:off x="4394442" y="5166299"/>
            <a:ext cx="2542194" cy="895376"/>
          </a:xfrm>
          <a:prstGeom prst="roundRect">
            <a:avLst/>
          </a:prstGeom>
          <a:solidFill>
            <a:schemeClr val="tx2">
              <a:lumMod val="75000"/>
              <a:lumOff val="2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9" name="Rounded Rectangle 19"/>
          <p:cNvSpPr/>
          <p:nvPr/>
        </p:nvSpPr>
        <p:spPr bwMode="auto">
          <a:xfrm>
            <a:off x="7390904" y="5159403"/>
            <a:ext cx="2542194" cy="902272"/>
          </a:xfrm>
          <a:prstGeom prst="roundRect">
            <a:avLst/>
          </a:prstGeom>
          <a:solidFill>
            <a:schemeClr val="tx2">
              <a:lumMod val="75000"/>
              <a:lumOff val="2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0" name="Rounded Rectangle 23"/>
          <p:cNvSpPr/>
          <p:nvPr/>
        </p:nvSpPr>
        <p:spPr bwMode="auto">
          <a:xfrm>
            <a:off x="7698539" y="5320678"/>
            <a:ext cx="2064885" cy="371665"/>
          </a:xfrm>
          <a:prstGeom prst="roundRect">
            <a:avLst/>
          </a:prstGeom>
          <a:solidFill>
            <a:srgbClr val="58585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Arial" charset="0"/>
              </a:rPr>
              <a:t>Cloud </a:t>
            </a:r>
            <a:r>
              <a:rPr kumimoji="0" lang="en-US" sz="1400" b="0" i="0" u="none" strike="noStrike" kern="1200" cap="none" spc="0" normalizeH="0" baseline="0" noProof="0" dirty="0" err="1">
                <a:ln>
                  <a:noFill/>
                </a:ln>
                <a:solidFill>
                  <a:schemeClr val="bg1"/>
                </a:solidFill>
                <a:effectLst/>
                <a:uLnTx/>
                <a:uFillTx/>
                <a:latin typeface="+mn-lt"/>
                <a:ea typeface="+mn-ea"/>
                <a:cs typeface="Arial" charset="0"/>
              </a:rPr>
              <a:t>Mgmt</a:t>
            </a:r>
            <a:br>
              <a:rPr kumimoji="0" lang="en-US" sz="1400" b="0" i="0" u="none" strike="noStrike" kern="1200" cap="none" spc="0" normalizeH="0" baseline="0" noProof="0" dirty="0">
                <a:ln>
                  <a:noFill/>
                </a:ln>
                <a:solidFill>
                  <a:schemeClr val="bg1"/>
                </a:solidFill>
                <a:effectLst/>
                <a:uLnTx/>
                <a:uFillTx/>
                <a:latin typeface="+mn-lt"/>
                <a:ea typeface="+mn-ea"/>
                <a:cs typeface="Arial" charset="0"/>
              </a:rPr>
            </a:br>
            <a:r>
              <a:rPr kumimoji="0" lang="en-US" sz="1100" b="0" i="0" u="none" strike="noStrike" kern="1200" cap="none" spc="0" normalizeH="0" baseline="0" noProof="0" dirty="0">
                <a:ln>
                  <a:noFill/>
                </a:ln>
                <a:solidFill>
                  <a:schemeClr val="bg1"/>
                </a:solidFill>
                <a:effectLst/>
                <a:uLnTx/>
                <a:uFillTx/>
                <a:latin typeface="+mn-lt"/>
                <a:ea typeface="+mn-ea"/>
                <a:cs typeface="Arial" charset="0"/>
              </a:rPr>
              <a:t>(NFVO/G-VNFM/VIM..)</a:t>
            </a:r>
          </a:p>
        </p:txBody>
      </p:sp>
      <p:sp>
        <p:nvSpPr>
          <p:cNvPr id="11" name="Rounded Rectangle 24"/>
          <p:cNvSpPr/>
          <p:nvPr/>
        </p:nvSpPr>
        <p:spPr bwMode="auto">
          <a:xfrm>
            <a:off x="4576791" y="5304973"/>
            <a:ext cx="2064885" cy="371665"/>
          </a:xfrm>
          <a:prstGeom prst="roundRect">
            <a:avLst/>
          </a:prstGeom>
          <a:solidFill>
            <a:srgbClr val="58585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Transport </a:t>
            </a: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br>
              <a:rPr kumimoji="0" lang="en-US" sz="1400" b="0" i="0" u="none" strike="noStrike" kern="1200" cap="none" spc="0" normalizeH="0" baseline="0" noProof="0" dirty="0">
                <a:ln>
                  <a:noFill/>
                </a:ln>
                <a:solidFill>
                  <a:srgbClr val="FFFFFF"/>
                </a:solidFill>
                <a:effectLst/>
                <a:uLnTx/>
                <a:uFillTx/>
                <a:latin typeface="+mn-lt"/>
                <a:ea typeface="+mn-ea"/>
                <a:cs typeface="Arial" charset="0"/>
              </a:rPr>
            </a:br>
            <a:r>
              <a:rPr kumimoji="0" lang="en-US" sz="1100" b="0" i="0" u="none" strike="noStrike" kern="1200" cap="none" spc="0" normalizeH="0" baseline="0" noProof="0" dirty="0">
                <a:ln>
                  <a:noFill/>
                </a:ln>
                <a:solidFill>
                  <a:srgbClr val="FFFFFF"/>
                </a:solidFill>
                <a:effectLst/>
                <a:uLnTx/>
                <a:uFillTx/>
                <a:latin typeface="+mn-lt"/>
                <a:ea typeface="+mn-ea"/>
                <a:cs typeface="Arial" charset="0"/>
              </a:rPr>
              <a:t>(SDN)</a:t>
            </a:r>
            <a:endParaRPr kumimoji="0" lang="en-US" sz="10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2" name="Rounded Rectangle 25"/>
          <p:cNvSpPr/>
          <p:nvPr/>
        </p:nvSpPr>
        <p:spPr bwMode="auto">
          <a:xfrm>
            <a:off x="1409469" y="5304973"/>
            <a:ext cx="2064885" cy="371665"/>
          </a:xfrm>
          <a:prstGeom prst="roundRect">
            <a:avLst/>
          </a:prstGeom>
          <a:solidFill>
            <a:srgbClr val="58585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ccess </a:t>
            </a:r>
            <a:r>
              <a:rPr kumimoji="0" lang="en-US" sz="1400" b="0" i="0" u="none" strike="noStrike" kern="1200" cap="none" spc="0" normalizeH="0" baseline="0" noProof="0" dirty="0" err="1">
                <a:ln>
                  <a:noFill/>
                </a:ln>
                <a:solidFill>
                  <a:srgbClr val="FFFFFF"/>
                </a:solidFill>
                <a:effectLst/>
                <a:uLnTx/>
                <a:uFillTx/>
                <a:latin typeface="+mn-lt"/>
                <a:ea typeface="+mn-ea"/>
                <a:cs typeface="Arial" charset="0"/>
              </a:rPr>
              <a:t>Mgmt</a:t>
            </a:r>
            <a:endParaRPr kumimoji="0" lang="en-US" sz="11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3" name="Rounded Rectangle 26"/>
          <p:cNvSpPr/>
          <p:nvPr/>
        </p:nvSpPr>
        <p:spPr bwMode="auto">
          <a:xfrm>
            <a:off x="404629" y="1592826"/>
            <a:ext cx="10741912" cy="3141406"/>
          </a:xfrm>
          <a:prstGeom prst="roundRect">
            <a:avLst>
              <a:gd name="adj" fmla="val 10726"/>
            </a:avLst>
          </a:prstGeom>
          <a:solidFill>
            <a:schemeClr val="bg1">
              <a:alpha val="2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Functional and cross-domain</a:t>
            </a:r>
          </a:p>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cxnSp>
        <p:nvCxnSpPr>
          <p:cNvPr id="14" name="Straight Arrow Connector 13"/>
          <p:cNvCxnSpPr/>
          <p:nvPr/>
        </p:nvCxnSpPr>
        <p:spPr bwMode="auto">
          <a:xfrm flipH="1" flipV="1">
            <a:off x="7699303" y="3675906"/>
            <a:ext cx="1978144" cy="193574"/>
          </a:xfrm>
          <a:prstGeom prst="straightConnector1">
            <a:avLst/>
          </a:prstGeom>
          <a:solidFill>
            <a:schemeClr val="accent1"/>
          </a:solidFill>
          <a:ln w="12700" cap="flat" cmpd="sng" algn="ctr">
            <a:solidFill>
              <a:schemeClr val="tx1"/>
            </a:solidFill>
            <a:prstDash val="dashDot"/>
            <a:round/>
            <a:headEnd type="none" w="med" len="med"/>
            <a:tailEnd type="arrow"/>
          </a:ln>
          <a:effectLst/>
        </p:spPr>
      </p:cxnSp>
      <p:sp>
        <p:nvSpPr>
          <p:cNvPr id="15" name="Rounded Rectangle 27"/>
          <p:cNvSpPr/>
          <p:nvPr/>
        </p:nvSpPr>
        <p:spPr bwMode="auto">
          <a:xfrm>
            <a:off x="1653623" y="3721082"/>
            <a:ext cx="1132303"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6" name="Rounded Rectangle 28"/>
          <p:cNvSpPr/>
          <p:nvPr/>
        </p:nvSpPr>
        <p:spPr bwMode="auto">
          <a:xfrm>
            <a:off x="3015862" y="3718934"/>
            <a:ext cx="1254811"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7" name="Rounded Rectangle 29"/>
          <p:cNvSpPr/>
          <p:nvPr/>
        </p:nvSpPr>
        <p:spPr bwMode="auto">
          <a:xfrm>
            <a:off x="4615703" y="3728804"/>
            <a:ext cx="766057"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8" name="Rounded Rectangle 30"/>
          <p:cNvSpPr/>
          <p:nvPr/>
        </p:nvSpPr>
        <p:spPr bwMode="auto">
          <a:xfrm>
            <a:off x="1557495" y="3610886"/>
            <a:ext cx="1132303"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9" name="Rounded Rectangle 31"/>
          <p:cNvSpPr/>
          <p:nvPr/>
        </p:nvSpPr>
        <p:spPr bwMode="auto">
          <a:xfrm>
            <a:off x="2927146" y="3620479"/>
            <a:ext cx="1273583"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0" name="Rounded Rectangle 32"/>
          <p:cNvSpPr/>
          <p:nvPr/>
        </p:nvSpPr>
        <p:spPr bwMode="auto">
          <a:xfrm>
            <a:off x="4483780" y="3614412"/>
            <a:ext cx="850136" cy="500382"/>
          </a:xfrm>
          <a:prstGeom prst="roundRect">
            <a:avLst/>
          </a:prstGeom>
          <a:solidFill>
            <a:srgbClr val="00B050"/>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1" name="Rectangle 20"/>
          <p:cNvSpPr/>
          <p:nvPr/>
        </p:nvSpPr>
        <p:spPr bwMode="auto">
          <a:xfrm>
            <a:off x="1112849" y="3487250"/>
            <a:ext cx="4496384" cy="1028772"/>
          </a:xfrm>
          <a:prstGeom prst="rect">
            <a:avLst/>
          </a:prstGeom>
          <a:noFill/>
          <a:ln w="28575" cap="flat" cmpd="sng" algn="ctr">
            <a:solidFill>
              <a:schemeClr val="bg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2" name="Rounded Rectangle 34"/>
          <p:cNvSpPr/>
          <p:nvPr/>
        </p:nvSpPr>
        <p:spPr bwMode="auto">
          <a:xfrm>
            <a:off x="2012665" y="3682510"/>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3" name="Rounded Rectangle 35"/>
          <p:cNvSpPr/>
          <p:nvPr/>
        </p:nvSpPr>
        <p:spPr bwMode="auto">
          <a:xfrm>
            <a:off x="1770915" y="3897974"/>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4" name="Rounded Rectangle 36"/>
          <p:cNvSpPr/>
          <p:nvPr/>
        </p:nvSpPr>
        <p:spPr bwMode="auto">
          <a:xfrm>
            <a:off x="2207103" y="3908480"/>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5" name="Rounded Rectangle 37"/>
          <p:cNvSpPr/>
          <p:nvPr/>
        </p:nvSpPr>
        <p:spPr bwMode="auto">
          <a:xfrm>
            <a:off x="3404946" y="3694085"/>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6" name="Rounded Rectangle 38"/>
          <p:cNvSpPr/>
          <p:nvPr/>
        </p:nvSpPr>
        <p:spPr bwMode="auto">
          <a:xfrm>
            <a:off x="3035245" y="3918917"/>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7" name="Rounded Rectangle 39"/>
          <p:cNvSpPr/>
          <p:nvPr/>
        </p:nvSpPr>
        <p:spPr bwMode="auto">
          <a:xfrm>
            <a:off x="3439901" y="3913657"/>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8" name="Rounded Rectangle 40"/>
          <p:cNvSpPr/>
          <p:nvPr/>
        </p:nvSpPr>
        <p:spPr bwMode="auto">
          <a:xfrm>
            <a:off x="3797259" y="3892631"/>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29" name="Rounded Rectangle 41"/>
          <p:cNvSpPr/>
          <p:nvPr/>
        </p:nvSpPr>
        <p:spPr bwMode="auto">
          <a:xfrm>
            <a:off x="4598668" y="3777028"/>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30" name="Rounded Rectangle 42"/>
          <p:cNvSpPr/>
          <p:nvPr/>
        </p:nvSpPr>
        <p:spPr bwMode="auto">
          <a:xfrm>
            <a:off x="4892962" y="3897896"/>
            <a:ext cx="191915" cy="145651"/>
          </a:xfrm>
          <a:prstGeom prst="roundRect">
            <a:avLst/>
          </a:prstGeom>
          <a:solidFill>
            <a:srgbClr val="B1B3B4"/>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31" name="Rectangle 30"/>
          <p:cNvSpPr/>
          <p:nvPr/>
        </p:nvSpPr>
        <p:spPr>
          <a:xfrm>
            <a:off x="1141758" y="4210366"/>
            <a:ext cx="1459054"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Network Slices</a:t>
            </a:r>
          </a:p>
        </p:txBody>
      </p:sp>
      <p:sp>
        <p:nvSpPr>
          <p:cNvPr id="32" name="Rounded Rectangle 44"/>
          <p:cNvSpPr/>
          <p:nvPr/>
        </p:nvSpPr>
        <p:spPr bwMode="auto">
          <a:xfrm>
            <a:off x="6095999" y="3197948"/>
            <a:ext cx="4421719" cy="1425573"/>
          </a:xfrm>
          <a:prstGeom prst="roundRect">
            <a:avLst/>
          </a:prstGeom>
          <a:solidFill>
            <a:srgbClr val="007B78"/>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33" name="Rounded Rectangle 4"/>
          <p:cNvSpPr/>
          <p:nvPr/>
        </p:nvSpPr>
        <p:spPr bwMode="auto">
          <a:xfrm>
            <a:off x="6173592" y="3675860"/>
            <a:ext cx="1286970" cy="743329"/>
          </a:xfrm>
          <a:prstGeom prst="roundRect">
            <a:avLst/>
          </a:prstGeom>
          <a:solidFill>
            <a:srgbClr val="87888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NW Slice</a:t>
            </a:r>
            <a:br>
              <a:rPr kumimoji="0" lang="en-US" sz="1400" b="0" i="0" u="none" strike="noStrike" kern="1200" cap="none" spc="0" normalizeH="0" baseline="0" noProof="0" dirty="0">
                <a:ln>
                  <a:noFill/>
                </a:ln>
                <a:solidFill>
                  <a:srgbClr val="FFFFFF"/>
                </a:solidFill>
                <a:effectLst/>
                <a:uLnTx/>
                <a:uFillTx/>
                <a:latin typeface="+mn-lt"/>
                <a:ea typeface="+mn-ea"/>
                <a:cs typeface="Arial" charset="0"/>
              </a:rPr>
            </a:br>
            <a:r>
              <a:rPr kumimoji="0" lang="en-US" sz="1400" b="0" i="0" u="none" strike="noStrike" kern="1200" cap="none" spc="0" normalizeH="0" baseline="0" noProof="0" dirty="0">
                <a:ln>
                  <a:noFill/>
                </a:ln>
                <a:solidFill>
                  <a:srgbClr val="FFFFFF"/>
                </a:solidFill>
                <a:effectLst/>
                <a:uLnTx/>
                <a:uFillTx/>
                <a:latin typeface="+mn-lt"/>
                <a:ea typeface="+mn-ea"/>
                <a:cs typeface="Arial" charset="0"/>
              </a:rPr>
              <a:t>Life Cycle</a:t>
            </a:r>
            <a:br>
              <a:rPr kumimoji="0" lang="en-US" sz="1400" b="0" i="0" u="none" strike="noStrike" kern="1200" cap="none" spc="0" normalizeH="0" baseline="0" noProof="0" dirty="0">
                <a:ln>
                  <a:noFill/>
                </a:ln>
                <a:solidFill>
                  <a:srgbClr val="FFFFFF"/>
                </a:solidFill>
                <a:effectLst/>
                <a:uLnTx/>
                <a:uFillTx/>
                <a:latin typeface="+mn-lt"/>
                <a:ea typeface="+mn-ea"/>
                <a:cs typeface="Arial" charset="0"/>
              </a:rPr>
            </a:br>
            <a:r>
              <a:rPr kumimoji="0" lang="en-US" sz="1400" b="0" i="0" u="none" strike="noStrike" kern="1200" cap="none" spc="0" normalizeH="0" baseline="0" noProof="0" dirty="0">
                <a:ln>
                  <a:noFill/>
                </a:ln>
                <a:solidFill>
                  <a:srgbClr val="FFFFFF"/>
                </a:solidFill>
                <a:effectLst/>
                <a:uLnTx/>
                <a:uFillTx/>
                <a:latin typeface="+mn-lt"/>
                <a:ea typeface="+mn-ea"/>
                <a:cs typeface="Arial" charset="0"/>
              </a:rPr>
              <a:t>Management</a:t>
            </a:r>
          </a:p>
        </p:txBody>
      </p:sp>
      <p:sp>
        <p:nvSpPr>
          <p:cNvPr id="34" name="Rounded Rectangle 6"/>
          <p:cNvSpPr/>
          <p:nvPr/>
        </p:nvSpPr>
        <p:spPr bwMode="auto">
          <a:xfrm>
            <a:off x="7619473" y="3656202"/>
            <a:ext cx="1056490" cy="218365"/>
          </a:xfrm>
          <a:prstGeom prst="roundRect">
            <a:avLst/>
          </a:prstGeom>
          <a:solidFill>
            <a:schemeClr val="tx2">
              <a:lumMod val="10000"/>
              <a:lumOff val="9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Arial" charset="0"/>
              </a:rPr>
              <a:t>Blueprints</a:t>
            </a:r>
          </a:p>
        </p:txBody>
      </p:sp>
      <p:sp>
        <p:nvSpPr>
          <p:cNvPr id="35" name="Rounded Rectangle 7"/>
          <p:cNvSpPr/>
          <p:nvPr/>
        </p:nvSpPr>
        <p:spPr bwMode="auto">
          <a:xfrm>
            <a:off x="7699303" y="3707004"/>
            <a:ext cx="1056490" cy="218365"/>
          </a:xfrm>
          <a:prstGeom prst="roundRect">
            <a:avLst/>
          </a:prstGeom>
          <a:solidFill>
            <a:schemeClr val="tx2">
              <a:lumMod val="10000"/>
              <a:lumOff val="9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Arial" charset="0"/>
              </a:rPr>
              <a:t>Blueprints</a:t>
            </a:r>
          </a:p>
        </p:txBody>
      </p:sp>
      <p:cxnSp>
        <p:nvCxnSpPr>
          <p:cNvPr id="36" name="Straight Arrow Connector 35"/>
          <p:cNvCxnSpPr>
            <a:stCxn id="39" idx="1"/>
          </p:cNvCxnSpPr>
          <p:nvPr/>
        </p:nvCxnSpPr>
        <p:spPr bwMode="auto">
          <a:xfrm flipH="1" flipV="1">
            <a:off x="8587838" y="3931836"/>
            <a:ext cx="349244" cy="212522"/>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cxnSp>
        <p:nvCxnSpPr>
          <p:cNvPr id="37" name="Straight Arrow Connector 36"/>
          <p:cNvCxnSpPr>
            <a:stCxn id="35" idx="1"/>
            <a:endCxn id="33" idx="3"/>
          </p:cNvCxnSpPr>
          <p:nvPr/>
        </p:nvCxnSpPr>
        <p:spPr bwMode="auto">
          <a:xfrm flipH="1">
            <a:off x="7460562" y="3816187"/>
            <a:ext cx="238741" cy="231338"/>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cxnSp>
        <p:nvCxnSpPr>
          <p:cNvPr id="38" name="Straight Arrow Connector 37"/>
          <p:cNvCxnSpPr/>
          <p:nvPr/>
        </p:nvCxnSpPr>
        <p:spPr bwMode="auto">
          <a:xfrm flipH="1">
            <a:off x="8512691" y="2358700"/>
            <a:ext cx="2093959" cy="337191"/>
          </a:xfrm>
          <a:prstGeom prst="straightConnector1">
            <a:avLst/>
          </a:prstGeom>
          <a:solidFill>
            <a:schemeClr val="accent1"/>
          </a:solidFill>
          <a:ln w="12700" cap="flat" cmpd="sng" algn="ctr">
            <a:solidFill>
              <a:schemeClr val="tx1"/>
            </a:solidFill>
            <a:prstDash val="dashDot"/>
            <a:round/>
            <a:headEnd type="none" w="med" len="med"/>
            <a:tailEnd type="arrow"/>
          </a:ln>
          <a:effectLst/>
        </p:spPr>
      </p:cxnSp>
      <p:sp>
        <p:nvSpPr>
          <p:cNvPr id="39" name="Rounded Rectangle 8"/>
          <p:cNvSpPr/>
          <p:nvPr/>
        </p:nvSpPr>
        <p:spPr bwMode="auto">
          <a:xfrm>
            <a:off x="8937082" y="3772693"/>
            <a:ext cx="1136065" cy="743329"/>
          </a:xfrm>
          <a:prstGeom prst="roundRect">
            <a:avLst/>
          </a:prstGeom>
          <a:solidFill>
            <a:srgbClr val="87888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cs typeface="Arial" charset="0"/>
              </a:rPr>
              <a:t>NW Slice </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Design &amp;</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Verification</a:t>
            </a:r>
          </a:p>
        </p:txBody>
      </p:sp>
      <p:sp>
        <p:nvSpPr>
          <p:cNvPr id="40" name="Rectangle 39"/>
          <p:cNvSpPr/>
          <p:nvPr/>
        </p:nvSpPr>
        <p:spPr>
          <a:xfrm>
            <a:off x="7942536" y="3235323"/>
            <a:ext cx="2611612"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cs typeface="Arial" charset="0"/>
              </a:rPr>
              <a:t>Network Slice Governance</a:t>
            </a:r>
          </a:p>
        </p:txBody>
      </p:sp>
      <p:sp>
        <p:nvSpPr>
          <p:cNvPr id="41" name="Rectangle 40"/>
          <p:cNvSpPr/>
          <p:nvPr/>
        </p:nvSpPr>
        <p:spPr>
          <a:xfrm>
            <a:off x="7655137" y="5700819"/>
            <a:ext cx="1377300"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cs typeface="Arial" charset="0"/>
              </a:rPr>
              <a:t>Cloud/NFV </a:t>
            </a: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Rectangle 41"/>
          <p:cNvSpPr/>
          <p:nvPr/>
        </p:nvSpPr>
        <p:spPr>
          <a:xfrm>
            <a:off x="4748868" y="5661565"/>
            <a:ext cx="1163524"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cs typeface="Arial" charset="0"/>
              </a:rPr>
              <a:t>Transport</a:t>
            </a:r>
          </a:p>
        </p:txBody>
      </p:sp>
      <p:sp>
        <p:nvSpPr>
          <p:cNvPr id="43" name="Rectangle 42"/>
          <p:cNvSpPr/>
          <p:nvPr/>
        </p:nvSpPr>
        <p:spPr>
          <a:xfrm>
            <a:off x="1610365" y="5660283"/>
            <a:ext cx="928459"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cs typeface="Arial" charset="0"/>
              </a:rPr>
              <a:t>Access</a:t>
            </a:r>
          </a:p>
        </p:txBody>
      </p:sp>
      <p:sp>
        <p:nvSpPr>
          <p:cNvPr id="44" name="Rectangle 43"/>
          <p:cNvSpPr/>
          <p:nvPr/>
        </p:nvSpPr>
        <p:spPr>
          <a:xfrm>
            <a:off x="479295" y="6050640"/>
            <a:ext cx="3757760"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Shared Infrastructure/Resource</a:t>
            </a:r>
          </a:p>
        </p:txBody>
      </p:sp>
      <p:cxnSp>
        <p:nvCxnSpPr>
          <p:cNvPr id="45" name="Straight Arrow Connector 44"/>
          <p:cNvCxnSpPr/>
          <p:nvPr/>
        </p:nvCxnSpPr>
        <p:spPr bwMode="auto">
          <a:xfrm flipH="1" flipV="1">
            <a:off x="5679550" y="3856839"/>
            <a:ext cx="494042" cy="51641"/>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cxnSp>
        <p:nvCxnSpPr>
          <p:cNvPr id="46" name="Straight Connector 45"/>
          <p:cNvCxnSpPr/>
          <p:nvPr/>
        </p:nvCxnSpPr>
        <p:spPr bwMode="auto">
          <a:xfrm>
            <a:off x="2223162" y="4813301"/>
            <a:ext cx="6507819" cy="0"/>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47" name="Straight Connector 46"/>
          <p:cNvCxnSpPr/>
          <p:nvPr/>
        </p:nvCxnSpPr>
        <p:spPr bwMode="auto">
          <a:xfrm flipV="1">
            <a:off x="2223162" y="4813301"/>
            <a:ext cx="0" cy="346102"/>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48" name="Straight Connector 47"/>
          <p:cNvCxnSpPr/>
          <p:nvPr/>
        </p:nvCxnSpPr>
        <p:spPr bwMode="auto">
          <a:xfrm flipH="1" flipV="1">
            <a:off x="8634294" y="4813301"/>
            <a:ext cx="1" cy="352998"/>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49" name="Straight Connector 48"/>
          <p:cNvCxnSpPr>
            <a:stCxn id="11" idx="0"/>
          </p:cNvCxnSpPr>
          <p:nvPr/>
        </p:nvCxnSpPr>
        <p:spPr bwMode="auto">
          <a:xfrm flipH="1" flipV="1">
            <a:off x="5609233" y="4813301"/>
            <a:ext cx="1" cy="491672"/>
          </a:xfrm>
          <a:prstGeom prst="line">
            <a:avLst/>
          </a:prstGeom>
          <a:solidFill>
            <a:schemeClr val="accent1"/>
          </a:solidFill>
          <a:ln w="38100" cap="flat" cmpd="sng" algn="ctr">
            <a:solidFill>
              <a:schemeClr val="bg1"/>
            </a:solidFill>
            <a:prstDash val="dash"/>
            <a:round/>
            <a:headEnd type="none" w="med" len="med"/>
            <a:tailEnd type="none" w="med" len="med"/>
          </a:ln>
          <a:effectLst/>
        </p:spPr>
      </p:cxnSp>
      <p:sp>
        <p:nvSpPr>
          <p:cNvPr id="50" name="Rounded Rectangle 80"/>
          <p:cNvSpPr/>
          <p:nvPr/>
        </p:nvSpPr>
        <p:spPr bwMode="auto">
          <a:xfrm>
            <a:off x="6127295" y="1932039"/>
            <a:ext cx="4390424" cy="1120870"/>
          </a:xfrm>
          <a:prstGeom prst="roundRect">
            <a:avLst/>
          </a:prstGeom>
          <a:solidFill>
            <a:srgbClr val="007B78"/>
          </a:solidFill>
          <a:ln w="12700" cap="flat" cmpd="sng" algn="ctr">
            <a:solidFill>
              <a:srgbClr val="FFFFFF"/>
            </a:solidFill>
            <a:prstDash val="solid"/>
            <a:round/>
            <a:headEnd type="none" w="med" len="med"/>
            <a:tailEnd type="none" w="med" len="med"/>
          </a:ln>
          <a:effectLst/>
        </p:spPr>
        <p:txBody>
          <a:bodyPr wrap="none" lIns="71988" tIns="45718" rIns="71988" bIns="45718"/>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charset="0"/>
              <a:ea typeface="MS PGothic" pitchFamily="34" charset="-128"/>
              <a:cs typeface="Arial" pitchFamily="34" charset="0"/>
            </a:endParaRPr>
          </a:p>
        </p:txBody>
      </p:sp>
      <p:sp>
        <p:nvSpPr>
          <p:cNvPr id="51" name="Rectangle 50"/>
          <p:cNvSpPr/>
          <p:nvPr/>
        </p:nvSpPr>
        <p:spPr>
          <a:xfrm>
            <a:off x="8082648" y="1932039"/>
            <a:ext cx="1871026"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chemeClr val="bg1"/>
                </a:solidFill>
                <a:effectLst/>
                <a:uLnTx/>
                <a:uFillTx/>
                <a:cs typeface="Arial" charset="0"/>
              </a:rPr>
              <a:t>NaaS</a:t>
            </a:r>
            <a:r>
              <a:rPr kumimoji="0" lang="en-US" sz="1600" b="0" i="0" u="none" strike="noStrike" kern="0" cap="none" spc="0" normalizeH="0" baseline="0" noProof="0" dirty="0">
                <a:ln>
                  <a:noFill/>
                </a:ln>
                <a:solidFill>
                  <a:schemeClr val="bg1"/>
                </a:solidFill>
                <a:effectLst/>
                <a:uLnTx/>
                <a:uFillTx/>
                <a:cs typeface="Arial" charset="0"/>
              </a:rPr>
              <a:t> Governance</a:t>
            </a:r>
          </a:p>
        </p:txBody>
      </p:sp>
      <p:sp>
        <p:nvSpPr>
          <p:cNvPr id="52" name="Rounded Rectangle 83"/>
          <p:cNvSpPr/>
          <p:nvPr/>
        </p:nvSpPr>
        <p:spPr bwMode="auto">
          <a:xfrm>
            <a:off x="6332503" y="2238796"/>
            <a:ext cx="1286970" cy="743329"/>
          </a:xfrm>
          <a:prstGeom prst="roundRect">
            <a:avLst/>
          </a:prstGeom>
          <a:solidFill>
            <a:srgbClr val="87888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solidFill>
                <a:effectLst/>
                <a:uLnTx/>
                <a:uFillTx/>
                <a:cs typeface="Arial" charset="0"/>
              </a:rPr>
              <a:t>NaaS</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Life Cycle</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Management</a:t>
            </a:r>
          </a:p>
        </p:txBody>
      </p:sp>
      <p:sp>
        <p:nvSpPr>
          <p:cNvPr id="53" name="Rounded Rectangle 85"/>
          <p:cNvSpPr/>
          <p:nvPr/>
        </p:nvSpPr>
        <p:spPr bwMode="auto">
          <a:xfrm>
            <a:off x="7769528" y="2270750"/>
            <a:ext cx="1056490" cy="218365"/>
          </a:xfrm>
          <a:prstGeom prst="roundRect">
            <a:avLst/>
          </a:prstGeom>
          <a:solidFill>
            <a:schemeClr val="tx2">
              <a:lumMod val="10000"/>
              <a:lumOff val="9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Arial" charset="0"/>
              </a:rPr>
              <a:t>Blueprints</a:t>
            </a:r>
          </a:p>
        </p:txBody>
      </p:sp>
      <p:sp>
        <p:nvSpPr>
          <p:cNvPr id="54" name="Rounded Rectangle 86"/>
          <p:cNvSpPr/>
          <p:nvPr/>
        </p:nvSpPr>
        <p:spPr bwMode="auto">
          <a:xfrm>
            <a:off x="7849358" y="2321552"/>
            <a:ext cx="1056490" cy="218365"/>
          </a:xfrm>
          <a:prstGeom prst="roundRect">
            <a:avLst/>
          </a:prstGeom>
          <a:solidFill>
            <a:schemeClr val="tx2">
              <a:lumMod val="10000"/>
              <a:lumOff val="9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Arial" charset="0"/>
              </a:rPr>
              <a:t>Offers</a:t>
            </a:r>
          </a:p>
        </p:txBody>
      </p:sp>
      <p:cxnSp>
        <p:nvCxnSpPr>
          <p:cNvPr id="55" name="Straight Arrow Connector 54"/>
          <p:cNvCxnSpPr>
            <a:stCxn id="57" idx="1"/>
          </p:cNvCxnSpPr>
          <p:nvPr/>
        </p:nvCxnSpPr>
        <p:spPr bwMode="auto">
          <a:xfrm flipH="1" flipV="1">
            <a:off x="8675963" y="2596677"/>
            <a:ext cx="411174" cy="1"/>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cxnSp>
        <p:nvCxnSpPr>
          <p:cNvPr id="56" name="Straight Arrow Connector 55"/>
          <p:cNvCxnSpPr>
            <a:stCxn id="54" idx="1"/>
          </p:cNvCxnSpPr>
          <p:nvPr/>
        </p:nvCxnSpPr>
        <p:spPr bwMode="auto">
          <a:xfrm flipH="1">
            <a:off x="7610617" y="2430735"/>
            <a:ext cx="238741" cy="231338"/>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sp>
        <p:nvSpPr>
          <p:cNvPr id="57" name="Rounded Rectangle 89"/>
          <p:cNvSpPr/>
          <p:nvPr/>
        </p:nvSpPr>
        <p:spPr bwMode="auto">
          <a:xfrm>
            <a:off x="9087137" y="2225013"/>
            <a:ext cx="1136065" cy="743329"/>
          </a:xfrm>
          <a:prstGeom prst="roundRect">
            <a:avLst/>
          </a:prstGeom>
          <a:solidFill>
            <a:srgbClr val="87888A"/>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solidFill>
                <a:effectLst/>
                <a:uLnTx/>
                <a:uFillTx/>
                <a:cs typeface="Arial" charset="0"/>
              </a:rPr>
              <a:t>NaaS</a:t>
            </a:r>
            <a:r>
              <a:rPr kumimoji="0" lang="en-US" sz="1400" b="0" i="0" u="none" strike="noStrike" kern="0" cap="none" spc="0" normalizeH="0" baseline="0" noProof="0" dirty="0">
                <a:ln>
                  <a:noFill/>
                </a:ln>
                <a:solidFill>
                  <a:srgbClr val="FFFFFF"/>
                </a:solidFill>
                <a:effectLst/>
                <a:uLnTx/>
                <a:uFillTx/>
                <a:cs typeface="Arial" charset="0"/>
              </a:rPr>
              <a:t> </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Design &amp;</a:t>
            </a:r>
            <a:br>
              <a:rPr kumimoji="0" lang="en-US" sz="1400" b="0" i="0" u="none" strike="noStrike" kern="0" cap="none" spc="0" normalizeH="0" baseline="0" noProof="0" dirty="0">
                <a:ln>
                  <a:noFill/>
                </a:ln>
                <a:solidFill>
                  <a:srgbClr val="FFFFFF"/>
                </a:solidFill>
                <a:effectLst/>
                <a:uLnTx/>
                <a:uFillTx/>
                <a:cs typeface="Arial" charset="0"/>
              </a:rPr>
            </a:br>
            <a:r>
              <a:rPr kumimoji="0" lang="en-US" sz="1400" b="0" i="0" u="none" strike="noStrike" kern="0" cap="none" spc="0" normalizeH="0" baseline="0" noProof="0" dirty="0">
                <a:ln>
                  <a:noFill/>
                </a:ln>
                <a:solidFill>
                  <a:srgbClr val="FFFFFF"/>
                </a:solidFill>
                <a:effectLst/>
                <a:uLnTx/>
                <a:uFillTx/>
                <a:cs typeface="Arial" charset="0"/>
              </a:rPr>
              <a:t>Verification</a:t>
            </a:r>
          </a:p>
        </p:txBody>
      </p:sp>
      <p:cxnSp>
        <p:nvCxnSpPr>
          <p:cNvPr id="58" name="Straight Arrow Connector 57"/>
          <p:cNvCxnSpPr>
            <a:stCxn id="52" idx="1"/>
          </p:cNvCxnSpPr>
          <p:nvPr/>
        </p:nvCxnSpPr>
        <p:spPr bwMode="auto">
          <a:xfrm flipH="1">
            <a:off x="5084877" y="2610461"/>
            <a:ext cx="1247626" cy="794139"/>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sp>
        <p:nvSpPr>
          <p:cNvPr id="59" name="Freeform 3"/>
          <p:cNvSpPr>
            <a:spLocks noChangeAspect="1" noEditPoints="1"/>
          </p:cNvSpPr>
          <p:nvPr/>
        </p:nvSpPr>
        <p:spPr bwMode="auto">
          <a:xfrm>
            <a:off x="6446138" y="807185"/>
            <a:ext cx="445277" cy="606800"/>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60" name="Freeform 2"/>
          <p:cNvSpPr>
            <a:spLocks noChangeAspect="1" noEditPoints="1"/>
          </p:cNvSpPr>
          <p:nvPr/>
        </p:nvSpPr>
        <p:spPr bwMode="auto">
          <a:xfrm>
            <a:off x="7143204" y="873762"/>
            <a:ext cx="621169" cy="540223"/>
          </a:xfrm>
          <a:custGeom>
            <a:avLst/>
            <a:gdLst>
              <a:gd name="T0" fmla="*/ 432 w 448"/>
              <a:gd name="T1" fmla="*/ 73 h 390"/>
              <a:gd name="T2" fmla="*/ 16 w 448"/>
              <a:gd name="T3" fmla="*/ 91 h 390"/>
              <a:gd name="T4" fmla="*/ 41 w 448"/>
              <a:gd name="T5" fmla="*/ 16 h 390"/>
              <a:gd name="T6" fmla="*/ 432 w 448"/>
              <a:gd name="T7" fmla="*/ 41 h 390"/>
              <a:gd name="T8" fmla="*/ 448 w 448"/>
              <a:gd name="T9" fmla="*/ 41 h 390"/>
              <a:gd name="T10" fmla="*/ 41 w 448"/>
              <a:gd name="T11" fmla="*/ 0 h 390"/>
              <a:gd name="T12" fmla="*/ 0 w 448"/>
              <a:gd name="T13" fmla="*/ 99 h 390"/>
              <a:gd name="T14" fmla="*/ 0 w 448"/>
              <a:gd name="T15" fmla="*/ 101 h 390"/>
              <a:gd name="T16" fmla="*/ 8 w 448"/>
              <a:gd name="T17" fmla="*/ 390 h 390"/>
              <a:gd name="T18" fmla="*/ 448 w 448"/>
              <a:gd name="T19" fmla="*/ 382 h 390"/>
              <a:gd name="T20" fmla="*/ 448 w 448"/>
              <a:gd name="T21" fmla="*/ 147 h 390"/>
              <a:gd name="T22" fmla="*/ 440 w 448"/>
              <a:gd name="T23" fmla="*/ 65 h 390"/>
              <a:gd name="T24" fmla="*/ 360 w 448"/>
              <a:gd name="T25" fmla="*/ 107 h 390"/>
              <a:gd name="T26" fmla="*/ 338 w 448"/>
              <a:gd name="T27" fmla="*/ 139 h 390"/>
              <a:gd name="T28" fmla="*/ 304 w 448"/>
              <a:gd name="T29" fmla="*/ 113 h 390"/>
              <a:gd name="T30" fmla="*/ 232 w 448"/>
              <a:gd name="T31" fmla="*/ 107 h 390"/>
              <a:gd name="T32" fmla="*/ 288 w 448"/>
              <a:gd name="T33" fmla="*/ 113 h 390"/>
              <a:gd name="T34" fmla="*/ 254 w 448"/>
              <a:gd name="T35" fmla="*/ 139 h 390"/>
              <a:gd name="T36" fmla="*/ 232 w 448"/>
              <a:gd name="T37" fmla="*/ 107 h 390"/>
              <a:gd name="T38" fmla="*/ 216 w 448"/>
              <a:gd name="T39" fmla="*/ 107 h 390"/>
              <a:gd name="T40" fmla="*/ 194 w 448"/>
              <a:gd name="T41" fmla="*/ 139 h 390"/>
              <a:gd name="T42" fmla="*/ 160 w 448"/>
              <a:gd name="T43" fmla="*/ 113 h 390"/>
              <a:gd name="T44" fmla="*/ 88 w 448"/>
              <a:gd name="T45" fmla="*/ 107 h 390"/>
              <a:gd name="T46" fmla="*/ 144 w 448"/>
              <a:gd name="T47" fmla="*/ 113 h 390"/>
              <a:gd name="T48" fmla="*/ 110 w 448"/>
              <a:gd name="T49" fmla="*/ 139 h 390"/>
              <a:gd name="T50" fmla="*/ 88 w 448"/>
              <a:gd name="T51" fmla="*/ 107 h 390"/>
              <a:gd name="T52" fmla="*/ 72 w 448"/>
              <a:gd name="T53" fmla="*/ 107 h 390"/>
              <a:gd name="T54" fmla="*/ 50 w 448"/>
              <a:gd name="T55" fmla="*/ 139 h 390"/>
              <a:gd name="T56" fmla="*/ 16 w 448"/>
              <a:gd name="T57" fmla="*/ 114 h 390"/>
              <a:gd name="T58" fmla="*/ 385 w 448"/>
              <a:gd name="T59" fmla="*/ 374 h 390"/>
              <a:gd name="T60" fmla="*/ 296 w 448"/>
              <a:gd name="T61" fmla="*/ 201 h 390"/>
              <a:gd name="T62" fmla="*/ 385 w 448"/>
              <a:gd name="T63" fmla="*/ 374 h 390"/>
              <a:gd name="T64" fmla="*/ 401 w 448"/>
              <a:gd name="T65" fmla="*/ 374 h 390"/>
              <a:gd name="T66" fmla="*/ 393 w 448"/>
              <a:gd name="T67" fmla="*/ 185 h 390"/>
              <a:gd name="T68" fmla="*/ 280 w 448"/>
              <a:gd name="T69" fmla="*/ 193 h 390"/>
              <a:gd name="T70" fmla="*/ 16 w 448"/>
              <a:gd name="T71" fmla="*/ 374 h 390"/>
              <a:gd name="T72" fmla="*/ 37 w 448"/>
              <a:gd name="T73" fmla="*/ 155 h 390"/>
              <a:gd name="T74" fmla="*/ 80 w 448"/>
              <a:gd name="T75" fmla="*/ 139 h 390"/>
              <a:gd name="T76" fmla="*/ 122 w 448"/>
              <a:gd name="T77" fmla="*/ 155 h 390"/>
              <a:gd name="T78" fmla="*/ 182 w 448"/>
              <a:gd name="T79" fmla="*/ 155 h 390"/>
              <a:gd name="T80" fmla="*/ 224 w 448"/>
              <a:gd name="T81" fmla="*/ 139 h 390"/>
              <a:gd name="T82" fmla="*/ 266 w 448"/>
              <a:gd name="T83" fmla="*/ 155 h 390"/>
              <a:gd name="T84" fmla="*/ 326 w 448"/>
              <a:gd name="T85" fmla="*/ 155 h 390"/>
              <a:gd name="T86" fmla="*/ 368 w 448"/>
              <a:gd name="T87" fmla="*/ 139 h 390"/>
              <a:gd name="T88" fmla="*/ 410 w 448"/>
              <a:gd name="T89" fmla="*/ 155 h 390"/>
              <a:gd name="T90" fmla="*/ 432 w 448"/>
              <a:gd name="T91" fmla="*/ 374 h 390"/>
              <a:gd name="T92" fmla="*/ 410 w 448"/>
              <a:gd name="T93" fmla="*/ 139 h 390"/>
              <a:gd name="T94" fmla="*/ 376 w 448"/>
              <a:gd name="T95" fmla="*/ 113 h 390"/>
              <a:gd name="T96" fmla="*/ 432 w 448"/>
              <a:gd name="T97" fmla="*/ 107 h 390"/>
              <a:gd name="T98" fmla="*/ 222 w 448"/>
              <a:gd name="T99" fmla="*/ 185 h 390"/>
              <a:gd name="T100" fmla="*/ 46 w 448"/>
              <a:gd name="T101" fmla="*/ 193 h 390"/>
              <a:gd name="T102" fmla="*/ 54 w 448"/>
              <a:gd name="T103" fmla="*/ 346 h 390"/>
              <a:gd name="T104" fmla="*/ 230 w 448"/>
              <a:gd name="T105" fmla="*/ 338 h 390"/>
              <a:gd name="T106" fmla="*/ 222 w 448"/>
              <a:gd name="T107" fmla="*/ 185 h 390"/>
              <a:gd name="T108" fmla="*/ 62 w 448"/>
              <a:gd name="T109" fmla="*/ 330 h 390"/>
              <a:gd name="T110" fmla="*/ 214 w 448"/>
              <a:gd name="T111" fmla="*/ 201 h 390"/>
              <a:gd name="T112" fmla="*/ 315 w 448"/>
              <a:gd name="T113" fmla="*/ 296 h 390"/>
              <a:gd name="T114" fmla="*/ 335 w 448"/>
              <a:gd name="T115" fmla="*/ 288 h 390"/>
              <a:gd name="T116" fmla="*/ 315 w 448"/>
              <a:gd name="T117" fmla="*/ 280 h 390"/>
              <a:gd name="T118" fmla="*/ 315 w 448"/>
              <a:gd name="T119" fmla="*/ 29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8" h="390">
                <a:moveTo>
                  <a:pt x="440" y="65"/>
                </a:moveTo>
                <a:cubicBezTo>
                  <a:pt x="436" y="65"/>
                  <a:pt x="432" y="69"/>
                  <a:pt x="432" y="73"/>
                </a:cubicBezTo>
                <a:cubicBezTo>
                  <a:pt x="432" y="91"/>
                  <a:pt x="432" y="91"/>
                  <a:pt x="432" y="91"/>
                </a:cubicBezTo>
                <a:cubicBezTo>
                  <a:pt x="16" y="91"/>
                  <a:pt x="16" y="91"/>
                  <a:pt x="16" y="91"/>
                </a:cubicBezTo>
                <a:cubicBezTo>
                  <a:pt x="16" y="41"/>
                  <a:pt x="16" y="41"/>
                  <a:pt x="16" y="41"/>
                </a:cubicBezTo>
                <a:cubicBezTo>
                  <a:pt x="16" y="27"/>
                  <a:pt x="27" y="16"/>
                  <a:pt x="41" y="16"/>
                </a:cubicBezTo>
                <a:cubicBezTo>
                  <a:pt x="406" y="16"/>
                  <a:pt x="406" y="16"/>
                  <a:pt x="406" y="16"/>
                </a:cubicBezTo>
                <a:cubicBezTo>
                  <a:pt x="420" y="16"/>
                  <a:pt x="432" y="27"/>
                  <a:pt x="432" y="41"/>
                </a:cubicBezTo>
                <a:cubicBezTo>
                  <a:pt x="432" y="46"/>
                  <a:pt x="436" y="49"/>
                  <a:pt x="440" y="49"/>
                </a:cubicBezTo>
                <a:cubicBezTo>
                  <a:pt x="444" y="49"/>
                  <a:pt x="448" y="46"/>
                  <a:pt x="448" y="41"/>
                </a:cubicBezTo>
                <a:cubicBezTo>
                  <a:pt x="448" y="18"/>
                  <a:pt x="429" y="0"/>
                  <a:pt x="406" y="0"/>
                </a:cubicBezTo>
                <a:cubicBezTo>
                  <a:pt x="41" y="0"/>
                  <a:pt x="41" y="0"/>
                  <a:pt x="41" y="0"/>
                </a:cubicBezTo>
                <a:cubicBezTo>
                  <a:pt x="18" y="0"/>
                  <a:pt x="0" y="18"/>
                  <a:pt x="0" y="41"/>
                </a:cubicBezTo>
                <a:cubicBezTo>
                  <a:pt x="0" y="99"/>
                  <a:pt x="0" y="99"/>
                  <a:pt x="0" y="99"/>
                </a:cubicBezTo>
                <a:cubicBezTo>
                  <a:pt x="0" y="99"/>
                  <a:pt x="0" y="100"/>
                  <a:pt x="0" y="101"/>
                </a:cubicBezTo>
                <a:cubicBezTo>
                  <a:pt x="0" y="101"/>
                  <a:pt x="0" y="101"/>
                  <a:pt x="0" y="101"/>
                </a:cubicBezTo>
                <a:cubicBezTo>
                  <a:pt x="0" y="382"/>
                  <a:pt x="0" y="382"/>
                  <a:pt x="0" y="382"/>
                </a:cubicBezTo>
                <a:cubicBezTo>
                  <a:pt x="0" y="387"/>
                  <a:pt x="3" y="390"/>
                  <a:pt x="8" y="390"/>
                </a:cubicBezTo>
                <a:cubicBezTo>
                  <a:pt x="440" y="390"/>
                  <a:pt x="440" y="390"/>
                  <a:pt x="440" y="390"/>
                </a:cubicBezTo>
                <a:cubicBezTo>
                  <a:pt x="444" y="390"/>
                  <a:pt x="448" y="387"/>
                  <a:pt x="448" y="382"/>
                </a:cubicBezTo>
                <a:cubicBezTo>
                  <a:pt x="448" y="147"/>
                  <a:pt x="448" y="147"/>
                  <a:pt x="448" y="147"/>
                </a:cubicBezTo>
                <a:cubicBezTo>
                  <a:pt x="448" y="147"/>
                  <a:pt x="448" y="147"/>
                  <a:pt x="448" y="147"/>
                </a:cubicBezTo>
                <a:cubicBezTo>
                  <a:pt x="448" y="73"/>
                  <a:pt x="448" y="73"/>
                  <a:pt x="448" y="73"/>
                </a:cubicBezTo>
                <a:cubicBezTo>
                  <a:pt x="448" y="69"/>
                  <a:pt x="444" y="65"/>
                  <a:pt x="440" y="65"/>
                </a:cubicBezTo>
                <a:close/>
                <a:moveTo>
                  <a:pt x="304" y="107"/>
                </a:moveTo>
                <a:cubicBezTo>
                  <a:pt x="360" y="107"/>
                  <a:pt x="360" y="107"/>
                  <a:pt x="360" y="107"/>
                </a:cubicBezTo>
                <a:cubicBezTo>
                  <a:pt x="360" y="113"/>
                  <a:pt x="360" y="113"/>
                  <a:pt x="360" y="113"/>
                </a:cubicBezTo>
                <a:cubicBezTo>
                  <a:pt x="360" y="127"/>
                  <a:pt x="350" y="139"/>
                  <a:pt x="338" y="139"/>
                </a:cubicBezTo>
                <a:cubicBezTo>
                  <a:pt x="326" y="139"/>
                  <a:pt x="326" y="139"/>
                  <a:pt x="326" y="139"/>
                </a:cubicBezTo>
                <a:cubicBezTo>
                  <a:pt x="314" y="139"/>
                  <a:pt x="304" y="127"/>
                  <a:pt x="304" y="113"/>
                </a:cubicBezTo>
                <a:lnTo>
                  <a:pt x="304" y="107"/>
                </a:lnTo>
                <a:close/>
                <a:moveTo>
                  <a:pt x="232" y="107"/>
                </a:moveTo>
                <a:cubicBezTo>
                  <a:pt x="288" y="107"/>
                  <a:pt x="288" y="107"/>
                  <a:pt x="288" y="107"/>
                </a:cubicBezTo>
                <a:cubicBezTo>
                  <a:pt x="288" y="113"/>
                  <a:pt x="288" y="113"/>
                  <a:pt x="288" y="113"/>
                </a:cubicBezTo>
                <a:cubicBezTo>
                  <a:pt x="288" y="127"/>
                  <a:pt x="278" y="139"/>
                  <a:pt x="266" y="139"/>
                </a:cubicBezTo>
                <a:cubicBezTo>
                  <a:pt x="254" y="139"/>
                  <a:pt x="254" y="139"/>
                  <a:pt x="254" y="139"/>
                </a:cubicBezTo>
                <a:cubicBezTo>
                  <a:pt x="242" y="139"/>
                  <a:pt x="232" y="127"/>
                  <a:pt x="232" y="113"/>
                </a:cubicBezTo>
                <a:lnTo>
                  <a:pt x="232" y="107"/>
                </a:lnTo>
                <a:close/>
                <a:moveTo>
                  <a:pt x="160" y="107"/>
                </a:moveTo>
                <a:cubicBezTo>
                  <a:pt x="216" y="107"/>
                  <a:pt x="216" y="107"/>
                  <a:pt x="216" y="107"/>
                </a:cubicBezTo>
                <a:cubicBezTo>
                  <a:pt x="216" y="113"/>
                  <a:pt x="216" y="113"/>
                  <a:pt x="216" y="113"/>
                </a:cubicBezTo>
                <a:cubicBezTo>
                  <a:pt x="216" y="127"/>
                  <a:pt x="206" y="139"/>
                  <a:pt x="194" y="139"/>
                </a:cubicBezTo>
                <a:cubicBezTo>
                  <a:pt x="182" y="139"/>
                  <a:pt x="182" y="139"/>
                  <a:pt x="182" y="139"/>
                </a:cubicBezTo>
                <a:cubicBezTo>
                  <a:pt x="170" y="139"/>
                  <a:pt x="160" y="127"/>
                  <a:pt x="160" y="113"/>
                </a:cubicBezTo>
                <a:lnTo>
                  <a:pt x="160" y="107"/>
                </a:lnTo>
                <a:close/>
                <a:moveTo>
                  <a:pt x="88" y="107"/>
                </a:moveTo>
                <a:cubicBezTo>
                  <a:pt x="144" y="107"/>
                  <a:pt x="144" y="107"/>
                  <a:pt x="144" y="107"/>
                </a:cubicBezTo>
                <a:cubicBezTo>
                  <a:pt x="144" y="113"/>
                  <a:pt x="144" y="113"/>
                  <a:pt x="144" y="113"/>
                </a:cubicBezTo>
                <a:cubicBezTo>
                  <a:pt x="144" y="127"/>
                  <a:pt x="134" y="139"/>
                  <a:pt x="122" y="139"/>
                </a:cubicBezTo>
                <a:cubicBezTo>
                  <a:pt x="110" y="139"/>
                  <a:pt x="110" y="139"/>
                  <a:pt x="110" y="139"/>
                </a:cubicBezTo>
                <a:cubicBezTo>
                  <a:pt x="97" y="139"/>
                  <a:pt x="88" y="127"/>
                  <a:pt x="88" y="113"/>
                </a:cubicBezTo>
                <a:lnTo>
                  <a:pt x="88" y="107"/>
                </a:lnTo>
                <a:close/>
                <a:moveTo>
                  <a:pt x="16" y="107"/>
                </a:moveTo>
                <a:cubicBezTo>
                  <a:pt x="72" y="107"/>
                  <a:pt x="72" y="107"/>
                  <a:pt x="72" y="107"/>
                </a:cubicBezTo>
                <a:cubicBezTo>
                  <a:pt x="72" y="113"/>
                  <a:pt x="72" y="113"/>
                  <a:pt x="72" y="113"/>
                </a:cubicBezTo>
                <a:cubicBezTo>
                  <a:pt x="72" y="127"/>
                  <a:pt x="62" y="139"/>
                  <a:pt x="50" y="139"/>
                </a:cubicBezTo>
                <a:cubicBezTo>
                  <a:pt x="37" y="139"/>
                  <a:pt x="37" y="139"/>
                  <a:pt x="37" y="139"/>
                </a:cubicBezTo>
                <a:cubicBezTo>
                  <a:pt x="25" y="139"/>
                  <a:pt x="16" y="128"/>
                  <a:pt x="16" y="114"/>
                </a:cubicBezTo>
                <a:lnTo>
                  <a:pt x="16" y="107"/>
                </a:lnTo>
                <a:close/>
                <a:moveTo>
                  <a:pt x="385" y="374"/>
                </a:moveTo>
                <a:cubicBezTo>
                  <a:pt x="296" y="374"/>
                  <a:pt x="296" y="374"/>
                  <a:pt x="296" y="374"/>
                </a:cubicBezTo>
                <a:cubicBezTo>
                  <a:pt x="296" y="201"/>
                  <a:pt x="296" y="201"/>
                  <a:pt x="296" y="201"/>
                </a:cubicBezTo>
                <a:cubicBezTo>
                  <a:pt x="385" y="201"/>
                  <a:pt x="385" y="201"/>
                  <a:pt x="385" y="201"/>
                </a:cubicBezTo>
                <a:lnTo>
                  <a:pt x="385" y="374"/>
                </a:lnTo>
                <a:close/>
                <a:moveTo>
                  <a:pt x="432" y="374"/>
                </a:moveTo>
                <a:cubicBezTo>
                  <a:pt x="401" y="374"/>
                  <a:pt x="401" y="374"/>
                  <a:pt x="401" y="374"/>
                </a:cubicBezTo>
                <a:cubicBezTo>
                  <a:pt x="401" y="193"/>
                  <a:pt x="401" y="193"/>
                  <a:pt x="401" y="193"/>
                </a:cubicBezTo>
                <a:cubicBezTo>
                  <a:pt x="401" y="189"/>
                  <a:pt x="398" y="185"/>
                  <a:pt x="393" y="185"/>
                </a:cubicBezTo>
                <a:cubicBezTo>
                  <a:pt x="288" y="185"/>
                  <a:pt x="288" y="185"/>
                  <a:pt x="288" y="185"/>
                </a:cubicBezTo>
                <a:cubicBezTo>
                  <a:pt x="283" y="185"/>
                  <a:pt x="280" y="189"/>
                  <a:pt x="280" y="193"/>
                </a:cubicBezTo>
                <a:cubicBezTo>
                  <a:pt x="280" y="374"/>
                  <a:pt x="280" y="374"/>
                  <a:pt x="280" y="374"/>
                </a:cubicBezTo>
                <a:cubicBezTo>
                  <a:pt x="16" y="374"/>
                  <a:pt x="16" y="374"/>
                  <a:pt x="16" y="374"/>
                </a:cubicBezTo>
                <a:cubicBezTo>
                  <a:pt x="16" y="147"/>
                  <a:pt x="16" y="147"/>
                  <a:pt x="16" y="147"/>
                </a:cubicBezTo>
                <a:cubicBezTo>
                  <a:pt x="22" y="152"/>
                  <a:pt x="29" y="155"/>
                  <a:pt x="37" y="155"/>
                </a:cubicBezTo>
                <a:cubicBezTo>
                  <a:pt x="50" y="155"/>
                  <a:pt x="50" y="155"/>
                  <a:pt x="50" y="155"/>
                </a:cubicBezTo>
                <a:cubicBezTo>
                  <a:pt x="62" y="155"/>
                  <a:pt x="73" y="148"/>
                  <a:pt x="80" y="139"/>
                </a:cubicBezTo>
                <a:cubicBezTo>
                  <a:pt x="87" y="148"/>
                  <a:pt x="97" y="155"/>
                  <a:pt x="110" y="155"/>
                </a:cubicBezTo>
                <a:cubicBezTo>
                  <a:pt x="122" y="155"/>
                  <a:pt x="122" y="155"/>
                  <a:pt x="122" y="155"/>
                </a:cubicBezTo>
                <a:cubicBezTo>
                  <a:pt x="134" y="155"/>
                  <a:pt x="145" y="148"/>
                  <a:pt x="152" y="139"/>
                </a:cubicBezTo>
                <a:cubicBezTo>
                  <a:pt x="159" y="148"/>
                  <a:pt x="169" y="155"/>
                  <a:pt x="182" y="155"/>
                </a:cubicBezTo>
                <a:cubicBezTo>
                  <a:pt x="194" y="155"/>
                  <a:pt x="194" y="155"/>
                  <a:pt x="194" y="155"/>
                </a:cubicBezTo>
                <a:cubicBezTo>
                  <a:pt x="206" y="155"/>
                  <a:pt x="217" y="148"/>
                  <a:pt x="224" y="139"/>
                </a:cubicBezTo>
                <a:cubicBezTo>
                  <a:pt x="231" y="148"/>
                  <a:pt x="242" y="155"/>
                  <a:pt x="254" y="155"/>
                </a:cubicBezTo>
                <a:cubicBezTo>
                  <a:pt x="266" y="155"/>
                  <a:pt x="266" y="155"/>
                  <a:pt x="266" y="155"/>
                </a:cubicBezTo>
                <a:cubicBezTo>
                  <a:pt x="278" y="155"/>
                  <a:pt x="289" y="148"/>
                  <a:pt x="296" y="139"/>
                </a:cubicBezTo>
                <a:cubicBezTo>
                  <a:pt x="303" y="148"/>
                  <a:pt x="314" y="155"/>
                  <a:pt x="326" y="155"/>
                </a:cubicBezTo>
                <a:cubicBezTo>
                  <a:pt x="338" y="155"/>
                  <a:pt x="338" y="155"/>
                  <a:pt x="338" y="155"/>
                </a:cubicBezTo>
                <a:cubicBezTo>
                  <a:pt x="350" y="155"/>
                  <a:pt x="361" y="148"/>
                  <a:pt x="368" y="139"/>
                </a:cubicBezTo>
                <a:cubicBezTo>
                  <a:pt x="375" y="148"/>
                  <a:pt x="386" y="155"/>
                  <a:pt x="398" y="155"/>
                </a:cubicBezTo>
                <a:cubicBezTo>
                  <a:pt x="410" y="155"/>
                  <a:pt x="410" y="155"/>
                  <a:pt x="410" y="155"/>
                </a:cubicBezTo>
                <a:cubicBezTo>
                  <a:pt x="418" y="155"/>
                  <a:pt x="426" y="152"/>
                  <a:pt x="432" y="147"/>
                </a:cubicBezTo>
                <a:lnTo>
                  <a:pt x="432" y="374"/>
                </a:lnTo>
                <a:close/>
                <a:moveTo>
                  <a:pt x="432" y="114"/>
                </a:moveTo>
                <a:cubicBezTo>
                  <a:pt x="432" y="128"/>
                  <a:pt x="422" y="139"/>
                  <a:pt x="410" y="139"/>
                </a:cubicBezTo>
                <a:cubicBezTo>
                  <a:pt x="398" y="139"/>
                  <a:pt x="398" y="139"/>
                  <a:pt x="398" y="139"/>
                </a:cubicBezTo>
                <a:cubicBezTo>
                  <a:pt x="386" y="139"/>
                  <a:pt x="376" y="127"/>
                  <a:pt x="376" y="113"/>
                </a:cubicBezTo>
                <a:cubicBezTo>
                  <a:pt x="376" y="107"/>
                  <a:pt x="376" y="107"/>
                  <a:pt x="376" y="107"/>
                </a:cubicBezTo>
                <a:cubicBezTo>
                  <a:pt x="432" y="107"/>
                  <a:pt x="432" y="107"/>
                  <a:pt x="432" y="107"/>
                </a:cubicBezTo>
                <a:lnTo>
                  <a:pt x="432" y="114"/>
                </a:lnTo>
                <a:close/>
                <a:moveTo>
                  <a:pt x="222" y="185"/>
                </a:moveTo>
                <a:cubicBezTo>
                  <a:pt x="54" y="185"/>
                  <a:pt x="54" y="185"/>
                  <a:pt x="54" y="185"/>
                </a:cubicBezTo>
                <a:cubicBezTo>
                  <a:pt x="50" y="185"/>
                  <a:pt x="46" y="189"/>
                  <a:pt x="46" y="193"/>
                </a:cubicBezTo>
                <a:cubicBezTo>
                  <a:pt x="46" y="338"/>
                  <a:pt x="46" y="338"/>
                  <a:pt x="46" y="338"/>
                </a:cubicBezTo>
                <a:cubicBezTo>
                  <a:pt x="46" y="343"/>
                  <a:pt x="50" y="346"/>
                  <a:pt x="54" y="346"/>
                </a:cubicBezTo>
                <a:cubicBezTo>
                  <a:pt x="222" y="346"/>
                  <a:pt x="222" y="346"/>
                  <a:pt x="222" y="346"/>
                </a:cubicBezTo>
                <a:cubicBezTo>
                  <a:pt x="226" y="346"/>
                  <a:pt x="230" y="343"/>
                  <a:pt x="230" y="338"/>
                </a:cubicBezTo>
                <a:cubicBezTo>
                  <a:pt x="230" y="193"/>
                  <a:pt x="230" y="193"/>
                  <a:pt x="230" y="193"/>
                </a:cubicBezTo>
                <a:cubicBezTo>
                  <a:pt x="230" y="189"/>
                  <a:pt x="226" y="185"/>
                  <a:pt x="222" y="185"/>
                </a:cubicBezTo>
                <a:close/>
                <a:moveTo>
                  <a:pt x="214" y="330"/>
                </a:moveTo>
                <a:cubicBezTo>
                  <a:pt x="62" y="330"/>
                  <a:pt x="62" y="330"/>
                  <a:pt x="62" y="330"/>
                </a:cubicBezTo>
                <a:cubicBezTo>
                  <a:pt x="62" y="201"/>
                  <a:pt x="62" y="201"/>
                  <a:pt x="62" y="201"/>
                </a:cubicBezTo>
                <a:cubicBezTo>
                  <a:pt x="214" y="201"/>
                  <a:pt x="214" y="201"/>
                  <a:pt x="214" y="201"/>
                </a:cubicBezTo>
                <a:lnTo>
                  <a:pt x="214" y="330"/>
                </a:lnTo>
                <a:close/>
                <a:moveTo>
                  <a:pt x="315" y="296"/>
                </a:moveTo>
                <a:cubicBezTo>
                  <a:pt x="327" y="296"/>
                  <a:pt x="327" y="296"/>
                  <a:pt x="327" y="296"/>
                </a:cubicBezTo>
                <a:cubicBezTo>
                  <a:pt x="332" y="296"/>
                  <a:pt x="335" y="292"/>
                  <a:pt x="335" y="288"/>
                </a:cubicBezTo>
                <a:cubicBezTo>
                  <a:pt x="335" y="283"/>
                  <a:pt x="332" y="280"/>
                  <a:pt x="327" y="280"/>
                </a:cubicBezTo>
                <a:cubicBezTo>
                  <a:pt x="315" y="280"/>
                  <a:pt x="315" y="280"/>
                  <a:pt x="315" y="280"/>
                </a:cubicBezTo>
                <a:cubicBezTo>
                  <a:pt x="311" y="280"/>
                  <a:pt x="307" y="283"/>
                  <a:pt x="307" y="288"/>
                </a:cubicBezTo>
                <a:cubicBezTo>
                  <a:pt x="307" y="292"/>
                  <a:pt x="311" y="296"/>
                  <a:pt x="315" y="296"/>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cxnSp>
        <p:nvCxnSpPr>
          <p:cNvPr id="61" name="Straight Arrow Connector 60"/>
          <p:cNvCxnSpPr/>
          <p:nvPr/>
        </p:nvCxnSpPr>
        <p:spPr bwMode="auto">
          <a:xfrm>
            <a:off x="7013741" y="1548574"/>
            <a:ext cx="0" cy="603293"/>
          </a:xfrm>
          <a:prstGeom prst="straightConnector1">
            <a:avLst/>
          </a:prstGeom>
          <a:solidFill>
            <a:schemeClr val="accent1"/>
          </a:solidFill>
          <a:ln w="38100" cap="flat" cmpd="sng" algn="ctr">
            <a:solidFill>
              <a:schemeClr val="bg1">
                <a:lumMod val="65000"/>
              </a:schemeClr>
            </a:solidFill>
            <a:prstDash val="solid"/>
            <a:round/>
            <a:headEnd type="none" w="med" len="med"/>
            <a:tailEnd type="arrow"/>
          </a:ln>
          <a:effectLst/>
        </p:spPr>
      </p:cxnSp>
      <p:cxnSp>
        <p:nvCxnSpPr>
          <p:cNvPr id="62" name="Straight Connector 61"/>
          <p:cNvCxnSpPr/>
          <p:nvPr/>
        </p:nvCxnSpPr>
        <p:spPr bwMode="auto">
          <a:xfrm flipV="1">
            <a:off x="6927618" y="4457183"/>
            <a:ext cx="1" cy="356118"/>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63" name="Straight Connector 62"/>
          <p:cNvCxnSpPr>
            <a:endCxn id="52" idx="2"/>
          </p:cNvCxnSpPr>
          <p:nvPr/>
        </p:nvCxnSpPr>
        <p:spPr bwMode="auto">
          <a:xfrm flipH="1" flipV="1">
            <a:off x="6975988" y="2982125"/>
            <a:ext cx="1" cy="674078"/>
          </a:xfrm>
          <a:prstGeom prst="line">
            <a:avLst/>
          </a:prstGeom>
          <a:solidFill>
            <a:schemeClr val="accent1"/>
          </a:solidFill>
          <a:ln w="38100" cap="flat" cmpd="sng" algn="ctr">
            <a:solidFill>
              <a:schemeClr val="bg1"/>
            </a:solidFill>
            <a:prstDash val="dash"/>
            <a:round/>
            <a:headEnd type="none" w="med" len="med"/>
            <a:tailEnd type="none" w="med" len="med"/>
          </a:ln>
          <a:effectLst/>
        </p:spPr>
      </p:cxnSp>
      <p:pic>
        <p:nvPicPr>
          <p:cNvPr id="64" name="Picture 6" descr="ECON_whit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96938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ueprints - philosophy </a:t>
            </a:r>
          </a:p>
        </p:txBody>
      </p:sp>
      <p:sp>
        <p:nvSpPr>
          <p:cNvPr id="4" name="Rounded Rectangle 30"/>
          <p:cNvSpPr/>
          <p:nvPr/>
        </p:nvSpPr>
        <p:spPr bwMode="auto">
          <a:xfrm>
            <a:off x="5912084" y="1596538"/>
            <a:ext cx="2753973" cy="2069836"/>
          </a:xfrm>
          <a:prstGeom prst="roundRect">
            <a:avLst/>
          </a:prstGeom>
          <a:solidFill>
            <a:schemeClr val="accent3">
              <a:lumMod val="95000"/>
            </a:schemeClr>
          </a:solidFill>
          <a:ln w="28575">
            <a:solidFill>
              <a:schemeClr val="tx1"/>
            </a:solidFill>
            <a:prstDash val="dash"/>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5" name="Rounded Rectangle 3"/>
          <p:cNvSpPr/>
          <p:nvPr/>
        </p:nvSpPr>
        <p:spPr bwMode="auto">
          <a:xfrm>
            <a:off x="5936981" y="4168136"/>
            <a:ext cx="5022376" cy="2233693"/>
          </a:xfrm>
          <a:prstGeom prst="roundRect">
            <a:avLst/>
          </a:prstGeom>
          <a:solidFill>
            <a:schemeClr val="tx2">
              <a:lumMod val="50000"/>
              <a:lumOff val="50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6" name="Rectangle 5"/>
          <p:cNvSpPr/>
          <p:nvPr/>
        </p:nvSpPr>
        <p:spPr>
          <a:xfrm>
            <a:off x="8380301" y="4211375"/>
            <a:ext cx="1178528"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cs typeface="Arial" charset="0"/>
              </a:rPr>
              <a:t>Orchestrator</a:t>
            </a:r>
          </a:p>
        </p:txBody>
      </p:sp>
      <p:grpSp>
        <p:nvGrpSpPr>
          <p:cNvPr id="7" name="Group 6"/>
          <p:cNvGrpSpPr/>
          <p:nvPr/>
        </p:nvGrpSpPr>
        <p:grpSpPr>
          <a:xfrm>
            <a:off x="6017967" y="1420120"/>
            <a:ext cx="673312" cy="498681"/>
            <a:chOff x="3509285" y="1653437"/>
            <a:chExt cx="504984" cy="498681"/>
          </a:xfrm>
        </p:grpSpPr>
        <p:sp>
          <p:nvSpPr>
            <p:cNvPr id="8" name="Rectangle 7"/>
            <p:cNvSpPr/>
            <p:nvPr/>
          </p:nvSpPr>
          <p:spPr bwMode="auto">
            <a:xfrm rot="20403977">
              <a:off x="3569303" y="1776899"/>
              <a:ext cx="417108" cy="297653"/>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9" name="Freeform 3"/>
            <p:cNvSpPr>
              <a:spLocks noChangeAspect="1" noEditPoints="1"/>
            </p:cNvSpPr>
            <p:nvPr/>
          </p:nvSpPr>
          <p:spPr bwMode="auto">
            <a:xfrm>
              <a:off x="3509285" y="1653437"/>
              <a:ext cx="504984" cy="498681"/>
            </a:xfrm>
            <a:custGeom>
              <a:avLst/>
              <a:gdLst>
                <a:gd name="T0" fmla="*/ 2147483647 w 305"/>
                <a:gd name="T1" fmla="*/ 2147483647 h 301"/>
                <a:gd name="T2" fmla="*/ 2147483647 w 305"/>
                <a:gd name="T3" fmla="*/ 2147483647 h 301"/>
                <a:gd name="T4" fmla="*/ 2147483647 w 305"/>
                <a:gd name="T5" fmla="*/ 0 h 301"/>
                <a:gd name="T6" fmla="*/ 2147483647 w 305"/>
                <a:gd name="T7" fmla="*/ 2147483647 h 301"/>
                <a:gd name="T8" fmla="*/ 2147483647 w 305"/>
                <a:gd name="T9" fmla="*/ 2147483647 h 301"/>
                <a:gd name="T10" fmla="*/ 2147483647 w 305"/>
                <a:gd name="T11" fmla="*/ 2147483647 h 301"/>
                <a:gd name="T12" fmla="*/ 2147483647 w 305"/>
                <a:gd name="T13" fmla="*/ 2147483647 h 301"/>
                <a:gd name="T14" fmla="*/ 0 w 305"/>
                <a:gd name="T15" fmla="*/ 2147483647 h 301"/>
                <a:gd name="T16" fmla="*/ 2147483647 w 305"/>
                <a:gd name="T17" fmla="*/ 2147483647 h 301"/>
                <a:gd name="T18" fmla="*/ 2147483647 w 305"/>
                <a:gd name="T19" fmla="*/ 2147483647 h 301"/>
                <a:gd name="T20" fmla="*/ 2147483647 w 305"/>
                <a:gd name="T21" fmla="*/ 2147483647 h 301"/>
                <a:gd name="T22" fmla="*/ 2147483647 w 305"/>
                <a:gd name="T23" fmla="*/ 2147483647 h 301"/>
                <a:gd name="T24" fmla="*/ 2147483647 w 305"/>
                <a:gd name="T25" fmla="*/ 2147483647 h 301"/>
                <a:gd name="T26" fmla="*/ 2147483647 w 305"/>
                <a:gd name="T27" fmla="*/ 2147483647 h 301"/>
                <a:gd name="T28" fmla="*/ 2147483647 w 305"/>
                <a:gd name="T29" fmla="*/ 2147483647 h 301"/>
                <a:gd name="T30" fmla="*/ 2147483647 w 305"/>
                <a:gd name="T31" fmla="*/ 2147483647 h 301"/>
                <a:gd name="T32" fmla="*/ 2147483647 w 305"/>
                <a:gd name="T33" fmla="*/ 2147483647 h 301"/>
                <a:gd name="T34" fmla="*/ 2147483647 w 305"/>
                <a:gd name="T35" fmla="*/ 2147483647 h 301"/>
                <a:gd name="T36" fmla="*/ 2147483647 w 305"/>
                <a:gd name="T37" fmla="*/ 2147483647 h 301"/>
                <a:gd name="T38" fmla="*/ 2147483647 w 305"/>
                <a:gd name="T39" fmla="*/ 2147483647 h 301"/>
                <a:gd name="T40" fmla="*/ 2147483647 w 305"/>
                <a:gd name="T41" fmla="*/ 2147483647 h 301"/>
                <a:gd name="T42" fmla="*/ 2147483647 w 305"/>
                <a:gd name="T43" fmla="*/ 2147483647 h 301"/>
                <a:gd name="T44" fmla="*/ 2147483647 w 305"/>
                <a:gd name="T45" fmla="*/ 2147483647 h 301"/>
                <a:gd name="T46" fmla="*/ 2147483647 w 305"/>
                <a:gd name="T47" fmla="*/ 2147483647 h 301"/>
                <a:gd name="T48" fmla="*/ 2147483647 w 305"/>
                <a:gd name="T49" fmla="*/ 2147483647 h 301"/>
                <a:gd name="T50" fmla="*/ 2147483647 w 305"/>
                <a:gd name="T51" fmla="*/ 2147483647 h 301"/>
                <a:gd name="T52" fmla="*/ 2147483647 w 305"/>
                <a:gd name="T53" fmla="*/ 2147483647 h 301"/>
                <a:gd name="T54" fmla="*/ 2147483647 w 305"/>
                <a:gd name="T55" fmla="*/ 2147483647 h 301"/>
                <a:gd name="T56" fmla="*/ 2147483647 w 305"/>
                <a:gd name="T57" fmla="*/ 2147483647 h 301"/>
                <a:gd name="T58" fmla="*/ 2147483647 w 305"/>
                <a:gd name="T59" fmla="*/ 2147483647 h 301"/>
                <a:gd name="T60" fmla="*/ 2147483647 w 305"/>
                <a:gd name="T61" fmla="*/ 2147483647 h 301"/>
                <a:gd name="T62" fmla="*/ 2147483647 w 305"/>
                <a:gd name="T63" fmla="*/ 2147483647 h 301"/>
                <a:gd name="T64" fmla="*/ 2147483647 w 305"/>
                <a:gd name="T65" fmla="*/ 2147483647 h 301"/>
                <a:gd name="T66" fmla="*/ 2147483647 w 305"/>
                <a:gd name="T67" fmla="*/ 2147483647 h 301"/>
                <a:gd name="T68" fmla="*/ 2147483647 w 305"/>
                <a:gd name="T69" fmla="*/ 2147483647 h 301"/>
                <a:gd name="T70" fmla="*/ 2147483647 w 305"/>
                <a:gd name="T71" fmla="*/ 2147483647 h 3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5" h="301">
                  <a:moveTo>
                    <a:pt x="289" y="27"/>
                  </a:moveTo>
                  <a:cubicBezTo>
                    <a:pt x="287" y="27"/>
                    <a:pt x="285" y="27"/>
                    <a:pt x="284" y="28"/>
                  </a:cubicBezTo>
                  <a:cubicBezTo>
                    <a:pt x="283" y="28"/>
                    <a:pt x="266" y="34"/>
                    <a:pt x="243" y="43"/>
                  </a:cubicBezTo>
                  <a:cubicBezTo>
                    <a:pt x="239" y="18"/>
                    <a:pt x="239" y="18"/>
                    <a:pt x="239" y="18"/>
                  </a:cubicBezTo>
                  <a:cubicBezTo>
                    <a:pt x="239" y="14"/>
                    <a:pt x="238" y="10"/>
                    <a:pt x="235" y="7"/>
                  </a:cubicBezTo>
                  <a:cubicBezTo>
                    <a:pt x="233" y="4"/>
                    <a:pt x="229" y="0"/>
                    <a:pt x="223" y="0"/>
                  </a:cubicBezTo>
                  <a:cubicBezTo>
                    <a:pt x="222" y="0"/>
                    <a:pt x="220" y="1"/>
                    <a:pt x="219" y="1"/>
                  </a:cubicBezTo>
                  <a:cubicBezTo>
                    <a:pt x="218" y="1"/>
                    <a:pt x="120" y="39"/>
                    <a:pt x="114" y="41"/>
                  </a:cubicBezTo>
                  <a:cubicBezTo>
                    <a:pt x="114" y="41"/>
                    <a:pt x="114" y="41"/>
                    <a:pt x="114" y="41"/>
                  </a:cubicBezTo>
                  <a:cubicBezTo>
                    <a:pt x="113" y="39"/>
                    <a:pt x="112" y="36"/>
                    <a:pt x="110" y="32"/>
                  </a:cubicBezTo>
                  <a:cubicBezTo>
                    <a:pt x="109" y="30"/>
                    <a:pt x="108" y="27"/>
                    <a:pt x="105" y="25"/>
                  </a:cubicBezTo>
                  <a:cubicBezTo>
                    <a:pt x="103" y="23"/>
                    <a:pt x="99" y="22"/>
                    <a:pt x="95" y="22"/>
                  </a:cubicBezTo>
                  <a:cubicBezTo>
                    <a:pt x="93" y="22"/>
                    <a:pt x="90" y="22"/>
                    <a:pt x="87" y="23"/>
                  </a:cubicBezTo>
                  <a:cubicBezTo>
                    <a:pt x="69" y="30"/>
                    <a:pt x="17" y="49"/>
                    <a:pt x="17" y="49"/>
                  </a:cubicBezTo>
                  <a:cubicBezTo>
                    <a:pt x="13" y="51"/>
                    <a:pt x="8" y="53"/>
                    <a:pt x="5" y="57"/>
                  </a:cubicBezTo>
                  <a:cubicBezTo>
                    <a:pt x="1" y="61"/>
                    <a:pt x="0" y="66"/>
                    <a:pt x="0" y="72"/>
                  </a:cubicBezTo>
                  <a:cubicBezTo>
                    <a:pt x="0" y="74"/>
                    <a:pt x="0" y="76"/>
                    <a:pt x="0" y="78"/>
                  </a:cubicBezTo>
                  <a:cubicBezTo>
                    <a:pt x="30" y="286"/>
                    <a:pt x="30" y="286"/>
                    <a:pt x="30" y="286"/>
                  </a:cubicBezTo>
                  <a:cubicBezTo>
                    <a:pt x="30" y="286"/>
                    <a:pt x="31" y="292"/>
                    <a:pt x="35" y="296"/>
                  </a:cubicBezTo>
                  <a:cubicBezTo>
                    <a:pt x="40" y="300"/>
                    <a:pt x="43" y="301"/>
                    <a:pt x="48" y="301"/>
                  </a:cubicBezTo>
                  <a:cubicBezTo>
                    <a:pt x="51" y="301"/>
                    <a:pt x="53" y="300"/>
                    <a:pt x="56" y="299"/>
                  </a:cubicBezTo>
                  <a:cubicBezTo>
                    <a:pt x="200" y="244"/>
                    <a:pt x="200" y="244"/>
                    <a:pt x="200" y="244"/>
                  </a:cubicBezTo>
                  <a:cubicBezTo>
                    <a:pt x="205" y="243"/>
                    <a:pt x="207" y="238"/>
                    <a:pt x="205" y="234"/>
                  </a:cubicBezTo>
                  <a:cubicBezTo>
                    <a:pt x="204" y="230"/>
                    <a:pt x="199" y="228"/>
                    <a:pt x="195" y="229"/>
                  </a:cubicBezTo>
                  <a:cubicBezTo>
                    <a:pt x="50" y="284"/>
                    <a:pt x="50" y="284"/>
                    <a:pt x="50" y="284"/>
                  </a:cubicBezTo>
                  <a:cubicBezTo>
                    <a:pt x="50" y="285"/>
                    <a:pt x="49" y="285"/>
                    <a:pt x="48" y="285"/>
                  </a:cubicBezTo>
                  <a:cubicBezTo>
                    <a:pt x="47" y="285"/>
                    <a:pt x="46" y="283"/>
                    <a:pt x="46" y="283"/>
                  </a:cubicBezTo>
                  <a:cubicBezTo>
                    <a:pt x="46" y="282"/>
                    <a:pt x="79" y="124"/>
                    <a:pt x="79" y="124"/>
                  </a:cubicBezTo>
                  <a:cubicBezTo>
                    <a:pt x="79" y="124"/>
                    <a:pt x="82" y="120"/>
                    <a:pt x="83" y="120"/>
                  </a:cubicBezTo>
                  <a:cubicBezTo>
                    <a:pt x="83" y="120"/>
                    <a:pt x="123" y="105"/>
                    <a:pt x="163" y="90"/>
                  </a:cubicBezTo>
                  <a:cubicBezTo>
                    <a:pt x="210" y="72"/>
                    <a:pt x="281" y="46"/>
                    <a:pt x="288" y="43"/>
                  </a:cubicBezTo>
                  <a:cubicBezTo>
                    <a:pt x="288" y="43"/>
                    <a:pt x="252" y="204"/>
                    <a:pt x="252" y="204"/>
                  </a:cubicBezTo>
                  <a:cubicBezTo>
                    <a:pt x="251" y="206"/>
                    <a:pt x="251" y="207"/>
                    <a:pt x="250" y="208"/>
                  </a:cubicBezTo>
                  <a:cubicBezTo>
                    <a:pt x="250" y="209"/>
                    <a:pt x="249" y="209"/>
                    <a:pt x="248" y="210"/>
                  </a:cubicBezTo>
                  <a:cubicBezTo>
                    <a:pt x="225" y="218"/>
                    <a:pt x="225" y="218"/>
                    <a:pt x="225" y="218"/>
                  </a:cubicBezTo>
                  <a:cubicBezTo>
                    <a:pt x="221" y="220"/>
                    <a:pt x="219" y="224"/>
                    <a:pt x="221" y="228"/>
                  </a:cubicBezTo>
                  <a:cubicBezTo>
                    <a:pt x="222" y="233"/>
                    <a:pt x="227" y="235"/>
                    <a:pt x="231" y="233"/>
                  </a:cubicBezTo>
                  <a:cubicBezTo>
                    <a:pt x="231" y="233"/>
                    <a:pt x="231" y="233"/>
                    <a:pt x="231" y="233"/>
                  </a:cubicBezTo>
                  <a:cubicBezTo>
                    <a:pt x="253" y="225"/>
                    <a:pt x="253" y="225"/>
                    <a:pt x="253" y="225"/>
                  </a:cubicBezTo>
                  <a:cubicBezTo>
                    <a:pt x="257" y="223"/>
                    <a:pt x="261" y="221"/>
                    <a:pt x="263" y="218"/>
                  </a:cubicBezTo>
                  <a:cubicBezTo>
                    <a:pt x="265" y="215"/>
                    <a:pt x="266" y="212"/>
                    <a:pt x="267" y="209"/>
                  </a:cubicBezTo>
                  <a:cubicBezTo>
                    <a:pt x="304" y="47"/>
                    <a:pt x="304" y="47"/>
                    <a:pt x="304" y="47"/>
                  </a:cubicBezTo>
                  <a:cubicBezTo>
                    <a:pt x="304" y="46"/>
                    <a:pt x="305" y="45"/>
                    <a:pt x="305" y="44"/>
                  </a:cubicBezTo>
                  <a:cubicBezTo>
                    <a:pt x="304" y="35"/>
                    <a:pt x="298" y="27"/>
                    <a:pt x="289" y="27"/>
                  </a:cubicBezTo>
                  <a:close/>
                  <a:moveTo>
                    <a:pt x="79" y="104"/>
                  </a:moveTo>
                  <a:cubicBezTo>
                    <a:pt x="74" y="106"/>
                    <a:pt x="70" y="109"/>
                    <a:pt x="67" y="113"/>
                  </a:cubicBezTo>
                  <a:cubicBezTo>
                    <a:pt x="66" y="113"/>
                    <a:pt x="66" y="114"/>
                    <a:pt x="66" y="114"/>
                  </a:cubicBezTo>
                  <a:cubicBezTo>
                    <a:pt x="66" y="115"/>
                    <a:pt x="66" y="115"/>
                    <a:pt x="65" y="115"/>
                  </a:cubicBezTo>
                  <a:cubicBezTo>
                    <a:pt x="65" y="115"/>
                    <a:pt x="65" y="116"/>
                    <a:pt x="65" y="116"/>
                  </a:cubicBezTo>
                  <a:cubicBezTo>
                    <a:pt x="65" y="117"/>
                    <a:pt x="64" y="117"/>
                    <a:pt x="64" y="117"/>
                  </a:cubicBezTo>
                  <a:cubicBezTo>
                    <a:pt x="64" y="117"/>
                    <a:pt x="64" y="117"/>
                    <a:pt x="64" y="118"/>
                  </a:cubicBezTo>
                  <a:cubicBezTo>
                    <a:pt x="64" y="118"/>
                    <a:pt x="64" y="119"/>
                    <a:pt x="63" y="120"/>
                  </a:cubicBezTo>
                  <a:cubicBezTo>
                    <a:pt x="63" y="120"/>
                    <a:pt x="63" y="120"/>
                    <a:pt x="63" y="120"/>
                  </a:cubicBezTo>
                  <a:cubicBezTo>
                    <a:pt x="63" y="120"/>
                    <a:pt x="63" y="120"/>
                    <a:pt x="63" y="120"/>
                  </a:cubicBezTo>
                  <a:cubicBezTo>
                    <a:pt x="39" y="238"/>
                    <a:pt x="39" y="238"/>
                    <a:pt x="39" y="238"/>
                  </a:cubicBezTo>
                  <a:cubicBezTo>
                    <a:pt x="16" y="76"/>
                    <a:pt x="16" y="76"/>
                    <a:pt x="16" y="76"/>
                  </a:cubicBezTo>
                  <a:cubicBezTo>
                    <a:pt x="16" y="75"/>
                    <a:pt x="16" y="73"/>
                    <a:pt x="16" y="72"/>
                  </a:cubicBezTo>
                  <a:cubicBezTo>
                    <a:pt x="16" y="68"/>
                    <a:pt x="17" y="68"/>
                    <a:pt x="17" y="67"/>
                  </a:cubicBezTo>
                  <a:cubicBezTo>
                    <a:pt x="17" y="67"/>
                    <a:pt x="19" y="66"/>
                    <a:pt x="22" y="64"/>
                  </a:cubicBezTo>
                  <a:cubicBezTo>
                    <a:pt x="23" y="64"/>
                    <a:pt x="23" y="64"/>
                    <a:pt x="23" y="64"/>
                  </a:cubicBezTo>
                  <a:cubicBezTo>
                    <a:pt x="23" y="64"/>
                    <a:pt x="23" y="64"/>
                    <a:pt x="23" y="64"/>
                  </a:cubicBezTo>
                  <a:cubicBezTo>
                    <a:pt x="23" y="64"/>
                    <a:pt x="74" y="45"/>
                    <a:pt x="93" y="38"/>
                  </a:cubicBezTo>
                  <a:cubicBezTo>
                    <a:pt x="94" y="38"/>
                    <a:pt x="95" y="38"/>
                    <a:pt x="95" y="38"/>
                  </a:cubicBezTo>
                  <a:cubicBezTo>
                    <a:pt x="95" y="38"/>
                    <a:pt x="96" y="38"/>
                    <a:pt x="96" y="39"/>
                  </a:cubicBezTo>
                  <a:cubicBezTo>
                    <a:pt x="97" y="41"/>
                    <a:pt x="98" y="45"/>
                    <a:pt x="100" y="48"/>
                  </a:cubicBezTo>
                  <a:cubicBezTo>
                    <a:pt x="102" y="52"/>
                    <a:pt x="106" y="57"/>
                    <a:pt x="113" y="57"/>
                  </a:cubicBezTo>
                  <a:cubicBezTo>
                    <a:pt x="115" y="57"/>
                    <a:pt x="117" y="56"/>
                    <a:pt x="119" y="56"/>
                  </a:cubicBezTo>
                  <a:cubicBezTo>
                    <a:pt x="132" y="52"/>
                    <a:pt x="211" y="21"/>
                    <a:pt x="223" y="17"/>
                  </a:cubicBezTo>
                  <a:cubicBezTo>
                    <a:pt x="223" y="17"/>
                    <a:pt x="223" y="18"/>
                    <a:pt x="223" y="19"/>
                  </a:cubicBezTo>
                  <a:cubicBezTo>
                    <a:pt x="223" y="19"/>
                    <a:pt x="223" y="19"/>
                    <a:pt x="223" y="19"/>
                  </a:cubicBezTo>
                  <a:cubicBezTo>
                    <a:pt x="223" y="20"/>
                    <a:pt x="223" y="20"/>
                    <a:pt x="223" y="20"/>
                  </a:cubicBezTo>
                  <a:cubicBezTo>
                    <a:pt x="227" y="49"/>
                    <a:pt x="227" y="49"/>
                    <a:pt x="227" y="49"/>
                  </a:cubicBezTo>
                  <a:cubicBezTo>
                    <a:pt x="194" y="61"/>
                    <a:pt x="80" y="104"/>
                    <a:pt x="79" y="104"/>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 name="Freeform 3"/>
          <p:cNvSpPr>
            <a:spLocks noChangeAspect="1" noEditPoints="1"/>
          </p:cNvSpPr>
          <p:nvPr/>
        </p:nvSpPr>
        <p:spPr bwMode="auto">
          <a:xfrm flipH="1">
            <a:off x="6531102" y="2879979"/>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3"/>
          <p:cNvSpPr>
            <a:spLocks noChangeAspect="1" noEditPoints="1"/>
          </p:cNvSpPr>
          <p:nvPr/>
        </p:nvSpPr>
        <p:spPr bwMode="auto">
          <a:xfrm>
            <a:off x="6533960" y="1918800"/>
            <a:ext cx="1536140" cy="946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3"/>
          <p:cNvSpPr>
            <a:spLocks noChangeAspect="1" noEditPoints="1"/>
          </p:cNvSpPr>
          <p:nvPr/>
        </p:nvSpPr>
        <p:spPr bwMode="auto">
          <a:xfrm>
            <a:off x="6256361" y="4815438"/>
            <a:ext cx="795020" cy="702740"/>
          </a:xfrm>
          <a:custGeom>
            <a:avLst/>
            <a:gdLst>
              <a:gd name="T0" fmla="*/ 2147483647 w 296"/>
              <a:gd name="T1" fmla="*/ 2147483647 h 349"/>
              <a:gd name="T2" fmla="*/ 2147483647 w 296"/>
              <a:gd name="T3" fmla="*/ 2147483647 h 349"/>
              <a:gd name="T4" fmla="*/ 2147483647 w 296"/>
              <a:gd name="T5" fmla="*/ 2147483647 h 349"/>
              <a:gd name="T6" fmla="*/ 2147483647 w 296"/>
              <a:gd name="T7" fmla="*/ 0 h 349"/>
              <a:gd name="T8" fmla="*/ 0 w 296"/>
              <a:gd name="T9" fmla="*/ 2147483647 h 349"/>
              <a:gd name="T10" fmla="*/ 0 w 296"/>
              <a:gd name="T11" fmla="*/ 2147483647 h 349"/>
              <a:gd name="T12" fmla="*/ 0 w 296"/>
              <a:gd name="T13" fmla="*/ 2147483647 h 349"/>
              <a:gd name="T14" fmla="*/ 0 w 296"/>
              <a:gd name="T15" fmla="*/ 2147483647 h 349"/>
              <a:gd name="T16" fmla="*/ 2147483647 w 296"/>
              <a:gd name="T17" fmla="*/ 2147483647 h 349"/>
              <a:gd name="T18" fmla="*/ 2147483647 w 296"/>
              <a:gd name="T19" fmla="*/ 2147483647 h 349"/>
              <a:gd name="T20" fmla="*/ 2147483647 w 296"/>
              <a:gd name="T21" fmla="*/ 2147483647 h 349"/>
              <a:gd name="T22" fmla="*/ 2147483647 w 296"/>
              <a:gd name="T23" fmla="*/ 2147483647 h 349"/>
              <a:gd name="T24" fmla="*/ 2147483647 w 296"/>
              <a:gd name="T25" fmla="*/ 2147483647 h 349"/>
              <a:gd name="T26" fmla="*/ 2147483647 w 296"/>
              <a:gd name="T27" fmla="*/ 2147483647 h 349"/>
              <a:gd name="T28" fmla="*/ 2147483647 w 296"/>
              <a:gd name="T29" fmla="*/ 2147483647 h 349"/>
              <a:gd name="T30" fmla="*/ 2147483647 w 296"/>
              <a:gd name="T31" fmla="*/ 2147483647 h 349"/>
              <a:gd name="T32" fmla="*/ 2147483647 w 296"/>
              <a:gd name="T33" fmla="*/ 2147483647 h 349"/>
              <a:gd name="T34" fmla="*/ 2147483647 w 296"/>
              <a:gd name="T35" fmla="*/ 2147483647 h 349"/>
              <a:gd name="T36" fmla="*/ 2147483647 w 296"/>
              <a:gd name="T37" fmla="*/ 2147483647 h 349"/>
              <a:gd name="T38" fmla="*/ 2147483647 w 296"/>
              <a:gd name="T39" fmla="*/ 2147483647 h 349"/>
              <a:gd name="T40" fmla="*/ 2147483647 w 296"/>
              <a:gd name="T41" fmla="*/ 2147483647 h 349"/>
              <a:gd name="T42" fmla="*/ 2147483647 w 296"/>
              <a:gd name="T43" fmla="*/ 2147483647 h 349"/>
              <a:gd name="T44" fmla="*/ 2147483647 w 296"/>
              <a:gd name="T45" fmla="*/ 2147483647 h 349"/>
              <a:gd name="T46" fmla="*/ 2147483647 w 296"/>
              <a:gd name="T47" fmla="*/ 2147483647 h 349"/>
              <a:gd name="T48" fmla="*/ 2147483647 w 296"/>
              <a:gd name="T49" fmla="*/ 2147483647 h 349"/>
              <a:gd name="T50" fmla="*/ 2147483647 w 296"/>
              <a:gd name="T51" fmla="*/ 2147483647 h 3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96" h="349">
                <a:moveTo>
                  <a:pt x="288" y="106"/>
                </a:moveTo>
                <a:cubicBezTo>
                  <a:pt x="293" y="106"/>
                  <a:pt x="296" y="103"/>
                  <a:pt x="296" y="98"/>
                </a:cubicBezTo>
                <a:cubicBezTo>
                  <a:pt x="296" y="53"/>
                  <a:pt x="296" y="53"/>
                  <a:pt x="296" y="53"/>
                </a:cubicBezTo>
                <a:cubicBezTo>
                  <a:pt x="296" y="18"/>
                  <a:pt x="248" y="0"/>
                  <a:pt x="148" y="0"/>
                </a:cubicBezTo>
                <a:cubicBezTo>
                  <a:pt x="48" y="0"/>
                  <a:pt x="0" y="18"/>
                  <a:pt x="0" y="53"/>
                </a:cubicBezTo>
                <a:cubicBezTo>
                  <a:pt x="0" y="54"/>
                  <a:pt x="0" y="55"/>
                  <a:pt x="0" y="55"/>
                </a:cubicBezTo>
                <a:cubicBezTo>
                  <a:pt x="0" y="55"/>
                  <a:pt x="0" y="56"/>
                  <a:pt x="0" y="56"/>
                </a:cubicBezTo>
                <a:cubicBezTo>
                  <a:pt x="0" y="286"/>
                  <a:pt x="0" y="286"/>
                  <a:pt x="0" y="286"/>
                </a:cubicBezTo>
                <a:cubicBezTo>
                  <a:pt x="0" y="327"/>
                  <a:pt x="50" y="349"/>
                  <a:pt x="148" y="349"/>
                </a:cubicBezTo>
                <a:cubicBezTo>
                  <a:pt x="242" y="349"/>
                  <a:pt x="296" y="326"/>
                  <a:pt x="296" y="286"/>
                </a:cubicBezTo>
                <a:cubicBezTo>
                  <a:pt x="296" y="130"/>
                  <a:pt x="296" y="130"/>
                  <a:pt x="296" y="130"/>
                </a:cubicBezTo>
                <a:cubicBezTo>
                  <a:pt x="296" y="126"/>
                  <a:pt x="293" y="122"/>
                  <a:pt x="288" y="122"/>
                </a:cubicBezTo>
                <a:cubicBezTo>
                  <a:pt x="284" y="122"/>
                  <a:pt x="280" y="126"/>
                  <a:pt x="280" y="130"/>
                </a:cubicBezTo>
                <a:cubicBezTo>
                  <a:pt x="280" y="286"/>
                  <a:pt x="280" y="286"/>
                  <a:pt x="280" y="286"/>
                </a:cubicBezTo>
                <a:cubicBezTo>
                  <a:pt x="280" y="315"/>
                  <a:pt x="230" y="333"/>
                  <a:pt x="148" y="333"/>
                </a:cubicBezTo>
                <a:cubicBezTo>
                  <a:pt x="88" y="333"/>
                  <a:pt x="16" y="325"/>
                  <a:pt x="16" y="286"/>
                </a:cubicBezTo>
                <a:cubicBezTo>
                  <a:pt x="16" y="83"/>
                  <a:pt x="16" y="83"/>
                  <a:pt x="16" y="83"/>
                </a:cubicBezTo>
                <a:cubicBezTo>
                  <a:pt x="37" y="99"/>
                  <a:pt x="81" y="106"/>
                  <a:pt x="148" y="106"/>
                </a:cubicBezTo>
                <a:cubicBezTo>
                  <a:pt x="215" y="106"/>
                  <a:pt x="259" y="99"/>
                  <a:pt x="280" y="83"/>
                </a:cubicBezTo>
                <a:cubicBezTo>
                  <a:pt x="280" y="98"/>
                  <a:pt x="280" y="98"/>
                  <a:pt x="280" y="98"/>
                </a:cubicBezTo>
                <a:cubicBezTo>
                  <a:pt x="280" y="103"/>
                  <a:pt x="284" y="106"/>
                  <a:pt x="288" y="106"/>
                </a:cubicBezTo>
                <a:close/>
                <a:moveTo>
                  <a:pt x="148" y="90"/>
                </a:moveTo>
                <a:cubicBezTo>
                  <a:pt x="63" y="90"/>
                  <a:pt x="16" y="77"/>
                  <a:pt x="16" y="53"/>
                </a:cubicBezTo>
                <a:cubicBezTo>
                  <a:pt x="16" y="30"/>
                  <a:pt x="63" y="16"/>
                  <a:pt x="148" y="16"/>
                </a:cubicBezTo>
                <a:cubicBezTo>
                  <a:pt x="232" y="16"/>
                  <a:pt x="280" y="30"/>
                  <a:pt x="280" y="53"/>
                </a:cubicBezTo>
                <a:cubicBezTo>
                  <a:pt x="280" y="77"/>
                  <a:pt x="233" y="90"/>
                  <a:pt x="148" y="90"/>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ounded Rectangle 18"/>
          <p:cNvSpPr/>
          <p:nvPr/>
        </p:nvSpPr>
        <p:spPr bwMode="auto">
          <a:xfrm>
            <a:off x="7567374" y="4855441"/>
            <a:ext cx="3075728" cy="674507"/>
          </a:xfrm>
          <a:prstGeom prst="roundRect">
            <a:avLst/>
          </a:prstGeom>
          <a:solidFill>
            <a:schemeClr val="tx2">
              <a:lumMod val="75000"/>
              <a:lumOff val="2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4" name="Freeform 3"/>
          <p:cNvSpPr>
            <a:spLocks noChangeAspect="1" noEditPoints="1"/>
          </p:cNvSpPr>
          <p:nvPr/>
        </p:nvSpPr>
        <p:spPr bwMode="auto">
          <a:xfrm>
            <a:off x="7885625" y="4978754"/>
            <a:ext cx="562544" cy="357255"/>
          </a:xfrm>
          <a:custGeom>
            <a:avLst/>
            <a:gdLst>
              <a:gd name="T0" fmla="*/ 2147483647 w 326"/>
              <a:gd name="T1" fmla="*/ 2147483647 h 302"/>
              <a:gd name="T2" fmla="*/ 2147483647 w 326"/>
              <a:gd name="T3" fmla="*/ 2147483647 h 302"/>
              <a:gd name="T4" fmla="*/ 2147483647 w 326"/>
              <a:gd name="T5" fmla="*/ 2147483647 h 302"/>
              <a:gd name="T6" fmla="*/ 2147483647 w 326"/>
              <a:gd name="T7" fmla="*/ 2147483647 h 302"/>
              <a:gd name="T8" fmla="*/ 2147483647 w 326"/>
              <a:gd name="T9" fmla="*/ 2147483647 h 302"/>
              <a:gd name="T10" fmla="*/ 2147483647 w 326"/>
              <a:gd name="T11" fmla="*/ 2147483647 h 302"/>
              <a:gd name="T12" fmla="*/ 2147483647 w 326"/>
              <a:gd name="T13" fmla="*/ 2147483647 h 302"/>
              <a:gd name="T14" fmla="*/ 2147483647 w 326"/>
              <a:gd name="T15" fmla="*/ 2147483647 h 302"/>
              <a:gd name="T16" fmla="*/ 2147483647 w 326"/>
              <a:gd name="T17" fmla="*/ 2147483647 h 302"/>
              <a:gd name="T18" fmla="*/ 2147483647 w 326"/>
              <a:gd name="T19" fmla="*/ 2147483647 h 302"/>
              <a:gd name="T20" fmla="*/ 2147483647 w 326"/>
              <a:gd name="T21" fmla="*/ 2147483647 h 302"/>
              <a:gd name="T22" fmla="*/ 2147483647 w 326"/>
              <a:gd name="T23" fmla="*/ 2147483647 h 302"/>
              <a:gd name="T24" fmla="*/ 2147483647 w 326"/>
              <a:gd name="T25" fmla="*/ 2147483647 h 302"/>
              <a:gd name="T26" fmla="*/ 2147483647 w 326"/>
              <a:gd name="T27" fmla="*/ 2147483647 h 302"/>
              <a:gd name="T28" fmla="*/ 2147483647 w 326"/>
              <a:gd name="T29" fmla="*/ 2147483647 h 302"/>
              <a:gd name="T30" fmla="*/ 2147483647 w 326"/>
              <a:gd name="T31" fmla="*/ 2147483647 h 302"/>
              <a:gd name="T32" fmla="*/ 2147483647 w 326"/>
              <a:gd name="T33" fmla="*/ 2147483647 h 302"/>
              <a:gd name="T34" fmla="*/ 2147483647 w 326"/>
              <a:gd name="T35" fmla="*/ 2147483647 h 302"/>
              <a:gd name="T36" fmla="*/ 2147483647 w 326"/>
              <a:gd name="T37" fmla="*/ 2147483647 h 302"/>
              <a:gd name="T38" fmla="*/ 2147483647 w 326"/>
              <a:gd name="T39" fmla="*/ 2147483647 h 302"/>
              <a:gd name="T40" fmla="*/ 2147483647 w 326"/>
              <a:gd name="T41" fmla="*/ 2147483647 h 302"/>
              <a:gd name="T42" fmla="*/ 2147483647 w 326"/>
              <a:gd name="T43" fmla="*/ 2147483647 h 302"/>
              <a:gd name="T44" fmla="*/ 2147483647 w 326"/>
              <a:gd name="T45" fmla="*/ 2147483647 h 302"/>
              <a:gd name="T46" fmla="*/ 2147483647 w 326"/>
              <a:gd name="T47" fmla="*/ 2147483647 h 302"/>
              <a:gd name="T48" fmla="*/ 2147483647 w 326"/>
              <a:gd name="T49" fmla="*/ 2147483647 h 302"/>
              <a:gd name="T50" fmla="*/ 2147483647 w 326"/>
              <a:gd name="T51" fmla="*/ 2147483647 h 302"/>
              <a:gd name="T52" fmla="*/ 2147483647 w 326"/>
              <a:gd name="T53" fmla="*/ 2147483647 h 302"/>
              <a:gd name="T54" fmla="*/ 2147483647 w 326"/>
              <a:gd name="T55" fmla="*/ 2147483647 h 302"/>
              <a:gd name="T56" fmla="*/ 2147483647 w 326"/>
              <a:gd name="T57" fmla="*/ 2147483647 h 302"/>
              <a:gd name="T58" fmla="*/ 2147483647 w 326"/>
              <a:gd name="T59" fmla="*/ 2147483647 h 302"/>
              <a:gd name="T60" fmla="*/ 2147483647 w 326"/>
              <a:gd name="T61" fmla="*/ 2147483647 h 302"/>
              <a:gd name="T62" fmla="*/ 2147483647 w 326"/>
              <a:gd name="T63" fmla="*/ 2147483647 h 302"/>
              <a:gd name="T64" fmla="*/ 2147483647 w 326"/>
              <a:gd name="T65" fmla="*/ 2147483647 h 302"/>
              <a:gd name="T66" fmla="*/ 2147483647 w 326"/>
              <a:gd name="T67" fmla="*/ 2147483647 h 302"/>
              <a:gd name="T68" fmla="*/ 2147483647 w 326"/>
              <a:gd name="T69" fmla="*/ 2147483647 h 302"/>
              <a:gd name="T70" fmla="*/ 2147483647 w 326"/>
              <a:gd name="T71" fmla="*/ 2147483647 h 302"/>
              <a:gd name="T72" fmla="*/ 2147483647 w 326"/>
              <a:gd name="T73" fmla="*/ 2147483647 h 302"/>
              <a:gd name="T74" fmla="*/ 2147483647 w 326"/>
              <a:gd name="T75" fmla="*/ 2147483647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6" h="302">
                <a:moveTo>
                  <a:pt x="323" y="253"/>
                </a:moveTo>
                <a:cubicBezTo>
                  <a:pt x="295" y="224"/>
                  <a:pt x="295" y="224"/>
                  <a:pt x="295" y="224"/>
                </a:cubicBezTo>
                <a:cubicBezTo>
                  <a:pt x="325" y="168"/>
                  <a:pt x="314" y="98"/>
                  <a:pt x="269" y="52"/>
                </a:cubicBezTo>
                <a:cubicBezTo>
                  <a:pt x="232" y="15"/>
                  <a:pt x="177" y="0"/>
                  <a:pt x="126" y="15"/>
                </a:cubicBezTo>
                <a:cubicBezTo>
                  <a:pt x="126" y="15"/>
                  <a:pt x="125" y="15"/>
                  <a:pt x="125" y="15"/>
                </a:cubicBezTo>
                <a:cubicBezTo>
                  <a:pt x="121" y="16"/>
                  <a:pt x="119" y="20"/>
                  <a:pt x="120" y="25"/>
                </a:cubicBezTo>
                <a:cubicBezTo>
                  <a:pt x="121" y="29"/>
                  <a:pt x="126" y="31"/>
                  <a:pt x="130" y="30"/>
                </a:cubicBezTo>
                <a:cubicBezTo>
                  <a:pt x="175" y="17"/>
                  <a:pt x="224" y="30"/>
                  <a:pt x="258" y="63"/>
                </a:cubicBezTo>
                <a:cubicBezTo>
                  <a:pt x="297" y="103"/>
                  <a:pt x="307" y="163"/>
                  <a:pt x="283" y="212"/>
                </a:cubicBezTo>
                <a:cubicBezTo>
                  <a:pt x="256" y="186"/>
                  <a:pt x="256" y="186"/>
                  <a:pt x="256" y="186"/>
                </a:cubicBezTo>
                <a:cubicBezTo>
                  <a:pt x="254" y="184"/>
                  <a:pt x="251" y="183"/>
                  <a:pt x="248" y="184"/>
                </a:cubicBezTo>
                <a:cubicBezTo>
                  <a:pt x="246" y="184"/>
                  <a:pt x="243" y="187"/>
                  <a:pt x="243" y="190"/>
                </a:cubicBezTo>
                <a:cubicBezTo>
                  <a:pt x="224" y="276"/>
                  <a:pt x="224" y="276"/>
                  <a:pt x="224" y="276"/>
                </a:cubicBezTo>
                <a:cubicBezTo>
                  <a:pt x="223" y="278"/>
                  <a:pt x="224" y="281"/>
                  <a:pt x="226" y="283"/>
                </a:cubicBezTo>
                <a:cubicBezTo>
                  <a:pt x="227" y="285"/>
                  <a:pt x="229" y="286"/>
                  <a:pt x="232" y="286"/>
                </a:cubicBezTo>
                <a:cubicBezTo>
                  <a:pt x="232" y="286"/>
                  <a:pt x="233" y="285"/>
                  <a:pt x="233" y="285"/>
                </a:cubicBezTo>
                <a:cubicBezTo>
                  <a:pt x="319" y="266"/>
                  <a:pt x="319" y="266"/>
                  <a:pt x="319" y="266"/>
                </a:cubicBezTo>
                <a:cubicBezTo>
                  <a:pt x="322" y="266"/>
                  <a:pt x="325" y="264"/>
                  <a:pt x="325" y="261"/>
                </a:cubicBezTo>
                <a:cubicBezTo>
                  <a:pt x="326" y="258"/>
                  <a:pt x="325" y="255"/>
                  <a:pt x="323" y="253"/>
                </a:cubicBezTo>
                <a:close/>
                <a:moveTo>
                  <a:pt x="197" y="283"/>
                </a:moveTo>
                <a:cubicBezTo>
                  <a:pt x="152" y="294"/>
                  <a:pt x="106" y="281"/>
                  <a:pt x="73" y="248"/>
                </a:cubicBezTo>
                <a:cubicBezTo>
                  <a:pt x="34" y="210"/>
                  <a:pt x="24" y="152"/>
                  <a:pt x="46" y="103"/>
                </a:cubicBezTo>
                <a:cubicBezTo>
                  <a:pt x="70" y="127"/>
                  <a:pt x="70" y="127"/>
                  <a:pt x="70" y="127"/>
                </a:cubicBezTo>
                <a:cubicBezTo>
                  <a:pt x="72" y="129"/>
                  <a:pt x="74" y="130"/>
                  <a:pt x="76" y="130"/>
                </a:cubicBezTo>
                <a:cubicBezTo>
                  <a:pt x="77" y="130"/>
                  <a:pt x="77" y="130"/>
                  <a:pt x="78" y="129"/>
                </a:cubicBezTo>
                <a:cubicBezTo>
                  <a:pt x="81" y="129"/>
                  <a:pt x="83" y="126"/>
                  <a:pt x="84" y="123"/>
                </a:cubicBezTo>
                <a:cubicBezTo>
                  <a:pt x="103" y="37"/>
                  <a:pt x="103" y="37"/>
                  <a:pt x="103" y="37"/>
                </a:cubicBezTo>
                <a:cubicBezTo>
                  <a:pt x="103" y="35"/>
                  <a:pt x="102" y="32"/>
                  <a:pt x="100" y="30"/>
                </a:cubicBezTo>
                <a:cubicBezTo>
                  <a:pt x="99" y="28"/>
                  <a:pt x="96" y="27"/>
                  <a:pt x="93" y="28"/>
                </a:cubicBezTo>
                <a:cubicBezTo>
                  <a:pt x="7" y="47"/>
                  <a:pt x="7" y="47"/>
                  <a:pt x="7" y="47"/>
                </a:cubicBezTo>
                <a:cubicBezTo>
                  <a:pt x="4" y="47"/>
                  <a:pt x="2" y="50"/>
                  <a:pt x="1" y="52"/>
                </a:cubicBezTo>
                <a:cubicBezTo>
                  <a:pt x="0" y="55"/>
                  <a:pt x="1" y="58"/>
                  <a:pt x="3" y="60"/>
                </a:cubicBezTo>
                <a:cubicBezTo>
                  <a:pt x="34" y="91"/>
                  <a:pt x="34" y="91"/>
                  <a:pt x="34" y="91"/>
                </a:cubicBezTo>
                <a:cubicBezTo>
                  <a:pt x="6" y="147"/>
                  <a:pt x="17" y="215"/>
                  <a:pt x="61" y="260"/>
                </a:cubicBezTo>
                <a:cubicBezTo>
                  <a:pt x="89" y="287"/>
                  <a:pt x="127" y="302"/>
                  <a:pt x="166" y="302"/>
                </a:cubicBezTo>
                <a:cubicBezTo>
                  <a:pt x="177" y="302"/>
                  <a:pt x="189" y="301"/>
                  <a:pt x="201" y="298"/>
                </a:cubicBezTo>
                <a:cubicBezTo>
                  <a:pt x="205" y="297"/>
                  <a:pt x="208" y="293"/>
                  <a:pt x="207" y="288"/>
                </a:cubicBezTo>
                <a:cubicBezTo>
                  <a:pt x="206" y="284"/>
                  <a:pt x="201" y="282"/>
                  <a:pt x="197" y="283"/>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TextBox 14"/>
          <p:cNvSpPr txBox="1"/>
          <p:nvPr/>
        </p:nvSpPr>
        <p:spPr>
          <a:xfrm>
            <a:off x="8427113" y="4910032"/>
            <a:ext cx="1508746"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Generic data</a:t>
            </a:r>
            <a:br>
              <a:rPr kumimoji="0" lang="en-US" sz="1400" b="0" i="0" u="none" strike="noStrike" kern="0" cap="none" spc="0" normalizeH="0" baseline="0" noProof="0" dirty="0">
                <a:ln>
                  <a:noFill/>
                </a:ln>
                <a:solidFill>
                  <a:schemeClr val="bg1"/>
                </a:solidFill>
                <a:effectLst/>
                <a:uLnTx/>
                <a:uFillTx/>
              </a:rPr>
            </a:br>
            <a:r>
              <a:rPr kumimoji="0" lang="en-US" sz="1400" b="0" i="0" u="none" strike="noStrike" kern="0" cap="none" spc="0" normalizeH="0" baseline="0" noProof="0" dirty="0">
                <a:ln>
                  <a:noFill/>
                </a:ln>
                <a:solidFill>
                  <a:schemeClr val="bg1"/>
                </a:solidFill>
                <a:effectLst/>
                <a:uLnTx/>
                <a:uFillTx/>
              </a:rPr>
              <a:t>driven workflows</a:t>
            </a:r>
          </a:p>
        </p:txBody>
      </p:sp>
      <p:cxnSp>
        <p:nvCxnSpPr>
          <p:cNvPr id="16" name="Straight Arrow Connector 15"/>
          <p:cNvCxnSpPr/>
          <p:nvPr/>
        </p:nvCxnSpPr>
        <p:spPr bwMode="auto">
          <a:xfrm flipH="1">
            <a:off x="7051382" y="5111288"/>
            <a:ext cx="515993" cy="46092"/>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sp>
        <p:nvSpPr>
          <p:cNvPr id="17" name="Rounded Rectangle 22"/>
          <p:cNvSpPr/>
          <p:nvPr/>
        </p:nvSpPr>
        <p:spPr bwMode="auto">
          <a:xfrm>
            <a:off x="7617904" y="5781170"/>
            <a:ext cx="2130332" cy="485353"/>
          </a:xfrm>
          <a:prstGeom prst="roundRect">
            <a:avLst/>
          </a:prstGeom>
          <a:solidFill>
            <a:schemeClr val="tx2">
              <a:lumMod val="75000"/>
              <a:lumOff val="25000"/>
            </a:schemeClr>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mn-lt"/>
              <a:ea typeface="+mn-ea"/>
              <a:cs typeface="Arial" charset="0"/>
            </a:endParaRPr>
          </a:p>
        </p:txBody>
      </p:sp>
      <p:sp>
        <p:nvSpPr>
          <p:cNvPr id="18" name="Freeform 3"/>
          <p:cNvSpPr>
            <a:spLocks noChangeAspect="1" noEditPoints="1"/>
          </p:cNvSpPr>
          <p:nvPr/>
        </p:nvSpPr>
        <p:spPr bwMode="auto">
          <a:xfrm>
            <a:off x="9074424" y="5854910"/>
            <a:ext cx="317565" cy="342347"/>
          </a:xfrm>
          <a:custGeom>
            <a:avLst/>
            <a:gdLst>
              <a:gd name="T0" fmla="*/ 2147483647 w 220"/>
              <a:gd name="T1" fmla="*/ 2147483647 h 316"/>
              <a:gd name="T2" fmla="*/ 2147483647 w 220"/>
              <a:gd name="T3" fmla="*/ 2147483647 h 316"/>
              <a:gd name="T4" fmla="*/ 2147483647 w 220"/>
              <a:gd name="T5" fmla="*/ 2147483647 h 316"/>
              <a:gd name="T6" fmla="*/ 2147483647 w 220"/>
              <a:gd name="T7" fmla="*/ 2147483647 h 316"/>
              <a:gd name="T8" fmla="*/ 2147483647 w 220"/>
              <a:gd name="T9" fmla="*/ 2147483647 h 316"/>
              <a:gd name="T10" fmla="*/ 2147483647 w 220"/>
              <a:gd name="T11" fmla="*/ 2147483647 h 316"/>
              <a:gd name="T12" fmla="*/ 2147483647 w 220"/>
              <a:gd name="T13" fmla="*/ 2147483647 h 316"/>
              <a:gd name="T14" fmla="*/ 2147483647 w 220"/>
              <a:gd name="T15" fmla="*/ 0 h 316"/>
              <a:gd name="T16" fmla="*/ 2147483647 w 220"/>
              <a:gd name="T17" fmla="*/ 2147483647 h 316"/>
              <a:gd name="T18" fmla="*/ 2147483647 w 220"/>
              <a:gd name="T19" fmla="*/ 2147483647 h 316"/>
              <a:gd name="T20" fmla="*/ 2147483647 w 220"/>
              <a:gd name="T21" fmla="*/ 2147483647 h 316"/>
              <a:gd name="T22" fmla="*/ 2147483647 w 220"/>
              <a:gd name="T23" fmla="*/ 2147483647 h 316"/>
              <a:gd name="T24" fmla="*/ 0 w 220"/>
              <a:gd name="T25" fmla="*/ 2147483647 h 316"/>
              <a:gd name="T26" fmla="*/ 0 w 220"/>
              <a:gd name="T27" fmla="*/ 2147483647 h 316"/>
              <a:gd name="T28" fmla="*/ 2147483647 w 220"/>
              <a:gd name="T29" fmla="*/ 2147483647 h 316"/>
              <a:gd name="T30" fmla="*/ 2147483647 w 220"/>
              <a:gd name="T31" fmla="*/ 2147483647 h 316"/>
              <a:gd name="T32" fmla="*/ 2147483647 w 220"/>
              <a:gd name="T33" fmla="*/ 2147483647 h 316"/>
              <a:gd name="T34" fmla="*/ 0 w 220"/>
              <a:gd name="T35" fmla="*/ 2147483647 h 316"/>
              <a:gd name="T36" fmla="*/ 0 w 220"/>
              <a:gd name="T37" fmla="*/ 2147483647 h 316"/>
              <a:gd name="T38" fmla="*/ 2147483647 w 220"/>
              <a:gd name="T39" fmla="*/ 2147483647 h 316"/>
              <a:gd name="T40" fmla="*/ 2147483647 w 220"/>
              <a:gd name="T41" fmla="*/ 2147483647 h 316"/>
              <a:gd name="T42" fmla="*/ 2147483647 w 220"/>
              <a:gd name="T43" fmla="*/ 2147483647 h 316"/>
              <a:gd name="T44" fmla="*/ 2147483647 w 220"/>
              <a:gd name="T45" fmla="*/ 2147483647 h 316"/>
              <a:gd name="T46" fmla="*/ 2147483647 w 220"/>
              <a:gd name="T47" fmla="*/ 2147483647 h 316"/>
              <a:gd name="T48" fmla="*/ 2147483647 w 220"/>
              <a:gd name="T49" fmla="*/ 2147483647 h 316"/>
              <a:gd name="T50" fmla="*/ 2147483647 w 220"/>
              <a:gd name="T51" fmla="*/ 2147483647 h 316"/>
              <a:gd name="T52" fmla="*/ 2147483647 w 220"/>
              <a:gd name="T53" fmla="*/ 2147483647 h 316"/>
              <a:gd name="T54" fmla="*/ 2147483647 w 220"/>
              <a:gd name="T55" fmla="*/ 2147483647 h 316"/>
              <a:gd name="T56" fmla="*/ 2147483647 w 220"/>
              <a:gd name="T57" fmla="*/ 2147483647 h 316"/>
              <a:gd name="T58" fmla="*/ 2147483647 w 220"/>
              <a:gd name="T59" fmla="*/ 2147483647 h 316"/>
              <a:gd name="T60" fmla="*/ 2147483647 w 220"/>
              <a:gd name="T61" fmla="*/ 2147483647 h 316"/>
              <a:gd name="T62" fmla="*/ 2147483647 w 220"/>
              <a:gd name="T63" fmla="*/ 2147483647 h 316"/>
              <a:gd name="T64" fmla="*/ 2147483647 w 220"/>
              <a:gd name="T65" fmla="*/ 2147483647 h 316"/>
              <a:gd name="T66" fmla="*/ 2147483647 w 220"/>
              <a:gd name="T67" fmla="*/ 2147483647 h 316"/>
              <a:gd name="T68" fmla="*/ 2147483647 w 220"/>
              <a:gd name="T69" fmla="*/ 2147483647 h 316"/>
              <a:gd name="T70" fmla="*/ 2147483647 w 220"/>
              <a:gd name="T71" fmla="*/ 2147483647 h 316"/>
              <a:gd name="T72" fmla="*/ 2147483647 w 220"/>
              <a:gd name="T73" fmla="*/ 2147483647 h 316"/>
              <a:gd name="T74" fmla="*/ 2147483647 w 220"/>
              <a:gd name="T75" fmla="*/ 2147483647 h 316"/>
              <a:gd name="T76" fmla="*/ 2147483647 w 220"/>
              <a:gd name="T77" fmla="*/ 2147483647 h 316"/>
              <a:gd name="T78" fmla="*/ 2147483647 w 220"/>
              <a:gd name="T79" fmla="*/ 2147483647 h 316"/>
              <a:gd name="T80" fmla="*/ 2147483647 w 220"/>
              <a:gd name="T81" fmla="*/ 2147483647 h 316"/>
              <a:gd name="T82" fmla="*/ 2147483647 w 220"/>
              <a:gd name="T83" fmla="*/ 2147483647 h 316"/>
              <a:gd name="T84" fmla="*/ 2147483647 w 220"/>
              <a:gd name="T85" fmla="*/ 2147483647 h 316"/>
              <a:gd name="T86" fmla="*/ 2147483647 w 220"/>
              <a:gd name="T87" fmla="*/ 2147483647 h 316"/>
              <a:gd name="T88" fmla="*/ 2147483647 w 220"/>
              <a:gd name="T89" fmla="*/ 2147483647 h 316"/>
              <a:gd name="T90" fmla="*/ 2147483647 w 220"/>
              <a:gd name="T91" fmla="*/ 2147483647 h 316"/>
              <a:gd name="T92" fmla="*/ 2147483647 w 220"/>
              <a:gd name="T93" fmla="*/ 2147483647 h 316"/>
              <a:gd name="T94" fmla="*/ 2147483647 w 220"/>
              <a:gd name="T95" fmla="*/ 2147483647 h 316"/>
              <a:gd name="T96" fmla="*/ 2147483647 w 220"/>
              <a:gd name="T97" fmla="*/ 2147483647 h 316"/>
              <a:gd name="T98" fmla="*/ 2147483647 w 220"/>
              <a:gd name="T99" fmla="*/ 2147483647 h 316"/>
              <a:gd name="T100" fmla="*/ 2147483647 w 220"/>
              <a:gd name="T101" fmla="*/ 2147483647 h 316"/>
              <a:gd name="T102" fmla="*/ 2147483647 w 220"/>
              <a:gd name="T103" fmla="*/ 2147483647 h 316"/>
              <a:gd name="T104" fmla="*/ 2147483647 w 220"/>
              <a:gd name="T105" fmla="*/ 2147483647 h 316"/>
              <a:gd name="T106" fmla="*/ 2147483647 w 220"/>
              <a:gd name="T107" fmla="*/ 2147483647 h 316"/>
              <a:gd name="T108" fmla="*/ 2147483647 w 220"/>
              <a:gd name="T109" fmla="*/ 2147483647 h 316"/>
              <a:gd name="T110" fmla="*/ 2147483647 w 220"/>
              <a:gd name="T111" fmla="*/ 2147483647 h 316"/>
              <a:gd name="T112" fmla="*/ 2147483647 w 220"/>
              <a:gd name="T113" fmla="*/ 2147483647 h 316"/>
              <a:gd name="T114" fmla="*/ 2147483647 w 220"/>
              <a:gd name="T115" fmla="*/ 2147483647 h 316"/>
              <a:gd name="T116" fmla="*/ 2147483647 w 220"/>
              <a:gd name="T117" fmla="*/ 2147483647 h 3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0" h="316">
                <a:moveTo>
                  <a:pt x="170" y="132"/>
                </a:moveTo>
                <a:cubicBezTo>
                  <a:pt x="173" y="132"/>
                  <a:pt x="178" y="136"/>
                  <a:pt x="183" y="139"/>
                </a:cubicBezTo>
                <a:cubicBezTo>
                  <a:pt x="188" y="143"/>
                  <a:pt x="195" y="148"/>
                  <a:pt x="203" y="148"/>
                </a:cubicBezTo>
                <a:cubicBezTo>
                  <a:pt x="211" y="148"/>
                  <a:pt x="217" y="143"/>
                  <a:pt x="220" y="135"/>
                </a:cubicBezTo>
                <a:cubicBezTo>
                  <a:pt x="220" y="134"/>
                  <a:pt x="220" y="133"/>
                  <a:pt x="220" y="132"/>
                </a:cubicBezTo>
                <a:cubicBezTo>
                  <a:pt x="220" y="120"/>
                  <a:pt x="220" y="120"/>
                  <a:pt x="220" y="120"/>
                </a:cubicBezTo>
                <a:cubicBezTo>
                  <a:pt x="220" y="99"/>
                  <a:pt x="217" y="80"/>
                  <a:pt x="210" y="63"/>
                </a:cubicBezTo>
                <a:cubicBezTo>
                  <a:pt x="209" y="62"/>
                  <a:pt x="209" y="62"/>
                  <a:pt x="209" y="62"/>
                </a:cubicBezTo>
                <a:cubicBezTo>
                  <a:pt x="209" y="60"/>
                  <a:pt x="207" y="58"/>
                  <a:pt x="205" y="58"/>
                </a:cubicBezTo>
                <a:cubicBezTo>
                  <a:pt x="203" y="57"/>
                  <a:pt x="200" y="57"/>
                  <a:pt x="198" y="58"/>
                </a:cubicBezTo>
                <a:cubicBezTo>
                  <a:pt x="198" y="58"/>
                  <a:pt x="179" y="68"/>
                  <a:pt x="148" y="68"/>
                </a:cubicBezTo>
                <a:cubicBezTo>
                  <a:pt x="137" y="68"/>
                  <a:pt x="137" y="68"/>
                  <a:pt x="137" y="68"/>
                </a:cubicBezTo>
                <a:cubicBezTo>
                  <a:pt x="136" y="67"/>
                  <a:pt x="136" y="67"/>
                  <a:pt x="136" y="66"/>
                </a:cubicBezTo>
                <a:cubicBezTo>
                  <a:pt x="136" y="64"/>
                  <a:pt x="139" y="59"/>
                  <a:pt x="142" y="55"/>
                </a:cubicBezTo>
                <a:cubicBezTo>
                  <a:pt x="146" y="49"/>
                  <a:pt x="152" y="42"/>
                  <a:pt x="152" y="33"/>
                </a:cubicBezTo>
                <a:cubicBezTo>
                  <a:pt x="152" y="9"/>
                  <a:pt x="127" y="0"/>
                  <a:pt x="110" y="0"/>
                </a:cubicBezTo>
                <a:cubicBezTo>
                  <a:pt x="94" y="0"/>
                  <a:pt x="69" y="9"/>
                  <a:pt x="69" y="33"/>
                </a:cubicBezTo>
                <a:cubicBezTo>
                  <a:pt x="69" y="42"/>
                  <a:pt x="74" y="49"/>
                  <a:pt x="79" y="55"/>
                </a:cubicBezTo>
                <a:cubicBezTo>
                  <a:pt x="81" y="59"/>
                  <a:pt x="85" y="64"/>
                  <a:pt x="85" y="66"/>
                </a:cubicBezTo>
                <a:cubicBezTo>
                  <a:pt x="85" y="67"/>
                  <a:pt x="85" y="67"/>
                  <a:pt x="83" y="68"/>
                </a:cubicBezTo>
                <a:cubicBezTo>
                  <a:pt x="72" y="68"/>
                  <a:pt x="72" y="68"/>
                  <a:pt x="72" y="68"/>
                </a:cubicBezTo>
                <a:cubicBezTo>
                  <a:pt x="41" y="68"/>
                  <a:pt x="22" y="58"/>
                  <a:pt x="22" y="58"/>
                </a:cubicBezTo>
                <a:cubicBezTo>
                  <a:pt x="20" y="57"/>
                  <a:pt x="18" y="57"/>
                  <a:pt x="16" y="58"/>
                </a:cubicBezTo>
                <a:cubicBezTo>
                  <a:pt x="13" y="58"/>
                  <a:pt x="12" y="60"/>
                  <a:pt x="11" y="62"/>
                </a:cubicBezTo>
                <a:cubicBezTo>
                  <a:pt x="11" y="63"/>
                  <a:pt x="11" y="63"/>
                  <a:pt x="11" y="63"/>
                </a:cubicBezTo>
                <a:cubicBezTo>
                  <a:pt x="4" y="80"/>
                  <a:pt x="0" y="99"/>
                  <a:pt x="0" y="120"/>
                </a:cubicBezTo>
                <a:cubicBezTo>
                  <a:pt x="0" y="132"/>
                  <a:pt x="0" y="132"/>
                  <a:pt x="0" y="132"/>
                </a:cubicBezTo>
                <a:cubicBezTo>
                  <a:pt x="0" y="133"/>
                  <a:pt x="0" y="134"/>
                  <a:pt x="0" y="135"/>
                </a:cubicBezTo>
                <a:cubicBezTo>
                  <a:pt x="3" y="143"/>
                  <a:pt x="9" y="148"/>
                  <a:pt x="17" y="148"/>
                </a:cubicBezTo>
                <a:cubicBezTo>
                  <a:pt x="25" y="148"/>
                  <a:pt x="32" y="143"/>
                  <a:pt x="38" y="139"/>
                </a:cubicBezTo>
                <a:cubicBezTo>
                  <a:pt x="43" y="136"/>
                  <a:pt x="47" y="132"/>
                  <a:pt x="51" y="132"/>
                </a:cubicBezTo>
                <a:cubicBezTo>
                  <a:pt x="67" y="132"/>
                  <a:pt x="68" y="158"/>
                  <a:pt x="68" y="158"/>
                </a:cubicBezTo>
                <a:cubicBezTo>
                  <a:pt x="68" y="158"/>
                  <a:pt x="67" y="183"/>
                  <a:pt x="51" y="183"/>
                </a:cubicBezTo>
                <a:cubicBezTo>
                  <a:pt x="47" y="183"/>
                  <a:pt x="43" y="180"/>
                  <a:pt x="38" y="177"/>
                </a:cubicBezTo>
                <a:cubicBezTo>
                  <a:pt x="32" y="172"/>
                  <a:pt x="25" y="167"/>
                  <a:pt x="17" y="167"/>
                </a:cubicBezTo>
                <a:cubicBezTo>
                  <a:pt x="9" y="167"/>
                  <a:pt x="3" y="172"/>
                  <a:pt x="0" y="181"/>
                </a:cubicBezTo>
                <a:cubicBezTo>
                  <a:pt x="0" y="182"/>
                  <a:pt x="0" y="182"/>
                  <a:pt x="0" y="183"/>
                </a:cubicBezTo>
                <a:cubicBezTo>
                  <a:pt x="0" y="196"/>
                  <a:pt x="0" y="196"/>
                  <a:pt x="0" y="196"/>
                </a:cubicBezTo>
                <a:cubicBezTo>
                  <a:pt x="0" y="216"/>
                  <a:pt x="4" y="235"/>
                  <a:pt x="11" y="253"/>
                </a:cubicBezTo>
                <a:cubicBezTo>
                  <a:pt x="11" y="253"/>
                  <a:pt x="11" y="253"/>
                  <a:pt x="11" y="253"/>
                </a:cubicBezTo>
                <a:cubicBezTo>
                  <a:pt x="12" y="256"/>
                  <a:pt x="13" y="257"/>
                  <a:pt x="16" y="258"/>
                </a:cubicBezTo>
                <a:cubicBezTo>
                  <a:pt x="18" y="259"/>
                  <a:pt x="20" y="259"/>
                  <a:pt x="22" y="258"/>
                </a:cubicBezTo>
                <a:cubicBezTo>
                  <a:pt x="22" y="257"/>
                  <a:pt x="41" y="248"/>
                  <a:pt x="72" y="248"/>
                </a:cubicBezTo>
                <a:cubicBezTo>
                  <a:pt x="83" y="248"/>
                  <a:pt x="83" y="248"/>
                  <a:pt x="83" y="248"/>
                </a:cubicBezTo>
                <a:cubicBezTo>
                  <a:pt x="85" y="248"/>
                  <a:pt x="85" y="249"/>
                  <a:pt x="85" y="249"/>
                </a:cubicBezTo>
                <a:cubicBezTo>
                  <a:pt x="85" y="252"/>
                  <a:pt x="81" y="256"/>
                  <a:pt x="79" y="260"/>
                </a:cubicBezTo>
                <a:cubicBezTo>
                  <a:pt x="74" y="267"/>
                  <a:pt x="69" y="274"/>
                  <a:pt x="69" y="283"/>
                </a:cubicBezTo>
                <a:cubicBezTo>
                  <a:pt x="69" y="307"/>
                  <a:pt x="94" y="316"/>
                  <a:pt x="110" y="316"/>
                </a:cubicBezTo>
                <a:cubicBezTo>
                  <a:pt x="127" y="316"/>
                  <a:pt x="152" y="307"/>
                  <a:pt x="152" y="283"/>
                </a:cubicBezTo>
                <a:cubicBezTo>
                  <a:pt x="152" y="274"/>
                  <a:pt x="146" y="267"/>
                  <a:pt x="142" y="260"/>
                </a:cubicBezTo>
                <a:cubicBezTo>
                  <a:pt x="139" y="256"/>
                  <a:pt x="136" y="252"/>
                  <a:pt x="136" y="249"/>
                </a:cubicBezTo>
                <a:cubicBezTo>
                  <a:pt x="136" y="249"/>
                  <a:pt x="136" y="248"/>
                  <a:pt x="137" y="248"/>
                </a:cubicBezTo>
                <a:cubicBezTo>
                  <a:pt x="148" y="248"/>
                  <a:pt x="148" y="248"/>
                  <a:pt x="148" y="248"/>
                </a:cubicBezTo>
                <a:cubicBezTo>
                  <a:pt x="179" y="248"/>
                  <a:pt x="198" y="257"/>
                  <a:pt x="198" y="258"/>
                </a:cubicBezTo>
                <a:cubicBezTo>
                  <a:pt x="200" y="259"/>
                  <a:pt x="203" y="259"/>
                  <a:pt x="205" y="258"/>
                </a:cubicBezTo>
                <a:cubicBezTo>
                  <a:pt x="207" y="257"/>
                  <a:pt x="209" y="256"/>
                  <a:pt x="209" y="253"/>
                </a:cubicBezTo>
                <a:cubicBezTo>
                  <a:pt x="210" y="253"/>
                  <a:pt x="210" y="253"/>
                  <a:pt x="210" y="253"/>
                </a:cubicBezTo>
                <a:cubicBezTo>
                  <a:pt x="217" y="235"/>
                  <a:pt x="220" y="216"/>
                  <a:pt x="220" y="196"/>
                </a:cubicBezTo>
                <a:cubicBezTo>
                  <a:pt x="220" y="183"/>
                  <a:pt x="220" y="183"/>
                  <a:pt x="220" y="183"/>
                </a:cubicBezTo>
                <a:cubicBezTo>
                  <a:pt x="220" y="182"/>
                  <a:pt x="220" y="182"/>
                  <a:pt x="220" y="181"/>
                </a:cubicBezTo>
                <a:cubicBezTo>
                  <a:pt x="217" y="172"/>
                  <a:pt x="211" y="167"/>
                  <a:pt x="203" y="167"/>
                </a:cubicBezTo>
                <a:cubicBezTo>
                  <a:pt x="195" y="167"/>
                  <a:pt x="188" y="172"/>
                  <a:pt x="183" y="177"/>
                </a:cubicBezTo>
                <a:cubicBezTo>
                  <a:pt x="178" y="180"/>
                  <a:pt x="173" y="183"/>
                  <a:pt x="170" y="183"/>
                </a:cubicBezTo>
                <a:cubicBezTo>
                  <a:pt x="153" y="183"/>
                  <a:pt x="153" y="158"/>
                  <a:pt x="153" y="158"/>
                </a:cubicBezTo>
                <a:cubicBezTo>
                  <a:pt x="153" y="158"/>
                  <a:pt x="153" y="132"/>
                  <a:pt x="170" y="132"/>
                </a:cubicBezTo>
                <a:close/>
                <a:moveTo>
                  <a:pt x="170" y="199"/>
                </a:moveTo>
                <a:cubicBezTo>
                  <a:pt x="179" y="199"/>
                  <a:pt x="186" y="194"/>
                  <a:pt x="192" y="189"/>
                </a:cubicBezTo>
                <a:cubicBezTo>
                  <a:pt x="196" y="187"/>
                  <a:pt x="200" y="183"/>
                  <a:pt x="203" y="183"/>
                </a:cubicBezTo>
                <a:cubicBezTo>
                  <a:pt x="203" y="183"/>
                  <a:pt x="204" y="183"/>
                  <a:pt x="204" y="185"/>
                </a:cubicBezTo>
                <a:cubicBezTo>
                  <a:pt x="204" y="196"/>
                  <a:pt x="204" y="196"/>
                  <a:pt x="204" y="196"/>
                </a:cubicBezTo>
                <a:cubicBezTo>
                  <a:pt x="204" y="211"/>
                  <a:pt x="202" y="226"/>
                  <a:pt x="197" y="240"/>
                </a:cubicBezTo>
                <a:cubicBezTo>
                  <a:pt x="188" y="236"/>
                  <a:pt x="171" y="232"/>
                  <a:pt x="148" y="232"/>
                </a:cubicBezTo>
                <a:cubicBezTo>
                  <a:pt x="136" y="232"/>
                  <a:pt x="136" y="232"/>
                  <a:pt x="136" y="232"/>
                </a:cubicBezTo>
                <a:cubicBezTo>
                  <a:pt x="135" y="232"/>
                  <a:pt x="134" y="232"/>
                  <a:pt x="133" y="232"/>
                </a:cubicBezTo>
                <a:cubicBezTo>
                  <a:pt x="125" y="235"/>
                  <a:pt x="120" y="241"/>
                  <a:pt x="120" y="249"/>
                </a:cubicBezTo>
                <a:cubicBezTo>
                  <a:pt x="120" y="257"/>
                  <a:pt x="125" y="264"/>
                  <a:pt x="129" y="270"/>
                </a:cubicBezTo>
                <a:cubicBezTo>
                  <a:pt x="132" y="274"/>
                  <a:pt x="136" y="279"/>
                  <a:pt x="136" y="283"/>
                </a:cubicBezTo>
                <a:cubicBezTo>
                  <a:pt x="136" y="299"/>
                  <a:pt x="110" y="300"/>
                  <a:pt x="110" y="300"/>
                </a:cubicBezTo>
                <a:cubicBezTo>
                  <a:pt x="110" y="300"/>
                  <a:pt x="85" y="299"/>
                  <a:pt x="85" y="283"/>
                </a:cubicBezTo>
                <a:cubicBezTo>
                  <a:pt x="85" y="279"/>
                  <a:pt x="88" y="274"/>
                  <a:pt x="91" y="270"/>
                </a:cubicBezTo>
                <a:cubicBezTo>
                  <a:pt x="96" y="264"/>
                  <a:pt x="101" y="257"/>
                  <a:pt x="101" y="249"/>
                </a:cubicBezTo>
                <a:cubicBezTo>
                  <a:pt x="101" y="241"/>
                  <a:pt x="96" y="235"/>
                  <a:pt x="87" y="232"/>
                </a:cubicBezTo>
                <a:cubicBezTo>
                  <a:pt x="86" y="232"/>
                  <a:pt x="86" y="232"/>
                  <a:pt x="85" y="232"/>
                </a:cubicBezTo>
                <a:cubicBezTo>
                  <a:pt x="72" y="232"/>
                  <a:pt x="72" y="232"/>
                  <a:pt x="72" y="232"/>
                </a:cubicBezTo>
                <a:cubicBezTo>
                  <a:pt x="49" y="232"/>
                  <a:pt x="32" y="236"/>
                  <a:pt x="23" y="240"/>
                </a:cubicBezTo>
                <a:cubicBezTo>
                  <a:pt x="18" y="226"/>
                  <a:pt x="16" y="211"/>
                  <a:pt x="16" y="196"/>
                </a:cubicBezTo>
                <a:cubicBezTo>
                  <a:pt x="16" y="185"/>
                  <a:pt x="16" y="185"/>
                  <a:pt x="16" y="185"/>
                </a:cubicBezTo>
                <a:cubicBezTo>
                  <a:pt x="17" y="183"/>
                  <a:pt x="17" y="183"/>
                  <a:pt x="17" y="183"/>
                </a:cubicBezTo>
                <a:cubicBezTo>
                  <a:pt x="20" y="183"/>
                  <a:pt x="24" y="187"/>
                  <a:pt x="28" y="189"/>
                </a:cubicBezTo>
                <a:cubicBezTo>
                  <a:pt x="35" y="194"/>
                  <a:pt x="42" y="199"/>
                  <a:pt x="51" y="199"/>
                </a:cubicBezTo>
                <a:cubicBezTo>
                  <a:pt x="75" y="199"/>
                  <a:pt x="84" y="174"/>
                  <a:pt x="84" y="158"/>
                </a:cubicBezTo>
                <a:cubicBezTo>
                  <a:pt x="84" y="141"/>
                  <a:pt x="75" y="116"/>
                  <a:pt x="51" y="116"/>
                </a:cubicBezTo>
                <a:cubicBezTo>
                  <a:pt x="42" y="116"/>
                  <a:pt x="35" y="122"/>
                  <a:pt x="28" y="126"/>
                </a:cubicBezTo>
                <a:cubicBezTo>
                  <a:pt x="24" y="129"/>
                  <a:pt x="20" y="132"/>
                  <a:pt x="17" y="132"/>
                </a:cubicBezTo>
                <a:cubicBezTo>
                  <a:pt x="17" y="132"/>
                  <a:pt x="17" y="132"/>
                  <a:pt x="16" y="131"/>
                </a:cubicBezTo>
                <a:cubicBezTo>
                  <a:pt x="16" y="120"/>
                  <a:pt x="16" y="120"/>
                  <a:pt x="16" y="120"/>
                </a:cubicBezTo>
                <a:cubicBezTo>
                  <a:pt x="16" y="104"/>
                  <a:pt x="18" y="89"/>
                  <a:pt x="23" y="76"/>
                </a:cubicBezTo>
                <a:cubicBezTo>
                  <a:pt x="32" y="79"/>
                  <a:pt x="49" y="84"/>
                  <a:pt x="72" y="84"/>
                </a:cubicBezTo>
                <a:cubicBezTo>
                  <a:pt x="85" y="84"/>
                  <a:pt x="85" y="84"/>
                  <a:pt x="85" y="84"/>
                </a:cubicBezTo>
                <a:cubicBezTo>
                  <a:pt x="86" y="84"/>
                  <a:pt x="86" y="84"/>
                  <a:pt x="87" y="83"/>
                </a:cubicBezTo>
                <a:cubicBezTo>
                  <a:pt x="96" y="81"/>
                  <a:pt x="101" y="74"/>
                  <a:pt x="101" y="66"/>
                </a:cubicBezTo>
                <a:cubicBezTo>
                  <a:pt x="101" y="58"/>
                  <a:pt x="96" y="52"/>
                  <a:pt x="91" y="46"/>
                </a:cubicBezTo>
                <a:cubicBezTo>
                  <a:pt x="88" y="41"/>
                  <a:pt x="85" y="37"/>
                  <a:pt x="85" y="33"/>
                </a:cubicBezTo>
                <a:cubicBezTo>
                  <a:pt x="85" y="16"/>
                  <a:pt x="110" y="16"/>
                  <a:pt x="110" y="16"/>
                </a:cubicBezTo>
                <a:cubicBezTo>
                  <a:pt x="110" y="16"/>
                  <a:pt x="136" y="16"/>
                  <a:pt x="136" y="33"/>
                </a:cubicBezTo>
                <a:cubicBezTo>
                  <a:pt x="136" y="37"/>
                  <a:pt x="132" y="41"/>
                  <a:pt x="129" y="46"/>
                </a:cubicBezTo>
                <a:cubicBezTo>
                  <a:pt x="125" y="52"/>
                  <a:pt x="120" y="58"/>
                  <a:pt x="120" y="66"/>
                </a:cubicBezTo>
                <a:cubicBezTo>
                  <a:pt x="120" y="74"/>
                  <a:pt x="125" y="81"/>
                  <a:pt x="133" y="83"/>
                </a:cubicBezTo>
                <a:cubicBezTo>
                  <a:pt x="134" y="84"/>
                  <a:pt x="135" y="84"/>
                  <a:pt x="136" y="84"/>
                </a:cubicBezTo>
                <a:cubicBezTo>
                  <a:pt x="148" y="84"/>
                  <a:pt x="148" y="84"/>
                  <a:pt x="148" y="84"/>
                </a:cubicBezTo>
                <a:cubicBezTo>
                  <a:pt x="171" y="84"/>
                  <a:pt x="188" y="79"/>
                  <a:pt x="197" y="76"/>
                </a:cubicBezTo>
                <a:cubicBezTo>
                  <a:pt x="202" y="89"/>
                  <a:pt x="204" y="104"/>
                  <a:pt x="204" y="120"/>
                </a:cubicBezTo>
                <a:cubicBezTo>
                  <a:pt x="204" y="131"/>
                  <a:pt x="204" y="131"/>
                  <a:pt x="204" y="131"/>
                </a:cubicBezTo>
                <a:cubicBezTo>
                  <a:pt x="204" y="132"/>
                  <a:pt x="203" y="132"/>
                  <a:pt x="203" y="132"/>
                </a:cubicBezTo>
                <a:cubicBezTo>
                  <a:pt x="200" y="132"/>
                  <a:pt x="196" y="129"/>
                  <a:pt x="192" y="126"/>
                </a:cubicBezTo>
                <a:cubicBezTo>
                  <a:pt x="186" y="122"/>
                  <a:pt x="179" y="116"/>
                  <a:pt x="170" y="116"/>
                </a:cubicBezTo>
                <a:cubicBezTo>
                  <a:pt x="145" y="116"/>
                  <a:pt x="137" y="141"/>
                  <a:pt x="137" y="158"/>
                </a:cubicBezTo>
                <a:cubicBezTo>
                  <a:pt x="137" y="174"/>
                  <a:pt x="145" y="199"/>
                  <a:pt x="170" y="199"/>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8"/>
          <p:cNvSpPr/>
          <p:nvPr/>
        </p:nvSpPr>
        <p:spPr>
          <a:xfrm>
            <a:off x="7876402" y="5781169"/>
            <a:ext cx="854721"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cs typeface="Arial" charset="0"/>
              </a:rPr>
              <a:t>Plugins</a:t>
            </a:r>
          </a:p>
        </p:txBody>
      </p:sp>
      <p:cxnSp>
        <p:nvCxnSpPr>
          <p:cNvPr id="20" name="Straight Connector 19"/>
          <p:cNvCxnSpPr/>
          <p:nvPr/>
        </p:nvCxnSpPr>
        <p:spPr bwMode="auto">
          <a:xfrm>
            <a:off x="6653870" y="5678497"/>
            <a:ext cx="364919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1" name="TextBox 20"/>
          <p:cNvSpPr txBox="1"/>
          <p:nvPr/>
        </p:nvSpPr>
        <p:spPr>
          <a:xfrm>
            <a:off x="6653871" y="5678497"/>
            <a:ext cx="886684" cy="33737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API</a:t>
            </a:r>
          </a:p>
        </p:txBody>
      </p:sp>
      <p:sp>
        <p:nvSpPr>
          <p:cNvPr id="22" name="TextBox 21"/>
          <p:cNvSpPr txBox="1"/>
          <p:nvPr/>
        </p:nvSpPr>
        <p:spPr>
          <a:xfrm>
            <a:off x="6648006" y="1596289"/>
            <a:ext cx="78899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Blueprint</a:t>
            </a:r>
          </a:p>
        </p:txBody>
      </p:sp>
      <p:sp>
        <p:nvSpPr>
          <p:cNvPr id="23" name="Freeform 18"/>
          <p:cNvSpPr>
            <a:spLocks/>
          </p:cNvSpPr>
          <p:nvPr/>
        </p:nvSpPr>
        <p:spPr bwMode="auto">
          <a:xfrm>
            <a:off x="524934" y="1121563"/>
            <a:ext cx="5402839" cy="3172937"/>
          </a:xfrm>
          <a:custGeom>
            <a:avLst/>
            <a:gdLst>
              <a:gd name="T0" fmla="*/ 2147483647 w 1919"/>
              <a:gd name="T1" fmla="*/ 2147483647 h 1328"/>
              <a:gd name="T2" fmla="*/ 2147483647 w 1919"/>
              <a:gd name="T3" fmla="*/ 2147483647 h 1328"/>
              <a:gd name="T4" fmla="*/ 2147483647 w 1919"/>
              <a:gd name="T5" fmla="*/ 2147483647 h 1328"/>
              <a:gd name="T6" fmla="*/ 2147483647 w 1919"/>
              <a:gd name="T7" fmla="*/ 2147483647 h 1328"/>
              <a:gd name="T8" fmla="*/ 2147483647 w 1919"/>
              <a:gd name="T9" fmla="*/ 2147483647 h 1328"/>
              <a:gd name="T10" fmla="*/ 2147483647 w 1919"/>
              <a:gd name="T11" fmla="*/ 2147483647 h 1328"/>
              <a:gd name="T12" fmla="*/ 2147483647 w 1919"/>
              <a:gd name="T13" fmla="*/ 2147483647 h 1328"/>
              <a:gd name="T14" fmla="*/ 2147483647 w 1919"/>
              <a:gd name="T15" fmla="*/ 2147483647 h 1328"/>
              <a:gd name="T16" fmla="*/ 2147483647 w 1919"/>
              <a:gd name="T17" fmla="*/ 2147483647 h 1328"/>
              <a:gd name="T18" fmla="*/ 2147483647 w 1919"/>
              <a:gd name="T19" fmla="*/ 2147483647 h 1328"/>
              <a:gd name="T20" fmla="*/ 2147483647 w 1919"/>
              <a:gd name="T21" fmla="*/ 2147483647 h 1328"/>
              <a:gd name="T22" fmla="*/ 2147483647 w 1919"/>
              <a:gd name="T23" fmla="*/ 0 h 1328"/>
              <a:gd name="T24" fmla="*/ 2147483647 w 1919"/>
              <a:gd name="T25" fmla="*/ 0 h 1328"/>
              <a:gd name="T26" fmla="*/ 0 w 1919"/>
              <a:gd name="T27" fmla="*/ 2147483647 h 1328"/>
              <a:gd name="T28" fmla="*/ 0 w 1919"/>
              <a:gd name="T29" fmla="*/ 2147483647 h 1328"/>
              <a:gd name="T30" fmla="*/ 2147483647 w 1919"/>
              <a:gd name="T31" fmla="*/ 2147483647 h 1328"/>
              <a:gd name="T32" fmla="*/ 2147483647 w 1919"/>
              <a:gd name="T33" fmla="*/ 2147483647 h 1328"/>
              <a:gd name="T34" fmla="*/ 2147483647 w 1919"/>
              <a:gd name="T35" fmla="*/ 2147483647 h 1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9"/>
              <a:gd name="T55" fmla="*/ 0 h 1328"/>
              <a:gd name="T56" fmla="*/ 1919 w 1919"/>
              <a:gd name="T57" fmla="*/ 1328 h 1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9" h="1328">
                <a:moveTo>
                  <a:pt x="1687" y="741"/>
                </a:moveTo>
                <a:cubicBezTo>
                  <a:pt x="1763" y="741"/>
                  <a:pt x="1763" y="741"/>
                  <a:pt x="1763" y="741"/>
                </a:cubicBezTo>
                <a:cubicBezTo>
                  <a:pt x="1763" y="758"/>
                  <a:pt x="1763" y="758"/>
                  <a:pt x="1763" y="758"/>
                </a:cubicBezTo>
                <a:cubicBezTo>
                  <a:pt x="1762" y="784"/>
                  <a:pt x="1783" y="775"/>
                  <a:pt x="1783" y="775"/>
                </a:cubicBezTo>
                <a:cubicBezTo>
                  <a:pt x="1783" y="775"/>
                  <a:pt x="1871" y="710"/>
                  <a:pt x="1898" y="685"/>
                </a:cubicBezTo>
                <a:cubicBezTo>
                  <a:pt x="1919" y="666"/>
                  <a:pt x="1898" y="652"/>
                  <a:pt x="1898" y="652"/>
                </a:cubicBezTo>
                <a:cubicBezTo>
                  <a:pt x="1898" y="652"/>
                  <a:pt x="1813" y="586"/>
                  <a:pt x="1789" y="567"/>
                </a:cubicBezTo>
                <a:cubicBezTo>
                  <a:pt x="1764" y="549"/>
                  <a:pt x="1763" y="576"/>
                  <a:pt x="1763" y="576"/>
                </a:cubicBezTo>
                <a:cubicBezTo>
                  <a:pt x="1763" y="597"/>
                  <a:pt x="1763" y="597"/>
                  <a:pt x="1763" y="597"/>
                </a:cubicBezTo>
                <a:cubicBezTo>
                  <a:pt x="1686" y="596"/>
                  <a:pt x="1686" y="596"/>
                  <a:pt x="1686" y="596"/>
                </a:cubicBezTo>
                <a:cubicBezTo>
                  <a:pt x="1686" y="36"/>
                  <a:pt x="1686" y="36"/>
                  <a:pt x="1686" y="36"/>
                </a:cubicBezTo>
                <a:cubicBezTo>
                  <a:pt x="1686" y="16"/>
                  <a:pt x="1670" y="0"/>
                  <a:pt x="1649" y="0"/>
                </a:cubicBezTo>
                <a:cubicBezTo>
                  <a:pt x="37" y="0"/>
                  <a:pt x="37" y="0"/>
                  <a:pt x="37" y="0"/>
                </a:cubicBezTo>
                <a:cubicBezTo>
                  <a:pt x="16" y="0"/>
                  <a:pt x="0" y="16"/>
                  <a:pt x="0" y="36"/>
                </a:cubicBezTo>
                <a:cubicBezTo>
                  <a:pt x="0" y="1292"/>
                  <a:pt x="0" y="1292"/>
                  <a:pt x="0" y="1292"/>
                </a:cubicBezTo>
                <a:cubicBezTo>
                  <a:pt x="0" y="1312"/>
                  <a:pt x="16" y="1328"/>
                  <a:pt x="37" y="1328"/>
                </a:cubicBezTo>
                <a:cubicBezTo>
                  <a:pt x="1649" y="1328"/>
                  <a:pt x="1649" y="1328"/>
                  <a:pt x="1649" y="1328"/>
                </a:cubicBezTo>
                <a:cubicBezTo>
                  <a:pt x="1670" y="1328"/>
                  <a:pt x="1686" y="1312"/>
                  <a:pt x="1686" y="1292"/>
                </a:cubicBezTo>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lIns="182880" tIns="182880" rIns="1044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Based 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chemeClr val="bg1"/>
                </a:solidFill>
                <a:effectLst/>
                <a:uLnTx/>
                <a:uFillTx/>
              </a:rPr>
              <a:t>A generic and domain agnostic modelling language and package format, focusing on driving orchestration of  systems with complex inter-dependenc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chemeClr val="bg1"/>
                </a:solidFill>
                <a:effectLst/>
                <a:uLnTx/>
                <a:uFillTx/>
              </a:rPr>
              <a:t>Declarative model, models the desired state(s) (e.g. connect an SMF to N4 VPN) decoupled from the realization (e.g. the configuration protocols)</a:t>
            </a:r>
          </a:p>
        </p:txBody>
      </p:sp>
      <p:sp>
        <p:nvSpPr>
          <p:cNvPr id="24" name="Down Arrow 35"/>
          <p:cNvSpPr/>
          <p:nvPr/>
        </p:nvSpPr>
        <p:spPr bwMode="auto">
          <a:xfrm>
            <a:off x="7377374" y="3724096"/>
            <a:ext cx="763208" cy="414307"/>
          </a:xfrm>
          <a:prstGeom prst="downArrow">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5" name="Freeform 18"/>
          <p:cNvSpPr>
            <a:spLocks/>
          </p:cNvSpPr>
          <p:nvPr/>
        </p:nvSpPr>
        <p:spPr bwMode="auto">
          <a:xfrm>
            <a:off x="524934" y="4362118"/>
            <a:ext cx="5402840" cy="1987530"/>
          </a:xfrm>
          <a:custGeom>
            <a:avLst/>
            <a:gdLst>
              <a:gd name="T0" fmla="*/ 2147483647 w 1919"/>
              <a:gd name="T1" fmla="*/ 2147483647 h 1328"/>
              <a:gd name="T2" fmla="*/ 2147483647 w 1919"/>
              <a:gd name="T3" fmla="*/ 2147483647 h 1328"/>
              <a:gd name="T4" fmla="*/ 2147483647 w 1919"/>
              <a:gd name="T5" fmla="*/ 2147483647 h 1328"/>
              <a:gd name="T6" fmla="*/ 2147483647 w 1919"/>
              <a:gd name="T7" fmla="*/ 2147483647 h 1328"/>
              <a:gd name="T8" fmla="*/ 2147483647 w 1919"/>
              <a:gd name="T9" fmla="*/ 2147483647 h 1328"/>
              <a:gd name="T10" fmla="*/ 2147483647 w 1919"/>
              <a:gd name="T11" fmla="*/ 2147483647 h 1328"/>
              <a:gd name="T12" fmla="*/ 2147483647 w 1919"/>
              <a:gd name="T13" fmla="*/ 2147483647 h 1328"/>
              <a:gd name="T14" fmla="*/ 2147483647 w 1919"/>
              <a:gd name="T15" fmla="*/ 2147483647 h 1328"/>
              <a:gd name="T16" fmla="*/ 2147483647 w 1919"/>
              <a:gd name="T17" fmla="*/ 2147483647 h 1328"/>
              <a:gd name="T18" fmla="*/ 2147483647 w 1919"/>
              <a:gd name="T19" fmla="*/ 2147483647 h 1328"/>
              <a:gd name="T20" fmla="*/ 2147483647 w 1919"/>
              <a:gd name="T21" fmla="*/ 2147483647 h 1328"/>
              <a:gd name="T22" fmla="*/ 2147483647 w 1919"/>
              <a:gd name="T23" fmla="*/ 0 h 1328"/>
              <a:gd name="T24" fmla="*/ 2147483647 w 1919"/>
              <a:gd name="T25" fmla="*/ 0 h 1328"/>
              <a:gd name="T26" fmla="*/ 0 w 1919"/>
              <a:gd name="T27" fmla="*/ 2147483647 h 1328"/>
              <a:gd name="T28" fmla="*/ 0 w 1919"/>
              <a:gd name="T29" fmla="*/ 2147483647 h 1328"/>
              <a:gd name="T30" fmla="*/ 2147483647 w 1919"/>
              <a:gd name="T31" fmla="*/ 2147483647 h 1328"/>
              <a:gd name="T32" fmla="*/ 2147483647 w 1919"/>
              <a:gd name="T33" fmla="*/ 2147483647 h 1328"/>
              <a:gd name="T34" fmla="*/ 2147483647 w 1919"/>
              <a:gd name="T35" fmla="*/ 2147483647 h 1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9"/>
              <a:gd name="T55" fmla="*/ 0 h 1328"/>
              <a:gd name="T56" fmla="*/ 1919 w 1919"/>
              <a:gd name="T57" fmla="*/ 1328 h 1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9" h="1328">
                <a:moveTo>
                  <a:pt x="1687" y="741"/>
                </a:moveTo>
                <a:cubicBezTo>
                  <a:pt x="1763" y="741"/>
                  <a:pt x="1763" y="741"/>
                  <a:pt x="1763" y="741"/>
                </a:cubicBezTo>
                <a:cubicBezTo>
                  <a:pt x="1763" y="758"/>
                  <a:pt x="1763" y="758"/>
                  <a:pt x="1763" y="758"/>
                </a:cubicBezTo>
                <a:cubicBezTo>
                  <a:pt x="1762" y="784"/>
                  <a:pt x="1783" y="775"/>
                  <a:pt x="1783" y="775"/>
                </a:cubicBezTo>
                <a:cubicBezTo>
                  <a:pt x="1783" y="775"/>
                  <a:pt x="1871" y="710"/>
                  <a:pt x="1898" y="685"/>
                </a:cubicBezTo>
                <a:cubicBezTo>
                  <a:pt x="1919" y="666"/>
                  <a:pt x="1898" y="652"/>
                  <a:pt x="1898" y="652"/>
                </a:cubicBezTo>
                <a:cubicBezTo>
                  <a:pt x="1898" y="652"/>
                  <a:pt x="1813" y="586"/>
                  <a:pt x="1789" y="567"/>
                </a:cubicBezTo>
                <a:cubicBezTo>
                  <a:pt x="1764" y="549"/>
                  <a:pt x="1763" y="576"/>
                  <a:pt x="1763" y="576"/>
                </a:cubicBezTo>
                <a:cubicBezTo>
                  <a:pt x="1763" y="597"/>
                  <a:pt x="1763" y="597"/>
                  <a:pt x="1763" y="597"/>
                </a:cubicBezTo>
                <a:cubicBezTo>
                  <a:pt x="1686" y="596"/>
                  <a:pt x="1686" y="596"/>
                  <a:pt x="1686" y="596"/>
                </a:cubicBezTo>
                <a:cubicBezTo>
                  <a:pt x="1686" y="36"/>
                  <a:pt x="1686" y="36"/>
                  <a:pt x="1686" y="36"/>
                </a:cubicBezTo>
                <a:cubicBezTo>
                  <a:pt x="1686" y="16"/>
                  <a:pt x="1670" y="0"/>
                  <a:pt x="1649" y="0"/>
                </a:cubicBezTo>
                <a:cubicBezTo>
                  <a:pt x="37" y="0"/>
                  <a:pt x="37" y="0"/>
                  <a:pt x="37" y="0"/>
                </a:cubicBezTo>
                <a:cubicBezTo>
                  <a:pt x="16" y="0"/>
                  <a:pt x="0" y="16"/>
                  <a:pt x="0" y="36"/>
                </a:cubicBezTo>
                <a:cubicBezTo>
                  <a:pt x="0" y="1292"/>
                  <a:pt x="0" y="1292"/>
                  <a:pt x="0" y="1292"/>
                </a:cubicBezTo>
                <a:cubicBezTo>
                  <a:pt x="0" y="1312"/>
                  <a:pt x="16" y="1328"/>
                  <a:pt x="37" y="1328"/>
                </a:cubicBezTo>
                <a:cubicBezTo>
                  <a:pt x="1649" y="1328"/>
                  <a:pt x="1649" y="1328"/>
                  <a:pt x="1649" y="1328"/>
                </a:cubicBezTo>
                <a:cubicBezTo>
                  <a:pt x="1670" y="1328"/>
                  <a:pt x="1686" y="1312"/>
                  <a:pt x="1686" y="1292"/>
                </a:cubicBezTo>
              </a:path>
            </a:pathLst>
          </a:custGeom>
          <a:solidFill>
            <a:schemeClr val="accent1">
              <a:lumMod val="75000"/>
            </a:schemeClr>
          </a:solidFill>
          <a:ln>
            <a:noFill/>
          </a:ln>
          <a:extLst/>
        </p:spPr>
        <p:txBody>
          <a:bodyPr lIns="182880" tIns="182880" rIns="1044000"/>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dirty="0">
                <a:solidFill>
                  <a:schemeClr val="bg1"/>
                </a:solidFill>
              </a:rPr>
              <a:t>O</a:t>
            </a:r>
            <a:r>
              <a:rPr kumimoji="0" lang="en-US" sz="1800" b="0" i="0" u="none" strike="noStrike" kern="0" cap="none" spc="0" normalizeH="0" baseline="0" noProof="0" dirty="0" err="1">
                <a:ln>
                  <a:noFill/>
                </a:ln>
                <a:solidFill>
                  <a:schemeClr val="bg1"/>
                </a:solidFill>
                <a:effectLst/>
                <a:uLnTx/>
                <a:uFillTx/>
              </a:rPr>
              <a:t>rchestrator</a:t>
            </a:r>
            <a:r>
              <a:rPr kumimoji="0" lang="en-US" sz="1800" b="0" i="0" u="none" strike="noStrike" kern="0" cap="none" spc="0" normalizeH="0" baseline="0" noProof="0" dirty="0">
                <a:ln>
                  <a:noFill/>
                </a:ln>
                <a:solidFill>
                  <a:schemeClr val="bg1"/>
                </a:solidFill>
                <a:effectLst/>
                <a:uLnTx/>
                <a:uFillTx/>
              </a:rPr>
              <a:t> assump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chemeClr val="bg1"/>
                </a:solidFill>
                <a:effectLst/>
                <a:uLnTx/>
                <a:uFillTx/>
              </a:rPr>
              <a:t>Supports generic and domain agnostic workflows, driven by the given model/templat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chemeClr val="bg1"/>
                </a:solidFill>
                <a:effectLst/>
                <a:uLnTx/>
                <a:uFillTx/>
              </a:rPr>
              <a:t>Can be customized/extended through plugi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26" name="Rectangle 25"/>
          <p:cNvSpPr/>
          <p:nvPr/>
        </p:nvSpPr>
        <p:spPr>
          <a:xfrm>
            <a:off x="8959239" y="1121562"/>
            <a:ext cx="2876508" cy="2031325"/>
          </a:xfrm>
          <a:prstGeom prst="rect">
            <a:avLst/>
          </a:prstGeom>
          <a:solidFill>
            <a:srgbClr val="FFFFFF"/>
          </a:solidFill>
          <a:ln>
            <a:solidFill>
              <a:schemeClr val="tx1"/>
            </a:solidFill>
            <a:prstDash val="dash"/>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err="1">
                <a:ln>
                  <a:noFill/>
                </a:ln>
                <a:solidFill>
                  <a:sysClr val="windowText" lastClr="000000"/>
                </a:solidFill>
                <a:effectLst/>
                <a:uLnTx/>
                <a:uFillTx/>
              </a:rPr>
              <a:t>vSMF</a:t>
            </a:r>
            <a:r>
              <a:rPr kumimoji="0" lang="en-US" sz="1050" b="0" i="1" u="none" strike="noStrike" kern="0" cap="none" spc="0" normalizeH="0" baseline="0" noProof="0" dirty="0">
                <a:ln>
                  <a:noFill/>
                </a:ln>
                <a:solidFill>
                  <a:sysClr val="windowText" lastClr="000000"/>
                </a:solidFill>
                <a:effectLst/>
                <a:uLnTx/>
                <a:uFillTx/>
              </a:rPr>
              <a:t>:</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type: </a:t>
            </a:r>
            <a:r>
              <a:rPr kumimoji="0" lang="en-US" sz="1050" b="0" i="1" u="none" strike="noStrike" kern="0" cap="none" spc="0" normalizeH="0" baseline="0" noProof="0" dirty="0" err="1">
                <a:ln>
                  <a:noFill/>
                </a:ln>
                <a:solidFill>
                  <a:sysClr val="windowText" lastClr="000000"/>
                </a:solidFill>
                <a:effectLst/>
                <a:uLnTx/>
                <a:uFillTx/>
              </a:rPr>
              <a:t>ericsson.nodes.SMF</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properties:</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a:t>
            </a:r>
            <a:r>
              <a:rPr kumimoji="0" lang="en-US" sz="1050" b="0" i="1" u="none" strike="noStrike" kern="0" cap="none" spc="0" normalizeH="0" baseline="0" noProof="0" dirty="0" err="1">
                <a:ln>
                  <a:noFill/>
                </a:ln>
                <a:solidFill>
                  <a:sysClr val="windowText" lastClr="000000"/>
                </a:solidFill>
                <a:effectLst/>
                <a:uLnTx/>
                <a:uFillTx/>
              </a:rPr>
              <a:t>vimZoneName</a:t>
            </a:r>
            <a:r>
              <a:rPr kumimoji="0" lang="en-US" sz="1050" b="0" i="1" u="none" strike="noStrike" kern="0" cap="none" spc="0" normalizeH="0" baseline="0" noProof="0" dirty="0">
                <a:ln>
                  <a:noFill/>
                </a:ln>
                <a:solidFill>
                  <a:sysClr val="windowText" lastClr="000000"/>
                </a:solidFill>
                <a:effectLst/>
                <a:uLnTx/>
                <a:uFillTx/>
              </a:rPr>
              <a:t>: { </a:t>
            </a:r>
            <a:r>
              <a:rPr kumimoji="0" lang="en-US" sz="1050" b="0" i="1" u="none" strike="noStrike" kern="0" cap="none" spc="0" normalizeH="0" baseline="0" noProof="0" dirty="0" err="1">
                <a:ln>
                  <a:noFill/>
                </a:ln>
                <a:solidFill>
                  <a:sysClr val="windowText" lastClr="000000"/>
                </a:solidFill>
                <a:effectLst/>
                <a:uLnTx/>
                <a:uFillTx/>
              </a:rPr>
              <a:t>get_input</a:t>
            </a:r>
            <a:r>
              <a:rPr kumimoji="0" lang="en-US" sz="1050" b="0" i="1" u="none" strike="noStrike" kern="0" cap="none" spc="0" normalizeH="0" baseline="0" noProof="0" dirty="0">
                <a:ln>
                  <a:noFill/>
                </a:ln>
                <a:solidFill>
                  <a:sysClr val="windowText" lastClr="000000"/>
                </a:solidFill>
                <a:effectLst/>
                <a:uLnTx/>
                <a:uFillTx/>
              </a:rPr>
              <a:t>: </a:t>
            </a:r>
            <a:r>
              <a:rPr kumimoji="0" lang="en-US" sz="1050" b="0" i="1" u="none" strike="noStrike" kern="0" cap="none" spc="0" normalizeH="0" baseline="0" noProof="0" dirty="0" err="1">
                <a:ln>
                  <a:noFill/>
                </a:ln>
                <a:solidFill>
                  <a:sysClr val="windowText" lastClr="000000"/>
                </a:solidFill>
                <a:effectLst/>
                <a:uLnTx/>
                <a:uFillTx/>
              </a:rPr>
              <a:t>vSMF_VIM</a:t>
            </a:r>
            <a:r>
              <a:rPr kumimoji="0" lang="en-US" sz="1050" b="0" i="1" u="none" strike="noStrike" kern="0" cap="none" spc="0" normalizeH="0" baseline="0" noProof="0" dirty="0">
                <a:ln>
                  <a:noFill/>
                </a:ln>
                <a:solidFill>
                  <a:sysClr val="windowText" lastClr="000000"/>
                </a:solidFill>
                <a:effectLst/>
                <a:uLnTx/>
                <a:uFillTx/>
              </a:rPr>
              <a:t> }</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a:t>
            </a:r>
            <a:r>
              <a:rPr kumimoji="0" lang="en-US" sz="1050" b="0" i="1" u="none" strike="noStrike" kern="0" cap="none" spc="0" normalizeH="0" baseline="0" noProof="0" dirty="0" err="1">
                <a:ln>
                  <a:noFill/>
                </a:ln>
                <a:solidFill>
                  <a:sysClr val="windowText" lastClr="000000"/>
                </a:solidFill>
                <a:effectLst/>
                <a:uLnTx/>
                <a:uFillTx/>
              </a:rPr>
              <a:t>MobileCountryCode</a:t>
            </a:r>
            <a:r>
              <a:rPr kumimoji="0" lang="en-US" sz="1050" b="0" i="1" u="none" strike="noStrike" kern="0" cap="none" spc="0" normalizeH="0" baseline="0" noProof="0" dirty="0">
                <a:ln>
                  <a:noFill/>
                </a:ln>
                <a:solidFill>
                  <a:sysClr val="windowText" lastClr="000000"/>
                </a:solidFill>
                <a:effectLst/>
                <a:uLnTx/>
                <a:uFillTx/>
              </a:rPr>
              <a:t> : 240</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relationships:</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 type: </a:t>
            </a:r>
            <a:r>
              <a:rPr kumimoji="0" lang="en-US" sz="1050" b="0" i="1" u="none" strike="noStrike" kern="0" cap="none" spc="0" normalizeH="0" baseline="0" noProof="0" dirty="0" err="1">
                <a:ln>
                  <a:noFill/>
                </a:ln>
                <a:solidFill>
                  <a:sysClr val="windowText" lastClr="000000"/>
                </a:solidFill>
                <a:effectLst/>
                <a:uLnTx/>
                <a:uFillTx/>
              </a:rPr>
              <a:t>ericsson.relationships.vnf_to_vnf</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target: </a:t>
            </a:r>
            <a:r>
              <a:rPr kumimoji="0" lang="en-US" sz="1050" b="0" i="1" u="none" strike="noStrike" kern="0" cap="none" spc="0" normalizeH="0" baseline="0" noProof="0" dirty="0" err="1">
                <a:ln>
                  <a:noFill/>
                </a:ln>
                <a:solidFill>
                  <a:sysClr val="windowText" lastClr="000000"/>
                </a:solidFill>
                <a:effectLst/>
                <a:uLnTx/>
                <a:uFillTx/>
              </a:rPr>
              <a:t>vUPF</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 type: </a:t>
            </a:r>
            <a:r>
              <a:rPr kumimoji="0" lang="en-US" sz="1050" b="0" i="1" u="none" strike="noStrike" kern="0" cap="none" spc="0" normalizeH="0" baseline="0" noProof="0" dirty="0" err="1">
                <a:ln>
                  <a:noFill/>
                </a:ln>
                <a:solidFill>
                  <a:sysClr val="windowText" lastClr="000000"/>
                </a:solidFill>
                <a:effectLst/>
                <a:uLnTx/>
                <a:uFillTx/>
              </a:rPr>
              <a:t>ericsson.relationships.vnf_to_vrf</a:t>
            </a: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sysClr val="windowText" lastClr="000000"/>
                </a:solidFill>
                <a:effectLst/>
                <a:uLnTx/>
                <a:uFillTx/>
              </a:rPr>
              <a:t>        target: </a:t>
            </a:r>
            <a:r>
              <a:rPr kumimoji="0" lang="en-US" sz="1050" b="0" i="1" u="none" strike="noStrike" kern="0" cap="none" spc="0" normalizeH="0" baseline="0" noProof="0" dirty="0" err="1">
                <a:ln>
                  <a:noFill/>
                </a:ln>
                <a:solidFill>
                  <a:sysClr val="windowText" lastClr="000000"/>
                </a:solidFill>
                <a:effectLst/>
                <a:uLnTx/>
                <a:uFillTx/>
              </a:rPr>
              <a:t>default.vpn</a:t>
            </a:r>
            <a:endParaRPr kumimoji="0" lang="en-US" sz="1050" b="0" i="0" u="none" strike="noStrike" kern="0" cap="none" spc="0" normalizeH="0" baseline="0" noProof="0" dirty="0">
              <a:ln>
                <a:noFill/>
              </a:ln>
              <a:solidFill>
                <a:sysClr val="windowText" lastClr="000000"/>
              </a:solidFill>
              <a:effectLst/>
              <a:uLnTx/>
              <a:uFillTx/>
            </a:endParaRPr>
          </a:p>
        </p:txBody>
      </p:sp>
      <p:cxnSp>
        <p:nvCxnSpPr>
          <p:cNvPr id="27" name="Straight Connector 26"/>
          <p:cNvCxnSpPr/>
          <p:nvPr/>
        </p:nvCxnSpPr>
        <p:spPr bwMode="auto">
          <a:xfrm flipH="1">
            <a:off x="7976897" y="1121563"/>
            <a:ext cx="982341" cy="980193"/>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28" name="Straight Connector 27"/>
          <p:cNvCxnSpPr/>
          <p:nvPr/>
        </p:nvCxnSpPr>
        <p:spPr bwMode="auto">
          <a:xfrm flipH="1" flipV="1">
            <a:off x="7976897" y="2713351"/>
            <a:ext cx="982341" cy="1301022"/>
          </a:xfrm>
          <a:prstGeom prst="line">
            <a:avLst/>
          </a:prstGeom>
          <a:solidFill>
            <a:schemeClr val="accent1"/>
          </a:solidFill>
          <a:ln w="12700"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487484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0"/>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pPr lvl="0">
              <a:defRPr/>
            </a:pPr>
            <a:r>
              <a:rPr lang="en-US" altLang="en-US" dirty="0">
                <a:solidFill>
                  <a:schemeClr val="bg1"/>
                </a:solidFill>
                <a:latin typeface="Ericsson Capital TT" pitchFamily="2" charset="0"/>
              </a:rPr>
              <a:t>5g core – key concepts</a:t>
            </a:r>
          </a:p>
        </p:txBody>
      </p:sp>
      <p:pic>
        <p:nvPicPr>
          <p:cNvPr id="7204" name="Picture 6" descr="ECON_whit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ed Rectangle 4"/>
          <p:cNvSpPr>
            <a:spLocks noChangeArrowheads="1"/>
          </p:cNvSpPr>
          <p:nvPr/>
        </p:nvSpPr>
        <p:spPr bwMode="auto">
          <a:xfrm>
            <a:off x="2508250" y="2413000"/>
            <a:ext cx="7440613" cy="1317625"/>
          </a:xfrm>
          <a:prstGeom prst="roundRect">
            <a:avLst>
              <a:gd name="adj" fmla="val 1491"/>
            </a:avLst>
          </a:prstGeom>
          <a:noFill/>
          <a:ln>
            <a:noFill/>
          </a:ln>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sv-SE" sz="2000" b="0" i="0" u="none" strike="noStrike" kern="0" cap="none" spc="0" normalizeH="0" baseline="0" noProof="0">
              <a:ln>
                <a:noFill/>
              </a:ln>
              <a:solidFill>
                <a:srgbClr val="58585A"/>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7" name="Group 7"/>
          <p:cNvGrpSpPr>
            <a:grpSpLocks/>
          </p:cNvGrpSpPr>
          <p:nvPr>
            <p:custDataLst>
              <p:tags r:id="rId1"/>
            </p:custDataLst>
          </p:nvPr>
        </p:nvGrpSpPr>
        <p:grpSpPr bwMode="auto">
          <a:xfrm>
            <a:off x="642950" y="4413051"/>
            <a:ext cx="785359" cy="548096"/>
            <a:chOff x="1554162" y="4567970"/>
            <a:chExt cx="760413" cy="549275"/>
          </a:xfrm>
          <a:solidFill>
            <a:srgbClr val="FFFFFF"/>
          </a:solidFill>
        </p:grpSpPr>
        <p:sp>
          <p:nvSpPr>
            <p:cNvPr id="84" name="Freeform 3"/>
            <p:cNvSpPr>
              <a:spLocks noChangeAspect="1" noEditPoints="1"/>
            </p:cNvSpPr>
            <p:nvPr/>
          </p:nvSpPr>
          <p:spPr bwMode="auto">
            <a:xfrm>
              <a:off x="1554162" y="4567970"/>
              <a:ext cx="760413" cy="549275"/>
            </a:xfrm>
            <a:custGeom>
              <a:avLst/>
              <a:gdLst>
                <a:gd name="T0" fmla="*/ 2147483647 w 368"/>
                <a:gd name="T1" fmla="*/ 0 h 296"/>
                <a:gd name="T2" fmla="*/ 2147483647 w 368"/>
                <a:gd name="T3" fmla="*/ 2147483647 h 296"/>
                <a:gd name="T4" fmla="*/ 2147483647 w 368"/>
                <a:gd name="T5" fmla="*/ 2147483647 h 296"/>
                <a:gd name="T6" fmla="*/ 2147483647 w 368"/>
                <a:gd name="T7" fmla="*/ 2147483647 h 296"/>
                <a:gd name="T8" fmla="*/ 2147483647 w 368"/>
                <a:gd name="T9" fmla="*/ 2147483647 h 296"/>
                <a:gd name="T10" fmla="*/ 2147483647 w 368"/>
                <a:gd name="T11" fmla="*/ 2147483647 h 296"/>
                <a:gd name="T12" fmla="*/ 2147483647 w 368"/>
                <a:gd name="T13" fmla="*/ 2147483647 h 296"/>
                <a:gd name="T14" fmla="*/ 2147483647 w 368"/>
                <a:gd name="T15" fmla="*/ 2147483647 h 296"/>
                <a:gd name="T16" fmla="*/ 2147483647 w 368"/>
                <a:gd name="T17" fmla="*/ 2147483647 h 296"/>
                <a:gd name="T18" fmla="*/ 2147483647 w 368"/>
                <a:gd name="T19" fmla="*/ 2147483647 h 296"/>
                <a:gd name="T20" fmla="*/ 2147483647 w 368"/>
                <a:gd name="T21" fmla="*/ 2147483647 h 296"/>
                <a:gd name="T22" fmla="*/ 2147483647 w 368"/>
                <a:gd name="T23" fmla="*/ 2147483647 h 296"/>
                <a:gd name="T24" fmla="*/ 2147483647 w 368"/>
                <a:gd name="T25" fmla="*/ 2147483647 h 296"/>
                <a:gd name="T26" fmla="*/ 2147483647 w 368"/>
                <a:gd name="T27" fmla="*/ 2147483647 h 296"/>
                <a:gd name="T28" fmla="*/ 2147483647 w 368"/>
                <a:gd name="T29" fmla="*/ 2147483647 h 296"/>
                <a:gd name="T30" fmla="*/ 2147483647 w 368"/>
                <a:gd name="T31" fmla="*/ 2147483647 h 296"/>
                <a:gd name="T32" fmla="*/ 2147483647 w 368"/>
                <a:gd name="T33" fmla="*/ 2147483647 h 296"/>
                <a:gd name="T34" fmla="*/ 2147483647 w 368"/>
                <a:gd name="T35" fmla="*/ 2147483647 h 296"/>
                <a:gd name="T36" fmla="*/ 2147483647 w 368"/>
                <a:gd name="T37" fmla="*/ 2147483647 h 296"/>
                <a:gd name="T38" fmla="*/ 2147483647 w 368"/>
                <a:gd name="T39" fmla="*/ 2147483647 h 296"/>
                <a:gd name="T40" fmla="*/ 2147483647 w 368"/>
                <a:gd name="T41" fmla="*/ 2147483647 h 296"/>
                <a:gd name="T42" fmla="*/ 2147483647 w 368"/>
                <a:gd name="T43" fmla="*/ 2147483647 h 296"/>
                <a:gd name="T44" fmla="*/ 2147483647 w 368"/>
                <a:gd name="T45" fmla="*/ 2147483647 h 296"/>
                <a:gd name="T46" fmla="*/ 2147483647 w 368"/>
                <a:gd name="T47" fmla="*/ 2147483647 h 296"/>
                <a:gd name="T48" fmla="*/ 2147483647 w 368"/>
                <a:gd name="T49" fmla="*/ 2147483647 h 296"/>
                <a:gd name="T50" fmla="*/ 2147483647 w 368"/>
                <a:gd name="T51" fmla="*/ 2147483647 h 296"/>
                <a:gd name="T52" fmla="*/ 2147483647 w 368"/>
                <a:gd name="T53" fmla="*/ 2147483647 h 296"/>
                <a:gd name="T54" fmla="*/ 2147483647 w 368"/>
                <a:gd name="T55" fmla="*/ 0 h 296"/>
                <a:gd name="T56" fmla="*/ 2147483647 w 368"/>
                <a:gd name="T57" fmla="*/ 2147483647 h 296"/>
                <a:gd name="T58" fmla="*/ 2147483647 w 368"/>
                <a:gd name="T59" fmla="*/ 2147483647 h 296"/>
                <a:gd name="T60" fmla="*/ 2147483647 w 368"/>
                <a:gd name="T61" fmla="*/ 2147483647 h 296"/>
                <a:gd name="T62" fmla="*/ 2147483647 w 368"/>
                <a:gd name="T63" fmla="*/ 2147483647 h 296"/>
                <a:gd name="T64" fmla="*/ 2147483647 w 368"/>
                <a:gd name="T65" fmla="*/ 2147483647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8"/>
                <a:gd name="T100" fmla="*/ 0 h 296"/>
                <a:gd name="T101" fmla="*/ 368 w 368"/>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8" h="296">
                  <a:moveTo>
                    <a:pt x="344" y="0"/>
                  </a:moveTo>
                  <a:cubicBezTo>
                    <a:pt x="321" y="0"/>
                    <a:pt x="321" y="0"/>
                    <a:pt x="321" y="0"/>
                  </a:cubicBezTo>
                  <a:cubicBezTo>
                    <a:pt x="303" y="0"/>
                    <a:pt x="294" y="14"/>
                    <a:pt x="291" y="26"/>
                  </a:cubicBezTo>
                  <a:cubicBezTo>
                    <a:pt x="291" y="27"/>
                    <a:pt x="289" y="37"/>
                    <a:pt x="287" y="49"/>
                  </a:cubicBezTo>
                  <a:cubicBezTo>
                    <a:pt x="283" y="47"/>
                    <a:pt x="278" y="45"/>
                    <a:pt x="272" y="45"/>
                  </a:cubicBezTo>
                  <a:cubicBezTo>
                    <a:pt x="25" y="45"/>
                    <a:pt x="25" y="45"/>
                    <a:pt x="25" y="45"/>
                  </a:cubicBezTo>
                  <a:cubicBezTo>
                    <a:pt x="18" y="45"/>
                    <a:pt x="11" y="48"/>
                    <a:pt x="6" y="54"/>
                  </a:cubicBezTo>
                  <a:cubicBezTo>
                    <a:pt x="1" y="60"/>
                    <a:pt x="0" y="68"/>
                    <a:pt x="1" y="76"/>
                  </a:cubicBezTo>
                  <a:cubicBezTo>
                    <a:pt x="2" y="82"/>
                    <a:pt x="21" y="198"/>
                    <a:pt x="22" y="199"/>
                  </a:cubicBezTo>
                  <a:cubicBezTo>
                    <a:pt x="23" y="208"/>
                    <a:pt x="33" y="220"/>
                    <a:pt x="48" y="220"/>
                  </a:cubicBezTo>
                  <a:cubicBezTo>
                    <a:pt x="248" y="220"/>
                    <a:pt x="248" y="220"/>
                    <a:pt x="248" y="220"/>
                  </a:cubicBezTo>
                  <a:cubicBezTo>
                    <a:pt x="250" y="220"/>
                    <a:pt x="253" y="220"/>
                    <a:pt x="255" y="219"/>
                  </a:cubicBezTo>
                  <a:cubicBezTo>
                    <a:pt x="252" y="234"/>
                    <a:pt x="248" y="251"/>
                    <a:pt x="248" y="253"/>
                  </a:cubicBezTo>
                  <a:cubicBezTo>
                    <a:pt x="247" y="258"/>
                    <a:pt x="247" y="259"/>
                    <a:pt x="241" y="259"/>
                  </a:cubicBezTo>
                  <a:cubicBezTo>
                    <a:pt x="239" y="259"/>
                    <a:pt x="239" y="259"/>
                    <a:pt x="239" y="259"/>
                  </a:cubicBezTo>
                  <a:cubicBezTo>
                    <a:pt x="235" y="248"/>
                    <a:pt x="224" y="239"/>
                    <a:pt x="211" y="239"/>
                  </a:cubicBezTo>
                  <a:cubicBezTo>
                    <a:pt x="198" y="239"/>
                    <a:pt x="187" y="248"/>
                    <a:pt x="184" y="259"/>
                  </a:cubicBezTo>
                  <a:cubicBezTo>
                    <a:pt x="90" y="259"/>
                    <a:pt x="90" y="259"/>
                    <a:pt x="90" y="259"/>
                  </a:cubicBezTo>
                  <a:cubicBezTo>
                    <a:pt x="86" y="248"/>
                    <a:pt x="75" y="239"/>
                    <a:pt x="62" y="239"/>
                  </a:cubicBezTo>
                  <a:cubicBezTo>
                    <a:pt x="46" y="239"/>
                    <a:pt x="34" y="252"/>
                    <a:pt x="34" y="267"/>
                  </a:cubicBezTo>
                  <a:cubicBezTo>
                    <a:pt x="34" y="283"/>
                    <a:pt x="46" y="296"/>
                    <a:pt x="62" y="296"/>
                  </a:cubicBezTo>
                  <a:cubicBezTo>
                    <a:pt x="75" y="296"/>
                    <a:pt x="86" y="287"/>
                    <a:pt x="90" y="275"/>
                  </a:cubicBezTo>
                  <a:cubicBezTo>
                    <a:pt x="184" y="275"/>
                    <a:pt x="184" y="275"/>
                    <a:pt x="184" y="275"/>
                  </a:cubicBezTo>
                  <a:cubicBezTo>
                    <a:pt x="187" y="287"/>
                    <a:pt x="198" y="296"/>
                    <a:pt x="211" y="296"/>
                  </a:cubicBezTo>
                  <a:cubicBezTo>
                    <a:pt x="224" y="296"/>
                    <a:pt x="235" y="287"/>
                    <a:pt x="239" y="275"/>
                  </a:cubicBezTo>
                  <a:cubicBezTo>
                    <a:pt x="241" y="275"/>
                    <a:pt x="241" y="275"/>
                    <a:pt x="241" y="275"/>
                  </a:cubicBezTo>
                  <a:cubicBezTo>
                    <a:pt x="259" y="275"/>
                    <a:pt x="262" y="262"/>
                    <a:pt x="263" y="257"/>
                  </a:cubicBezTo>
                  <a:cubicBezTo>
                    <a:pt x="264" y="254"/>
                    <a:pt x="288" y="127"/>
                    <a:pt x="288" y="127"/>
                  </a:cubicBezTo>
                  <a:cubicBezTo>
                    <a:pt x="289" y="123"/>
                    <a:pt x="286" y="118"/>
                    <a:pt x="282" y="118"/>
                  </a:cubicBezTo>
                  <a:cubicBezTo>
                    <a:pt x="277" y="117"/>
                    <a:pt x="273" y="120"/>
                    <a:pt x="272" y="124"/>
                  </a:cubicBezTo>
                  <a:cubicBezTo>
                    <a:pt x="272" y="124"/>
                    <a:pt x="259" y="194"/>
                    <a:pt x="259" y="195"/>
                  </a:cubicBezTo>
                  <a:cubicBezTo>
                    <a:pt x="257" y="201"/>
                    <a:pt x="254" y="204"/>
                    <a:pt x="248" y="204"/>
                  </a:cubicBezTo>
                  <a:cubicBezTo>
                    <a:pt x="48" y="204"/>
                    <a:pt x="48" y="204"/>
                    <a:pt x="48" y="204"/>
                  </a:cubicBezTo>
                  <a:cubicBezTo>
                    <a:pt x="41" y="204"/>
                    <a:pt x="38" y="198"/>
                    <a:pt x="37" y="196"/>
                  </a:cubicBezTo>
                  <a:cubicBezTo>
                    <a:pt x="37" y="192"/>
                    <a:pt x="18" y="79"/>
                    <a:pt x="17" y="74"/>
                  </a:cubicBezTo>
                  <a:cubicBezTo>
                    <a:pt x="16" y="70"/>
                    <a:pt x="17" y="67"/>
                    <a:pt x="19" y="64"/>
                  </a:cubicBezTo>
                  <a:cubicBezTo>
                    <a:pt x="21" y="62"/>
                    <a:pt x="23" y="61"/>
                    <a:pt x="25" y="61"/>
                  </a:cubicBezTo>
                  <a:cubicBezTo>
                    <a:pt x="272" y="61"/>
                    <a:pt x="272" y="61"/>
                    <a:pt x="272" y="61"/>
                  </a:cubicBezTo>
                  <a:cubicBezTo>
                    <a:pt x="276" y="61"/>
                    <a:pt x="278" y="62"/>
                    <a:pt x="280" y="64"/>
                  </a:cubicBezTo>
                  <a:cubicBezTo>
                    <a:pt x="282" y="67"/>
                    <a:pt x="282" y="71"/>
                    <a:pt x="282" y="74"/>
                  </a:cubicBezTo>
                  <a:cubicBezTo>
                    <a:pt x="282" y="75"/>
                    <a:pt x="279" y="88"/>
                    <a:pt x="278" y="92"/>
                  </a:cubicBezTo>
                  <a:cubicBezTo>
                    <a:pt x="278" y="92"/>
                    <a:pt x="278" y="92"/>
                    <a:pt x="278" y="92"/>
                  </a:cubicBezTo>
                  <a:cubicBezTo>
                    <a:pt x="277" y="96"/>
                    <a:pt x="280" y="100"/>
                    <a:pt x="285" y="101"/>
                  </a:cubicBezTo>
                  <a:cubicBezTo>
                    <a:pt x="289" y="102"/>
                    <a:pt x="294" y="99"/>
                    <a:pt x="295" y="95"/>
                  </a:cubicBezTo>
                  <a:cubicBezTo>
                    <a:pt x="295" y="92"/>
                    <a:pt x="307" y="30"/>
                    <a:pt x="307" y="29"/>
                  </a:cubicBezTo>
                  <a:cubicBezTo>
                    <a:pt x="308" y="25"/>
                    <a:pt x="311" y="16"/>
                    <a:pt x="321" y="16"/>
                  </a:cubicBezTo>
                  <a:cubicBezTo>
                    <a:pt x="344" y="16"/>
                    <a:pt x="344" y="16"/>
                    <a:pt x="344" y="16"/>
                  </a:cubicBezTo>
                  <a:cubicBezTo>
                    <a:pt x="350" y="16"/>
                    <a:pt x="352" y="20"/>
                    <a:pt x="352" y="23"/>
                  </a:cubicBezTo>
                  <a:cubicBezTo>
                    <a:pt x="352" y="26"/>
                    <a:pt x="349" y="28"/>
                    <a:pt x="344" y="28"/>
                  </a:cubicBezTo>
                  <a:cubicBezTo>
                    <a:pt x="330" y="28"/>
                    <a:pt x="330" y="28"/>
                    <a:pt x="330" y="28"/>
                  </a:cubicBezTo>
                  <a:cubicBezTo>
                    <a:pt x="326" y="28"/>
                    <a:pt x="322" y="32"/>
                    <a:pt x="322" y="36"/>
                  </a:cubicBezTo>
                  <a:cubicBezTo>
                    <a:pt x="322" y="41"/>
                    <a:pt x="326" y="44"/>
                    <a:pt x="330" y="44"/>
                  </a:cubicBezTo>
                  <a:cubicBezTo>
                    <a:pt x="344" y="44"/>
                    <a:pt x="344" y="44"/>
                    <a:pt x="344" y="44"/>
                  </a:cubicBezTo>
                  <a:cubicBezTo>
                    <a:pt x="353" y="44"/>
                    <a:pt x="358" y="41"/>
                    <a:pt x="362" y="38"/>
                  </a:cubicBezTo>
                  <a:cubicBezTo>
                    <a:pt x="366" y="34"/>
                    <a:pt x="368" y="28"/>
                    <a:pt x="368" y="23"/>
                  </a:cubicBezTo>
                  <a:cubicBezTo>
                    <a:pt x="368" y="12"/>
                    <a:pt x="359" y="0"/>
                    <a:pt x="344" y="0"/>
                  </a:cubicBezTo>
                  <a:close/>
                  <a:moveTo>
                    <a:pt x="62" y="280"/>
                  </a:moveTo>
                  <a:cubicBezTo>
                    <a:pt x="55" y="280"/>
                    <a:pt x="50" y="274"/>
                    <a:pt x="50" y="267"/>
                  </a:cubicBezTo>
                  <a:cubicBezTo>
                    <a:pt x="50" y="260"/>
                    <a:pt x="55" y="255"/>
                    <a:pt x="62" y="255"/>
                  </a:cubicBezTo>
                  <a:cubicBezTo>
                    <a:pt x="69" y="255"/>
                    <a:pt x="75" y="260"/>
                    <a:pt x="75" y="267"/>
                  </a:cubicBezTo>
                  <a:cubicBezTo>
                    <a:pt x="75" y="274"/>
                    <a:pt x="69" y="280"/>
                    <a:pt x="62" y="280"/>
                  </a:cubicBezTo>
                  <a:close/>
                  <a:moveTo>
                    <a:pt x="211" y="280"/>
                  </a:moveTo>
                  <a:cubicBezTo>
                    <a:pt x="204" y="280"/>
                    <a:pt x="199" y="274"/>
                    <a:pt x="199" y="267"/>
                  </a:cubicBezTo>
                  <a:cubicBezTo>
                    <a:pt x="199" y="260"/>
                    <a:pt x="204" y="255"/>
                    <a:pt x="211" y="255"/>
                  </a:cubicBezTo>
                  <a:cubicBezTo>
                    <a:pt x="218" y="255"/>
                    <a:pt x="224" y="260"/>
                    <a:pt x="224" y="267"/>
                  </a:cubicBezTo>
                  <a:cubicBezTo>
                    <a:pt x="224" y="274"/>
                    <a:pt x="218" y="280"/>
                    <a:pt x="211"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sp>
          <p:nvSpPr>
            <p:cNvPr id="85" name="TextBox 84"/>
            <p:cNvSpPr txBox="1"/>
            <p:nvPr/>
          </p:nvSpPr>
          <p:spPr>
            <a:xfrm>
              <a:off x="1620246" y="4580898"/>
              <a:ext cx="247470" cy="416392"/>
            </a:xfrm>
            <a:prstGeom prst="rect">
              <a:avLst/>
            </a:prstGeom>
            <a:noFill/>
            <a:ln>
              <a:noFill/>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a:ln>
                    <a:noFill/>
                  </a:ln>
                  <a:solidFill>
                    <a:srgbClr val="FFFFFF"/>
                  </a:solidFill>
                  <a:effectLst/>
                  <a:uLnTx/>
                  <a:uFillTx/>
                  <a:latin typeface="Ericsson Capital TT"/>
                  <a:ea typeface="MS PGothic" pitchFamily="34" charset="-128"/>
                  <a:cs typeface="Arial" charset="0"/>
                </a:rPr>
                <a:t>@</a:t>
              </a:r>
            </a:p>
          </p:txBody>
        </p:sp>
      </p:grpSp>
      <p:sp>
        <p:nvSpPr>
          <p:cNvPr id="8" name="Freeform 3"/>
          <p:cNvSpPr>
            <a:spLocks noChangeAspect="1" noEditPoints="1"/>
          </p:cNvSpPr>
          <p:nvPr>
            <p:custDataLst>
              <p:tags r:id="rId2"/>
            </p:custDataLst>
          </p:nvPr>
        </p:nvSpPr>
        <p:spPr bwMode="auto">
          <a:xfrm>
            <a:off x="560388" y="3100388"/>
            <a:ext cx="868362" cy="422275"/>
          </a:xfrm>
          <a:custGeom>
            <a:avLst/>
            <a:gdLst>
              <a:gd name="T0" fmla="*/ 2147483646 w 448"/>
              <a:gd name="T1" fmla="*/ 2147483646 h 208"/>
              <a:gd name="T2" fmla="*/ 2147483646 w 448"/>
              <a:gd name="T3" fmla="*/ 2147483646 h 208"/>
              <a:gd name="T4" fmla="*/ 2147483646 w 448"/>
              <a:gd name="T5" fmla="*/ 2147483646 h 208"/>
              <a:gd name="T6" fmla="*/ 2147483646 w 448"/>
              <a:gd name="T7" fmla="*/ 2147483646 h 208"/>
              <a:gd name="T8" fmla="*/ 2147483646 w 448"/>
              <a:gd name="T9" fmla="*/ 2147483646 h 208"/>
              <a:gd name="T10" fmla="*/ 2147483646 w 448"/>
              <a:gd name="T11" fmla="*/ 2147483646 h 208"/>
              <a:gd name="T12" fmla="*/ 2147483646 w 448"/>
              <a:gd name="T13" fmla="*/ 2147483646 h 208"/>
              <a:gd name="T14" fmla="*/ 2147483646 w 448"/>
              <a:gd name="T15" fmla="*/ 2147483646 h 208"/>
              <a:gd name="T16" fmla="*/ 2147483646 w 448"/>
              <a:gd name="T17" fmla="*/ 2147483646 h 208"/>
              <a:gd name="T18" fmla="*/ 2147483646 w 448"/>
              <a:gd name="T19" fmla="*/ 2147483646 h 208"/>
              <a:gd name="T20" fmla="*/ 2147483646 w 448"/>
              <a:gd name="T21" fmla="*/ 2147483646 h 208"/>
              <a:gd name="T22" fmla="*/ 2147483646 w 448"/>
              <a:gd name="T23" fmla="*/ 2147483646 h 208"/>
              <a:gd name="T24" fmla="*/ 2147483646 w 448"/>
              <a:gd name="T25" fmla="*/ 2147483646 h 208"/>
              <a:gd name="T26" fmla="*/ 2147483646 w 448"/>
              <a:gd name="T27" fmla="*/ 2147483646 h 208"/>
              <a:gd name="T28" fmla="*/ 2147483646 w 448"/>
              <a:gd name="T29" fmla="*/ 2147483646 h 208"/>
              <a:gd name="T30" fmla="*/ 2147483646 w 448"/>
              <a:gd name="T31" fmla="*/ 2147483646 h 208"/>
              <a:gd name="T32" fmla="*/ 2147483646 w 448"/>
              <a:gd name="T33" fmla="*/ 2147483646 h 208"/>
              <a:gd name="T34" fmla="*/ 2147483646 w 448"/>
              <a:gd name="T35" fmla="*/ 2147483646 h 208"/>
              <a:gd name="T36" fmla="*/ 2147483646 w 448"/>
              <a:gd name="T37" fmla="*/ 2147483646 h 208"/>
              <a:gd name="T38" fmla="*/ 2147483646 w 448"/>
              <a:gd name="T39" fmla="*/ 2147483646 h 208"/>
              <a:gd name="T40" fmla="*/ 2147483646 w 448"/>
              <a:gd name="T41" fmla="*/ 2147483646 h 208"/>
              <a:gd name="T42" fmla="*/ 2147483646 w 448"/>
              <a:gd name="T43" fmla="*/ 2147483646 h 208"/>
              <a:gd name="T44" fmla="*/ 2147483646 w 448"/>
              <a:gd name="T45" fmla="*/ 2147483646 h 208"/>
              <a:gd name="T46" fmla="*/ 2147483646 w 448"/>
              <a:gd name="T47" fmla="*/ 2147483646 h 208"/>
              <a:gd name="T48" fmla="*/ 2147483646 w 448"/>
              <a:gd name="T49" fmla="*/ 2147483646 h 208"/>
              <a:gd name="T50" fmla="*/ 2147483646 w 448"/>
              <a:gd name="T51" fmla="*/ 2147483646 h 208"/>
              <a:gd name="T52" fmla="*/ 2147483646 w 448"/>
              <a:gd name="T53" fmla="*/ 2147483646 h 208"/>
              <a:gd name="T54" fmla="*/ 2147483646 w 448"/>
              <a:gd name="T55" fmla="*/ 2147483646 h 208"/>
              <a:gd name="T56" fmla="*/ 2147483646 w 448"/>
              <a:gd name="T57" fmla="*/ 2147483646 h 208"/>
              <a:gd name="T58" fmla="*/ 2147483646 w 448"/>
              <a:gd name="T59" fmla="*/ 2147483646 h 208"/>
              <a:gd name="T60" fmla="*/ 2147483646 w 448"/>
              <a:gd name="T61" fmla="*/ 2147483646 h 208"/>
              <a:gd name="T62" fmla="*/ 2147483646 w 448"/>
              <a:gd name="T63" fmla="*/ 2147483646 h 208"/>
              <a:gd name="T64" fmla="*/ 2147483646 w 448"/>
              <a:gd name="T65" fmla="*/ 2147483646 h 208"/>
              <a:gd name="T66" fmla="*/ 2147483646 w 448"/>
              <a:gd name="T67" fmla="*/ 2147483646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77" tIns="45688" rIns="91377" bIns="4568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9" name="Freeform 28"/>
          <p:cNvSpPr>
            <a:spLocks noChangeAspect="1" noEditPoints="1"/>
          </p:cNvSpPr>
          <p:nvPr>
            <p:custDataLst>
              <p:tags r:id="rId3"/>
            </p:custDataLst>
          </p:nvPr>
        </p:nvSpPr>
        <p:spPr bwMode="auto">
          <a:xfrm>
            <a:off x="736600" y="1274763"/>
            <a:ext cx="490538" cy="762000"/>
          </a:xfrm>
          <a:custGeom>
            <a:avLst/>
            <a:gdLst>
              <a:gd name="T0" fmla="*/ 2147483646 w 275"/>
              <a:gd name="T1" fmla="*/ 2147483646 h 503"/>
              <a:gd name="T2" fmla="*/ 2147483646 w 275"/>
              <a:gd name="T3" fmla="*/ 2147483646 h 503"/>
              <a:gd name="T4" fmla="*/ 2147483646 w 275"/>
              <a:gd name="T5" fmla="*/ 2147483646 h 503"/>
              <a:gd name="T6" fmla="*/ 2147483646 w 275"/>
              <a:gd name="T7" fmla="*/ 2147483646 h 503"/>
              <a:gd name="T8" fmla="*/ 2147483646 w 275"/>
              <a:gd name="T9" fmla="*/ 2147483646 h 503"/>
              <a:gd name="T10" fmla="*/ 2147483646 w 275"/>
              <a:gd name="T11" fmla="*/ 2147483646 h 503"/>
              <a:gd name="T12" fmla="*/ 2147483646 w 275"/>
              <a:gd name="T13" fmla="*/ 2147483646 h 503"/>
              <a:gd name="T14" fmla="*/ 2147483646 w 275"/>
              <a:gd name="T15" fmla="*/ 2147483646 h 503"/>
              <a:gd name="T16" fmla="*/ 2147483646 w 275"/>
              <a:gd name="T17" fmla="*/ 2147483646 h 503"/>
              <a:gd name="T18" fmla="*/ 2147483646 w 275"/>
              <a:gd name="T19" fmla="*/ 2147483646 h 503"/>
              <a:gd name="T20" fmla="*/ 2147483646 w 275"/>
              <a:gd name="T21" fmla="*/ 2147483646 h 503"/>
              <a:gd name="T22" fmla="*/ 2147483646 w 275"/>
              <a:gd name="T23" fmla="*/ 2147483646 h 503"/>
              <a:gd name="T24" fmla="*/ 2147483646 w 275"/>
              <a:gd name="T25" fmla="*/ 2147483646 h 503"/>
              <a:gd name="T26" fmla="*/ 2147483646 w 275"/>
              <a:gd name="T27" fmla="*/ 2147483646 h 503"/>
              <a:gd name="T28" fmla="*/ 2147483646 w 275"/>
              <a:gd name="T29" fmla="*/ 2147483646 h 503"/>
              <a:gd name="T30" fmla="*/ 2147483646 w 275"/>
              <a:gd name="T31" fmla="*/ 2147483646 h 503"/>
              <a:gd name="T32" fmla="*/ 2147483646 w 275"/>
              <a:gd name="T33" fmla="*/ 2147483646 h 503"/>
              <a:gd name="T34" fmla="*/ 2147483646 w 275"/>
              <a:gd name="T35" fmla="*/ 2147483646 h 503"/>
              <a:gd name="T36" fmla="*/ 2147483646 w 275"/>
              <a:gd name="T37" fmla="*/ 2147483646 h 503"/>
              <a:gd name="T38" fmla="*/ 2147483646 w 275"/>
              <a:gd name="T39" fmla="*/ 2147483646 h 503"/>
              <a:gd name="T40" fmla="*/ 2147483646 w 275"/>
              <a:gd name="T41" fmla="*/ 2147483646 h 503"/>
              <a:gd name="T42" fmla="*/ 2147483646 w 275"/>
              <a:gd name="T43" fmla="*/ 2147483646 h 503"/>
              <a:gd name="T44" fmla="*/ 2147483646 w 275"/>
              <a:gd name="T45" fmla="*/ 2147483646 h 503"/>
              <a:gd name="T46" fmla="*/ 2147483646 w 275"/>
              <a:gd name="T47" fmla="*/ 2147483646 h 503"/>
              <a:gd name="T48" fmla="*/ 2147483646 w 275"/>
              <a:gd name="T49" fmla="*/ 2147483646 h 503"/>
              <a:gd name="T50" fmla="*/ 2147483646 w 275"/>
              <a:gd name="T51" fmla="*/ 2147483646 h 503"/>
              <a:gd name="T52" fmla="*/ 2147483646 w 275"/>
              <a:gd name="T53" fmla="*/ 2147483646 h 503"/>
              <a:gd name="T54" fmla="*/ 2147483646 w 275"/>
              <a:gd name="T55" fmla="*/ 2147483646 h 503"/>
              <a:gd name="T56" fmla="*/ 2147483646 w 275"/>
              <a:gd name="T57" fmla="*/ 2147483646 h 503"/>
              <a:gd name="T58" fmla="*/ 2147483646 w 275"/>
              <a:gd name="T59" fmla="*/ 2147483646 h 503"/>
              <a:gd name="T60" fmla="*/ 2147483646 w 275"/>
              <a:gd name="T61" fmla="*/ 2147483646 h 503"/>
              <a:gd name="T62" fmla="*/ 2147483646 w 275"/>
              <a:gd name="T63" fmla="*/ 2147483646 h 503"/>
              <a:gd name="T64" fmla="*/ 2147483646 w 275"/>
              <a:gd name="T65" fmla="*/ 2147483646 h 503"/>
              <a:gd name="T66" fmla="*/ 2147483646 w 275"/>
              <a:gd name="T67" fmla="*/ 2147483646 h 503"/>
              <a:gd name="T68" fmla="*/ 2147483646 w 275"/>
              <a:gd name="T69" fmla="*/ 2147483646 h 503"/>
              <a:gd name="T70" fmla="*/ 2147483646 w 275"/>
              <a:gd name="T71" fmla="*/ 2147483646 h 503"/>
              <a:gd name="T72" fmla="*/ 2147483646 w 275"/>
              <a:gd name="T73" fmla="*/ 2147483646 h 503"/>
              <a:gd name="T74" fmla="*/ 2147483646 w 275"/>
              <a:gd name="T75" fmla="*/ 2147483646 h 503"/>
              <a:gd name="T76" fmla="*/ 2147483646 w 275"/>
              <a:gd name="T77" fmla="*/ 2147483646 h 503"/>
              <a:gd name="T78" fmla="*/ 2147483646 w 275"/>
              <a:gd name="T79" fmla="*/ 2147483646 h 503"/>
              <a:gd name="T80" fmla="*/ 2147483646 w 275"/>
              <a:gd name="T81" fmla="*/ 2147483646 h 503"/>
              <a:gd name="T82" fmla="*/ 2147483646 w 275"/>
              <a:gd name="T83" fmla="*/ 2147483646 h 503"/>
              <a:gd name="T84" fmla="*/ 2147483646 w 275"/>
              <a:gd name="T85" fmla="*/ 2147483646 h 503"/>
              <a:gd name="T86" fmla="*/ 2147483646 w 275"/>
              <a:gd name="T87" fmla="*/ 0 h 503"/>
              <a:gd name="T88" fmla="*/ 2147483646 w 275"/>
              <a:gd name="T89" fmla="*/ 2147483646 h 503"/>
              <a:gd name="T90" fmla="*/ 0 w 275"/>
              <a:gd name="T91" fmla="*/ 2147483646 h 503"/>
              <a:gd name="T92" fmla="*/ 2147483646 w 275"/>
              <a:gd name="T93" fmla="*/ 2147483646 h 503"/>
              <a:gd name="T94" fmla="*/ 2147483646 w 275"/>
              <a:gd name="T95" fmla="*/ 2147483646 h 503"/>
              <a:gd name="T96" fmla="*/ 2147483646 w 275"/>
              <a:gd name="T97" fmla="*/ 2147483646 h 503"/>
              <a:gd name="T98" fmla="*/ 2147483646 w 275"/>
              <a:gd name="T99" fmla="*/ 2147483646 h 503"/>
              <a:gd name="T100" fmla="*/ 2147483646 w 275"/>
              <a:gd name="T101" fmla="*/ 2147483646 h 503"/>
              <a:gd name="T102" fmla="*/ 2147483646 w 275"/>
              <a:gd name="T103" fmla="*/ 2147483646 h 503"/>
              <a:gd name="T104" fmla="*/ 2147483646 w 275"/>
              <a:gd name="T105" fmla="*/ 214748364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0" name="Freeform 3"/>
          <p:cNvSpPr>
            <a:spLocks noChangeAspect="1" noEditPoints="1"/>
          </p:cNvSpPr>
          <p:nvPr>
            <p:custDataLst>
              <p:tags r:id="rId4"/>
            </p:custDataLst>
          </p:nvPr>
        </p:nvSpPr>
        <p:spPr bwMode="auto">
          <a:xfrm>
            <a:off x="619125" y="2273300"/>
            <a:ext cx="711200" cy="520700"/>
          </a:xfrm>
          <a:custGeom>
            <a:avLst/>
            <a:gdLst>
              <a:gd name="T0" fmla="*/ 2147483646 w 418"/>
              <a:gd name="T1" fmla="*/ 2147483646 h 336"/>
              <a:gd name="T2" fmla="*/ 2147483646 w 418"/>
              <a:gd name="T3" fmla="*/ 2147483646 h 336"/>
              <a:gd name="T4" fmla="*/ 2147483646 w 418"/>
              <a:gd name="T5" fmla="*/ 2147483646 h 336"/>
              <a:gd name="T6" fmla="*/ 2147483646 w 418"/>
              <a:gd name="T7" fmla="*/ 2147483646 h 336"/>
              <a:gd name="T8" fmla="*/ 2147483646 w 418"/>
              <a:gd name="T9" fmla="*/ 2147483646 h 336"/>
              <a:gd name="T10" fmla="*/ 2147483646 w 418"/>
              <a:gd name="T11" fmla="*/ 2147483646 h 336"/>
              <a:gd name="T12" fmla="*/ 2147483646 w 418"/>
              <a:gd name="T13" fmla="*/ 2147483646 h 336"/>
              <a:gd name="T14" fmla="*/ 2147483646 w 418"/>
              <a:gd name="T15" fmla="*/ 2147483646 h 336"/>
              <a:gd name="T16" fmla="*/ 2147483646 w 418"/>
              <a:gd name="T17" fmla="*/ 2147483646 h 336"/>
              <a:gd name="T18" fmla="*/ 2147483646 w 418"/>
              <a:gd name="T19" fmla="*/ 2147483646 h 336"/>
              <a:gd name="T20" fmla="*/ 2147483646 w 418"/>
              <a:gd name="T21" fmla="*/ 2147483646 h 336"/>
              <a:gd name="T22" fmla="*/ 2147483646 w 418"/>
              <a:gd name="T23" fmla="*/ 2147483646 h 336"/>
              <a:gd name="T24" fmla="*/ 2147483646 w 418"/>
              <a:gd name="T25" fmla="*/ 2147483646 h 336"/>
              <a:gd name="T26" fmla="*/ 2147483646 w 418"/>
              <a:gd name="T27" fmla="*/ 2147483646 h 336"/>
              <a:gd name="T28" fmla="*/ 2147483646 w 418"/>
              <a:gd name="T29" fmla="*/ 2147483646 h 336"/>
              <a:gd name="T30" fmla="*/ 2147483646 w 418"/>
              <a:gd name="T31" fmla="*/ 2147483646 h 336"/>
              <a:gd name="T32" fmla="*/ 2147483646 w 418"/>
              <a:gd name="T33" fmla="*/ 2147483646 h 336"/>
              <a:gd name="T34" fmla="*/ 2147483646 w 418"/>
              <a:gd name="T35" fmla="*/ 2147483646 h 336"/>
              <a:gd name="T36" fmla="*/ 2147483646 w 418"/>
              <a:gd name="T37" fmla="*/ 2147483646 h 336"/>
              <a:gd name="T38" fmla="*/ 2147483646 w 418"/>
              <a:gd name="T39" fmla="*/ 2147483646 h 336"/>
              <a:gd name="T40" fmla="*/ 2147483646 w 418"/>
              <a:gd name="T41" fmla="*/ 2147483646 h 336"/>
              <a:gd name="T42" fmla="*/ 2147483646 w 418"/>
              <a:gd name="T43" fmla="*/ 2147483646 h 336"/>
              <a:gd name="T44" fmla="*/ 2147483646 w 418"/>
              <a:gd name="T45" fmla="*/ 2147483646 h 336"/>
              <a:gd name="T46" fmla="*/ 2147483646 w 418"/>
              <a:gd name="T47" fmla="*/ 2147483646 h 336"/>
              <a:gd name="T48" fmla="*/ 2147483646 w 418"/>
              <a:gd name="T49" fmla="*/ 2147483646 h 336"/>
              <a:gd name="T50" fmla="*/ 2147483646 w 418"/>
              <a:gd name="T51" fmla="*/ 2147483646 h 336"/>
              <a:gd name="T52" fmla="*/ 2147483646 w 418"/>
              <a:gd name="T53" fmla="*/ 2147483646 h 336"/>
              <a:gd name="T54" fmla="*/ 2147483646 w 418"/>
              <a:gd name="T55" fmla="*/ 2147483646 h 336"/>
              <a:gd name="T56" fmla="*/ 2147483646 w 418"/>
              <a:gd name="T57" fmla="*/ 2147483646 h 336"/>
              <a:gd name="T58" fmla="*/ 2147483646 w 418"/>
              <a:gd name="T59" fmla="*/ 2147483646 h 336"/>
              <a:gd name="T60" fmla="*/ 2147483646 w 418"/>
              <a:gd name="T61" fmla="*/ 2147483646 h 336"/>
              <a:gd name="T62" fmla="*/ 2147483646 w 418"/>
              <a:gd name="T63" fmla="*/ 2147483646 h 336"/>
              <a:gd name="T64" fmla="*/ 2147483646 w 418"/>
              <a:gd name="T65" fmla="*/ 2147483646 h 336"/>
              <a:gd name="T66" fmla="*/ 2147483646 w 418"/>
              <a:gd name="T67" fmla="*/ 2147483646 h 336"/>
              <a:gd name="T68" fmla="*/ 2147483646 w 418"/>
              <a:gd name="T69" fmla="*/ 2147483646 h 336"/>
              <a:gd name="T70" fmla="*/ 2147483646 w 418"/>
              <a:gd name="T71" fmla="*/ 2147483646 h 336"/>
              <a:gd name="T72" fmla="*/ 2147483646 w 418"/>
              <a:gd name="T73" fmla="*/ 2147483646 h 336"/>
              <a:gd name="T74" fmla="*/ 2147483646 w 418"/>
              <a:gd name="T75" fmla="*/ 2147483646 h 336"/>
              <a:gd name="T76" fmla="*/ 2147483646 w 418"/>
              <a:gd name="T77" fmla="*/ 2147483646 h 336"/>
              <a:gd name="T78" fmla="*/ 2147483646 w 418"/>
              <a:gd name="T79" fmla="*/ 2147483646 h 336"/>
              <a:gd name="T80" fmla="*/ 2147483646 w 418"/>
              <a:gd name="T81" fmla="*/ 2147483646 h 336"/>
              <a:gd name="T82" fmla="*/ 2147483646 w 418"/>
              <a:gd name="T83" fmla="*/ 2147483646 h 336"/>
              <a:gd name="T84" fmla="*/ 2147483646 w 418"/>
              <a:gd name="T85" fmla="*/ 2147483646 h 336"/>
              <a:gd name="T86" fmla="*/ 2147483646 w 418"/>
              <a:gd name="T87" fmla="*/ 2147483646 h 336"/>
              <a:gd name="T88" fmla="*/ 2147483646 w 418"/>
              <a:gd name="T89" fmla="*/ 0 h 336"/>
              <a:gd name="T90" fmla="*/ 2147483646 w 418"/>
              <a:gd name="T91" fmla="*/ 0 h 336"/>
              <a:gd name="T92" fmla="*/ 2147483646 w 418"/>
              <a:gd name="T93" fmla="*/ 2147483646 h 336"/>
              <a:gd name="T94" fmla="*/ 2147483646 w 418"/>
              <a:gd name="T95" fmla="*/ 2147483646 h 336"/>
              <a:gd name="T96" fmla="*/ 2147483646 w 418"/>
              <a:gd name="T97" fmla="*/ 2147483646 h 336"/>
              <a:gd name="T98" fmla="*/ 0 w 418"/>
              <a:gd name="T99" fmla="*/ 2147483646 h 336"/>
              <a:gd name="T100" fmla="*/ 0 w 418"/>
              <a:gd name="T101" fmla="*/ 2147483646 h 336"/>
              <a:gd name="T102" fmla="*/ 2147483646 w 418"/>
              <a:gd name="T103" fmla="*/ 2147483646 h 336"/>
              <a:gd name="T104" fmla="*/ 2147483646 w 418"/>
              <a:gd name="T105" fmla="*/ 2147483646 h 336"/>
              <a:gd name="T106" fmla="*/ 2147483646 w 418"/>
              <a:gd name="T107" fmla="*/ 2147483646 h 336"/>
              <a:gd name="T108" fmla="*/ 2147483646 w 418"/>
              <a:gd name="T109" fmla="*/ 2147483646 h 336"/>
              <a:gd name="T110" fmla="*/ 2147483646 w 418"/>
              <a:gd name="T111" fmla="*/ 2147483646 h 336"/>
              <a:gd name="T112" fmla="*/ 2147483646 w 418"/>
              <a:gd name="T113" fmla="*/ 2147483646 h 336"/>
              <a:gd name="T114" fmla="*/ 2147483646 w 418"/>
              <a:gd name="T115" fmla="*/ 2147483646 h 336"/>
              <a:gd name="T116" fmla="*/ 2147483646 w 418"/>
              <a:gd name="T117" fmla="*/ 2147483646 h 336"/>
              <a:gd name="T118" fmla="*/ 2147483646 w 418"/>
              <a:gd name="T119" fmla="*/ 2147483646 h 336"/>
              <a:gd name="T120" fmla="*/ 2147483646 w 418"/>
              <a:gd name="T121" fmla="*/ 2147483646 h 336"/>
              <a:gd name="T122" fmla="*/ 2147483646 w 418"/>
              <a:gd name="T123" fmla="*/ 2147483646 h 336"/>
              <a:gd name="T124" fmla="*/ 2147483646 w 418"/>
              <a:gd name="T125" fmla="*/ 2147483646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1" name="Freeform 3"/>
          <p:cNvSpPr>
            <a:spLocks noChangeAspect="1" noEditPoints="1"/>
          </p:cNvSpPr>
          <p:nvPr>
            <p:custDataLst>
              <p:tags r:id="rId5"/>
            </p:custDataLst>
          </p:nvPr>
        </p:nvSpPr>
        <p:spPr bwMode="auto">
          <a:xfrm>
            <a:off x="676275" y="3738563"/>
            <a:ext cx="619125" cy="579437"/>
          </a:xfrm>
          <a:custGeom>
            <a:avLst/>
            <a:gdLst>
              <a:gd name="T0" fmla="*/ 2147483646 w 395"/>
              <a:gd name="T1" fmla="*/ 2147483646 h 395"/>
              <a:gd name="T2" fmla="*/ 2147483646 w 395"/>
              <a:gd name="T3" fmla="*/ 2147483646 h 395"/>
              <a:gd name="T4" fmla="*/ 2147483646 w 395"/>
              <a:gd name="T5" fmla="*/ 2147483646 h 395"/>
              <a:gd name="T6" fmla="*/ 2147483646 w 395"/>
              <a:gd name="T7" fmla="*/ 2147483646 h 395"/>
              <a:gd name="T8" fmla="*/ 2147483646 w 395"/>
              <a:gd name="T9" fmla="*/ 0 h 395"/>
              <a:gd name="T10" fmla="*/ 2147483646 w 395"/>
              <a:gd name="T11" fmla="*/ 2147483646 h 395"/>
              <a:gd name="T12" fmla="*/ 2147483646 w 395"/>
              <a:gd name="T13" fmla="*/ 2147483646 h 395"/>
              <a:gd name="T14" fmla="*/ 2147483646 w 395"/>
              <a:gd name="T15" fmla="*/ 2147483646 h 395"/>
              <a:gd name="T16" fmla="*/ 2147483646 w 395"/>
              <a:gd name="T17" fmla="*/ 2147483646 h 395"/>
              <a:gd name="T18" fmla="*/ 2147483646 w 395"/>
              <a:gd name="T19" fmla="*/ 2147483646 h 395"/>
              <a:gd name="T20" fmla="*/ 2147483646 w 395"/>
              <a:gd name="T21" fmla="*/ 2147483646 h 395"/>
              <a:gd name="T22" fmla="*/ 2147483646 w 395"/>
              <a:gd name="T23" fmla="*/ 2147483646 h 395"/>
              <a:gd name="T24" fmla="*/ 2147483646 w 395"/>
              <a:gd name="T25" fmla="*/ 2147483646 h 395"/>
              <a:gd name="T26" fmla="*/ 2147483646 w 395"/>
              <a:gd name="T27" fmla="*/ 2147483646 h 395"/>
              <a:gd name="T28" fmla="*/ 2147483646 w 395"/>
              <a:gd name="T29" fmla="*/ 2147483646 h 395"/>
              <a:gd name="T30" fmla="*/ 2147483646 w 395"/>
              <a:gd name="T31" fmla="*/ 2147483646 h 395"/>
              <a:gd name="T32" fmla="*/ 2147483646 w 395"/>
              <a:gd name="T33" fmla="*/ 2147483646 h 395"/>
              <a:gd name="T34" fmla="*/ 2147483646 w 395"/>
              <a:gd name="T35" fmla="*/ 2147483646 h 395"/>
              <a:gd name="T36" fmla="*/ 2147483646 w 395"/>
              <a:gd name="T37" fmla="*/ 2147483646 h 395"/>
              <a:gd name="T38" fmla="*/ 2147483646 w 395"/>
              <a:gd name="T39" fmla="*/ 2147483646 h 395"/>
              <a:gd name="T40" fmla="*/ 2147483646 w 395"/>
              <a:gd name="T41" fmla="*/ 2147483646 h 395"/>
              <a:gd name="T42" fmla="*/ 2147483646 w 395"/>
              <a:gd name="T43" fmla="*/ 2147483646 h 395"/>
              <a:gd name="T44" fmla="*/ 2147483646 w 395"/>
              <a:gd name="T45" fmla="*/ 2147483646 h 395"/>
              <a:gd name="T46" fmla="*/ 2147483646 w 395"/>
              <a:gd name="T47" fmla="*/ 2147483646 h 395"/>
              <a:gd name="T48" fmla="*/ 2147483646 w 395"/>
              <a:gd name="T49" fmla="*/ 2147483646 h 395"/>
              <a:gd name="T50" fmla="*/ 2147483646 w 395"/>
              <a:gd name="T51" fmla="*/ 2147483646 h 395"/>
              <a:gd name="T52" fmla="*/ 2147483646 w 395"/>
              <a:gd name="T53" fmla="*/ 2147483646 h 395"/>
              <a:gd name="T54" fmla="*/ 2147483646 w 395"/>
              <a:gd name="T55" fmla="*/ 2147483646 h 395"/>
              <a:gd name="T56" fmla="*/ 2147483646 w 395"/>
              <a:gd name="T57" fmla="*/ 2147483646 h 395"/>
              <a:gd name="T58" fmla="*/ 2147483646 w 395"/>
              <a:gd name="T59" fmla="*/ 2147483646 h 395"/>
              <a:gd name="T60" fmla="*/ 2147483646 w 395"/>
              <a:gd name="T61" fmla="*/ 2147483646 h 395"/>
              <a:gd name="T62" fmla="*/ 2147483646 w 395"/>
              <a:gd name="T63" fmla="*/ 2147483646 h 395"/>
              <a:gd name="T64" fmla="*/ 2147483646 w 395"/>
              <a:gd name="T65" fmla="*/ 2147483646 h 395"/>
              <a:gd name="T66" fmla="*/ 2147483646 w 395"/>
              <a:gd name="T67" fmla="*/ 2147483646 h 395"/>
              <a:gd name="T68" fmla="*/ 2147483646 w 395"/>
              <a:gd name="T69" fmla="*/ 2147483646 h 395"/>
              <a:gd name="T70" fmla="*/ 2147483646 w 395"/>
              <a:gd name="T71" fmla="*/ 2147483646 h 395"/>
              <a:gd name="T72" fmla="*/ 2147483646 w 395"/>
              <a:gd name="T73" fmla="*/ 2147483646 h 395"/>
              <a:gd name="T74" fmla="*/ 2147483646 w 395"/>
              <a:gd name="T75" fmla="*/ 2147483646 h 395"/>
              <a:gd name="T76" fmla="*/ 2147483646 w 395"/>
              <a:gd name="T77" fmla="*/ 2147483646 h 395"/>
              <a:gd name="T78" fmla="*/ 2147483646 w 395"/>
              <a:gd name="T79" fmla="*/ 2147483646 h 395"/>
              <a:gd name="T80" fmla="*/ 2147483646 w 395"/>
              <a:gd name="T81" fmla="*/ 2147483646 h 395"/>
              <a:gd name="T82" fmla="*/ 2147483646 w 395"/>
              <a:gd name="T83" fmla="*/ 2147483646 h 395"/>
              <a:gd name="T84" fmla="*/ 2147483646 w 395"/>
              <a:gd name="T85" fmla="*/ 2147483646 h 395"/>
              <a:gd name="T86" fmla="*/ 2147483646 w 395"/>
              <a:gd name="T87" fmla="*/ 2147483646 h 395"/>
              <a:gd name="T88" fmla="*/ 2147483646 w 395"/>
              <a:gd name="T89" fmla="*/ 2147483646 h 395"/>
              <a:gd name="T90" fmla="*/ 2147483646 w 395"/>
              <a:gd name="T91" fmla="*/ 2147483646 h 395"/>
              <a:gd name="T92" fmla="*/ 2147483646 w 395"/>
              <a:gd name="T93" fmla="*/ 2147483646 h 395"/>
              <a:gd name="T94" fmla="*/ 2147483646 w 395"/>
              <a:gd name="T95" fmla="*/ 2147483646 h 395"/>
              <a:gd name="T96" fmla="*/ 2147483646 w 395"/>
              <a:gd name="T97" fmla="*/ 2147483646 h 395"/>
              <a:gd name="T98" fmla="*/ 2147483646 w 395"/>
              <a:gd name="T99" fmla="*/ 2147483646 h 395"/>
              <a:gd name="T100" fmla="*/ 2147483646 w 395"/>
              <a:gd name="T101" fmla="*/ 2147483646 h 395"/>
              <a:gd name="T102" fmla="*/ 2147483646 w 395"/>
              <a:gd name="T103" fmla="*/ 2147483646 h 395"/>
              <a:gd name="T104" fmla="*/ 2147483646 w 395"/>
              <a:gd name="T105" fmla="*/ 2147483646 h 395"/>
              <a:gd name="T106" fmla="*/ 2147483646 w 395"/>
              <a:gd name="T107" fmla="*/ 2147483646 h 395"/>
              <a:gd name="T108" fmla="*/ 2147483646 w 395"/>
              <a:gd name="T109" fmla="*/ 2147483646 h 395"/>
              <a:gd name="T110" fmla="*/ 2147483646 w 395"/>
              <a:gd name="T111" fmla="*/ 2147483646 h 395"/>
              <a:gd name="T112" fmla="*/ 2147483646 w 395"/>
              <a:gd name="T113" fmla="*/ 2147483646 h 395"/>
              <a:gd name="T114" fmla="*/ 2147483646 w 395"/>
              <a:gd name="T115" fmla="*/ 2147483646 h 395"/>
              <a:gd name="T116" fmla="*/ 2147483646 w 395"/>
              <a:gd name="T117" fmla="*/ 2147483646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395"/>
              <a:gd name="T179" fmla="*/ 395 w 395"/>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395">
                <a:moveTo>
                  <a:pt x="348" y="70"/>
                </a:moveTo>
                <a:cubicBezTo>
                  <a:pt x="346" y="67"/>
                  <a:pt x="341" y="66"/>
                  <a:pt x="337" y="69"/>
                </a:cubicBezTo>
                <a:cubicBezTo>
                  <a:pt x="334" y="72"/>
                  <a:pt x="333" y="77"/>
                  <a:pt x="336" y="80"/>
                </a:cubicBezTo>
                <a:cubicBezTo>
                  <a:pt x="363" y="112"/>
                  <a:pt x="379" y="153"/>
                  <a:pt x="379" y="197"/>
                </a:cubicBezTo>
                <a:cubicBezTo>
                  <a:pt x="379" y="247"/>
                  <a:pt x="359" y="293"/>
                  <a:pt x="326" y="325"/>
                </a:cubicBezTo>
                <a:cubicBezTo>
                  <a:pt x="293" y="358"/>
                  <a:pt x="248" y="379"/>
                  <a:pt x="198" y="379"/>
                </a:cubicBezTo>
                <a:cubicBezTo>
                  <a:pt x="148" y="379"/>
                  <a:pt x="102" y="358"/>
                  <a:pt x="69" y="325"/>
                </a:cubicBezTo>
                <a:cubicBezTo>
                  <a:pt x="37" y="293"/>
                  <a:pt x="16" y="247"/>
                  <a:pt x="16" y="197"/>
                </a:cubicBezTo>
                <a:cubicBezTo>
                  <a:pt x="16" y="147"/>
                  <a:pt x="37" y="102"/>
                  <a:pt x="69" y="69"/>
                </a:cubicBezTo>
                <a:cubicBezTo>
                  <a:pt x="102" y="36"/>
                  <a:pt x="148" y="16"/>
                  <a:pt x="198" y="16"/>
                </a:cubicBezTo>
                <a:cubicBezTo>
                  <a:pt x="242" y="16"/>
                  <a:pt x="283" y="32"/>
                  <a:pt x="315" y="59"/>
                </a:cubicBezTo>
                <a:cubicBezTo>
                  <a:pt x="318" y="62"/>
                  <a:pt x="323" y="61"/>
                  <a:pt x="326" y="58"/>
                </a:cubicBezTo>
                <a:cubicBezTo>
                  <a:pt x="329" y="54"/>
                  <a:pt x="328" y="49"/>
                  <a:pt x="325" y="46"/>
                </a:cubicBezTo>
                <a:cubicBezTo>
                  <a:pt x="325" y="46"/>
                  <a:pt x="325" y="46"/>
                  <a:pt x="325" y="46"/>
                </a:cubicBezTo>
                <a:cubicBezTo>
                  <a:pt x="291" y="17"/>
                  <a:pt x="246" y="0"/>
                  <a:pt x="198" y="0"/>
                </a:cubicBezTo>
                <a:cubicBezTo>
                  <a:pt x="89" y="0"/>
                  <a:pt x="0" y="88"/>
                  <a:pt x="0" y="197"/>
                </a:cubicBezTo>
                <a:cubicBezTo>
                  <a:pt x="0" y="306"/>
                  <a:pt x="89" y="395"/>
                  <a:pt x="198" y="395"/>
                </a:cubicBezTo>
                <a:cubicBezTo>
                  <a:pt x="307" y="395"/>
                  <a:pt x="395" y="306"/>
                  <a:pt x="395" y="197"/>
                </a:cubicBezTo>
                <a:cubicBezTo>
                  <a:pt x="395" y="149"/>
                  <a:pt x="378" y="104"/>
                  <a:pt x="348" y="70"/>
                </a:cubicBezTo>
                <a:close/>
                <a:moveTo>
                  <a:pt x="75" y="300"/>
                </a:moveTo>
                <a:cubicBezTo>
                  <a:pt x="320" y="300"/>
                  <a:pt x="320" y="300"/>
                  <a:pt x="320" y="300"/>
                </a:cubicBezTo>
                <a:cubicBezTo>
                  <a:pt x="324" y="300"/>
                  <a:pt x="328" y="296"/>
                  <a:pt x="328" y="292"/>
                </a:cubicBezTo>
                <a:cubicBezTo>
                  <a:pt x="328" y="287"/>
                  <a:pt x="324" y="284"/>
                  <a:pt x="320" y="284"/>
                </a:cubicBezTo>
                <a:cubicBezTo>
                  <a:pt x="75" y="284"/>
                  <a:pt x="75" y="284"/>
                  <a:pt x="75" y="284"/>
                </a:cubicBezTo>
                <a:cubicBezTo>
                  <a:pt x="71" y="284"/>
                  <a:pt x="67" y="287"/>
                  <a:pt x="67" y="292"/>
                </a:cubicBezTo>
                <a:cubicBezTo>
                  <a:pt x="67" y="296"/>
                  <a:pt x="71" y="300"/>
                  <a:pt x="75" y="300"/>
                </a:cubicBezTo>
                <a:close/>
                <a:moveTo>
                  <a:pt x="328" y="103"/>
                </a:moveTo>
                <a:cubicBezTo>
                  <a:pt x="328" y="98"/>
                  <a:pt x="324" y="95"/>
                  <a:pt x="320" y="95"/>
                </a:cubicBezTo>
                <a:cubicBezTo>
                  <a:pt x="75" y="95"/>
                  <a:pt x="75" y="95"/>
                  <a:pt x="75" y="95"/>
                </a:cubicBezTo>
                <a:cubicBezTo>
                  <a:pt x="71" y="95"/>
                  <a:pt x="67" y="98"/>
                  <a:pt x="67" y="103"/>
                </a:cubicBezTo>
                <a:cubicBezTo>
                  <a:pt x="67" y="107"/>
                  <a:pt x="71" y="111"/>
                  <a:pt x="75" y="111"/>
                </a:cubicBezTo>
                <a:cubicBezTo>
                  <a:pt x="320" y="111"/>
                  <a:pt x="320" y="111"/>
                  <a:pt x="320" y="111"/>
                </a:cubicBezTo>
                <a:cubicBezTo>
                  <a:pt x="324" y="111"/>
                  <a:pt x="328" y="107"/>
                  <a:pt x="328" y="103"/>
                </a:cubicBezTo>
                <a:close/>
                <a:moveTo>
                  <a:pt x="359" y="235"/>
                </a:moveTo>
                <a:cubicBezTo>
                  <a:pt x="359" y="159"/>
                  <a:pt x="359" y="159"/>
                  <a:pt x="359" y="159"/>
                </a:cubicBezTo>
                <a:cubicBezTo>
                  <a:pt x="359" y="153"/>
                  <a:pt x="354" y="149"/>
                  <a:pt x="348" y="149"/>
                </a:cubicBezTo>
                <a:cubicBezTo>
                  <a:pt x="311" y="149"/>
                  <a:pt x="311" y="149"/>
                  <a:pt x="311" y="149"/>
                </a:cubicBezTo>
                <a:cubicBezTo>
                  <a:pt x="305" y="149"/>
                  <a:pt x="301" y="153"/>
                  <a:pt x="301" y="159"/>
                </a:cubicBezTo>
                <a:cubicBezTo>
                  <a:pt x="301" y="235"/>
                  <a:pt x="301" y="235"/>
                  <a:pt x="301" y="235"/>
                </a:cubicBezTo>
                <a:cubicBezTo>
                  <a:pt x="301" y="241"/>
                  <a:pt x="305" y="246"/>
                  <a:pt x="311" y="246"/>
                </a:cubicBezTo>
                <a:cubicBezTo>
                  <a:pt x="348" y="246"/>
                  <a:pt x="348" y="246"/>
                  <a:pt x="348" y="246"/>
                </a:cubicBezTo>
                <a:cubicBezTo>
                  <a:pt x="354" y="246"/>
                  <a:pt x="359" y="241"/>
                  <a:pt x="359" y="235"/>
                </a:cubicBezTo>
                <a:close/>
                <a:moveTo>
                  <a:pt x="316" y="226"/>
                </a:moveTo>
                <a:cubicBezTo>
                  <a:pt x="315" y="226"/>
                  <a:pt x="313" y="225"/>
                  <a:pt x="313" y="223"/>
                </a:cubicBezTo>
                <a:cubicBezTo>
                  <a:pt x="313" y="222"/>
                  <a:pt x="314" y="220"/>
                  <a:pt x="316" y="220"/>
                </a:cubicBezTo>
                <a:cubicBezTo>
                  <a:pt x="334" y="220"/>
                  <a:pt x="343" y="215"/>
                  <a:pt x="344" y="196"/>
                </a:cubicBezTo>
                <a:cubicBezTo>
                  <a:pt x="344" y="193"/>
                  <a:pt x="344" y="191"/>
                  <a:pt x="344" y="188"/>
                </a:cubicBezTo>
                <a:cubicBezTo>
                  <a:pt x="343" y="179"/>
                  <a:pt x="338" y="174"/>
                  <a:pt x="329" y="174"/>
                </a:cubicBezTo>
                <a:cubicBezTo>
                  <a:pt x="320" y="174"/>
                  <a:pt x="315" y="179"/>
                  <a:pt x="315" y="187"/>
                </a:cubicBezTo>
                <a:cubicBezTo>
                  <a:pt x="315" y="195"/>
                  <a:pt x="319" y="199"/>
                  <a:pt x="329" y="199"/>
                </a:cubicBezTo>
                <a:cubicBezTo>
                  <a:pt x="331" y="199"/>
                  <a:pt x="333" y="199"/>
                  <a:pt x="337" y="198"/>
                </a:cubicBezTo>
                <a:cubicBezTo>
                  <a:pt x="338" y="198"/>
                  <a:pt x="340" y="199"/>
                  <a:pt x="340" y="200"/>
                </a:cubicBezTo>
                <a:cubicBezTo>
                  <a:pt x="340" y="202"/>
                  <a:pt x="339" y="203"/>
                  <a:pt x="338" y="203"/>
                </a:cubicBezTo>
                <a:cubicBezTo>
                  <a:pt x="335" y="204"/>
                  <a:pt x="333" y="205"/>
                  <a:pt x="329" y="205"/>
                </a:cubicBezTo>
                <a:cubicBezTo>
                  <a:pt x="316" y="205"/>
                  <a:pt x="310" y="199"/>
                  <a:pt x="310" y="188"/>
                </a:cubicBezTo>
                <a:cubicBezTo>
                  <a:pt x="310" y="177"/>
                  <a:pt x="317" y="169"/>
                  <a:pt x="329" y="169"/>
                </a:cubicBezTo>
                <a:cubicBezTo>
                  <a:pt x="342" y="169"/>
                  <a:pt x="349" y="176"/>
                  <a:pt x="350" y="188"/>
                </a:cubicBezTo>
                <a:cubicBezTo>
                  <a:pt x="350" y="191"/>
                  <a:pt x="350" y="193"/>
                  <a:pt x="350" y="196"/>
                </a:cubicBezTo>
                <a:cubicBezTo>
                  <a:pt x="349" y="218"/>
                  <a:pt x="338" y="226"/>
                  <a:pt x="316" y="226"/>
                </a:cubicBezTo>
                <a:close/>
                <a:moveTo>
                  <a:pt x="179" y="149"/>
                </a:moveTo>
                <a:cubicBezTo>
                  <a:pt x="174" y="149"/>
                  <a:pt x="169" y="153"/>
                  <a:pt x="169" y="159"/>
                </a:cubicBezTo>
                <a:cubicBezTo>
                  <a:pt x="169" y="235"/>
                  <a:pt x="169" y="235"/>
                  <a:pt x="169" y="235"/>
                </a:cubicBezTo>
                <a:cubicBezTo>
                  <a:pt x="169" y="241"/>
                  <a:pt x="174" y="246"/>
                  <a:pt x="179" y="246"/>
                </a:cubicBezTo>
                <a:cubicBezTo>
                  <a:pt x="217" y="246"/>
                  <a:pt x="217" y="246"/>
                  <a:pt x="217" y="246"/>
                </a:cubicBezTo>
                <a:cubicBezTo>
                  <a:pt x="222" y="246"/>
                  <a:pt x="227" y="241"/>
                  <a:pt x="227" y="235"/>
                </a:cubicBezTo>
                <a:cubicBezTo>
                  <a:pt x="227" y="159"/>
                  <a:pt x="227" y="159"/>
                  <a:pt x="227" y="159"/>
                </a:cubicBezTo>
                <a:cubicBezTo>
                  <a:pt x="227" y="153"/>
                  <a:pt x="222" y="149"/>
                  <a:pt x="217" y="149"/>
                </a:cubicBezTo>
                <a:lnTo>
                  <a:pt x="179" y="149"/>
                </a:lnTo>
                <a:close/>
                <a:moveTo>
                  <a:pt x="183" y="225"/>
                </a:moveTo>
                <a:cubicBezTo>
                  <a:pt x="181" y="225"/>
                  <a:pt x="180" y="224"/>
                  <a:pt x="180" y="223"/>
                </a:cubicBezTo>
                <a:cubicBezTo>
                  <a:pt x="180" y="221"/>
                  <a:pt x="181" y="220"/>
                  <a:pt x="183" y="220"/>
                </a:cubicBezTo>
                <a:cubicBezTo>
                  <a:pt x="199" y="221"/>
                  <a:pt x="211" y="216"/>
                  <a:pt x="211" y="205"/>
                </a:cubicBezTo>
                <a:cubicBezTo>
                  <a:pt x="211" y="199"/>
                  <a:pt x="206" y="195"/>
                  <a:pt x="199" y="195"/>
                </a:cubicBezTo>
                <a:cubicBezTo>
                  <a:pt x="196" y="195"/>
                  <a:pt x="195" y="195"/>
                  <a:pt x="194" y="195"/>
                </a:cubicBezTo>
                <a:cubicBezTo>
                  <a:pt x="192" y="195"/>
                  <a:pt x="191" y="194"/>
                  <a:pt x="191" y="193"/>
                </a:cubicBezTo>
                <a:cubicBezTo>
                  <a:pt x="191" y="192"/>
                  <a:pt x="191" y="191"/>
                  <a:pt x="192" y="191"/>
                </a:cubicBezTo>
                <a:cubicBezTo>
                  <a:pt x="206" y="175"/>
                  <a:pt x="206" y="175"/>
                  <a:pt x="206" y="175"/>
                </a:cubicBezTo>
                <a:cubicBezTo>
                  <a:pt x="183" y="175"/>
                  <a:pt x="183" y="175"/>
                  <a:pt x="183" y="175"/>
                </a:cubicBezTo>
                <a:cubicBezTo>
                  <a:pt x="181" y="175"/>
                  <a:pt x="180" y="173"/>
                  <a:pt x="180" y="172"/>
                </a:cubicBezTo>
                <a:cubicBezTo>
                  <a:pt x="180" y="170"/>
                  <a:pt x="181" y="169"/>
                  <a:pt x="183" y="169"/>
                </a:cubicBezTo>
                <a:cubicBezTo>
                  <a:pt x="209" y="169"/>
                  <a:pt x="209" y="169"/>
                  <a:pt x="209" y="169"/>
                </a:cubicBezTo>
                <a:cubicBezTo>
                  <a:pt x="211" y="169"/>
                  <a:pt x="213" y="171"/>
                  <a:pt x="213" y="173"/>
                </a:cubicBezTo>
                <a:cubicBezTo>
                  <a:pt x="213" y="174"/>
                  <a:pt x="213" y="175"/>
                  <a:pt x="212" y="176"/>
                </a:cubicBezTo>
                <a:cubicBezTo>
                  <a:pt x="199" y="190"/>
                  <a:pt x="199" y="190"/>
                  <a:pt x="199" y="190"/>
                </a:cubicBezTo>
                <a:cubicBezTo>
                  <a:pt x="209" y="189"/>
                  <a:pt x="216" y="196"/>
                  <a:pt x="216" y="205"/>
                </a:cubicBezTo>
                <a:cubicBezTo>
                  <a:pt x="216" y="219"/>
                  <a:pt x="204" y="226"/>
                  <a:pt x="183" y="225"/>
                </a:cubicBezTo>
                <a:close/>
                <a:moveTo>
                  <a:pt x="245" y="149"/>
                </a:moveTo>
                <a:cubicBezTo>
                  <a:pt x="240" y="149"/>
                  <a:pt x="235" y="153"/>
                  <a:pt x="235" y="159"/>
                </a:cubicBezTo>
                <a:cubicBezTo>
                  <a:pt x="235" y="235"/>
                  <a:pt x="235" y="235"/>
                  <a:pt x="235" y="235"/>
                </a:cubicBezTo>
                <a:cubicBezTo>
                  <a:pt x="235" y="241"/>
                  <a:pt x="240" y="246"/>
                  <a:pt x="245" y="246"/>
                </a:cubicBezTo>
                <a:cubicBezTo>
                  <a:pt x="282" y="246"/>
                  <a:pt x="282" y="246"/>
                  <a:pt x="282" y="246"/>
                </a:cubicBezTo>
                <a:cubicBezTo>
                  <a:pt x="288" y="246"/>
                  <a:pt x="293" y="241"/>
                  <a:pt x="293" y="235"/>
                </a:cubicBezTo>
                <a:cubicBezTo>
                  <a:pt x="293" y="159"/>
                  <a:pt x="293" y="159"/>
                  <a:pt x="293" y="159"/>
                </a:cubicBezTo>
                <a:cubicBezTo>
                  <a:pt x="293" y="153"/>
                  <a:pt x="288" y="149"/>
                  <a:pt x="282" y="149"/>
                </a:cubicBezTo>
                <a:lnTo>
                  <a:pt x="245" y="149"/>
                </a:lnTo>
                <a:close/>
                <a:moveTo>
                  <a:pt x="285" y="210"/>
                </a:moveTo>
                <a:cubicBezTo>
                  <a:pt x="285" y="219"/>
                  <a:pt x="278" y="224"/>
                  <a:pt x="269" y="225"/>
                </a:cubicBezTo>
                <a:cubicBezTo>
                  <a:pt x="269" y="226"/>
                  <a:pt x="268" y="226"/>
                  <a:pt x="268" y="226"/>
                </a:cubicBezTo>
                <a:cubicBezTo>
                  <a:pt x="266" y="226"/>
                  <a:pt x="265" y="224"/>
                  <a:pt x="265" y="223"/>
                </a:cubicBezTo>
                <a:cubicBezTo>
                  <a:pt x="265" y="222"/>
                  <a:pt x="266" y="220"/>
                  <a:pt x="267" y="220"/>
                </a:cubicBezTo>
                <a:cubicBezTo>
                  <a:pt x="274" y="219"/>
                  <a:pt x="279" y="216"/>
                  <a:pt x="279" y="210"/>
                </a:cubicBezTo>
                <a:cubicBezTo>
                  <a:pt x="279" y="203"/>
                  <a:pt x="273" y="199"/>
                  <a:pt x="263" y="199"/>
                </a:cubicBezTo>
                <a:cubicBezTo>
                  <a:pt x="254" y="199"/>
                  <a:pt x="249" y="203"/>
                  <a:pt x="249" y="210"/>
                </a:cubicBezTo>
                <a:cubicBezTo>
                  <a:pt x="249" y="216"/>
                  <a:pt x="254" y="219"/>
                  <a:pt x="260" y="220"/>
                </a:cubicBezTo>
                <a:cubicBezTo>
                  <a:pt x="262" y="221"/>
                  <a:pt x="263" y="222"/>
                  <a:pt x="263" y="223"/>
                </a:cubicBezTo>
                <a:cubicBezTo>
                  <a:pt x="263" y="224"/>
                  <a:pt x="261" y="226"/>
                  <a:pt x="260" y="226"/>
                </a:cubicBezTo>
                <a:cubicBezTo>
                  <a:pt x="260" y="226"/>
                  <a:pt x="259" y="226"/>
                  <a:pt x="258" y="225"/>
                </a:cubicBezTo>
                <a:cubicBezTo>
                  <a:pt x="250" y="224"/>
                  <a:pt x="243" y="219"/>
                  <a:pt x="243" y="210"/>
                </a:cubicBezTo>
                <a:cubicBezTo>
                  <a:pt x="243" y="202"/>
                  <a:pt x="248" y="198"/>
                  <a:pt x="253" y="196"/>
                </a:cubicBezTo>
                <a:cubicBezTo>
                  <a:pt x="253" y="196"/>
                  <a:pt x="253" y="196"/>
                  <a:pt x="253" y="196"/>
                </a:cubicBezTo>
                <a:cubicBezTo>
                  <a:pt x="248" y="194"/>
                  <a:pt x="245" y="191"/>
                  <a:pt x="245" y="183"/>
                </a:cubicBezTo>
                <a:cubicBezTo>
                  <a:pt x="245" y="176"/>
                  <a:pt x="249" y="171"/>
                  <a:pt x="258" y="169"/>
                </a:cubicBezTo>
                <a:cubicBezTo>
                  <a:pt x="259" y="169"/>
                  <a:pt x="260" y="169"/>
                  <a:pt x="260" y="169"/>
                </a:cubicBezTo>
                <a:cubicBezTo>
                  <a:pt x="261" y="169"/>
                  <a:pt x="263" y="170"/>
                  <a:pt x="263" y="171"/>
                </a:cubicBezTo>
                <a:cubicBezTo>
                  <a:pt x="263" y="173"/>
                  <a:pt x="262" y="174"/>
                  <a:pt x="260" y="174"/>
                </a:cubicBezTo>
                <a:cubicBezTo>
                  <a:pt x="254" y="175"/>
                  <a:pt x="250" y="178"/>
                  <a:pt x="250" y="183"/>
                </a:cubicBezTo>
                <a:cubicBezTo>
                  <a:pt x="250" y="190"/>
                  <a:pt x="255" y="193"/>
                  <a:pt x="264" y="193"/>
                </a:cubicBezTo>
                <a:cubicBezTo>
                  <a:pt x="272" y="193"/>
                  <a:pt x="277" y="189"/>
                  <a:pt x="277" y="183"/>
                </a:cubicBezTo>
                <a:cubicBezTo>
                  <a:pt x="277" y="178"/>
                  <a:pt x="274" y="175"/>
                  <a:pt x="267" y="174"/>
                </a:cubicBezTo>
                <a:cubicBezTo>
                  <a:pt x="266" y="174"/>
                  <a:pt x="265" y="173"/>
                  <a:pt x="265" y="171"/>
                </a:cubicBezTo>
                <a:cubicBezTo>
                  <a:pt x="265" y="170"/>
                  <a:pt x="266" y="169"/>
                  <a:pt x="268" y="169"/>
                </a:cubicBezTo>
                <a:cubicBezTo>
                  <a:pt x="268" y="169"/>
                  <a:pt x="269" y="169"/>
                  <a:pt x="269" y="169"/>
                </a:cubicBezTo>
                <a:cubicBezTo>
                  <a:pt x="278" y="171"/>
                  <a:pt x="283" y="176"/>
                  <a:pt x="283" y="183"/>
                </a:cubicBezTo>
                <a:cubicBezTo>
                  <a:pt x="283" y="190"/>
                  <a:pt x="279" y="194"/>
                  <a:pt x="275" y="196"/>
                </a:cubicBezTo>
                <a:cubicBezTo>
                  <a:pt x="275" y="196"/>
                  <a:pt x="275" y="196"/>
                  <a:pt x="275" y="196"/>
                </a:cubicBezTo>
                <a:cubicBezTo>
                  <a:pt x="280" y="197"/>
                  <a:pt x="284" y="202"/>
                  <a:pt x="285" y="210"/>
                </a:cubicBezTo>
                <a:close/>
                <a:moveTo>
                  <a:pt x="114" y="149"/>
                </a:moveTo>
                <a:cubicBezTo>
                  <a:pt x="108" y="149"/>
                  <a:pt x="103" y="153"/>
                  <a:pt x="103" y="159"/>
                </a:cubicBezTo>
                <a:cubicBezTo>
                  <a:pt x="103" y="235"/>
                  <a:pt x="103" y="235"/>
                  <a:pt x="103" y="235"/>
                </a:cubicBezTo>
                <a:cubicBezTo>
                  <a:pt x="103" y="241"/>
                  <a:pt x="108" y="246"/>
                  <a:pt x="114" y="246"/>
                </a:cubicBezTo>
                <a:cubicBezTo>
                  <a:pt x="151" y="246"/>
                  <a:pt x="151" y="246"/>
                  <a:pt x="151" y="246"/>
                </a:cubicBezTo>
                <a:cubicBezTo>
                  <a:pt x="157" y="246"/>
                  <a:pt x="161" y="241"/>
                  <a:pt x="161" y="235"/>
                </a:cubicBezTo>
                <a:cubicBezTo>
                  <a:pt x="161" y="159"/>
                  <a:pt x="161" y="159"/>
                  <a:pt x="161" y="159"/>
                </a:cubicBezTo>
                <a:cubicBezTo>
                  <a:pt x="161" y="153"/>
                  <a:pt x="157" y="149"/>
                  <a:pt x="151" y="149"/>
                </a:cubicBezTo>
                <a:lnTo>
                  <a:pt x="114" y="149"/>
                </a:lnTo>
                <a:close/>
                <a:moveTo>
                  <a:pt x="117" y="225"/>
                </a:moveTo>
                <a:cubicBezTo>
                  <a:pt x="115" y="225"/>
                  <a:pt x="114" y="224"/>
                  <a:pt x="114" y="223"/>
                </a:cubicBezTo>
                <a:cubicBezTo>
                  <a:pt x="114" y="221"/>
                  <a:pt x="115" y="220"/>
                  <a:pt x="117" y="220"/>
                </a:cubicBezTo>
                <a:cubicBezTo>
                  <a:pt x="133" y="221"/>
                  <a:pt x="145" y="215"/>
                  <a:pt x="145" y="204"/>
                </a:cubicBezTo>
                <a:cubicBezTo>
                  <a:pt x="145" y="198"/>
                  <a:pt x="140" y="194"/>
                  <a:pt x="134" y="194"/>
                </a:cubicBezTo>
                <a:cubicBezTo>
                  <a:pt x="127" y="194"/>
                  <a:pt x="123" y="196"/>
                  <a:pt x="120" y="197"/>
                </a:cubicBezTo>
                <a:cubicBezTo>
                  <a:pt x="117" y="199"/>
                  <a:pt x="115" y="197"/>
                  <a:pt x="115" y="195"/>
                </a:cubicBezTo>
                <a:cubicBezTo>
                  <a:pt x="115" y="174"/>
                  <a:pt x="115" y="174"/>
                  <a:pt x="115" y="174"/>
                </a:cubicBezTo>
                <a:cubicBezTo>
                  <a:pt x="115" y="170"/>
                  <a:pt x="118" y="169"/>
                  <a:pt x="120" y="169"/>
                </a:cubicBezTo>
                <a:cubicBezTo>
                  <a:pt x="144" y="169"/>
                  <a:pt x="144" y="169"/>
                  <a:pt x="144" y="169"/>
                </a:cubicBezTo>
                <a:cubicBezTo>
                  <a:pt x="146" y="169"/>
                  <a:pt x="147" y="170"/>
                  <a:pt x="147" y="172"/>
                </a:cubicBezTo>
                <a:cubicBezTo>
                  <a:pt x="147" y="173"/>
                  <a:pt x="146" y="175"/>
                  <a:pt x="144" y="175"/>
                </a:cubicBezTo>
                <a:cubicBezTo>
                  <a:pt x="121" y="175"/>
                  <a:pt x="121" y="175"/>
                  <a:pt x="121" y="175"/>
                </a:cubicBezTo>
                <a:cubicBezTo>
                  <a:pt x="121" y="192"/>
                  <a:pt x="121" y="192"/>
                  <a:pt x="121" y="192"/>
                </a:cubicBezTo>
                <a:cubicBezTo>
                  <a:pt x="124" y="190"/>
                  <a:pt x="128" y="188"/>
                  <a:pt x="134" y="188"/>
                </a:cubicBezTo>
                <a:cubicBezTo>
                  <a:pt x="144" y="188"/>
                  <a:pt x="151" y="195"/>
                  <a:pt x="151" y="204"/>
                </a:cubicBezTo>
                <a:cubicBezTo>
                  <a:pt x="151" y="218"/>
                  <a:pt x="137" y="226"/>
                  <a:pt x="117" y="225"/>
                </a:cubicBezTo>
                <a:close/>
                <a:moveTo>
                  <a:pt x="37" y="159"/>
                </a:moveTo>
                <a:cubicBezTo>
                  <a:pt x="37" y="235"/>
                  <a:pt x="37" y="235"/>
                  <a:pt x="37" y="235"/>
                </a:cubicBezTo>
                <a:cubicBezTo>
                  <a:pt x="37" y="241"/>
                  <a:pt x="42" y="246"/>
                  <a:pt x="48" y="246"/>
                </a:cubicBezTo>
                <a:cubicBezTo>
                  <a:pt x="85" y="246"/>
                  <a:pt x="85" y="246"/>
                  <a:pt x="85" y="246"/>
                </a:cubicBezTo>
                <a:cubicBezTo>
                  <a:pt x="91" y="246"/>
                  <a:pt x="95" y="241"/>
                  <a:pt x="95" y="235"/>
                </a:cubicBezTo>
                <a:cubicBezTo>
                  <a:pt x="95" y="159"/>
                  <a:pt x="95" y="159"/>
                  <a:pt x="95" y="159"/>
                </a:cubicBezTo>
                <a:cubicBezTo>
                  <a:pt x="95" y="153"/>
                  <a:pt x="91" y="149"/>
                  <a:pt x="85" y="149"/>
                </a:cubicBezTo>
                <a:cubicBezTo>
                  <a:pt x="48" y="149"/>
                  <a:pt x="48" y="149"/>
                  <a:pt x="48" y="149"/>
                </a:cubicBezTo>
                <a:cubicBezTo>
                  <a:pt x="42" y="149"/>
                  <a:pt x="37" y="153"/>
                  <a:pt x="37" y="159"/>
                </a:cubicBezTo>
                <a:close/>
                <a:moveTo>
                  <a:pt x="66" y="174"/>
                </a:moveTo>
                <a:cubicBezTo>
                  <a:pt x="60" y="174"/>
                  <a:pt x="56" y="177"/>
                  <a:pt x="54" y="180"/>
                </a:cubicBezTo>
                <a:cubicBezTo>
                  <a:pt x="53" y="181"/>
                  <a:pt x="53" y="181"/>
                  <a:pt x="52" y="181"/>
                </a:cubicBezTo>
                <a:cubicBezTo>
                  <a:pt x="50" y="182"/>
                  <a:pt x="49" y="181"/>
                  <a:pt x="48" y="180"/>
                </a:cubicBezTo>
                <a:cubicBezTo>
                  <a:pt x="48" y="179"/>
                  <a:pt x="48" y="178"/>
                  <a:pt x="49" y="177"/>
                </a:cubicBezTo>
                <a:cubicBezTo>
                  <a:pt x="52" y="173"/>
                  <a:pt x="57" y="169"/>
                  <a:pt x="66" y="169"/>
                </a:cubicBezTo>
                <a:cubicBezTo>
                  <a:pt x="77" y="169"/>
                  <a:pt x="83" y="176"/>
                  <a:pt x="83" y="184"/>
                </a:cubicBezTo>
                <a:cubicBezTo>
                  <a:pt x="83" y="193"/>
                  <a:pt x="78" y="197"/>
                  <a:pt x="66" y="206"/>
                </a:cubicBezTo>
                <a:cubicBezTo>
                  <a:pt x="57" y="212"/>
                  <a:pt x="54" y="215"/>
                  <a:pt x="54" y="220"/>
                </a:cubicBezTo>
                <a:cubicBezTo>
                  <a:pt x="82" y="220"/>
                  <a:pt x="82" y="220"/>
                  <a:pt x="82" y="220"/>
                </a:cubicBezTo>
                <a:cubicBezTo>
                  <a:pt x="83" y="220"/>
                  <a:pt x="85" y="221"/>
                  <a:pt x="85" y="223"/>
                </a:cubicBezTo>
                <a:cubicBezTo>
                  <a:pt x="85" y="224"/>
                  <a:pt x="83" y="226"/>
                  <a:pt x="82" y="226"/>
                </a:cubicBezTo>
                <a:cubicBezTo>
                  <a:pt x="53" y="226"/>
                  <a:pt x="53" y="226"/>
                  <a:pt x="53" y="226"/>
                </a:cubicBezTo>
                <a:cubicBezTo>
                  <a:pt x="50" y="226"/>
                  <a:pt x="48" y="224"/>
                  <a:pt x="48" y="221"/>
                </a:cubicBezTo>
                <a:cubicBezTo>
                  <a:pt x="48" y="214"/>
                  <a:pt x="52" y="209"/>
                  <a:pt x="61" y="203"/>
                </a:cubicBezTo>
                <a:cubicBezTo>
                  <a:pt x="74" y="193"/>
                  <a:pt x="78" y="191"/>
                  <a:pt x="78" y="184"/>
                </a:cubicBezTo>
                <a:cubicBezTo>
                  <a:pt x="78" y="180"/>
                  <a:pt x="74" y="174"/>
                  <a:pt x="66"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nvGrpSpPr>
          <p:cNvPr id="12" name="Group 6"/>
          <p:cNvGrpSpPr>
            <a:grpSpLocks/>
          </p:cNvGrpSpPr>
          <p:nvPr>
            <p:custDataLst>
              <p:tags r:id="rId6"/>
            </p:custDataLst>
          </p:nvPr>
        </p:nvGrpSpPr>
        <p:grpSpPr bwMode="auto">
          <a:xfrm>
            <a:off x="541340" y="5210858"/>
            <a:ext cx="840397" cy="689881"/>
            <a:chOff x="1250592" y="5365091"/>
            <a:chExt cx="1706563" cy="1566862"/>
          </a:xfrm>
          <a:solidFill>
            <a:srgbClr val="FFFFFF"/>
          </a:solidFill>
        </p:grpSpPr>
        <p:sp>
          <p:nvSpPr>
            <p:cNvPr id="81" name="Freeform 3"/>
            <p:cNvSpPr>
              <a:spLocks noChangeAspect="1" noEditPoints="1"/>
            </p:cNvSpPr>
            <p:nvPr/>
          </p:nvSpPr>
          <p:spPr bwMode="auto">
            <a:xfrm>
              <a:off x="1773747" y="5646014"/>
              <a:ext cx="635162" cy="579057"/>
            </a:xfrm>
            <a:custGeom>
              <a:avLst/>
              <a:gdLst>
                <a:gd name="T0" fmla="*/ 2147483647 w 418"/>
                <a:gd name="T1" fmla="*/ 2147483647 h 333"/>
                <a:gd name="T2" fmla="*/ 2147483647 w 418"/>
                <a:gd name="T3" fmla="*/ 2147483647 h 333"/>
                <a:gd name="T4" fmla="*/ 2147483647 w 418"/>
                <a:gd name="T5" fmla="*/ 2147483647 h 333"/>
                <a:gd name="T6" fmla="*/ 2147483647 w 418"/>
                <a:gd name="T7" fmla="*/ 2147483647 h 333"/>
                <a:gd name="T8" fmla="*/ 2147483647 w 418"/>
                <a:gd name="T9" fmla="*/ 0 h 333"/>
                <a:gd name="T10" fmla="*/ 0 w 418"/>
                <a:gd name="T11" fmla="*/ 2147483647 h 333"/>
                <a:gd name="T12" fmla="*/ 2147483647 w 418"/>
                <a:gd name="T13" fmla="*/ 2147483647 h 333"/>
                <a:gd name="T14" fmla="*/ 2147483647 w 418"/>
                <a:gd name="T15" fmla="*/ 2147483647 h 333"/>
                <a:gd name="T16" fmla="*/ 2147483647 w 418"/>
                <a:gd name="T17" fmla="*/ 2147483647 h 333"/>
                <a:gd name="T18" fmla="*/ 2147483647 w 418"/>
                <a:gd name="T19" fmla="*/ 2147483647 h 333"/>
                <a:gd name="T20" fmla="*/ 2147483647 w 418"/>
                <a:gd name="T21" fmla="*/ 2147483647 h 333"/>
                <a:gd name="T22" fmla="*/ 2147483647 w 418"/>
                <a:gd name="T23" fmla="*/ 2147483647 h 333"/>
                <a:gd name="T24" fmla="*/ 2147483647 w 418"/>
                <a:gd name="T25" fmla="*/ 2147483647 h 333"/>
                <a:gd name="T26" fmla="*/ 2147483647 w 418"/>
                <a:gd name="T27" fmla="*/ 2147483647 h 333"/>
                <a:gd name="T28" fmla="*/ 2147483647 w 418"/>
                <a:gd name="T29" fmla="*/ 2147483647 h 333"/>
                <a:gd name="T30" fmla="*/ 2147483647 w 418"/>
                <a:gd name="T31" fmla="*/ 2147483647 h 333"/>
                <a:gd name="T32" fmla="*/ 2147483647 w 418"/>
                <a:gd name="T33" fmla="*/ 2147483647 h 333"/>
                <a:gd name="T34" fmla="*/ 2147483647 w 418"/>
                <a:gd name="T35" fmla="*/ 2147483647 h 333"/>
                <a:gd name="T36" fmla="*/ 2147483647 w 418"/>
                <a:gd name="T37" fmla="*/ 2147483647 h 333"/>
                <a:gd name="T38" fmla="*/ 2147483647 w 418"/>
                <a:gd name="T39" fmla="*/ 2147483647 h 333"/>
                <a:gd name="T40" fmla="*/ 2147483647 w 418"/>
                <a:gd name="T41" fmla="*/ 2147483647 h 333"/>
                <a:gd name="T42" fmla="*/ 2147483647 w 418"/>
                <a:gd name="T43" fmla="*/ 2147483647 h 333"/>
                <a:gd name="T44" fmla="*/ 2147483647 w 418"/>
                <a:gd name="T45" fmla="*/ 2147483647 h 333"/>
                <a:gd name="T46" fmla="*/ 2147483647 w 418"/>
                <a:gd name="T47" fmla="*/ 2147483647 h 333"/>
                <a:gd name="T48" fmla="*/ 2147483647 w 418"/>
                <a:gd name="T49" fmla="*/ 2147483647 h 333"/>
                <a:gd name="T50" fmla="*/ 2147483647 w 418"/>
                <a:gd name="T51" fmla="*/ 2147483647 h 333"/>
                <a:gd name="T52" fmla="*/ 2147483647 w 418"/>
                <a:gd name="T53" fmla="*/ 2147483647 h 333"/>
                <a:gd name="T54" fmla="*/ 2147483647 w 418"/>
                <a:gd name="T55" fmla="*/ 2147483647 h 333"/>
                <a:gd name="T56" fmla="*/ 2147483647 w 418"/>
                <a:gd name="T57" fmla="*/ 2147483647 h 333"/>
                <a:gd name="T58" fmla="*/ 2147483647 w 418"/>
                <a:gd name="T59" fmla="*/ 2147483647 h 333"/>
                <a:gd name="T60" fmla="*/ 2147483647 w 418"/>
                <a:gd name="T61" fmla="*/ 2147483647 h 333"/>
                <a:gd name="T62" fmla="*/ 2147483647 w 418"/>
                <a:gd name="T63" fmla="*/ 2147483647 h 333"/>
                <a:gd name="T64" fmla="*/ 2147483647 w 418"/>
                <a:gd name="T65" fmla="*/ 2147483647 h 333"/>
                <a:gd name="T66" fmla="*/ 2147483647 w 418"/>
                <a:gd name="T67" fmla="*/ 2147483647 h 333"/>
                <a:gd name="T68" fmla="*/ 2147483647 w 418"/>
                <a:gd name="T69" fmla="*/ 2147483647 h 333"/>
                <a:gd name="T70" fmla="*/ 2147483647 w 418"/>
                <a:gd name="T71" fmla="*/ 2147483647 h 333"/>
                <a:gd name="T72" fmla="*/ 2147483647 w 418"/>
                <a:gd name="T73" fmla="*/ 2147483647 h 333"/>
                <a:gd name="T74" fmla="*/ 2147483647 w 418"/>
                <a:gd name="T75" fmla="*/ 2147483647 h 333"/>
                <a:gd name="T76" fmla="*/ 2147483647 w 418"/>
                <a:gd name="T77" fmla="*/ 2147483647 h 333"/>
                <a:gd name="T78" fmla="*/ 2147483647 w 418"/>
                <a:gd name="T79" fmla="*/ 2147483647 h 333"/>
                <a:gd name="T80" fmla="*/ 2147483647 w 418"/>
                <a:gd name="T81" fmla="*/ 2147483647 h 333"/>
                <a:gd name="T82" fmla="*/ 2147483647 w 418"/>
                <a:gd name="T83" fmla="*/ 2147483647 h 333"/>
                <a:gd name="T84" fmla="*/ 2147483647 w 418"/>
                <a:gd name="T85" fmla="*/ 2147483647 h 3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18"/>
                <a:gd name="T130" fmla="*/ 0 h 333"/>
                <a:gd name="T131" fmla="*/ 418 w 418"/>
                <a:gd name="T132" fmla="*/ 333 h 33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18" h="333">
                  <a:moveTo>
                    <a:pt x="410" y="124"/>
                  </a:moveTo>
                  <a:cubicBezTo>
                    <a:pt x="406" y="124"/>
                    <a:pt x="402" y="128"/>
                    <a:pt x="402" y="132"/>
                  </a:cubicBezTo>
                  <a:cubicBezTo>
                    <a:pt x="402" y="138"/>
                    <a:pt x="402" y="145"/>
                    <a:pt x="402" y="152"/>
                  </a:cubicBezTo>
                  <a:cubicBezTo>
                    <a:pt x="402" y="152"/>
                    <a:pt x="402" y="152"/>
                    <a:pt x="402" y="152"/>
                  </a:cubicBezTo>
                  <a:cubicBezTo>
                    <a:pt x="402" y="264"/>
                    <a:pt x="402" y="264"/>
                    <a:pt x="402" y="264"/>
                  </a:cubicBezTo>
                  <a:cubicBezTo>
                    <a:pt x="16" y="264"/>
                    <a:pt x="16" y="264"/>
                    <a:pt x="16" y="264"/>
                  </a:cubicBezTo>
                  <a:cubicBezTo>
                    <a:pt x="16" y="69"/>
                    <a:pt x="16" y="69"/>
                    <a:pt x="16" y="69"/>
                  </a:cubicBezTo>
                  <a:cubicBezTo>
                    <a:pt x="402" y="69"/>
                    <a:pt x="402" y="69"/>
                    <a:pt x="402" y="69"/>
                  </a:cubicBezTo>
                  <a:cubicBezTo>
                    <a:pt x="402" y="90"/>
                    <a:pt x="402" y="90"/>
                    <a:pt x="402" y="90"/>
                  </a:cubicBezTo>
                  <a:cubicBezTo>
                    <a:pt x="402" y="90"/>
                    <a:pt x="402" y="90"/>
                    <a:pt x="402" y="90"/>
                  </a:cubicBezTo>
                  <a:cubicBezTo>
                    <a:pt x="402" y="93"/>
                    <a:pt x="402" y="93"/>
                    <a:pt x="402" y="93"/>
                  </a:cubicBezTo>
                  <a:cubicBezTo>
                    <a:pt x="402" y="98"/>
                    <a:pt x="406" y="101"/>
                    <a:pt x="410" y="101"/>
                  </a:cubicBezTo>
                  <a:cubicBezTo>
                    <a:pt x="415" y="101"/>
                    <a:pt x="418" y="98"/>
                    <a:pt x="418" y="93"/>
                  </a:cubicBezTo>
                  <a:cubicBezTo>
                    <a:pt x="418" y="31"/>
                    <a:pt x="418" y="31"/>
                    <a:pt x="418" y="31"/>
                  </a:cubicBezTo>
                  <a:cubicBezTo>
                    <a:pt x="418" y="14"/>
                    <a:pt x="405" y="0"/>
                    <a:pt x="388" y="0"/>
                  </a:cubicBezTo>
                  <a:cubicBezTo>
                    <a:pt x="31" y="0"/>
                    <a:pt x="31" y="0"/>
                    <a:pt x="31" y="0"/>
                  </a:cubicBezTo>
                  <a:cubicBezTo>
                    <a:pt x="14" y="0"/>
                    <a:pt x="0" y="14"/>
                    <a:pt x="0" y="31"/>
                  </a:cubicBezTo>
                  <a:cubicBezTo>
                    <a:pt x="0" y="302"/>
                    <a:pt x="0" y="302"/>
                    <a:pt x="0" y="302"/>
                  </a:cubicBezTo>
                  <a:cubicBezTo>
                    <a:pt x="0" y="319"/>
                    <a:pt x="14" y="333"/>
                    <a:pt x="31" y="333"/>
                  </a:cubicBezTo>
                  <a:cubicBezTo>
                    <a:pt x="388" y="333"/>
                    <a:pt x="388" y="333"/>
                    <a:pt x="388" y="333"/>
                  </a:cubicBezTo>
                  <a:cubicBezTo>
                    <a:pt x="405" y="333"/>
                    <a:pt x="418" y="319"/>
                    <a:pt x="418" y="302"/>
                  </a:cubicBezTo>
                  <a:cubicBezTo>
                    <a:pt x="418" y="302"/>
                    <a:pt x="418" y="190"/>
                    <a:pt x="418" y="132"/>
                  </a:cubicBezTo>
                  <a:cubicBezTo>
                    <a:pt x="418" y="128"/>
                    <a:pt x="415" y="124"/>
                    <a:pt x="410" y="124"/>
                  </a:cubicBezTo>
                  <a:close/>
                  <a:moveTo>
                    <a:pt x="65" y="41"/>
                  </a:moveTo>
                  <a:cubicBezTo>
                    <a:pt x="65" y="47"/>
                    <a:pt x="60" y="53"/>
                    <a:pt x="54" y="53"/>
                  </a:cubicBezTo>
                  <a:cubicBezTo>
                    <a:pt x="28" y="53"/>
                    <a:pt x="28" y="53"/>
                    <a:pt x="28" y="53"/>
                  </a:cubicBezTo>
                  <a:cubicBezTo>
                    <a:pt x="22" y="53"/>
                    <a:pt x="16" y="47"/>
                    <a:pt x="16" y="41"/>
                  </a:cubicBezTo>
                  <a:cubicBezTo>
                    <a:pt x="16" y="28"/>
                    <a:pt x="16" y="28"/>
                    <a:pt x="16" y="28"/>
                  </a:cubicBezTo>
                  <a:cubicBezTo>
                    <a:pt x="16" y="21"/>
                    <a:pt x="22" y="16"/>
                    <a:pt x="28" y="16"/>
                  </a:cubicBezTo>
                  <a:cubicBezTo>
                    <a:pt x="54" y="16"/>
                    <a:pt x="54" y="16"/>
                    <a:pt x="54" y="16"/>
                  </a:cubicBezTo>
                  <a:cubicBezTo>
                    <a:pt x="60" y="16"/>
                    <a:pt x="65" y="21"/>
                    <a:pt x="65" y="28"/>
                  </a:cubicBezTo>
                  <a:lnTo>
                    <a:pt x="65" y="41"/>
                  </a:lnTo>
                  <a:close/>
                  <a:moveTo>
                    <a:pt x="133" y="41"/>
                  </a:moveTo>
                  <a:cubicBezTo>
                    <a:pt x="133" y="47"/>
                    <a:pt x="128" y="53"/>
                    <a:pt x="121" y="53"/>
                  </a:cubicBezTo>
                  <a:cubicBezTo>
                    <a:pt x="95" y="53"/>
                    <a:pt x="95" y="53"/>
                    <a:pt x="95" y="53"/>
                  </a:cubicBezTo>
                  <a:cubicBezTo>
                    <a:pt x="89" y="53"/>
                    <a:pt x="84" y="47"/>
                    <a:pt x="84" y="41"/>
                  </a:cubicBezTo>
                  <a:cubicBezTo>
                    <a:pt x="84" y="28"/>
                    <a:pt x="84" y="28"/>
                    <a:pt x="84" y="28"/>
                  </a:cubicBezTo>
                  <a:cubicBezTo>
                    <a:pt x="84" y="21"/>
                    <a:pt x="89" y="16"/>
                    <a:pt x="95" y="16"/>
                  </a:cubicBezTo>
                  <a:cubicBezTo>
                    <a:pt x="121" y="16"/>
                    <a:pt x="121" y="16"/>
                    <a:pt x="121" y="16"/>
                  </a:cubicBezTo>
                  <a:cubicBezTo>
                    <a:pt x="128" y="16"/>
                    <a:pt x="133" y="21"/>
                    <a:pt x="133" y="28"/>
                  </a:cubicBezTo>
                  <a:lnTo>
                    <a:pt x="133" y="41"/>
                  </a:lnTo>
                  <a:close/>
                  <a:moveTo>
                    <a:pt x="200" y="41"/>
                  </a:moveTo>
                  <a:cubicBezTo>
                    <a:pt x="200" y="47"/>
                    <a:pt x="195" y="53"/>
                    <a:pt x="188" y="53"/>
                  </a:cubicBezTo>
                  <a:cubicBezTo>
                    <a:pt x="162" y="53"/>
                    <a:pt x="162" y="53"/>
                    <a:pt x="162" y="53"/>
                  </a:cubicBezTo>
                  <a:cubicBezTo>
                    <a:pt x="156" y="53"/>
                    <a:pt x="151" y="47"/>
                    <a:pt x="151" y="41"/>
                  </a:cubicBezTo>
                  <a:cubicBezTo>
                    <a:pt x="151" y="28"/>
                    <a:pt x="151" y="28"/>
                    <a:pt x="151" y="28"/>
                  </a:cubicBezTo>
                  <a:cubicBezTo>
                    <a:pt x="151" y="21"/>
                    <a:pt x="156" y="16"/>
                    <a:pt x="162" y="16"/>
                  </a:cubicBezTo>
                  <a:cubicBezTo>
                    <a:pt x="188" y="16"/>
                    <a:pt x="188" y="16"/>
                    <a:pt x="188" y="16"/>
                  </a:cubicBezTo>
                  <a:cubicBezTo>
                    <a:pt x="195" y="16"/>
                    <a:pt x="200" y="21"/>
                    <a:pt x="200" y="28"/>
                  </a:cubicBezTo>
                  <a:lnTo>
                    <a:pt x="200" y="41"/>
                  </a:lnTo>
                  <a:close/>
                  <a:moveTo>
                    <a:pt x="267" y="41"/>
                  </a:moveTo>
                  <a:cubicBezTo>
                    <a:pt x="267" y="47"/>
                    <a:pt x="262" y="53"/>
                    <a:pt x="256" y="53"/>
                  </a:cubicBezTo>
                  <a:cubicBezTo>
                    <a:pt x="230" y="53"/>
                    <a:pt x="230" y="53"/>
                    <a:pt x="230" y="53"/>
                  </a:cubicBezTo>
                  <a:cubicBezTo>
                    <a:pt x="223" y="53"/>
                    <a:pt x="218" y="47"/>
                    <a:pt x="218" y="41"/>
                  </a:cubicBezTo>
                  <a:cubicBezTo>
                    <a:pt x="218" y="28"/>
                    <a:pt x="218" y="28"/>
                    <a:pt x="218" y="28"/>
                  </a:cubicBezTo>
                  <a:cubicBezTo>
                    <a:pt x="218" y="21"/>
                    <a:pt x="223" y="16"/>
                    <a:pt x="230" y="16"/>
                  </a:cubicBezTo>
                  <a:cubicBezTo>
                    <a:pt x="256" y="16"/>
                    <a:pt x="256" y="16"/>
                    <a:pt x="256" y="16"/>
                  </a:cubicBezTo>
                  <a:cubicBezTo>
                    <a:pt x="262" y="16"/>
                    <a:pt x="267" y="21"/>
                    <a:pt x="267" y="28"/>
                  </a:cubicBezTo>
                  <a:lnTo>
                    <a:pt x="267" y="41"/>
                  </a:lnTo>
                  <a:close/>
                  <a:moveTo>
                    <a:pt x="334" y="41"/>
                  </a:moveTo>
                  <a:cubicBezTo>
                    <a:pt x="334" y="47"/>
                    <a:pt x="329" y="53"/>
                    <a:pt x="323" y="53"/>
                  </a:cubicBezTo>
                  <a:cubicBezTo>
                    <a:pt x="297" y="53"/>
                    <a:pt x="297" y="53"/>
                    <a:pt x="297" y="53"/>
                  </a:cubicBezTo>
                  <a:cubicBezTo>
                    <a:pt x="291" y="53"/>
                    <a:pt x="285" y="47"/>
                    <a:pt x="285" y="41"/>
                  </a:cubicBezTo>
                  <a:cubicBezTo>
                    <a:pt x="285" y="28"/>
                    <a:pt x="285" y="28"/>
                    <a:pt x="285" y="28"/>
                  </a:cubicBezTo>
                  <a:cubicBezTo>
                    <a:pt x="285" y="21"/>
                    <a:pt x="291" y="16"/>
                    <a:pt x="297" y="16"/>
                  </a:cubicBezTo>
                  <a:cubicBezTo>
                    <a:pt x="323" y="16"/>
                    <a:pt x="323" y="16"/>
                    <a:pt x="323" y="16"/>
                  </a:cubicBezTo>
                  <a:cubicBezTo>
                    <a:pt x="329" y="16"/>
                    <a:pt x="334" y="21"/>
                    <a:pt x="334" y="28"/>
                  </a:cubicBezTo>
                  <a:lnTo>
                    <a:pt x="334" y="41"/>
                  </a:lnTo>
                  <a:close/>
                  <a:moveTo>
                    <a:pt x="402" y="41"/>
                  </a:moveTo>
                  <a:cubicBezTo>
                    <a:pt x="402" y="47"/>
                    <a:pt x="397" y="53"/>
                    <a:pt x="390" y="53"/>
                  </a:cubicBezTo>
                  <a:cubicBezTo>
                    <a:pt x="364" y="53"/>
                    <a:pt x="364" y="53"/>
                    <a:pt x="364" y="53"/>
                  </a:cubicBezTo>
                  <a:cubicBezTo>
                    <a:pt x="358" y="53"/>
                    <a:pt x="353" y="47"/>
                    <a:pt x="353" y="41"/>
                  </a:cubicBezTo>
                  <a:cubicBezTo>
                    <a:pt x="353" y="28"/>
                    <a:pt x="353" y="28"/>
                    <a:pt x="353" y="28"/>
                  </a:cubicBezTo>
                  <a:cubicBezTo>
                    <a:pt x="353" y="21"/>
                    <a:pt x="358" y="16"/>
                    <a:pt x="364" y="16"/>
                  </a:cubicBezTo>
                  <a:cubicBezTo>
                    <a:pt x="390" y="16"/>
                    <a:pt x="390" y="16"/>
                    <a:pt x="390" y="16"/>
                  </a:cubicBezTo>
                  <a:cubicBezTo>
                    <a:pt x="397" y="16"/>
                    <a:pt x="402" y="21"/>
                    <a:pt x="402" y="28"/>
                  </a:cubicBezTo>
                  <a:lnTo>
                    <a:pt x="402" y="41"/>
                  </a:lnTo>
                  <a:close/>
                  <a:moveTo>
                    <a:pt x="353" y="292"/>
                  </a:moveTo>
                  <a:cubicBezTo>
                    <a:pt x="353" y="285"/>
                    <a:pt x="358" y="280"/>
                    <a:pt x="365" y="280"/>
                  </a:cubicBezTo>
                  <a:cubicBezTo>
                    <a:pt x="390" y="280"/>
                    <a:pt x="390" y="280"/>
                    <a:pt x="390" y="280"/>
                  </a:cubicBezTo>
                  <a:cubicBezTo>
                    <a:pt x="397" y="280"/>
                    <a:pt x="402" y="285"/>
                    <a:pt x="402" y="292"/>
                  </a:cubicBezTo>
                  <a:cubicBezTo>
                    <a:pt x="402" y="305"/>
                    <a:pt x="402" y="305"/>
                    <a:pt x="402" y="305"/>
                  </a:cubicBezTo>
                  <a:cubicBezTo>
                    <a:pt x="402" y="311"/>
                    <a:pt x="397" y="316"/>
                    <a:pt x="390" y="316"/>
                  </a:cubicBezTo>
                  <a:cubicBezTo>
                    <a:pt x="365" y="316"/>
                    <a:pt x="365" y="316"/>
                    <a:pt x="365" y="316"/>
                  </a:cubicBezTo>
                  <a:cubicBezTo>
                    <a:pt x="358" y="316"/>
                    <a:pt x="353" y="311"/>
                    <a:pt x="353" y="305"/>
                  </a:cubicBezTo>
                  <a:lnTo>
                    <a:pt x="353" y="292"/>
                  </a:lnTo>
                  <a:close/>
                  <a:moveTo>
                    <a:pt x="286" y="292"/>
                  </a:moveTo>
                  <a:cubicBezTo>
                    <a:pt x="286" y="285"/>
                    <a:pt x="291" y="280"/>
                    <a:pt x="297" y="280"/>
                  </a:cubicBezTo>
                  <a:cubicBezTo>
                    <a:pt x="323" y="280"/>
                    <a:pt x="323" y="280"/>
                    <a:pt x="323" y="280"/>
                  </a:cubicBezTo>
                  <a:cubicBezTo>
                    <a:pt x="330" y="280"/>
                    <a:pt x="335" y="285"/>
                    <a:pt x="335" y="292"/>
                  </a:cubicBezTo>
                  <a:cubicBezTo>
                    <a:pt x="335" y="305"/>
                    <a:pt x="335" y="305"/>
                    <a:pt x="335" y="305"/>
                  </a:cubicBezTo>
                  <a:cubicBezTo>
                    <a:pt x="335" y="311"/>
                    <a:pt x="330" y="316"/>
                    <a:pt x="323" y="316"/>
                  </a:cubicBezTo>
                  <a:cubicBezTo>
                    <a:pt x="297" y="316"/>
                    <a:pt x="297" y="316"/>
                    <a:pt x="297" y="316"/>
                  </a:cubicBezTo>
                  <a:cubicBezTo>
                    <a:pt x="291" y="316"/>
                    <a:pt x="286" y="311"/>
                    <a:pt x="286" y="305"/>
                  </a:cubicBezTo>
                  <a:lnTo>
                    <a:pt x="286" y="292"/>
                  </a:lnTo>
                  <a:close/>
                  <a:moveTo>
                    <a:pt x="218" y="292"/>
                  </a:moveTo>
                  <a:cubicBezTo>
                    <a:pt x="218" y="285"/>
                    <a:pt x="224" y="280"/>
                    <a:pt x="230" y="280"/>
                  </a:cubicBezTo>
                  <a:cubicBezTo>
                    <a:pt x="256" y="280"/>
                    <a:pt x="256" y="280"/>
                    <a:pt x="256" y="280"/>
                  </a:cubicBezTo>
                  <a:cubicBezTo>
                    <a:pt x="262" y="280"/>
                    <a:pt x="268" y="285"/>
                    <a:pt x="268" y="292"/>
                  </a:cubicBezTo>
                  <a:cubicBezTo>
                    <a:pt x="268" y="305"/>
                    <a:pt x="268" y="305"/>
                    <a:pt x="268" y="305"/>
                  </a:cubicBezTo>
                  <a:cubicBezTo>
                    <a:pt x="268" y="311"/>
                    <a:pt x="262" y="316"/>
                    <a:pt x="256" y="316"/>
                  </a:cubicBezTo>
                  <a:cubicBezTo>
                    <a:pt x="230" y="316"/>
                    <a:pt x="230" y="316"/>
                    <a:pt x="230" y="316"/>
                  </a:cubicBezTo>
                  <a:cubicBezTo>
                    <a:pt x="224" y="316"/>
                    <a:pt x="218" y="311"/>
                    <a:pt x="218" y="305"/>
                  </a:cubicBezTo>
                  <a:lnTo>
                    <a:pt x="218" y="292"/>
                  </a:lnTo>
                  <a:close/>
                  <a:moveTo>
                    <a:pt x="151" y="292"/>
                  </a:moveTo>
                  <a:cubicBezTo>
                    <a:pt x="151" y="285"/>
                    <a:pt x="156" y="280"/>
                    <a:pt x="163" y="280"/>
                  </a:cubicBezTo>
                  <a:cubicBezTo>
                    <a:pt x="189" y="280"/>
                    <a:pt x="189" y="280"/>
                    <a:pt x="189" y="280"/>
                  </a:cubicBezTo>
                  <a:cubicBezTo>
                    <a:pt x="195" y="280"/>
                    <a:pt x="200" y="285"/>
                    <a:pt x="200" y="292"/>
                  </a:cubicBezTo>
                  <a:cubicBezTo>
                    <a:pt x="200" y="305"/>
                    <a:pt x="200" y="305"/>
                    <a:pt x="200" y="305"/>
                  </a:cubicBezTo>
                  <a:cubicBezTo>
                    <a:pt x="200" y="311"/>
                    <a:pt x="195" y="316"/>
                    <a:pt x="189" y="316"/>
                  </a:cubicBezTo>
                  <a:cubicBezTo>
                    <a:pt x="163" y="316"/>
                    <a:pt x="163" y="316"/>
                    <a:pt x="163" y="316"/>
                  </a:cubicBezTo>
                  <a:cubicBezTo>
                    <a:pt x="156" y="316"/>
                    <a:pt x="151" y="311"/>
                    <a:pt x="151" y="305"/>
                  </a:cubicBezTo>
                  <a:lnTo>
                    <a:pt x="151" y="292"/>
                  </a:lnTo>
                  <a:close/>
                  <a:moveTo>
                    <a:pt x="84" y="292"/>
                  </a:moveTo>
                  <a:cubicBezTo>
                    <a:pt x="84" y="285"/>
                    <a:pt x="89" y="280"/>
                    <a:pt x="95" y="280"/>
                  </a:cubicBezTo>
                  <a:cubicBezTo>
                    <a:pt x="121" y="280"/>
                    <a:pt x="121" y="280"/>
                    <a:pt x="121" y="280"/>
                  </a:cubicBezTo>
                  <a:cubicBezTo>
                    <a:pt x="128" y="280"/>
                    <a:pt x="133" y="285"/>
                    <a:pt x="133" y="292"/>
                  </a:cubicBezTo>
                  <a:cubicBezTo>
                    <a:pt x="133" y="305"/>
                    <a:pt x="133" y="305"/>
                    <a:pt x="133" y="305"/>
                  </a:cubicBezTo>
                  <a:cubicBezTo>
                    <a:pt x="133" y="311"/>
                    <a:pt x="128" y="316"/>
                    <a:pt x="121" y="316"/>
                  </a:cubicBezTo>
                  <a:cubicBezTo>
                    <a:pt x="95" y="316"/>
                    <a:pt x="95" y="316"/>
                    <a:pt x="95" y="316"/>
                  </a:cubicBezTo>
                  <a:cubicBezTo>
                    <a:pt x="89" y="316"/>
                    <a:pt x="84" y="311"/>
                    <a:pt x="84" y="305"/>
                  </a:cubicBezTo>
                  <a:lnTo>
                    <a:pt x="84" y="292"/>
                  </a:lnTo>
                  <a:close/>
                  <a:moveTo>
                    <a:pt x="17" y="292"/>
                  </a:moveTo>
                  <a:cubicBezTo>
                    <a:pt x="17" y="285"/>
                    <a:pt x="22" y="280"/>
                    <a:pt x="28" y="280"/>
                  </a:cubicBezTo>
                  <a:cubicBezTo>
                    <a:pt x="54" y="280"/>
                    <a:pt x="54" y="280"/>
                    <a:pt x="54" y="280"/>
                  </a:cubicBezTo>
                  <a:cubicBezTo>
                    <a:pt x="61" y="280"/>
                    <a:pt x="66" y="285"/>
                    <a:pt x="66" y="292"/>
                  </a:cubicBezTo>
                  <a:cubicBezTo>
                    <a:pt x="66" y="305"/>
                    <a:pt x="66" y="305"/>
                    <a:pt x="66" y="305"/>
                  </a:cubicBezTo>
                  <a:cubicBezTo>
                    <a:pt x="66" y="311"/>
                    <a:pt x="61" y="316"/>
                    <a:pt x="54" y="316"/>
                  </a:cubicBezTo>
                  <a:cubicBezTo>
                    <a:pt x="28" y="316"/>
                    <a:pt x="28" y="316"/>
                    <a:pt x="28" y="316"/>
                  </a:cubicBezTo>
                  <a:cubicBezTo>
                    <a:pt x="22" y="316"/>
                    <a:pt x="17" y="311"/>
                    <a:pt x="17" y="305"/>
                  </a:cubicBezTo>
                  <a:lnTo>
                    <a:pt x="17"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sp>
          <p:nvSpPr>
            <p:cNvPr id="83" name="Freeform 3"/>
            <p:cNvSpPr>
              <a:spLocks noChangeAspect="1" noEditPoints="1"/>
            </p:cNvSpPr>
            <p:nvPr/>
          </p:nvSpPr>
          <p:spPr bwMode="auto">
            <a:xfrm>
              <a:off x="1250592" y="5365091"/>
              <a:ext cx="1706563" cy="1566862"/>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2147483647 h 418"/>
                <a:gd name="T12" fmla="*/ 2147483647 w 455"/>
                <a:gd name="T13" fmla="*/ 2147483647 h 418"/>
                <a:gd name="T14" fmla="*/ 2147483647 w 455"/>
                <a:gd name="T15" fmla="*/ 2147483647 h 418"/>
                <a:gd name="T16" fmla="*/ 2147483647 w 455"/>
                <a:gd name="T17" fmla="*/ 2147483647 h 418"/>
                <a:gd name="T18" fmla="*/ 2147483647 w 455"/>
                <a:gd name="T19" fmla="*/ 2147483647 h 418"/>
                <a:gd name="T20" fmla="*/ 2147483647 w 455"/>
                <a:gd name="T21" fmla="*/ 2147483647 h 418"/>
                <a:gd name="T22" fmla="*/ 2147483647 w 455"/>
                <a:gd name="T23" fmla="*/ 2147483647 h 418"/>
                <a:gd name="T24" fmla="*/ 2147483647 w 455"/>
                <a:gd name="T25" fmla="*/ 0 h 418"/>
                <a:gd name="T26" fmla="*/ 0 w 455"/>
                <a:gd name="T27" fmla="*/ 2147483647 h 418"/>
                <a:gd name="T28" fmla="*/ 2147483647 w 455"/>
                <a:gd name="T29" fmla="*/ 2147483647 h 418"/>
                <a:gd name="T30" fmla="*/ 2147483647 w 455"/>
                <a:gd name="T31" fmla="*/ 2147483647 h 418"/>
                <a:gd name="T32" fmla="*/ 2147483647 w 455"/>
                <a:gd name="T33" fmla="*/ 2147483647 h 418"/>
                <a:gd name="T34" fmla="*/ 2147483647 w 455"/>
                <a:gd name="T35" fmla="*/ 2147483647 h 418"/>
                <a:gd name="T36" fmla="*/ 2147483647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21474836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2147483647 w 455"/>
                <a:gd name="T65" fmla="*/ 2147483647 h 418"/>
                <a:gd name="T66" fmla="*/ 2147483647 w 455"/>
                <a:gd name="T67" fmla="*/ 2147483647 h 418"/>
                <a:gd name="T68" fmla="*/ 2147483647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2147483647 h 418"/>
                <a:gd name="T88" fmla="*/ 2147483647 w 455"/>
                <a:gd name="T89" fmla="*/ 2147483647 h 418"/>
                <a:gd name="T90" fmla="*/ 2147483647 w 455"/>
                <a:gd name="T91" fmla="*/ 2147483647 h 418"/>
                <a:gd name="T92" fmla="*/ 2147483647 w 455"/>
                <a:gd name="T93" fmla="*/ 2147483647 h 418"/>
                <a:gd name="T94" fmla="*/ 2147483647 w 455"/>
                <a:gd name="T95" fmla="*/ 2147483647 h 418"/>
                <a:gd name="T96" fmla="*/ 2147483647 w 455"/>
                <a:gd name="T97" fmla="*/ 2147483647 h 418"/>
                <a:gd name="T98" fmla="*/ 2147483647 w 455"/>
                <a:gd name="T99" fmla="*/ 2147483647 h 418"/>
                <a:gd name="T100" fmla="*/ 2147483647 w 455"/>
                <a:gd name="T101" fmla="*/ 2147483647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a typeface="MS PGothic" pitchFamily="34" charset="-128"/>
                <a:cs typeface="Arial" charset="0"/>
              </a:endParaRPr>
            </a:p>
          </p:txBody>
        </p:sp>
      </p:grpSp>
      <p:cxnSp>
        <p:nvCxnSpPr>
          <p:cNvPr id="13" name="Straight Connector 19"/>
          <p:cNvCxnSpPr>
            <a:cxnSpLocks noChangeShapeType="1"/>
          </p:cNvCxnSpPr>
          <p:nvPr>
            <p:custDataLst>
              <p:tags r:id="rId7"/>
            </p:custDataLst>
          </p:nvPr>
        </p:nvCxnSpPr>
        <p:spPr bwMode="auto">
          <a:xfrm flipV="1">
            <a:off x="1536700" y="3662363"/>
            <a:ext cx="889000" cy="168433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4" name="Straight Connector 37"/>
          <p:cNvCxnSpPr>
            <a:cxnSpLocks noChangeShapeType="1"/>
          </p:cNvCxnSpPr>
          <p:nvPr>
            <p:custDataLst>
              <p:tags r:id="rId8"/>
            </p:custDataLst>
          </p:nvPr>
        </p:nvCxnSpPr>
        <p:spPr bwMode="auto">
          <a:xfrm flipV="1">
            <a:off x="1525588" y="3582988"/>
            <a:ext cx="857250" cy="10207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5" name="Straight Connector 39"/>
          <p:cNvCxnSpPr>
            <a:cxnSpLocks noChangeShapeType="1"/>
          </p:cNvCxnSpPr>
          <p:nvPr>
            <p:custDataLst>
              <p:tags r:id="rId9"/>
            </p:custDataLst>
          </p:nvPr>
        </p:nvCxnSpPr>
        <p:spPr bwMode="auto">
          <a:xfrm flipV="1">
            <a:off x="1536700" y="3509963"/>
            <a:ext cx="820738" cy="593725"/>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6" name="Straight Connector 41"/>
          <p:cNvCxnSpPr>
            <a:cxnSpLocks noChangeShapeType="1"/>
          </p:cNvCxnSpPr>
          <p:nvPr>
            <p:custDataLst>
              <p:tags r:id="rId10"/>
            </p:custDataLst>
          </p:nvPr>
        </p:nvCxnSpPr>
        <p:spPr bwMode="auto">
          <a:xfrm>
            <a:off x="1590675" y="3382963"/>
            <a:ext cx="777875" cy="301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7" name="Straight Connector 44"/>
          <p:cNvCxnSpPr>
            <a:cxnSpLocks noChangeShapeType="1"/>
          </p:cNvCxnSpPr>
          <p:nvPr>
            <p:custDataLst>
              <p:tags r:id="rId11"/>
            </p:custDataLst>
          </p:nvPr>
        </p:nvCxnSpPr>
        <p:spPr bwMode="auto">
          <a:xfrm>
            <a:off x="1563688" y="2546350"/>
            <a:ext cx="841375" cy="79533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8" name="Straight Connector 47"/>
          <p:cNvCxnSpPr>
            <a:cxnSpLocks noChangeShapeType="1"/>
          </p:cNvCxnSpPr>
          <p:nvPr>
            <p:custDataLst>
              <p:tags r:id="rId12"/>
            </p:custDataLst>
          </p:nvPr>
        </p:nvCxnSpPr>
        <p:spPr bwMode="auto">
          <a:xfrm>
            <a:off x="1536700" y="1617663"/>
            <a:ext cx="946150" cy="16557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9" name="Straight Connector 51"/>
          <p:cNvCxnSpPr>
            <a:cxnSpLocks noChangeShapeType="1"/>
          </p:cNvCxnSpPr>
          <p:nvPr>
            <p:custDataLst>
              <p:tags r:id="rId13"/>
            </p:custDataLst>
          </p:nvPr>
        </p:nvCxnSpPr>
        <p:spPr bwMode="auto">
          <a:xfrm flipH="1" flipV="1">
            <a:off x="10075863" y="3640138"/>
            <a:ext cx="628650" cy="169386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0" name="Straight Connector 52"/>
          <p:cNvCxnSpPr>
            <a:cxnSpLocks noChangeShapeType="1"/>
          </p:cNvCxnSpPr>
          <p:nvPr>
            <p:custDataLst>
              <p:tags r:id="rId14"/>
            </p:custDataLst>
          </p:nvPr>
        </p:nvCxnSpPr>
        <p:spPr bwMode="auto">
          <a:xfrm flipH="1" flipV="1">
            <a:off x="10075863" y="3538538"/>
            <a:ext cx="693737" cy="9715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1" name="Straight Connector 53"/>
          <p:cNvCxnSpPr>
            <a:cxnSpLocks noChangeShapeType="1"/>
          </p:cNvCxnSpPr>
          <p:nvPr>
            <p:custDataLst>
              <p:tags r:id="rId15"/>
            </p:custDataLst>
          </p:nvPr>
        </p:nvCxnSpPr>
        <p:spPr bwMode="auto">
          <a:xfrm flipH="1" flipV="1">
            <a:off x="10112375" y="3471863"/>
            <a:ext cx="657225" cy="3190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2" name="Straight Connector 54"/>
          <p:cNvCxnSpPr>
            <a:cxnSpLocks noChangeShapeType="1"/>
          </p:cNvCxnSpPr>
          <p:nvPr>
            <p:custDataLst>
              <p:tags r:id="rId16"/>
            </p:custDataLst>
          </p:nvPr>
        </p:nvCxnSpPr>
        <p:spPr bwMode="auto">
          <a:xfrm flipH="1">
            <a:off x="10112375" y="3168650"/>
            <a:ext cx="657225" cy="214313"/>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3" name="Straight Connector 55"/>
          <p:cNvCxnSpPr>
            <a:cxnSpLocks noChangeShapeType="1"/>
          </p:cNvCxnSpPr>
          <p:nvPr>
            <p:custDataLst>
              <p:tags r:id="rId17"/>
            </p:custDataLst>
          </p:nvPr>
        </p:nvCxnSpPr>
        <p:spPr bwMode="auto">
          <a:xfrm flipH="1">
            <a:off x="10093325" y="2700338"/>
            <a:ext cx="676275" cy="6111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4" name="Straight Connector 56"/>
          <p:cNvCxnSpPr>
            <a:cxnSpLocks noChangeShapeType="1"/>
          </p:cNvCxnSpPr>
          <p:nvPr>
            <p:custDataLst>
              <p:tags r:id="rId18"/>
            </p:custDataLst>
          </p:nvPr>
        </p:nvCxnSpPr>
        <p:spPr bwMode="auto">
          <a:xfrm flipH="1">
            <a:off x="10058400" y="1962150"/>
            <a:ext cx="711200" cy="1274763"/>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5" name="Straight Connector 50"/>
          <p:cNvCxnSpPr>
            <a:cxnSpLocks noChangeShapeType="1"/>
          </p:cNvCxnSpPr>
          <p:nvPr>
            <p:custDataLst>
              <p:tags r:id="rId19"/>
            </p:custDataLst>
          </p:nvPr>
        </p:nvCxnSpPr>
        <p:spPr bwMode="auto">
          <a:xfrm>
            <a:off x="2908300" y="5948363"/>
            <a:ext cx="6659563"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6" name="Straight Connector 59"/>
          <p:cNvCxnSpPr>
            <a:cxnSpLocks noChangeShapeType="1"/>
          </p:cNvCxnSpPr>
          <p:nvPr>
            <p:custDataLst>
              <p:tags r:id="rId20"/>
            </p:custDataLst>
          </p:nvPr>
        </p:nvCxnSpPr>
        <p:spPr bwMode="auto">
          <a:xfrm>
            <a:off x="2551113" y="3298825"/>
            <a:ext cx="7415212"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7" name="Straight Connector 60"/>
          <p:cNvCxnSpPr>
            <a:cxnSpLocks noChangeShapeType="1"/>
          </p:cNvCxnSpPr>
          <p:nvPr>
            <p:custDataLst>
              <p:tags r:id="rId21"/>
            </p:custDataLst>
          </p:nvPr>
        </p:nvCxnSpPr>
        <p:spPr bwMode="auto">
          <a:xfrm>
            <a:off x="2551113" y="3392488"/>
            <a:ext cx="2794000" cy="4762"/>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8" name="Straight Connector 61"/>
          <p:cNvCxnSpPr>
            <a:cxnSpLocks noChangeShapeType="1"/>
          </p:cNvCxnSpPr>
          <p:nvPr>
            <p:custDataLst>
              <p:tags r:id="rId22"/>
            </p:custDataLst>
          </p:nvPr>
        </p:nvCxnSpPr>
        <p:spPr bwMode="auto">
          <a:xfrm>
            <a:off x="2551113" y="3486150"/>
            <a:ext cx="2794000" cy="952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29" name="Straight Connector 62"/>
          <p:cNvCxnSpPr>
            <a:cxnSpLocks noChangeShapeType="1"/>
          </p:cNvCxnSpPr>
          <p:nvPr>
            <p:custDataLst>
              <p:tags r:id="rId23"/>
            </p:custDataLst>
          </p:nvPr>
        </p:nvCxnSpPr>
        <p:spPr bwMode="auto">
          <a:xfrm>
            <a:off x="2551113" y="3579813"/>
            <a:ext cx="2794000"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30" name="Freeform 7"/>
          <p:cNvSpPr>
            <a:spLocks noChangeAspect="1"/>
          </p:cNvSpPr>
          <p:nvPr/>
        </p:nvSpPr>
        <p:spPr bwMode="auto">
          <a:xfrm>
            <a:off x="2501900" y="2413000"/>
            <a:ext cx="7421563" cy="755650"/>
          </a:xfrm>
          <a:custGeom>
            <a:avLst/>
            <a:gdLst>
              <a:gd name="T0" fmla="*/ 2147483646 w 2234"/>
              <a:gd name="T1" fmla="*/ 2147483646 h 227"/>
              <a:gd name="T2" fmla="*/ 0 w 2234"/>
              <a:gd name="T3" fmla="*/ 2147483646 h 227"/>
              <a:gd name="T4" fmla="*/ 0 w 2234"/>
              <a:gd name="T5" fmla="*/ 2147483646 h 227"/>
              <a:gd name="T6" fmla="*/ 0 w 2234"/>
              <a:gd name="T7" fmla="*/ 2147483646 h 227"/>
              <a:gd name="T8" fmla="*/ 2147483646 w 2234"/>
              <a:gd name="T9" fmla="*/ 0 h 227"/>
              <a:gd name="T10" fmla="*/ 2147483646 w 2234"/>
              <a:gd name="T11" fmla="*/ 0 h 227"/>
              <a:gd name="T12" fmla="*/ 2147483646 w 2234"/>
              <a:gd name="T13" fmla="*/ 0 h 227"/>
              <a:gd name="T14" fmla="*/ 2147483646 w 2234"/>
              <a:gd name="T15" fmla="*/ 2147483646 h 227"/>
              <a:gd name="T16" fmla="*/ 2147483646 w 2234"/>
              <a:gd name="T17" fmla="*/ 2147483646 h 227"/>
              <a:gd name="T18" fmla="*/ 2147483646 w 2234"/>
              <a:gd name="T19" fmla="*/ 2147483646 h 227"/>
              <a:gd name="T20" fmla="*/ 2147483646 w 2234"/>
              <a:gd name="T21" fmla="*/ 2147483646 h 227"/>
              <a:gd name="T22" fmla="*/ 2147483646 w 2234"/>
              <a:gd name="T23" fmla="*/ 2147483646 h 227"/>
              <a:gd name="T24" fmla="*/ 2147483646 w 2234"/>
              <a:gd name="T25" fmla="*/ 2147483646 h 227"/>
              <a:gd name="T26" fmla="*/ 2147483646 w 2234"/>
              <a:gd name="T27" fmla="*/ 2147483646 h 227"/>
              <a:gd name="T28" fmla="*/ 2147483646 w 2234"/>
              <a:gd name="T29" fmla="*/ 2147483646 h 227"/>
              <a:gd name="T30" fmla="*/ 2147483646 w 2234"/>
              <a:gd name="T31" fmla="*/ 2147483646 h 227"/>
              <a:gd name="T32" fmla="*/ 2147483646 w 2234"/>
              <a:gd name="T33" fmla="*/ 2147483646 h 227"/>
              <a:gd name="T34" fmla="*/ 2147483646 w 2234"/>
              <a:gd name="T35" fmla="*/ 2147483646 h 227"/>
              <a:gd name="T36" fmla="*/ 2147483646 w 2234"/>
              <a:gd name="T37" fmla="*/ 2147483646 h 227"/>
              <a:gd name="T38" fmla="*/ 2147483646 w 2234"/>
              <a:gd name="T39" fmla="*/ 2147483646 h 227"/>
              <a:gd name="T40" fmla="*/ 2147483646 w 2234"/>
              <a:gd name="T41" fmla="*/ 2147483646 h 227"/>
              <a:gd name="T42" fmla="*/ 2147483646 w 2234"/>
              <a:gd name="T43" fmla="*/ 2147483646 h 227"/>
              <a:gd name="T44" fmla="*/ 2147483646 w 2234"/>
              <a:gd name="T45" fmla="*/ 2147483646 h 227"/>
              <a:gd name="T46" fmla="*/ 2147483646 w 2234"/>
              <a:gd name="T47" fmla="*/ 2147483646 h 227"/>
              <a:gd name="T48" fmla="*/ 2147483646 w 2234"/>
              <a:gd name="T49" fmla="*/ 2147483646 h 227"/>
              <a:gd name="T50" fmla="*/ 2147483646 w 2234"/>
              <a:gd name="T51" fmla="*/ 2147483646 h 227"/>
              <a:gd name="T52" fmla="*/ 2147483646 w 2234"/>
              <a:gd name="T53" fmla="*/ 2147483646 h 227"/>
              <a:gd name="T54" fmla="*/ 2147483646 w 2234"/>
              <a:gd name="T55" fmla="*/ 2147483646 h 227"/>
              <a:gd name="T56" fmla="*/ 2147483646 w 2234"/>
              <a:gd name="T57" fmla="*/ 2147483646 h 227"/>
              <a:gd name="T58" fmla="*/ 2147483646 w 2234"/>
              <a:gd name="T59" fmla="*/ 2147483646 h 227"/>
              <a:gd name="T60" fmla="*/ 2147483646 w 2234"/>
              <a:gd name="T61" fmla="*/ 2147483646 h 227"/>
              <a:gd name="T62" fmla="*/ 2147483646 w 2234"/>
              <a:gd name="T63" fmla="*/ 2147483646 h 227"/>
              <a:gd name="T64" fmla="*/ 2147483646 w 2234"/>
              <a:gd name="T65" fmla="*/ 2147483646 h 227"/>
              <a:gd name="T66" fmla="*/ 2147483646 w 2234"/>
              <a:gd name="T67" fmla="*/ 2147483646 h 227"/>
              <a:gd name="T68" fmla="*/ 2147483646 w 2234"/>
              <a:gd name="T69" fmla="*/ 2147483646 h 227"/>
              <a:gd name="T70" fmla="*/ 2147483646 w 2234"/>
              <a:gd name="T71" fmla="*/ 2147483646 h 2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34"/>
              <a:gd name="T109" fmla="*/ 0 h 227"/>
              <a:gd name="T110" fmla="*/ 2234 w 2234"/>
              <a:gd name="T111" fmla="*/ 227 h 2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34"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2203" y="0"/>
                  <a:pt x="2203" y="0"/>
                  <a:pt x="2203" y="0"/>
                </a:cubicBezTo>
                <a:cubicBezTo>
                  <a:pt x="2220" y="0"/>
                  <a:pt x="2234" y="13"/>
                  <a:pt x="2234" y="30"/>
                </a:cubicBezTo>
                <a:cubicBezTo>
                  <a:pt x="2234" y="30"/>
                  <a:pt x="2234" y="30"/>
                  <a:pt x="2234" y="30"/>
                </a:cubicBezTo>
                <a:cubicBezTo>
                  <a:pt x="2234" y="52"/>
                  <a:pt x="2234" y="52"/>
                  <a:pt x="2234" y="52"/>
                </a:cubicBezTo>
                <a:cubicBezTo>
                  <a:pt x="2234" y="57"/>
                  <a:pt x="2230" y="60"/>
                  <a:pt x="2226" y="60"/>
                </a:cubicBezTo>
                <a:cubicBezTo>
                  <a:pt x="2226" y="60"/>
                  <a:pt x="2226" y="60"/>
                  <a:pt x="2226" y="60"/>
                </a:cubicBezTo>
                <a:cubicBezTo>
                  <a:pt x="2221" y="60"/>
                  <a:pt x="2218" y="57"/>
                  <a:pt x="2218" y="52"/>
                </a:cubicBezTo>
                <a:cubicBezTo>
                  <a:pt x="2218" y="52"/>
                  <a:pt x="2218" y="52"/>
                  <a:pt x="2218" y="52"/>
                </a:cubicBezTo>
                <a:cubicBezTo>
                  <a:pt x="2218" y="30"/>
                  <a:pt x="2218" y="30"/>
                  <a:pt x="2218" y="30"/>
                </a:cubicBezTo>
                <a:cubicBezTo>
                  <a:pt x="2218" y="22"/>
                  <a:pt x="2211" y="16"/>
                  <a:pt x="2203" y="16"/>
                </a:cubicBezTo>
                <a:cubicBezTo>
                  <a:pt x="2203" y="16"/>
                  <a:pt x="2203" y="16"/>
                  <a:pt x="2203"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2203" y="211"/>
                  <a:pt x="2203" y="211"/>
                  <a:pt x="2203" y="211"/>
                </a:cubicBezTo>
                <a:cubicBezTo>
                  <a:pt x="2211" y="211"/>
                  <a:pt x="2218" y="204"/>
                  <a:pt x="2218" y="196"/>
                </a:cubicBezTo>
                <a:cubicBezTo>
                  <a:pt x="2218" y="196"/>
                  <a:pt x="2218" y="196"/>
                  <a:pt x="2218" y="196"/>
                </a:cubicBezTo>
                <a:cubicBezTo>
                  <a:pt x="2218" y="82"/>
                  <a:pt x="2218" y="82"/>
                  <a:pt x="2218" y="82"/>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196"/>
                  <a:pt x="2234" y="196"/>
                  <a:pt x="2234" y="196"/>
                </a:cubicBezTo>
                <a:cubicBezTo>
                  <a:pt x="2234" y="213"/>
                  <a:pt x="2220" y="227"/>
                  <a:pt x="2203" y="227"/>
                </a:cubicBezTo>
                <a:cubicBezTo>
                  <a:pt x="2203" y="227"/>
                  <a:pt x="2203" y="227"/>
                  <a:pt x="2203" y="227"/>
                </a:cubicBezTo>
                <a:cubicBezTo>
                  <a:pt x="31" y="227"/>
                  <a:pt x="31" y="227"/>
                  <a:pt x="31"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Management &amp; Orchestration, Analytics &amp; Exposure</a:t>
            </a:r>
          </a:p>
        </p:txBody>
      </p:sp>
      <p:grpSp>
        <p:nvGrpSpPr>
          <p:cNvPr id="31" name="Group 26686"/>
          <p:cNvGrpSpPr>
            <a:grpSpLocks/>
          </p:cNvGrpSpPr>
          <p:nvPr/>
        </p:nvGrpSpPr>
        <p:grpSpPr bwMode="auto">
          <a:xfrm>
            <a:off x="4427538" y="3802063"/>
            <a:ext cx="1809750" cy="1512887"/>
            <a:chOff x="2524449" y="3827893"/>
            <a:chExt cx="1810186" cy="1511778"/>
          </a:xfrm>
        </p:grpSpPr>
        <p:grpSp>
          <p:nvGrpSpPr>
            <p:cNvPr id="74" name="Group 38"/>
            <p:cNvGrpSpPr>
              <a:grpSpLocks noChangeAspect="1"/>
            </p:cNvGrpSpPr>
            <p:nvPr/>
          </p:nvGrpSpPr>
          <p:grpSpPr bwMode="auto">
            <a:xfrm>
              <a:off x="2763172" y="4168691"/>
              <a:ext cx="1356897" cy="956731"/>
              <a:chOff x="6578600" y="5335588"/>
              <a:chExt cx="1895475" cy="1336675"/>
            </a:xfrm>
          </p:grpSpPr>
          <p:sp>
            <p:nvSpPr>
              <p:cNvPr id="76" name="Freeform 56"/>
              <p:cNvSpPr>
                <a:spLocks noChangeAspect="1" noEditPoints="1"/>
              </p:cNvSpPr>
              <p:nvPr/>
            </p:nvSpPr>
            <p:spPr bwMode="auto">
              <a:xfrm>
                <a:off x="8013455" y="5929955"/>
                <a:ext cx="461263"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77" name="Freeform 61"/>
              <p:cNvSpPr>
                <a:spLocks noChangeAspect="1" noEditPoints="1"/>
              </p:cNvSpPr>
              <p:nvPr/>
            </p:nvSpPr>
            <p:spPr bwMode="auto">
              <a:xfrm>
                <a:off x="7297168" y="5929955"/>
                <a:ext cx="459044"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78" name="Freeform 61"/>
              <p:cNvSpPr>
                <a:spLocks noChangeAspect="1" noEditPoints="1"/>
              </p:cNvSpPr>
              <p:nvPr/>
            </p:nvSpPr>
            <p:spPr bwMode="auto">
              <a:xfrm>
                <a:off x="6578663" y="5929955"/>
                <a:ext cx="459044" cy="743010"/>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79" name="Freeform 18"/>
              <p:cNvSpPr>
                <a:spLocks noChangeAspect="1"/>
              </p:cNvSpPr>
              <p:nvPr/>
            </p:nvSpPr>
            <p:spPr bwMode="auto">
              <a:xfrm>
                <a:off x="6693979" y="5335547"/>
                <a:ext cx="771728" cy="470203"/>
              </a:xfrm>
              <a:custGeom>
                <a:avLst/>
                <a:gdLst>
                  <a:gd name="T0" fmla="*/ 2147483646 w 733"/>
                  <a:gd name="T1" fmla="*/ 2147483646 h 447"/>
                  <a:gd name="T2" fmla="*/ 0 w 733"/>
                  <a:gd name="T3" fmla="*/ 2147483646 h 447"/>
                  <a:gd name="T4" fmla="*/ 0 w 733"/>
                  <a:gd name="T5" fmla="*/ 2147483646 h 447"/>
                  <a:gd name="T6" fmla="*/ 0 w 733"/>
                  <a:gd name="T7" fmla="*/ 2147483646 h 447"/>
                  <a:gd name="T8" fmla="*/ 2147483646 w 733"/>
                  <a:gd name="T9" fmla="*/ 0 h 447"/>
                  <a:gd name="T10" fmla="*/ 2147483646 w 733"/>
                  <a:gd name="T11" fmla="*/ 0 h 447"/>
                  <a:gd name="T12" fmla="*/ 2147483646 w 733"/>
                  <a:gd name="T13" fmla="*/ 0 h 447"/>
                  <a:gd name="T14" fmla="*/ 2147483646 w 733"/>
                  <a:gd name="T15" fmla="*/ 2147483646 h 447"/>
                  <a:gd name="T16" fmla="*/ 2147483646 w 733"/>
                  <a:gd name="T17" fmla="*/ 2147483646 h 447"/>
                  <a:gd name="T18" fmla="*/ 2147483646 w 733"/>
                  <a:gd name="T19" fmla="*/ 2147483646 h 447"/>
                  <a:gd name="T20" fmla="*/ 2147483646 w 733"/>
                  <a:gd name="T21" fmla="*/ 2147483646 h 447"/>
                  <a:gd name="T22" fmla="*/ 2147483646 w 733"/>
                  <a:gd name="T23" fmla="*/ 2147483646 h 447"/>
                  <a:gd name="T24" fmla="*/ 2147483646 w 733"/>
                  <a:gd name="T25" fmla="*/ 2147483646 h 447"/>
                  <a:gd name="T26" fmla="*/ 2147483646 w 733"/>
                  <a:gd name="T27" fmla="*/ 2147483646 h 447"/>
                  <a:gd name="T28" fmla="*/ 2147483646 w 733"/>
                  <a:gd name="T29" fmla="*/ 2147483646 h 447"/>
                  <a:gd name="T30" fmla="*/ 2147483646 w 733"/>
                  <a:gd name="T31" fmla="*/ 2147483646 h 447"/>
                  <a:gd name="T32" fmla="*/ 2147483646 w 733"/>
                  <a:gd name="T33" fmla="*/ 2147483646 h 447"/>
                  <a:gd name="T34" fmla="*/ 2147483646 w 733"/>
                  <a:gd name="T35" fmla="*/ 2147483646 h 447"/>
                  <a:gd name="T36" fmla="*/ 2147483646 w 733"/>
                  <a:gd name="T37" fmla="*/ 2147483646 h 447"/>
                  <a:gd name="T38" fmla="*/ 2147483646 w 733"/>
                  <a:gd name="T39" fmla="*/ 2147483646 h 447"/>
                  <a:gd name="T40" fmla="*/ 2147483646 w 733"/>
                  <a:gd name="T41" fmla="*/ 2147483646 h 447"/>
                  <a:gd name="T42" fmla="*/ 2147483646 w 733"/>
                  <a:gd name="T43" fmla="*/ 2147483646 h 447"/>
                  <a:gd name="T44" fmla="*/ 2147483646 w 733"/>
                  <a:gd name="T45" fmla="*/ 2147483646 h 447"/>
                  <a:gd name="T46" fmla="*/ 2147483646 w 733"/>
                  <a:gd name="T47" fmla="*/ 2147483646 h 447"/>
                  <a:gd name="T48" fmla="*/ 2147483646 w 733"/>
                  <a:gd name="T49" fmla="*/ 2147483646 h 447"/>
                  <a:gd name="T50" fmla="*/ 2147483646 w 733"/>
                  <a:gd name="T51" fmla="*/ 2147483646 h 447"/>
                  <a:gd name="T52" fmla="*/ 2147483646 w 733"/>
                  <a:gd name="T53" fmla="*/ 2147483646 h 447"/>
                  <a:gd name="T54" fmla="*/ 2147483646 w 733"/>
                  <a:gd name="T55" fmla="*/ 2147483646 h 447"/>
                  <a:gd name="T56" fmla="*/ 2147483646 w 733"/>
                  <a:gd name="T57" fmla="*/ 2147483646 h 447"/>
                  <a:gd name="T58" fmla="*/ 2147483646 w 733"/>
                  <a:gd name="T59" fmla="*/ 2147483646 h 447"/>
                  <a:gd name="T60" fmla="*/ 2147483646 w 733"/>
                  <a:gd name="T61" fmla="*/ 2147483646 h 447"/>
                  <a:gd name="T62" fmla="*/ 2147483646 w 733"/>
                  <a:gd name="T63" fmla="*/ 2147483646 h 447"/>
                  <a:gd name="T64" fmla="*/ 2147483646 w 733"/>
                  <a:gd name="T65" fmla="*/ 2147483646 h 447"/>
                  <a:gd name="T66" fmla="*/ 2147483646 w 733"/>
                  <a:gd name="T67" fmla="*/ 2147483646 h 447"/>
                  <a:gd name="T68" fmla="*/ 2147483646 w 733"/>
                  <a:gd name="T69" fmla="*/ 2147483646 h 447"/>
                  <a:gd name="T70" fmla="*/ 2147483646 w 733"/>
                  <a:gd name="T71" fmla="*/ 2147483646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3"/>
                  <a:gd name="T109" fmla="*/ 0 h 447"/>
                  <a:gd name="T110" fmla="*/ 733 w 733"/>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3" h="447">
                    <a:moveTo>
                      <a:pt x="31" y="447"/>
                    </a:moveTo>
                    <a:cubicBezTo>
                      <a:pt x="14" y="447"/>
                      <a:pt x="0" y="433"/>
                      <a:pt x="0" y="416"/>
                    </a:cubicBezTo>
                    <a:cubicBezTo>
                      <a:pt x="0" y="416"/>
                      <a:pt x="0" y="416"/>
                      <a:pt x="0" y="41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2" y="16"/>
                      <a:pt x="16" y="22"/>
                      <a:pt x="16" y="30"/>
                    </a:cubicBezTo>
                    <a:cubicBezTo>
                      <a:pt x="16" y="30"/>
                      <a:pt x="16" y="30"/>
                      <a:pt x="16" y="30"/>
                    </a:cubicBezTo>
                    <a:cubicBezTo>
                      <a:pt x="16" y="416"/>
                      <a:pt x="16" y="416"/>
                      <a:pt x="16" y="416"/>
                    </a:cubicBezTo>
                    <a:cubicBezTo>
                      <a:pt x="16" y="424"/>
                      <a:pt x="22" y="431"/>
                      <a:pt x="31" y="431"/>
                    </a:cubicBezTo>
                    <a:cubicBezTo>
                      <a:pt x="31" y="431"/>
                      <a:pt x="31" y="431"/>
                      <a:pt x="31" y="431"/>
                    </a:cubicBezTo>
                    <a:cubicBezTo>
                      <a:pt x="702" y="431"/>
                      <a:pt x="702" y="431"/>
                      <a:pt x="702" y="431"/>
                    </a:cubicBezTo>
                    <a:cubicBezTo>
                      <a:pt x="710" y="431"/>
                      <a:pt x="717" y="424"/>
                      <a:pt x="717" y="416"/>
                    </a:cubicBezTo>
                    <a:cubicBezTo>
                      <a:pt x="717" y="416"/>
                      <a:pt x="717" y="416"/>
                      <a:pt x="717" y="416"/>
                    </a:cubicBezTo>
                    <a:cubicBezTo>
                      <a:pt x="717" y="82"/>
                      <a:pt x="717" y="82"/>
                      <a:pt x="717" y="82"/>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416"/>
                      <a:pt x="733" y="416"/>
                      <a:pt x="733" y="416"/>
                    </a:cubicBezTo>
                    <a:cubicBezTo>
                      <a:pt x="733" y="433"/>
                      <a:pt x="719" y="447"/>
                      <a:pt x="702" y="447"/>
                    </a:cubicBezTo>
                    <a:cubicBezTo>
                      <a:pt x="702" y="447"/>
                      <a:pt x="702" y="447"/>
                      <a:pt x="702" y="447"/>
                    </a:cubicBezTo>
                    <a:cubicBezTo>
                      <a:pt x="31" y="447"/>
                      <a:pt x="31" y="447"/>
                      <a:pt x="31" y="447"/>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46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FI" sz="11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rPr>
                  <a:t>VNF</a:t>
                </a:r>
              </a:p>
            </p:txBody>
          </p:sp>
          <p:sp>
            <p:nvSpPr>
              <p:cNvPr id="80" name="Freeform 18"/>
              <p:cNvSpPr>
                <a:spLocks noChangeAspect="1"/>
              </p:cNvSpPr>
              <p:nvPr/>
            </p:nvSpPr>
            <p:spPr bwMode="auto">
              <a:xfrm>
                <a:off x="7587674" y="5335547"/>
                <a:ext cx="769511" cy="470203"/>
              </a:xfrm>
              <a:custGeom>
                <a:avLst/>
                <a:gdLst>
                  <a:gd name="T0" fmla="*/ 2147483646 w 733"/>
                  <a:gd name="T1" fmla="*/ 2147483646 h 447"/>
                  <a:gd name="T2" fmla="*/ 0 w 733"/>
                  <a:gd name="T3" fmla="*/ 2147483646 h 447"/>
                  <a:gd name="T4" fmla="*/ 0 w 733"/>
                  <a:gd name="T5" fmla="*/ 2147483646 h 447"/>
                  <a:gd name="T6" fmla="*/ 0 w 733"/>
                  <a:gd name="T7" fmla="*/ 2147483646 h 447"/>
                  <a:gd name="T8" fmla="*/ 2147483646 w 733"/>
                  <a:gd name="T9" fmla="*/ 0 h 447"/>
                  <a:gd name="T10" fmla="*/ 2147483646 w 733"/>
                  <a:gd name="T11" fmla="*/ 0 h 447"/>
                  <a:gd name="T12" fmla="*/ 2147483646 w 733"/>
                  <a:gd name="T13" fmla="*/ 0 h 447"/>
                  <a:gd name="T14" fmla="*/ 2147483646 w 733"/>
                  <a:gd name="T15" fmla="*/ 2147483646 h 447"/>
                  <a:gd name="T16" fmla="*/ 2147483646 w 733"/>
                  <a:gd name="T17" fmla="*/ 2147483646 h 447"/>
                  <a:gd name="T18" fmla="*/ 2147483646 w 733"/>
                  <a:gd name="T19" fmla="*/ 2147483646 h 447"/>
                  <a:gd name="T20" fmla="*/ 2147483646 w 733"/>
                  <a:gd name="T21" fmla="*/ 2147483646 h 447"/>
                  <a:gd name="T22" fmla="*/ 2147483646 w 733"/>
                  <a:gd name="T23" fmla="*/ 2147483646 h 447"/>
                  <a:gd name="T24" fmla="*/ 2147483646 w 733"/>
                  <a:gd name="T25" fmla="*/ 2147483646 h 447"/>
                  <a:gd name="T26" fmla="*/ 2147483646 w 733"/>
                  <a:gd name="T27" fmla="*/ 2147483646 h 447"/>
                  <a:gd name="T28" fmla="*/ 2147483646 w 733"/>
                  <a:gd name="T29" fmla="*/ 2147483646 h 447"/>
                  <a:gd name="T30" fmla="*/ 2147483646 w 733"/>
                  <a:gd name="T31" fmla="*/ 2147483646 h 447"/>
                  <a:gd name="T32" fmla="*/ 2147483646 w 733"/>
                  <a:gd name="T33" fmla="*/ 2147483646 h 447"/>
                  <a:gd name="T34" fmla="*/ 2147483646 w 733"/>
                  <a:gd name="T35" fmla="*/ 2147483646 h 447"/>
                  <a:gd name="T36" fmla="*/ 2147483646 w 733"/>
                  <a:gd name="T37" fmla="*/ 2147483646 h 447"/>
                  <a:gd name="T38" fmla="*/ 2147483646 w 733"/>
                  <a:gd name="T39" fmla="*/ 2147483646 h 447"/>
                  <a:gd name="T40" fmla="*/ 2147483646 w 733"/>
                  <a:gd name="T41" fmla="*/ 2147483646 h 447"/>
                  <a:gd name="T42" fmla="*/ 2147483646 w 733"/>
                  <a:gd name="T43" fmla="*/ 2147483646 h 447"/>
                  <a:gd name="T44" fmla="*/ 2147483646 w 733"/>
                  <a:gd name="T45" fmla="*/ 2147483646 h 447"/>
                  <a:gd name="T46" fmla="*/ 2147483646 w 733"/>
                  <a:gd name="T47" fmla="*/ 2147483646 h 447"/>
                  <a:gd name="T48" fmla="*/ 2147483646 w 733"/>
                  <a:gd name="T49" fmla="*/ 2147483646 h 447"/>
                  <a:gd name="T50" fmla="*/ 2147483646 w 733"/>
                  <a:gd name="T51" fmla="*/ 2147483646 h 447"/>
                  <a:gd name="T52" fmla="*/ 2147483646 w 733"/>
                  <a:gd name="T53" fmla="*/ 2147483646 h 447"/>
                  <a:gd name="T54" fmla="*/ 2147483646 w 733"/>
                  <a:gd name="T55" fmla="*/ 2147483646 h 447"/>
                  <a:gd name="T56" fmla="*/ 2147483646 w 733"/>
                  <a:gd name="T57" fmla="*/ 2147483646 h 447"/>
                  <a:gd name="T58" fmla="*/ 2147483646 w 733"/>
                  <a:gd name="T59" fmla="*/ 2147483646 h 447"/>
                  <a:gd name="T60" fmla="*/ 2147483646 w 733"/>
                  <a:gd name="T61" fmla="*/ 2147483646 h 447"/>
                  <a:gd name="T62" fmla="*/ 2147483646 w 733"/>
                  <a:gd name="T63" fmla="*/ 2147483646 h 447"/>
                  <a:gd name="T64" fmla="*/ 2147483646 w 733"/>
                  <a:gd name="T65" fmla="*/ 2147483646 h 447"/>
                  <a:gd name="T66" fmla="*/ 2147483646 w 733"/>
                  <a:gd name="T67" fmla="*/ 2147483646 h 447"/>
                  <a:gd name="T68" fmla="*/ 2147483646 w 733"/>
                  <a:gd name="T69" fmla="*/ 2147483646 h 447"/>
                  <a:gd name="T70" fmla="*/ 2147483646 w 733"/>
                  <a:gd name="T71" fmla="*/ 2147483646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3"/>
                  <a:gd name="T109" fmla="*/ 0 h 447"/>
                  <a:gd name="T110" fmla="*/ 733 w 733"/>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3" h="447">
                    <a:moveTo>
                      <a:pt x="31" y="447"/>
                    </a:moveTo>
                    <a:cubicBezTo>
                      <a:pt x="14" y="447"/>
                      <a:pt x="0" y="433"/>
                      <a:pt x="0" y="416"/>
                    </a:cubicBezTo>
                    <a:cubicBezTo>
                      <a:pt x="0" y="416"/>
                      <a:pt x="0" y="416"/>
                      <a:pt x="0" y="416"/>
                    </a:cubicBezTo>
                    <a:cubicBezTo>
                      <a:pt x="0" y="30"/>
                      <a:pt x="0" y="30"/>
                      <a:pt x="0" y="30"/>
                    </a:cubicBezTo>
                    <a:cubicBezTo>
                      <a:pt x="0" y="13"/>
                      <a:pt x="14" y="0"/>
                      <a:pt x="31" y="0"/>
                    </a:cubicBezTo>
                    <a:cubicBezTo>
                      <a:pt x="31" y="0"/>
                      <a:pt x="31" y="0"/>
                      <a:pt x="31" y="0"/>
                    </a:cubicBezTo>
                    <a:cubicBezTo>
                      <a:pt x="702" y="0"/>
                      <a:pt x="702" y="0"/>
                      <a:pt x="702" y="0"/>
                    </a:cubicBezTo>
                    <a:cubicBezTo>
                      <a:pt x="719" y="0"/>
                      <a:pt x="733" y="13"/>
                      <a:pt x="733" y="30"/>
                    </a:cubicBezTo>
                    <a:cubicBezTo>
                      <a:pt x="733" y="30"/>
                      <a:pt x="733" y="30"/>
                      <a:pt x="733" y="30"/>
                    </a:cubicBezTo>
                    <a:cubicBezTo>
                      <a:pt x="733" y="52"/>
                      <a:pt x="733" y="52"/>
                      <a:pt x="733" y="52"/>
                    </a:cubicBezTo>
                    <a:cubicBezTo>
                      <a:pt x="733" y="57"/>
                      <a:pt x="729" y="60"/>
                      <a:pt x="725" y="60"/>
                    </a:cubicBezTo>
                    <a:cubicBezTo>
                      <a:pt x="725" y="60"/>
                      <a:pt x="725" y="60"/>
                      <a:pt x="725" y="60"/>
                    </a:cubicBezTo>
                    <a:cubicBezTo>
                      <a:pt x="720" y="60"/>
                      <a:pt x="717" y="57"/>
                      <a:pt x="717" y="52"/>
                    </a:cubicBezTo>
                    <a:cubicBezTo>
                      <a:pt x="717" y="52"/>
                      <a:pt x="717" y="52"/>
                      <a:pt x="717" y="52"/>
                    </a:cubicBezTo>
                    <a:cubicBezTo>
                      <a:pt x="717" y="30"/>
                      <a:pt x="717" y="30"/>
                      <a:pt x="717" y="30"/>
                    </a:cubicBezTo>
                    <a:cubicBezTo>
                      <a:pt x="717" y="22"/>
                      <a:pt x="710" y="16"/>
                      <a:pt x="702" y="16"/>
                    </a:cubicBezTo>
                    <a:cubicBezTo>
                      <a:pt x="702" y="16"/>
                      <a:pt x="702" y="16"/>
                      <a:pt x="702" y="16"/>
                    </a:cubicBezTo>
                    <a:cubicBezTo>
                      <a:pt x="31" y="16"/>
                      <a:pt x="31" y="16"/>
                      <a:pt x="31" y="16"/>
                    </a:cubicBezTo>
                    <a:cubicBezTo>
                      <a:pt x="22" y="16"/>
                      <a:pt x="16" y="22"/>
                      <a:pt x="16" y="30"/>
                    </a:cubicBezTo>
                    <a:cubicBezTo>
                      <a:pt x="16" y="30"/>
                      <a:pt x="16" y="30"/>
                      <a:pt x="16" y="30"/>
                    </a:cubicBezTo>
                    <a:cubicBezTo>
                      <a:pt x="16" y="416"/>
                      <a:pt x="16" y="416"/>
                      <a:pt x="16" y="416"/>
                    </a:cubicBezTo>
                    <a:cubicBezTo>
                      <a:pt x="16" y="424"/>
                      <a:pt x="22" y="431"/>
                      <a:pt x="31" y="431"/>
                    </a:cubicBezTo>
                    <a:cubicBezTo>
                      <a:pt x="31" y="431"/>
                      <a:pt x="31" y="431"/>
                      <a:pt x="31" y="431"/>
                    </a:cubicBezTo>
                    <a:cubicBezTo>
                      <a:pt x="702" y="431"/>
                      <a:pt x="702" y="431"/>
                      <a:pt x="702" y="431"/>
                    </a:cubicBezTo>
                    <a:cubicBezTo>
                      <a:pt x="710" y="431"/>
                      <a:pt x="717" y="424"/>
                      <a:pt x="717" y="416"/>
                    </a:cubicBezTo>
                    <a:cubicBezTo>
                      <a:pt x="717" y="416"/>
                      <a:pt x="717" y="416"/>
                      <a:pt x="717" y="416"/>
                    </a:cubicBezTo>
                    <a:cubicBezTo>
                      <a:pt x="717" y="82"/>
                      <a:pt x="717" y="82"/>
                      <a:pt x="717" y="82"/>
                    </a:cubicBezTo>
                    <a:cubicBezTo>
                      <a:pt x="717" y="82"/>
                      <a:pt x="717" y="82"/>
                      <a:pt x="717" y="82"/>
                    </a:cubicBezTo>
                    <a:cubicBezTo>
                      <a:pt x="717" y="77"/>
                      <a:pt x="720" y="74"/>
                      <a:pt x="725" y="74"/>
                    </a:cubicBezTo>
                    <a:cubicBezTo>
                      <a:pt x="725" y="74"/>
                      <a:pt x="725" y="74"/>
                      <a:pt x="725" y="74"/>
                    </a:cubicBezTo>
                    <a:cubicBezTo>
                      <a:pt x="729" y="74"/>
                      <a:pt x="733" y="77"/>
                      <a:pt x="733" y="82"/>
                    </a:cubicBezTo>
                    <a:cubicBezTo>
                      <a:pt x="733" y="82"/>
                      <a:pt x="733" y="82"/>
                      <a:pt x="733" y="82"/>
                    </a:cubicBezTo>
                    <a:cubicBezTo>
                      <a:pt x="733" y="416"/>
                      <a:pt x="733" y="416"/>
                      <a:pt x="733" y="416"/>
                    </a:cubicBezTo>
                    <a:cubicBezTo>
                      <a:pt x="733" y="433"/>
                      <a:pt x="719" y="447"/>
                      <a:pt x="702" y="447"/>
                    </a:cubicBezTo>
                    <a:cubicBezTo>
                      <a:pt x="702" y="447"/>
                      <a:pt x="702" y="447"/>
                      <a:pt x="702" y="447"/>
                    </a:cubicBezTo>
                    <a:cubicBezTo>
                      <a:pt x="31" y="447"/>
                      <a:pt x="31" y="447"/>
                      <a:pt x="31" y="447"/>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46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FI" sz="11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rPr>
                  <a:t>VNF</a:t>
                </a:r>
              </a:p>
            </p:txBody>
          </p:sp>
        </p:grpSp>
        <p:sp>
          <p:nvSpPr>
            <p:cNvPr id="75" name="Freeform 6"/>
            <p:cNvSpPr>
              <a:spLocks noChangeAspect="1"/>
            </p:cNvSpPr>
            <p:nvPr/>
          </p:nvSpPr>
          <p:spPr bwMode="auto">
            <a:xfrm>
              <a:off x="2524449"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Virtualization</a:t>
              </a:r>
            </a:p>
          </p:txBody>
        </p:sp>
      </p:grpSp>
      <p:grpSp>
        <p:nvGrpSpPr>
          <p:cNvPr id="32" name="Group 26685"/>
          <p:cNvGrpSpPr>
            <a:grpSpLocks/>
          </p:cNvGrpSpPr>
          <p:nvPr/>
        </p:nvGrpSpPr>
        <p:grpSpPr bwMode="auto">
          <a:xfrm>
            <a:off x="6292850" y="3802063"/>
            <a:ext cx="1809750" cy="1512887"/>
            <a:chOff x="4389944" y="3827893"/>
            <a:chExt cx="1810186" cy="1511778"/>
          </a:xfrm>
        </p:grpSpPr>
        <p:sp>
          <p:nvSpPr>
            <p:cNvPr id="68" name="Freeform 6"/>
            <p:cNvSpPr>
              <a:spLocks noChangeAspect="1"/>
            </p:cNvSpPr>
            <p:nvPr/>
          </p:nvSpPr>
          <p:spPr bwMode="auto">
            <a:xfrm>
              <a:off x="4389944"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Software Defined Networking (SDN)</a:t>
              </a:r>
            </a:p>
          </p:txBody>
        </p:sp>
        <p:grpSp>
          <p:nvGrpSpPr>
            <p:cNvPr id="69" name="Group 50"/>
            <p:cNvGrpSpPr>
              <a:grpSpLocks noChangeAspect="1"/>
            </p:cNvGrpSpPr>
            <p:nvPr/>
          </p:nvGrpSpPr>
          <p:grpSpPr bwMode="auto">
            <a:xfrm>
              <a:off x="4548632" y="4440342"/>
              <a:ext cx="1492811" cy="725654"/>
              <a:chOff x="9544050" y="3587750"/>
              <a:chExt cx="2181225" cy="1060450"/>
            </a:xfrm>
          </p:grpSpPr>
          <p:sp>
            <p:nvSpPr>
              <p:cNvPr id="70" name="Freeform 3"/>
              <p:cNvSpPr>
                <a:spLocks noChangeAspect="1" noEditPoints="1"/>
              </p:cNvSpPr>
              <p:nvPr/>
            </p:nvSpPr>
            <p:spPr bwMode="auto">
              <a:xfrm>
                <a:off x="9543401" y="3960113"/>
                <a:ext cx="1085563" cy="689018"/>
              </a:xfrm>
              <a:custGeom>
                <a:avLst/>
                <a:gdLst>
                  <a:gd name="T0" fmla="*/ 2147483646 w 462"/>
                  <a:gd name="T1" fmla="*/ 2147483646 h 293"/>
                  <a:gd name="T2" fmla="*/ 2147483646 w 462"/>
                  <a:gd name="T3" fmla="*/ 2147483646 h 293"/>
                  <a:gd name="T4" fmla="*/ 2147483646 w 462"/>
                  <a:gd name="T5" fmla="*/ 2147483646 h 293"/>
                  <a:gd name="T6" fmla="*/ 2147483646 w 462"/>
                  <a:gd name="T7" fmla="*/ 2147483646 h 293"/>
                  <a:gd name="T8" fmla="*/ 2147483646 w 462"/>
                  <a:gd name="T9" fmla="*/ 2147483646 h 293"/>
                  <a:gd name="T10" fmla="*/ 2147483646 w 462"/>
                  <a:gd name="T11" fmla="*/ 2147483646 h 293"/>
                  <a:gd name="T12" fmla="*/ 2147483646 w 462"/>
                  <a:gd name="T13" fmla="*/ 2147483646 h 293"/>
                  <a:gd name="T14" fmla="*/ 2147483646 w 462"/>
                  <a:gd name="T15" fmla="*/ 2147483646 h 293"/>
                  <a:gd name="T16" fmla="*/ 2147483646 w 462"/>
                  <a:gd name="T17" fmla="*/ 2147483646 h 293"/>
                  <a:gd name="T18" fmla="*/ 2147483646 w 462"/>
                  <a:gd name="T19" fmla="*/ 2147483646 h 293"/>
                  <a:gd name="T20" fmla="*/ 2147483646 w 462"/>
                  <a:gd name="T21" fmla="*/ 2147483646 h 293"/>
                  <a:gd name="T22" fmla="*/ 2147483646 w 462"/>
                  <a:gd name="T23" fmla="*/ 2147483646 h 293"/>
                  <a:gd name="T24" fmla="*/ 2147483646 w 462"/>
                  <a:gd name="T25" fmla="*/ 2147483646 h 293"/>
                  <a:gd name="T26" fmla="*/ 2147483646 w 462"/>
                  <a:gd name="T27" fmla="*/ 2147483646 h 293"/>
                  <a:gd name="T28" fmla="*/ 2147483646 w 462"/>
                  <a:gd name="T29" fmla="*/ 2147483646 h 293"/>
                  <a:gd name="T30" fmla="*/ 2147483646 w 462"/>
                  <a:gd name="T31" fmla="*/ 2147483646 h 293"/>
                  <a:gd name="T32" fmla="*/ 2147483646 w 462"/>
                  <a:gd name="T33" fmla="*/ 2147483646 h 293"/>
                  <a:gd name="T34" fmla="*/ 2147483646 w 462"/>
                  <a:gd name="T35" fmla="*/ 2147483646 h 293"/>
                  <a:gd name="T36" fmla="*/ 2147483646 w 462"/>
                  <a:gd name="T37" fmla="*/ 2147483646 h 293"/>
                  <a:gd name="T38" fmla="*/ 2147483646 w 462"/>
                  <a:gd name="T39" fmla="*/ 2147483646 h 293"/>
                  <a:gd name="T40" fmla="*/ 2147483646 w 462"/>
                  <a:gd name="T41" fmla="*/ 2147483646 h 293"/>
                  <a:gd name="T42" fmla="*/ 2147483646 w 462"/>
                  <a:gd name="T43" fmla="*/ 2147483646 h 293"/>
                  <a:gd name="T44" fmla="*/ 2147483646 w 462"/>
                  <a:gd name="T45" fmla="*/ 2147483646 h 293"/>
                  <a:gd name="T46" fmla="*/ 2147483646 w 462"/>
                  <a:gd name="T47" fmla="*/ 2147483646 h 293"/>
                  <a:gd name="T48" fmla="*/ 2147483646 w 462"/>
                  <a:gd name="T49" fmla="*/ 2147483646 h 293"/>
                  <a:gd name="T50" fmla="*/ 2147483646 w 462"/>
                  <a:gd name="T51" fmla="*/ 2147483646 h 293"/>
                  <a:gd name="T52" fmla="*/ 2147483646 w 462"/>
                  <a:gd name="T53" fmla="*/ 2147483646 h 293"/>
                  <a:gd name="T54" fmla="*/ 2147483646 w 462"/>
                  <a:gd name="T55" fmla="*/ 2147483646 h 293"/>
                  <a:gd name="T56" fmla="*/ 2147483646 w 462"/>
                  <a:gd name="T57" fmla="*/ 2147483646 h 293"/>
                  <a:gd name="T58" fmla="*/ 2147483646 w 462"/>
                  <a:gd name="T59" fmla="*/ 2147483646 h 293"/>
                  <a:gd name="T60" fmla="*/ 2147483646 w 462"/>
                  <a:gd name="T61" fmla="*/ 2147483646 h 293"/>
                  <a:gd name="T62" fmla="*/ 2147483646 w 462"/>
                  <a:gd name="T63" fmla="*/ 2147483646 h 293"/>
                  <a:gd name="T64" fmla="*/ 2147483646 w 462"/>
                  <a:gd name="T65" fmla="*/ 2147483646 h 293"/>
                  <a:gd name="T66" fmla="*/ 2147483646 w 462"/>
                  <a:gd name="T67" fmla="*/ 2147483646 h 293"/>
                  <a:gd name="T68" fmla="*/ 2147483646 w 462"/>
                  <a:gd name="T69" fmla="*/ 2147483646 h 293"/>
                  <a:gd name="T70" fmla="*/ 2147483646 w 462"/>
                  <a:gd name="T71" fmla="*/ 2147483646 h 293"/>
                  <a:gd name="T72" fmla="*/ 2147483646 w 462"/>
                  <a:gd name="T73" fmla="*/ 2147483646 h 293"/>
                  <a:gd name="T74" fmla="*/ 2147483646 w 462"/>
                  <a:gd name="T75" fmla="*/ 2147483646 h 293"/>
                  <a:gd name="T76" fmla="*/ 2147483646 w 462"/>
                  <a:gd name="T77" fmla="*/ 2147483646 h 293"/>
                  <a:gd name="T78" fmla="*/ 2147483646 w 462"/>
                  <a:gd name="T79" fmla="*/ 2147483646 h 293"/>
                  <a:gd name="T80" fmla="*/ 2147483646 w 462"/>
                  <a:gd name="T81" fmla="*/ 2147483646 h 293"/>
                  <a:gd name="T82" fmla="*/ 2147483646 w 462"/>
                  <a:gd name="T83" fmla="*/ 2147483646 h 293"/>
                  <a:gd name="T84" fmla="*/ 2147483646 w 462"/>
                  <a:gd name="T85" fmla="*/ 2147483646 h 293"/>
                  <a:gd name="T86" fmla="*/ 2147483646 w 462"/>
                  <a:gd name="T87" fmla="*/ 2147483646 h 293"/>
                  <a:gd name="T88" fmla="*/ 2147483646 w 462"/>
                  <a:gd name="T89" fmla="*/ 2147483646 h 293"/>
                  <a:gd name="T90" fmla="*/ 2147483646 w 462"/>
                  <a:gd name="T91" fmla="*/ 2147483646 h 293"/>
                  <a:gd name="T92" fmla="*/ 2147483646 w 462"/>
                  <a:gd name="T93" fmla="*/ 2147483646 h 293"/>
                  <a:gd name="T94" fmla="*/ 2147483646 w 462"/>
                  <a:gd name="T95" fmla="*/ 2147483646 h 293"/>
                  <a:gd name="T96" fmla="*/ 2147483646 w 462"/>
                  <a:gd name="T97" fmla="*/ 2147483646 h 293"/>
                  <a:gd name="T98" fmla="*/ 2147483646 w 462"/>
                  <a:gd name="T99" fmla="*/ 2147483646 h 2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2" h="293">
                    <a:moveTo>
                      <a:pt x="348" y="111"/>
                    </a:moveTo>
                    <a:cubicBezTo>
                      <a:pt x="348" y="96"/>
                      <a:pt x="337" y="85"/>
                      <a:pt x="322" y="85"/>
                    </a:cubicBezTo>
                    <a:cubicBezTo>
                      <a:pt x="313" y="85"/>
                      <a:pt x="304" y="90"/>
                      <a:pt x="300" y="98"/>
                    </a:cubicBezTo>
                    <a:cubicBezTo>
                      <a:pt x="238" y="86"/>
                      <a:pt x="238" y="86"/>
                      <a:pt x="238" y="86"/>
                    </a:cubicBezTo>
                    <a:cubicBezTo>
                      <a:pt x="236" y="73"/>
                      <a:pt x="226" y="63"/>
                      <a:pt x="212" y="63"/>
                    </a:cubicBezTo>
                    <a:cubicBezTo>
                      <a:pt x="198" y="63"/>
                      <a:pt x="186" y="74"/>
                      <a:pt x="186" y="89"/>
                    </a:cubicBezTo>
                    <a:cubicBezTo>
                      <a:pt x="186" y="90"/>
                      <a:pt x="187" y="91"/>
                      <a:pt x="187" y="92"/>
                    </a:cubicBezTo>
                    <a:cubicBezTo>
                      <a:pt x="160" y="105"/>
                      <a:pt x="160" y="105"/>
                      <a:pt x="160" y="105"/>
                    </a:cubicBezTo>
                    <a:cubicBezTo>
                      <a:pt x="155" y="100"/>
                      <a:pt x="148" y="97"/>
                      <a:pt x="141" y="97"/>
                    </a:cubicBezTo>
                    <a:cubicBezTo>
                      <a:pt x="127" y="97"/>
                      <a:pt x="115" y="108"/>
                      <a:pt x="115" y="122"/>
                    </a:cubicBezTo>
                    <a:cubicBezTo>
                      <a:pt x="115" y="134"/>
                      <a:pt x="123" y="144"/>
                      <a:pt x="133" y="147"/>
                    </a:cubicBezTo>
                    <a:cubicBezTo>
                      <a:pt x="133" y="193"/>
                      <a:pt x="133" y="193"/>
                      <a:pt x="133" y="193"/>
                    </a:cubicBezTo>
                    <a:cubicBezTo>
                      <a:pt x="123" y="196"/>
                      <a:pt x="115" y="206"/>
                      <a:pt x="115" y="217"/>
                    </a:cubicBezTo>
                    <a:cubicBezTo>
                      <a:pt x="115" y="232"/>
                      <a:pt x="127" y="243"/>
                      <a:pt x="141" y="243"/>
                    </a:cubicBezTo>
                    <a:cubicBezTo>
                      <a:pt x="151" y="243"/>
                      <a:pt x="159" y="238"/>
                      <a:pt x="163" y="230"/>
                    </a:cubicBezTo>
                    <a:cubicBezTo>
                      <a:pt x="225" y="242"/>
                      <a:pt x="225" y="242"/>
                      <a:pt x="225" y="242"/>
                    </a:cubicBezTo>
                    <a:cubicBezTo>
                      <a:pt x="227" y="255"/>
                      <a:pt x="238" y="265"/>
                      <a:pt x="251" y="265"/>
                    </a:cubicBezTo>
                    <a:cubicBezTo>
                      <a:pt x="265" y="265"/>
                      <a:pt x="277" y="253"/>
                      <a:pt x="277" y="239"/>
                    </a:cubicBezTo>
                    <a:cubicBezTo>
                      <a:pt x="277" y="238"/>
                      <a:pt x="277" y="237"/>
                      <a:pt x="277" y="236"/>
                    </a:cubicBezTo>
                    <a:cubicBezTo>
                      <a:pt x="304" y="224"/>
                      <a:pt x="304" y="224"/>
                      <a:pt x="304" y="224"/>
                    </a:cubicBezTo>
                    <a:cubicBezTo>
                      <a:pt x="308" y="229"/>
                      <a:pt x="315" y="232"/>
                      <a:pt x="322" y="232"/>
                    </a:cubicBezTo>
                    <a:cubicBezTo>
                      <a:pt x="337" y="232"/>
                      <a:pt x="348" y="220"/>
                      <a:pt x="348" y="206"/>
                    </a:cubicBezTo>
                    <a:cubicBezTo>
                      <a:pt x="348" y="195"/>
                      <a:pt x="341" y="185"/>
                      <a:pt x="330" y="181"/>
                    </a:cubicBezTo>
                    <a:cubicBezTo>
                      <a:pt x="330" y="135"/>
                      <a:pt x="330" y="135"/>
                      <a:pt x="330" y="135"/>
                    </a:cubicBezTo>
                    <a:cubicBezTo>
                      <a:pt x="341" y="132"/>
                      <a:pt x="348" y="122"/>
                      <a:pt x="348" y="111"/>
                    </a:cubicBezTo>
                    <a:close/>
                    <a:moveTo>
                      <a:pt x="235" y="101"/>
                    </a:moveTo>
                    <a:cubicBezTo>
                      <a:pt x="297" y="114"/>
                      <a:pt x="297" y="114"/>
                      <a:pt x="297" y="114"/>
                    </a:cubicBezTo>
                    <a:cubicBezTo>
                      <a:pt x="297" y="114"/>
                      <a:pt x="297" y="114"/>
                      <a:pt x="297" y="114"/>
                    </a:cubicBezTo>
                    <a:cubicBezTo>
                      <a:pt x="270" y="127"/>
                      <a:pt x="270" y="127"/>
                      <a:pt x="270" y="127"/>
                    </a:cubicBezTo>
                    <a:cubicBezTo>
                      <a:pt x="265" y="122"/>
                      <a:pt x="258" y="119"/>
                      <a:pt x="251" y="119"/>
                    </a:cubicBezTo>
                    <a:cubicBezTo>
                      <a:pt x="241" y="119"/>
                      <a:pt x="233" y="124"/>
                      <a:pt x="228" y="132"/>
                    </a:cubicBezTo>
                    <a:cubicBezTo>
                      <a:pt x="220" y="130"/>
                      <a:pt x="220" y="130"/>
                      <a:pt x="220" y="130"/>
                    </a:cubicBezTo>
                    <a:cubicBezTo>
                      <a:pt x="220" y="113"/>
                      <a:pt x="220" y="113"/>
                      <a:pt x="220" y="113"/>
                    </a:cubicBezTo>
                    <a:cubicBezTo>
                      <a:pt x="227" y="111"/>
                      <a:pt x="232" y="107"/>
                      <a:pt x="235" y="101"/>
                    </a:cubicBezTo>
                    <a:close/>
                    <a:moveTo>
                      <a:pt x="220" y="160"/>
                    </a:moveTo>
                    <a:cubicBezTo>
                      <a:pt x="220" y="147"/>
                      <a:pt x="220" y="147"/>
                      <a:pt x="220" y="147"/>
                    </a:cubicBezTo>
                    <a:cubicBezTo>
                      <a:pt x="225" y="148"/>
                      <a:pt x="225" y="148"/>
                      <a:pt x="225" y="148"/>
                    </a:cubicBezTo>
                    <a:cubicBezTo>
                      <a:pt x="227" y="158"/>
                      <a:pt x="234" y="166"/>
                      <a:pt x="243" y="169"/>
                    </a:cubicBezTo>
                    <a:cubicBezTo>
                      <a:pt x="243" y="182"/>
                      <a:pt x="243" y="182"/>
                      <a:pt x="243" y="182"/>
                    </a:cubicBezTo>
                    <a:cubicBezTo>
                      <a:pt x="238" y="181"/>
                      <a:pt x="238" y="181"/>
                      <a:pt x="238" y="181"/>
                    </a:cubicBezTo>
                    <a:cubicBezTo>
                      <a:pt x="237" y="171"/>
                      <a:pt x="230" y="163"/>
                      <a:pt x="220" y="160"/>
                    </a:cubicBezTo>
                    <a:close/>
                    <a:moveTo>
                      <a:pt x="222" y="184"/>
                    </a:moveTo>
                    <a:cubicBezTo>
                      <a:pt x="222" y="190"/>
                      <a:pt x="218" y="194"/>
                      <a:pt x="212" y="194"/>
                    </a:cubicBezTo>
                    <a:cubicBezTo>
                      <a:pt x="207" y="194"/>
                      <a:pt x="202" y="190"/>
                      <a:pt x="202" y="184"/>
                    </a:cubicBezTo>
                    <a:cubicBezTo>
                      <a:pt x="202" y="179"/>
                      <a:pt x="207" y="174"/>
                      <a:pt x="212" y="174"/>
                    </a:cubicBezTo>
                    <a:cubicBezTo>
                      <a:pt x="218" y="174"/>
                      <a:pt x="222" y="179"/>
                      <a:pt x="222" y="184"/>
                    </a:cubicBezTo>
                    <a:close/>
                    <a:moveTo>
                      <a:pt x="241" y="144"/>
                    </a:moveTo>
                    <a:cubicBezTo>
                      <a:pt x="241" y="139"/>
                      <a:pt x="246" y="135"/>
                      <a:pt x="251" y="135"/>
                    </a:cubicBezTo>
                    <a:cubicBezTo>
                      <a:pt x="256" y="135"/>
                      <a:pt x="261" y="139"/>
                      <a:pt x="261" y="144"/>
                    </a:cubicBezTo>
                    <a:cubicBezTo>
                      <a:pt x="261" y="150"/>
                      <a:pt x="256" y="154"/>
                      <a:pt x="251" y="154"/>
                    </a:cubicBezTo>
                    <a:cubicBezTo>
                      <a:pt x="246" y="154"/>
                      <a:pt x="241" y="150"/>
                      <a:pt x="241" y="144"/>
                    </a:cubicBezTo>
                    <a:close/>
                    <a:moveTo>
                      <a:pt x="212" y="79"/>
                    </a:moveTo>
                    <a:cubicBezTo>
                      <a:pt x="218" y="79"/>
                      <a:pt x="222" y="83"/>
                      <a:pt x="222" y="89"/>
                    </a:cubicBezTo>
                    <a:cubicBezTo>
                      <a:pt x="222" y="94"/>
                      <a:pt x="218" y="99"/>
                      <a:pt x="212" y="99"/>
                    </a:cubicBezTo>
                    <a:cubicBezTo>
                      <a:pt x="207" y="99"/>
                      <a:pt x="202" y="94"/>
                      <a:pt x="202" y="89"/>
                    </a:cubicBezTo>
                    <a:cubicBezTo>
                      <a:pt x="202" y="83"/>
                      <a:pt x="207" y="79"/>
                      <a:pt x="212" y="79"/>
                    </a:cubicBezTo>
                    <a:close/>
                    <a:moveTo>
                      <a:pt x="194" y="106"/>
                    </a:moveTo>
                    <a:cubicBezTo>
                      <a:pt x="197" y="110"/>
                      <a:pt x="200" y="112"/>
                      <a:pt x="204" y="113"/>
                    </a:cubicBezTo>
                    <a:cubicBezTo>
                      <a:pt x="204" y="127"/>
                      <a:pt x="204" y="127"/>
                      <a:pt x="204" y="127"/>
                    </a:cubicBezTo>
                    <a:cubicBezTo>
                      <a:pt x="167" y="120"/>
                      <a:pt x="167" y="120"/>
                      <a:pt x="167" y="120"/>
                    </a:cubicBezTo>
                    <a:cubicBezTo>
                      <a:pt x="167" y="120"/>
                      <a:pt x="167" y="119"/>
                      <a:pt x="167" y="119"/>
                    </a:cubicBezTo>
                    <a:lnTo>
                      <a:pt x="194" y="106"/>
                    </a:lnTo>
                    <a:close/>
                    <a:moveTo>
                      <a:pt x="131" y="122"/>
                    </a:moveTo>
                    <a:cubicBezTo>
                      <a:pt x="131" y="117"/>
                      <a:pt x="136" y="113"/>
                      <a:pt x="141" y="113"/>
                    </a:cubicBezTo>
                    <a:cubicBezTo>
                      <a:pt x="146" y="113"/>
                      <a:pt x="151" y="117"/>
                      <a:pt x="151" y="122"/>
                    </a:cubicBezTo>
                    <a:cubicBezTo>
                      <a:pt x="151" y="128"/>
                      <a:pt x="146" y="132"/>
                      <a:pt x="141" y="132"/>
                    </a:cubicBezTo>
                    <a:cubicBezTo>
                      <a:pt x="136" y="132"/>
                      <a:pt x="131" y="128"/>
                      <a:pt x="131" y="122"/>
                    </a:cubicBezTo>
                    <a:close/>
                    <a:moveTo>
                      <a:pt x="141" y="227"/>
                    </a:moveTo>
                    <a:cubicBezTo>
                      <a:pt x="136" y="227"/>
                      <a:pt x="131" y="223"/>
                      <a:pt x="131" y="217"/>
                    </a:cubicBezTo>
                    <a:cubicBezTo>
                      <a:pt x="131" y="212"/>
                      <a:pt x="136" y="207"/>
                      <a:pt x="141" y="207"/>
                    </a:cubicBezTo>
                    <a:cubicBezTo>
                      <a:pt x="146" y="207"/>
                      <a:pt x="151" y="212"/>
                      <a:pt x="151" y="217"/>
                    </a:cubicBezTo>
                    <a:cubicBezTo>
                      <a:pt x="151" y="223"/>
                      <a:pt x="146" y="227"/>
                      <a:pt x="141" y="227"/>
                    </a:cubicBezTo>
                    <a:close/>
                    <a:moveTo>
                      <a:pt x="160" y="200"/>
                    </a:moveTo>
                    <a:cubicBezTo>
                      <a:pt x="157" y="197"/>
                      <a:pt x="153" y="194"/>
                      <a:pt x="149" y="193"/>
                    </a:cubicBezTo>
                    <a:cubicBezTo>
                      <a:pt x="149" y="147"/>
                      <a:pt x="149" y="147"/>
                      <a:pt x="149" y="147"/>
                    </a:cubicBezTo>
                    <a:cubicBezTo>
                      <a:pt x="155" y="145"/>
                      <a:pt x="160" y="141"/>
                      <a:pt x="163" y="136"/>
                    </a:cubicBezTo>
                    <a:cubicBezTo>
                      <a:pt x="204" y="144"/>
                      <a:pt x="204" y="144"/>
                      <a:pt x="204" y="144"/>
                    </a:cubicBezTo>
                    <a:cubicBezTo>
                      <a:pt x="204" y="160"/>
                      <a:pt x="204" y="160"/>
                      <a:pt x="204" y="160"/>
                    </a:cubicBezTo>
                    <a:cubicBezTo>
                      <a:pt x="194" y="163"/>
                      <a:pt x="186" y="173"/>
                      <a:pt x="186" y="184"/>
                    </a:cubicBezTo>
                    <a:cubicBezTo>
                      <a:pt x="186" y="185"/>
                      <a:pt x="187" y="186"/>
                      <a:pt x="187" y="187"/>
                    </a:cubicBezTo>
                    <a:lnTo>
                      <a:pt x="160" y="200"/>
                    </a:lnTo>
                    <a:close/>
                    <a:moveTo>
                      <a:pt x="228" y="227"/>
                    </a:moveTo>
                    <a:cubicBezTo>
                      <a:pt x="167" y="214"/>
                      <a:pt x="167" y="214"/>
                      <a:pt x="167" y="214"/>
                    </a:cubicBezTo>
                    <a:cubicBezTo>
                      <a:pt x="194" y="202"/>
                      <a:pt x="194" y="202"/>
                      <a:pt x="194" y="202"/>
                    </a:cubicBezTo>
                    <a:cubicBezTo>
                      <a:pt x="198" y="207"/>
                      <a:pt x="205" y="210"/>
                      <a:pt x="212" y="210"/>
                    </a:cubicBezTo>
                    <a:cubicBezTo>
                      <a:pt x="222" y="210"/>
                      <a:pt x="230" y="205"/>
                      <a:pt x="235" y="197"/>
                    </a:cubicBezTo>
                    <a:cubicBezTo>
                      <a:pt x="243" y="198"/>
                      <a:pt x="243" y="198"/>
                      <a:pt x="243" y="198"/>
                    </a:cubicBezTo>
                    <a:cubicBezTo>
                      <a:pt x="243" y="215"/>
                      <a:pt x="243" y="215"/>
                      <a:pt x="243" y="215"/>
                    </a:cubicBezTo>
                    <a:cubicBezTo>
                      <a:pt x="237" y="217"/>
                      <a:pt x="232" y="221"/>
                      <a:pt x="228" y="227"/>
                    </a:cubicBezTo>
                    <a:close/>
                    <a:moveTo>
                      <a:pt x="251" y="249"/>
                    </a:moveTo>
                    <a:cubicBezTo>
                      <a:pt x="246" y="249"/>
                      <a:pt x="241" y="245"/>
                      <a:pt x="241" y="239"/>
                    </a:cubicBezTo>
                    <a:cubicBezTo>
                      <a:pt x="241" y="234"/>
                      <a:pt x="246" y="229"/>
                      <a:pt x="251" y="229"/>
                    </a:cubicBezTo>
                    <a:cubicBezTo>
                      <a:pt x="256" y="229"/>
                      <a:pt x="261" y="234"/>
                      <a:pt x="261" y="239"/>
                    </a:cubicBezTo>
                    <a:cubicBezTo>
                      <a:pt x="261" y="245"/>
                      <a:pt x="256" y="249"/>
                      <a:pt x="251" y="249"/>
                    </a:cubicBezTo>
                    <a:close/>
                    <a:moveTo>
                      <a:pt x="270" y="222"/>
                    </a:moveTo>
                    <a:cubicBezTo>
                      <a:pt x="267" y="219"/>
                      <a:pt x="263" y="216"/>
                      <a:pt x="259" y="215"/>
                    </a:cubicBezTo>
                    <a:cubicBezTo>
                      <a:pt x="259" y="202"/>
                      <a:pt x="259" y="202"/>
                      <a:pt x="259" y="202"/>
                    </a:cubicBezTo>
                    <a:cubicBezTo>
                      <a:pt x="297" y="209"/>
                      <a:pt x="297" y="209"/>
                      <a:pt x="297" y="209"/>
                    </a:cubicBezTo>
                    <a:cubicBezTo>
                      <a:pt x="297" y="209"/>
                      <a:pt x="297" y="209"/>
                      <a:pt x="297" y="209"/>
                    </a:cubicBezTo>
                    <a:lnTo>
                      <a:pt x="270" y="222"/>
                    </a:lnTo>
                    <a:close/>
                    <a:moveTo>
                      <a:pt x="300" y="193"/>
                    </a:moveTo>
                    <a:cubicBezTo>
                      <a:pt x="259" y="185"/>
                      <a:pt x="259" y="185"/>
                      <a:pt x="259" y="185"/>
                    </a:cubicBezTo>
                    <a:cubicBezTo>
                      <a:pt x="259" y="169"/>
                      <a:pt x="259" y="169"/>
                      <a:pt x="259" y="169"/>
                    </a:cubicBezTo>
                    <a:cubicBezTo>
                      <a:pt x="269" y="166"/>
                      <a:pt x="277" y="156"/>
                      <a:pt x="277" y="144"/>
                    </a:cubicBezTo>
                    <a:cubicBezTo>
                      <a:pt x="277" y="143"/>
                      <a:pt x="277" y="142"/>
                      <a:pt x="277" y="141"/>
                    </a:cubicBezTo>
                    <a:cubicBezTo>
                      <a:pt x="304" y="128"/>
                      <a:pt x="304" y="128"/>
                      <a:pt x="304" y="128"/>
                    </a:cubicBezTo>
                    <a:cubicBezTo>
                      <a:pt x="306" y="131"/>
                      <a:pt x="310" y="134"/>
                      <a:pt x="314" y="135"/>
                    </a:cubicBezTo>
                    <a:cubicBezTo>
                      <a:pt x="314" y="181"/>
                      <a:pt x="314" y="181"/>
                      <a:pt x="314" y="181"/>
                    </a:cubicBezTo>
                    <a:cubicBezTo>
                      <a:pt x="308" y="183"/>
                      <a:pt x="303" y="188"/>
                      <a:pt x="300" y="193"/>
                    </a:cubicBezTo>
                    <a:close/>
                    <a:moveTo>
                      <a:pt x="332" y="206"/>
                    </a:moveTo>
                    <a:cubicBezTo>
                      <a:pt x="332" y="211"/>
                      <a:pt x="328" y="216"/>
                      <a:pt x="322" y="216"/>
                    </a:cubicBezTo>
                    <a:cubicBezTo>
                      <a:pt x="317" y="216"/>
                      <a:pt x="312" y="211"/>
                      <a:pt x="312" y="206"/>
                    </a:cubicBezTo>
                    <a:cubicBezTo>
                      <a:pt x="312" y="201"/>
                      <a:pt x="317" y="196"/>
                      <a:pt x="322" y="196"/>
                    </a:cubicBezTo>
                    <a:cubicBezTo>
                      <a:pt x="328" y="196"/>
                      <a:pt x="332" y="201"/>
                      <a:pt x="332" y="206"/>
                    </a:cubicBezTo>
                    <a:close/>
                    <a:moveTo>
                      <a:pt x="322" y="120"/>
                    </a:moveTo>
                    <a:cubicBezTo>
                      <a:pt x="317" y="120"/>
                      <a:pt x="312" y="116"/>
                      <a:pt x="312" y="111"/>
                    </a:cubicBezTo>
                    <a:cubicBezTo>
                      <a:pt x="312" y="105"/>
                      <a:pt x="317" y="101"/>
                      <a:pt x="322" y="101"/>
                    </a:cubicBezTo>
                    <a:cubicBezTo>
                      <a:pt x="328" y="101"/>
                      <a:pt x="332" y="105"/>
                      <a:pt x="332" y="111"/>
                    </a:cubicBezTo>
                    <a:cubicBezTo>
                      <a:pt x="332" y="116"/>
                      <a:pt x="328" y="120"/>
                      <a:pt x="322" y="120"/>
                    </a:cubicBezTo>
                    <a:close/>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nvGrpSpPr>
              <p:cNvPr id="71" name="Group 87"/>
              <p:cNvGrpSpPr>
                <a:grpSpLocks noChangeAspect="1"/>
              </p:cNvGrpSpPr>
              <p:nvPr/>
            </p:nvGrpSpPr>
            <p:grpSpPr bwMode="auto">
              <a:xfrm>
                <a:off x="10721975" y="3587750"/>
                <a:ext cx="1003300" cy="830263"/>
                <a:chOff x="7334636" y="4749611"/>
                <a:chExt cx="865787" cy="717047"/>
              </a:xfrm>
            </p:grpSpPr>
            <p:sp>
              <p:nvSpPr>
                <p:cNvPr id="72" name="Freeform 6"/>
                <p:cNvSpPr>
                  <a:spLocks noChangeAspect="1" noEditPoints="1"/>
                </p:cNvSpPr>
                <p:nvPr/>
              </p:nvSpPr>
              <p:spPr bwMode="auto">
                <a:xfrm>
                  <a:off x="7334441" y="4748622"/>
                  <a:ext cx="866716" cy="721288"/>
                </a:xfrm>
                <a:custGeom>
                  <a:avLst/>
                  <a:gdLst>
                    <a:gd name="T0" fmla="*/ 2147483646 w 464"/>
                    <a:gd name="T1" fmla="*/ 2147483646 h 399"/>
                    <a:gd name="T2" fmla="*/ 2147483646 w 464"/>
                    <a:gd name="T3" fmla="*/ 2147483646 h 399"/>
                    <a:gd name="T4" fmla="*/ 2147483646 w 464"/>
                    <a:gd name="T5" fmla="*/ 2147483646 h 399"/>
                    <a:gd name="T6" fmla="*/ 2147483646 w 464"/>
                    <a:gd name="T7" fmla="*/ 0 h 399"/>
                    <a:gd name="T8" fmla="*/ 2147483646 w 464"/>
                    <a:gd name="T9" fmla="*/ 2147483646 h 399"/>
                    <a:gd name="T10" fmla="*/ 2147483646 w 464"/>
                    <a:gd name="T11" fmla="*/ 2147483646 h 399"/>
                    <a:gd name="T12" fmla="*/ 0 w 464"/>
                    <a:gd name="T13" fmla="*/ 2147483646 h 399"/>
                    <a:gd name="T14" fmla="*/ 2147483646 w 464"/>
                    <a:gd name="T15" fmla="*/ 2147483646 h 399"/>
                    <a:gd name="T16" fmla="*/ 2147483646 w 464"/>
                    <a:gd name="T17" fmla="*/ 2147483646 h 399"/>
                    <a:gd name="T18" fmla="*/ 2147483646 w 464"/>
                    <a:gd name="T19" fmla="*/ 2147483646 h 399"/>
                    <a:gd name="T20" fmla="*/ 2147483646 w 464"/>
                    <a:gd name="T21" fmla="*/ 2147483646 h 399"/>
                    <a:gd name="T22" fmla="*/ 2147483646 w 464"/>
                    <a:gd name="T23" fmla="*/ 2147483646 h 399"/>
                    <a:gd name="T24" fmla="*/ 2147483646 w 464"/>
                    <a:gd name="T25" fmla="*/ 2147483646 h 399"/>
                    <a:gd name="T26" fmla="*/ 2147483646 w 464"/>
                    <a:gd name="T27" fmla="*/ 2147483646 h 399"/>
                    <a:gd name="T28" fmla="*/ 2147483646 w 464"/>
                    <a:gd name="T29" fmla="*/ 2147483646 h 399"/>
                    <a:gd name="T30" fmla="*/ 2147483646 w 464"/>
                    <a:gd name="T31" fmla="*/ 2147483646 h 399"/>
                    <a:gd name="T32" fmla="*/ 2147483646 w 464"/>
                    <a:gd name="T33" fmla="*/ 2147483646 h 399"/>
                    <a:gd name="T34" fmla="*/ 2147483646 w 464"/>
                    <a:gd name="T35" fmla="*/ 0 h 399"/>
                    <a:gd name="T36" fmla="*/ 2147483646 w 464"/>
                    <a:gd name="T37" fmla="*/ 2147483646 h 399"/>
                    <a:gd name="T38" fmla="*/ 2147483646 w 464"/>
                    <a:gd name="T39" fmla="*/ 2147483646 h 399"/>
                    <a:gd name="T40" fmla="*/ 2147483646 w 464"/>
                    <a:gd name="T41" fmla="*/ 2147483646 h 399"/>
                    <a:gd name="T42" fmla="*/ 2147483646 w 464"/>
                    <a:gd name="T43" fmla="*/ 2147483646 h 399"/>
                    <a:gd name="T44" fmla="*/ 2147483646 w 464"/>
                    <a:gd name="T45" fmla="*/ 2147483646 h 399"/>
                    <a:gd name="T46" fmla="*/ 2147483646 w 464"/>
                    <a:gd name="T47" fmla="*/ 2147483646 h 399"/>
                    <a:gd name="T48" fmla="*/ 2147483646 w 464"/>
                    <a:gd name="T49" fmla="*/ 2147483646 h 399"/>
                    <a:gd name="T50" fmla="*/ 2147483646 w 464"/>
                    <a:gd name="T51" fmla="*/ 2147483646 h 399"/>
                    <a:gd name="T52" fmla="*/ 2147483646 w 464"/>
                    <a:gd name="T53" fmla="*/ 2147483646 h 399"/>
                    <a:gd name="T54" fmla="*/ 2147483646 w 464"/>
                    <a:gd name="T55" fmla="*/ 2147483646 h 399"/>
                    <a:gd name="T56" fmla="*/ 2147483646 w 464"/>
                    <a:gd name="T57" fmla="*/ 2147483646 h 399"/>
                    <a:gd name="T58" fmla="*/ 2147483646 w 464"/>
                    <a:gd name="T59" fmla="*/ 2147483646 h 399"/>
                    <a:gd name="T60" fmla="*/ 2147483646 w 464"/>
                    <a:gd name="T61" fmla="*/ 2147483646 h 399"/>
                    <a:gd name="T62" fmla="*/ 2147483646 w 464"/>
                    <a:gd name="T63" fmla="*/ 2147483646 h 399"/>
                    <a:gd name="T64" fmla="*/ 2147483646 w 464"/>
                    <a:gd name="T65" fmla="*/ 2147483646 h 399"/>
                    <a:gd name="T66" fmla="*/ 2147483646 w 464"/>
                    <a:gd name="T67" fmla="*/ 2147483646 h 399"/>
                    <a:gd name="T68" fmla="*/ 2147483646 w 464"/>
                    <a:gd name="T69" fmla="*/ 2147483646 h 399"/>
                    <a:gd name="T70" fmla="*/ 2147483646 w 464"/>
                    <a:gd name="T71" fmla="*/ 2147483646 h 399"/>
                    <a:gd name="T72" fmla="*/ 2147483646 w 464"/>
                    <a:gd name="T73" fmla="*/ 2147483646 h 399"/>
                    <a:gd name="T74" fmla="*/ 2147483646 w 464"/>
                    <a:gd name="T75" fmla="*/ 2147483646 h 399"/>
                    <a:gd name="T76" fmla="*/ 2147483646 w 464"/>
                    <a:gd name="T77" fmla="*/ 2147483646 h 399"/>
                    <a:gd name="T78" fmla="*/ 2147483646 w 464"/>
                    <a:gd name="T79" fmla="*/ 2147483646 h 3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399">
                      <a:moveTo>
                        <a:pt x="351" y="81"/>
                      </a:moveTo>
                      <a:cubicBezTo>
                        <a:pt x="426" y="81"/>
                        <a:pt x="426" y="81"/>
                        <a:pt x="426" y="81"/>
                      </a:cubicBezTo>
                      <a:cubicBezTo>
                        <a:pt x="430" y="81"/>
                        <a:pt x="434" y="77"/>
                        <a:pt x="434" y="73"/>
                      </a:cubicBezTo>
                      <a:cubicBezTo>
                        <a:pt x="434" y="68"/>
                        <a:pt x="430" y="65"/>
                        <a:pt x="426" y="65"/>
                      </a:cubicBezTo>
                      <a:cubicBezTo>
                        <a:pt x="351" y="65"/>
                        <a:pt x="351" y="65"/>
                        <a:pt x="351" y="65"/>
                      </a:cubicBezTo>
                      <a:cubicBezTo>
                        <a:pt x="346" y="65"/>
                        <a:pt x="343" y="68"/>
                        <a:pt x="343" y="73"/>
                      </a:cubicBezTo>
                      <a:cubicBezTo>
                        <a:pt x="343" y="77"/>
                        <a:pt x="346" y="81"/>
                        <a:pt x="351" y="81"/>
                      </a:cubicBezTo>
                      <a:close/>
                      <a:moveTo>
                        <a:pt x="450" y="0"/>
                      </a:moveTo>
                      <a:cubicBezTo>
                        <a:pt x="327" y="0"/>
                        <a:pt x="327" y="0"/>
                        <a:pt x="327" y="0"/>
                      </a:cubicBezTo>
                      <a:cubicBezTo>
                        <a:pt x="319" y="0"/>
                        <a:pt x="312" y="6"/>
                        <a:pt x="312" y="14"/>
                      </a:cubicBezTo>
                      <a:cubicBezTo>
                        <a:pt x="312" y="101"/>
                        <a:pt x="312" y="101"/>
                        <a:pt x="312" y="101"/>
                      </a:cubicBezTo>
                      <a:cubicBezTo>
                        <a:pt x="13" y="101"/>
                        <a:pt x="13" y="101"/>
                        <a:pt x="13" y="101"/>
                      </a:cubicBezTo>
                      <a:cubicBezTo>
                        <a:pt x="6" y="101"/>
                        <a:pt x="0" y="107"/>
                        <a:pt x="0" y="113"/>
                      </a:cubicBezTo>
                      <a:cubicBezTo>
                        <a:pt x="0" y="318"/>
                        <a:pt x="0" y="318"/>
                        <a:pt x="0" y="318"/>
                      </a:cubicBezTo>
                      <a:cubicBezTo>
                        <a:pt x="0" y="325"/>
                        <a:pt x="6" y="331"/>
                        <a:pt x="13" y="331"/>
                      </a:cubicBezTo>
                      <a:cubicBezTo>
                        <a:pt x="145" y="331"/>
                        <a:pt x="145" y="331"/>
                        <a:pt x="145" y="331"/>
                      </a:cubicBezTo>
                      <a:cubicBezTo>
                        <a:pt x="145" y="346"/>
                        <a:pt x="145" y="346"/>
                        <a:pt x="145" y="346"/>
                      </a:cubicBezTo>
                      <a:cubicBezTo>
                        <a:pt x="94" y="346"/>
                        <a:pt x="94" y="346"/>
                        <a:pt x="94" y="346"/>
                      </a:cubicBezTo>
                      <a:cubicBezTo>
                        <a:pt x="92" y="346"/>
                        <a:pt x="91" y="347"/>
                        <a:pt x="89" y="348"/>
                      </a:cubicBezTo>
                      <a:cubicBezTo>
                        <a:pt x="33" y="385"/>
                        <a:pt x="33" y="385"/>
                        <a:pt x="33" y="385"/>
                      </a:cubicBezTo>
                      <a:cubicBezTo>
                        <a:pt x="30" y="387"/>
                        <a:pt x="28" y="390"/>
                        <a:pt x="29" y="394"/>
                      </a:cubicBezTo>
                      <a:cubicBezTo>
                        <a:pt x="30" y="397"/>
                        <a:pt x="33" y="399"/>
                        <a:pt x="37" y="399"/>
                      </a:cubicBezTo>
                      <a:cubicBezTo>
                        <a:pt x="332" y="399"/>
                        <a:pt x="332" y="399"/>
                        <a:pt x="332" y="399"/>
                      </a:cubicBezTo>
                      <a:cubicBezTo>
                        <a:pt x="336" y="399"/>
                        <a:pt x="339" y="397"/>
                        <a:pt x="340" y="394"/>
                      </a:cubicBezTo>
                      <a:cubicBezTo>
                        <a:pt x="341" y="390"/>
                        <a:pt x="340" y="387"/>
                        <a:pt x="337" y="385"/>
                      </a:cubicBezTo>
                      <a:cubicBezTo>
                        <a:pt x="280" y="348"/>
                        <a:pt x="280" y="348"/>
                        <a:pt x="280" y="348"/>
                      </a:cubicBezTo>
                      <a:cubicBezTo>
                        <a:pt x="279" y="347"/>
                        <a:pt x="277" y="346"/>
                        <a:pt x="276" y="346"/>
                      </a:cubicBezTo>
                      <a:cubicBezTo>
                        <a:pt x="224" y="346"/>
                        <a:pt x="224" y="346"/>
                        <a:pt x="224" y="346"/>
                      </a:cubicBezTo>
                      <a:cubicBezTo>
                        <a:pt x="224" y="331"/>
                        <a:pt x="224" y="331"/>
                        <a:pt x="224" y="331"/>
                      </a:cubicBezTo>
                      <a:cubicBezTo>
                        <a:pt x="357" y="331"/>
                        <a:pt x="357" y="331"/>
                        <a:pt x="357" y="331"/>
                      </a:cubicBezTo>
                      <a:cubicBezTo>
                        <a:pt x="363" y="331"/>
                        <a:pt x="369" y="325"/>
                        <a:pt x="369" y="318"/>
                      </a:cubicBezTo>
                      <a:cubicBezTo>
                        <a:pt x="369" y="310"/>
                        <a:pt x="369" y="310"/>
                        <a:pt x="369" y="310"/>
                      </a:cubicBezTo>
                      <a:cubicBezTo>
                        <a:pt x="450" y="310"/>
                        <a:pt x="450" y="310"/>
                        <a:pt x="450" y="310"/>
                      </a:cubicBezTo>
                      <a:cubicBezTo>
                        <a:pt x="457" y="310"/>
                        <a:pt x="464" y="303"/>
                        <a:pt x="464" y="296"/>
                      </a:cubicBezTo>
                      <a:cubicBezTo>
                        <a:pt x="464" y="14"/>
                        <a:pt x="464" y="14"/>
                        <a:pt x="464" y="14"/>
                      </a:cubicBezTo>
                      <a:cubicBezTo>
                        <a:pt x="464" y="6"/>
                        <a:pt x="457" y="0"/>
                        <a:pt x="450" y="0"/>
                      </a:cubicBezTo>
                      <a:close/>
                      <a:moveTo>
                        <a:pt x="273" y="362"/>
                      </a:moveTo>
                      <a:cubicBezTo>
                        <a:pt x="305" y="383"/>
                        <a:pt x="305" y="383"/>
                        <a:pt x="305" y="383"/>
                      </a:cubicBezTo>
                      <a:cubicBezTo>
                        <a:pt x="64" y="383"/>
                        <a:pt x="64" y="383"/>
                        <a:pt x="64" y="383"/>
                      </a:cubicBezTo>
                      <a:cubicBezTo>
                        <a:pt x="96" y="362"/>
                        <a:pt x="96" y="362"/>
                        <a:pt x="96" y="362"/>
                      </a:cubicBezTo>
                      <a:lnTo>
                        <a:pt x="273" y="362"/>
                      </a:lnTo>
                      <a:close/>
                      <a:moveTo>
                        <a:pt x="161" y="346"/>
                      </a:moveTo>
                      <a:cubicBezTo>
                        <a:pt x="161" y="331"/>
                        <a:pt x="161" y="331"/>
                        <a:pt x="161" y="331"/>
                      </a:cubicBezTo>
                      <a:cubicBezTo>
                        <a:pt x="208" y="331"/>
                        <a:pt x="208" y="331"/>
                        <a:pt x="208" y="331"/>
                      </a:cubicBezTo>
                      <a:cubicBezTo>
                        <a:pt x="208" y="346"/>
                        <a:pt x="208" y="346"/>
                        <a:pt x="208" y="346"/>
                      </a:cubicBezTo>
                      <a:lnTo>
                        <a:pt x="161" y="346"/>
                      </a:lnTo>
                      <a:close/>
                      <a:moveTo>
                        <a:pt x="448" y="294"/>
                      </a:moveTo>
                      <a:cubicBezTo>
                        <a:pt x="369" y="294"/>
                        <a:pt x="369" y="294"/>
                        <a:pt x="369" y="294"/>
                      </a:cubicBezTo>
                      <a:cubicBezTo>
                        <a:pt x="369" y="161"/>
                        <a:pt x="369" y="161"/>
                        <a:pt x="369" y="161"/>
                      </a:cubicBezTo>
                      <a:cubicBezTo>
                        <a:pt x="369" y="157"/>
                        <a:pt x="365" y="153"/>
                        <a:pt x="361" y="153"/>
                      </a:cubicBezTo>
                      <a:cubicBezTo>
                        <a:pt x="357" y="153"/>
                        <a:pt x="353" y="157"/>
                        <a:pt x="353" y="161"/>
                      </a:cubicBezTo>
                      <a:cubicBezTo>
                        <a:pt x="353" y="315"/>
                        <a:pt x="353" y="315"/>
                        <a:pt x="353" y="315"/>
                      </a:cubicBezTo>
                      <a:cubicBezTo>
                        <a:pt x="16" y="315"/>
                        <a:pt x="16" y="315"/>
                        <a:pt x="16" y="315"/>
                      </a:cubicBezTo>
                      <a:cubicBezTo>
                        <a:pt x="16" y="117"/>
                        <a:pt x="16" y="117"/>
                        <a:pt x="16" y="117"/>
                      </a:cubicBezTo>
                      <a:cubicBezTo>
                        <a:pt x="353" y="117"/>
                        <a:pt x="353" y="117"/>
                        <a:pt x="353" y="117"/>
                      </a:cubicBezTo>
                      <a:cubicBezTo>
                        <a:pt x="353" y="129"/>
                        <a:pt x="353" y="129"/>
                        <a:pt x="353" y="129"/>
                      </a:cubicBezTo>
                      <a:cubicBezTo>
                        <a:pt x="353" y="134"/>
                        <a:pt x="357" y="137"/>
                        <a:pt x="361" y="137"/>
                      </a:cubicBezTo>
                      <a:cubicBezTo>
                        <a:pt x="365" y="137"/>
                        <a:pt x="369" y="134"/>
                        <a:pt x="369" y="129"/>
                      </a:cubicBezTo>
                      <a:cubicBezTo>
                        <a:pt x="369" y="113"/>
                        <a:pt x="369" y="113"/>
                        <a:pt x="369" y="113"/>
                      </a:cubicBezTo>
                      <a:cubicBezTo>
                        <a:pt x="369" y="107"/>
                        <a:pt x="363" y="101"/>
                        <a:pt x="357" y="101"/>
                      </a:cubicBezTo>
                      <a:cubicBezTo>
                        <a:pt x="328" y="101"/>
                        <a:pt x="328" y="101"/>
                        <a:pt x="328" y="101"/>
                      </a:cubicBezTo>
                      <a:cubicBezTo>
                        <a:pt x="328" y="16"/>
                        <a:pt x="328" y="16"/>
                        <a:pt x="328" y="16"/>
                      </a:cubicBezTo>
                      <a:cubicBezTo>
                        <a:pt x="448" y="16"/>
                        <a:pt x="448" y="16"/>
                        <a:pt x="448" y="16"/>
                      </a:cubicBezTo>
                      <a:lnTo>
                        <a:pt x="448" y="294"/>
                      </a:lnTo>
                      <a:close/>
                      <a:moveTo>
                        <a:pt x="428" y="117"/>
                      </a:moveTo>
                      <a:cubicBezTo>
                        <a:pt x="425" y="117"/>
                        <a:pt x="422" y="120"/>
                        <a:pt x="422" y="123"/>
                      </a:cubicBezTo>
                      <a:cubicBezTo>
                        <a:pt x="422" y="126"/>
                        <a:pt x="425" y="128"/>
                        <a:pt x="428" y="128"/>
                      </a:cubicBezTo>
                      <a:cubicBezTo>
                        <a:pt x="431" y="128"/>
                        <a:pt x="434" y="126"/>
                        <a:pt x="434" y="123"/>
                      </a:cubicBezTo>
                      <a:cubicBezTo>
                        <a:pt x="434" y="120"/>
                        <a:pt x="431" y="117"/>
                        <a:pt x="428" y="117"/>
                      </a:cubicBezTo>
                      <a:close/>
                      <a:moveTo>
                        <a:pt x="351" y="50"/>
                      </a:moveTo>
                      <a:cubicBezTo>
                        <a:pt x="426" y="50"/>
                        <a:pt x="426" y="50"/>
                        <a:pt x="426" y="50"/>
                      </a:cubicBezTo>
                      <a:cubicBezTo>
                        <a:pt x="430" y="50"/>
                        <a:pt x="434" y="46"/>
                        <a:pt x="434" y="42"/>
                      </a:cubicBezTo>
                      <a:cubicBezTo>
                        <a:pt x="434" y="38"/>
                        <a:pt x="430" y="34"/>
                        <a:pt x="426" y="34"/>
                      </a:cubicBezTo>
                      <a:cubicBezTo>
                        <a:pt x="351" y="34"/>
                        <a:pt x="351" y="34"/>
                        <a:pt x="351" y="34"/>
                      </a:cubicBezTo>
                      <a:cubicBezTo>
                        <a:pt x="346" y="34"/>
                        <a:pt x="343" y="38"/>
                        <a:pt x="343" y="42"/>
                      </a:cubicBezTo>
                      <a:cubicBezTo>
                        <a:pt x="343" y="46"/>
                        <a:pt x="346" y="50"/>
                        <a:pt x="351" y="50"/>
                      </a:cubicBezTo>
                      <a:close/>
                      <a:moveTo>
                        <a:pt x="428" y="95"/>
                      </a:moveTo>
                      <a:cubicBezTo>
                        <a:pt x="425" y="95"/>
                        <a:pt x="422" y="98"/>
                        <a:pt x="422" y="101"/>
                      </a:cubicBezTo>
                      <a:cubicBezTo>
                        <a:pt x="422" y="104"/>
                        <a:pt x="425" y="106"/>
                        <a:pt x="428" y="106"/>
                      </a:cubicBezTo>
                      <a:cubicBezTo>
                        <a:pt x="431" y="106"/>
                        <a:pt x="434" y="104"/>
                        <a:pt x="434" y="101"/>
                      </a:cubicBezTo>
                      <a:cubicBezTo>
                        <a:pt x="434" y="98"/>
                        <a:pt x="431" y="95"/>
                        <a:pt x="428"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73" name="Freeform 3"/>
                <p:cNvSpPr>
                  <a:spLocks noChangeAspect="1" noEditPoints="1"/>
                </p:cNvSpPr>
                <p:nvPr/>
              </p:nvSpPr>
              <p:spPr bwMode="auto">
                <a:xfrm>
                  <a:off x="7544614" y="5021108"/>
                  <a:ext cx="264219" cy="276494"/>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grpSp>
      </p:grpSp>
      <p:grpSp>
        <p:nvGrpSpPr>
          <p:cNvPr id="33" name="Group 26684"/>
          <p:cNvGrpSpPr>
            <a:grpSpLocks/>
          </p:cNvGrpSpPr>
          <p:nvPr/>
        </p:nvGrpSpPr>
        <p:grpSpPr bwMode="auto">
          <a:xfrm>
            <a:off x="8169275" y="3802063"/>
            <a:ext cx="1809750" cy="1512887"/>
            <a:chOff x="6266691" y="3827893"/>
            <a:chExt cx="1810186" cy="1511778"/>
          </a:xfrm>
        </p:grpSpPr>
        <p:sp>
          <p:nvSpPr>
            <p:cNvPr id="58" name="Freeform 56"/>
            <p:cNvSpPr>
              <a:spLocks noChangeAspect="1" noEditPoints="1"/>
            </p:cNvSpPr>
            <p:nvPr/>
          </p:nvSpPr>
          <p:spPr bwMode="auto">
            <a:xfrm>
              <a:off x="6592888" y="4874533"/>
              <a:ext cx="144462" cy="2381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59" name="Freeform 61"/>
            <p:cNvSpPr>
              <a:spLocks noChangeAspect="1" noEditPoints="1"/>
            </p:cNvSpPr>
            <p:nvPr/>
          </p:nvSpPr>
          <p:spPr bwMode="auto">
            <a:xfrm>
              <a:off x="6410325" y="4874533"/>
              <a:ext cx="144463" cy="2381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60" name="Freeform 3"/>
            <p:cNvSpPr>
              <a:spLocks noChangeAspect="1" noEditPoints="1"/>
            </p:cNvSpPr>
            <p:nvPr/>
          </p:nvSpPr>
          <p:spPr bwMode="auto">
            <a:xfrm>
              <a:off x="6943725" y="4899933"/>
              <a:ext cx="388938" cy="246063"/>
            </a:xfrm>
            <a:custGeom>
              <a:avLst/>
              <a:gdLst>
                <a:gd name="T0" fmla="*/ 2147483646 w 462"/>
                <a:gd name="T1" fmla="*/ 2147483646 h 293"/>
                <a:gd name="T2" fmla="*/ 2147483646 w 462"/>
                <a:gd name="T3" fmla="*/ 2147483646 h 293"/>
                <a:gd name="T4" fmla="*/ 2147483646 w 462"/>
                <a:gd name="T5" fmla="*/ 2147483646 h 293"/>
                <a:gd name="T6" fmla="*/ 2147483646 w 462"/>
                <a:gd name="T7" fmla="*/ 2147483646 h 293"/>
                <a:gd name="T8" fmla="*/ 2147483646 w 462"/>
                <a:gd name="T9" fmla="*/ 2147483646 h 293"/>
                <a:gd name="T10" fmla="*/ 2147483646 w 462"/>
                <a:gd name="T11" fmla="*/ 2147483646 h 293"/>
                <a:gd name="T12" fmla="*/ 2147483646 w 462"/>
                <a:gd name="T13" fmla="*/ 2147483646 h 293"/>
                <a:gd name="T14" fmla="*/ 2147483646 w 462"/>
                <a:gd name="T15" fmla="*/ 2147483646 h 293"/>
                <a:gd name="T16" fmla="*/ 2147483646 w 462"/>
                <a:gd name="T17" fmla="*/ 2147483646 h 293"/>
                <a:gd name="T18" fmla="*/ 2147483646 w 462"/>
                <a:gd name="T19" fmla="*/ 2147483646 h 293"/>
                <a:gd name="T20" fmla="*/ 2147483646 w 462"/>
                <a:gd name="T21" fmla="*/ 2147483646 h 293"/>
                <a:gd name="T22" fmla="*/ 2147483646 w 462"/>
                <a:gd name="T23" fmla="*/ 2147483646 h 293"/>
                <a:gd name="T24" fmla="*/ 2147483646 w 462"/>
                <a:gd name="T25" fmla="*/ 2147483646 h 293"/>
                <a:gd name="T26" fmla="*/ 2147483646 w 462"/>
                <a:gd name="T27" fmla="*/ 2147483646 h 293"/>
                <a:gd name="T28" fmla="*/ 2147483646 w 462"/>
                <a:gd name="T29" fmla="*/ 2147483646 h 293"/>
                <a:gd name="T30" fmla="*/ 2147483646 w 462"/>
                <a:gd name="T31" fmla="*/ 2147483646 h 293"/>
                <a:gd name="T32" fmla="*/ 2147483646 w 462"/>
                <a:gd name="T33" fmla="*/ 2147483646 h 293"/>
                <a:gd name="T34" fmla="*/ 2147483646 w 462"/>
                <a:gd name="T35" fmla="*/ 2147483646 h 293"/>
                <a:gd name="T36" fmla="*/ 2147483646 w 462"/>
                <a:gd name="T37" fmla="*/ 2147483646 h 293"/>
                <a:gd name="T38" fmla="*/ 2147483646 w 462"/>
                <a:gd name="T39" fmla="*/ 2147483646 h 293"/>
                <a:gd name="T40" fmla="*/ 2147483646 w 462"/>
                <a:gd name="T41" fmla="*/ 2147483646 h 293"/>
                <a:gd name="T42" fmla="*/ 2147483646 w 462"/>
                <a:gd name="T43" fmla="*/ 2147483646 h 293"/>
                <a:gd name="T44" fmla="*/ 2147483646 w 462"/>
                <a:gd name="T45" fmla="*/ 2147483646 h 293"/>
                <a:gd name="T46" fmla="*/ 2147483646 w 462"/>
                <a:gd name="T47" fmla="*/ 2147483646 h 293"/>
                <a:gd name="T48" fmla="*/ 2147483646 w 462"/>
                <a:gd name="T49" fmla="*/ 2147483646 h 293"/>
                <a:gd name="T50" fmla="*/ 2147483646 w 462"/>
                <a:gd name="T51" fmla="*/ 2147483646 h 293"/>
                <a:gd name="T52" fmla="*/ 2147483646 w 462"/>
                <a:gd name="T53" fmla="*/ 2147483646 h 293"/>
                <a:gd name="T54" fmla="*/ 2147483646 w 462"/>
                <a:gd name="T55" fmla="*/ 2147483646 h 293"/>
                <a:gd name="T56" fmla="*/ 2147483646 w 462"/>
                <a:gd name="T57" fmla="*/ 2147483646 h 293"/>
                <a:gd name="T58" fmla="*/ 2147483646 w 462"/>
                <a:gd name="T59" fmla="*/ 2147483646 h 293"/>
                <a:gd name="T60" fmla="*/ 2147483646 w 462"/>
                <a:gd name="T61" fmla="*/ 2147483646 h 293"/>
                <a:gd name="T62" fmla="*/ 2147483646 w 462"/>
                <a:gd name="T63" fmla="*/ 2147483646 h 293"/>
                <a:gd name="T64" fmla="*/ 2147483646 w 462"/>
                <a:gd name="T65" fmla="*/ 2147483646 h 293"/>
                <a:gd name="T66" fmla="*/ 2147483646 w 462"/>
                <a:gd name="T67" fmla="*/ 2147483646 h 293"/>
                <a:gd name="T68" fmla="*/ 2147483646 w 462"/>
                <a:gd name="T69" fmla="*/ 2147483646 h 293"/>
                <a:gd name="T70" fmla="*/ 2147483646 w 462"/>
                <a:gd name="T71" fmla="*/ 2147483646 h 293"/>
                <a:gd name="T72" fmla="*/ 2147483646 w 462"/>
                <a:gd name="T73" fmla="*/ 2147483646 h 293"/>
                <a:gd name="T74" fmla="*/ 2147483646 w 462"/>
                <a:gd name="T75" fmla="*/ 2147483646 h 293"/>
                <a:gd name="T76" fmla="*/ 2147483646 w 462"/>
                <a:gd name="T77" fmla="*/ 2147483646 h 293"/>
                <a:gd name="T78" fmla="*/ 2147483646 w 462"/>
                <a:gd name="T79" fmla="*/ 2147483646 h 293"/>
                <a:gd name="T80" fmla="*/ 2147483646 w 462"/>
                <a:gd name="T81" fmla="*/ 2147483646 h 293"/>
                <a:gd name="T82" fmla="*/ 2147483646 w 462"/>
                <a:gd name="T83" fmla="*/ 2147483646 h 293"/>
                <a:gd name="T84" fmla="*/ 2147483646 w 462"/>
                <a:gd name="T85" fmla="*/ 2147483646 h 293"/>
                <a:gd name="T86" fmla="*/ 2147483646 w 462"/>
                <a:gd name="T87" fmla="*/ 2147483646 h 293"/>
                <a:gd name="T88" fmla="*/ 2147483646 w 462"/>
                <a:gd name="T89" fmla="*/ 2147483646 h 293"/>
                <a:gd name="T90" fmla="*/ 2147483646 w 462"/>
                <a:gd name="T91" fmla="*/ 2147483646 h 293"/>
                <a:gd name="T92" fmla="*/ 2147483646 w 462"/>
                <a:gd name="T93" fmla="*/ 2147483646 h 293"/>
                <a:gd name="T94" fmla="*/ 2147483646 w 462"/>
                <a:gd name="T95" fmla="*/ 2147483646 h 293"/>
                <a:gd name="T96" fmla="*/ 2147483646 w 462"/>
                <a:gd name="T97" fmla="*/ 2147483646 h 293"/>
                <a:gd name="T98" fmla="*/ 2147483646 w 462"/>
                <a:gd name="T99" fmla="*/ 2147483646 h 2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2" h="293">
                  <a:moveTo>
                    <a:pt x="348" y="111"/>
                  </a:moveTo>
                  <a:cubicBezTo>
                    <a:pt x="348" y="96"/>
                    <a:pt x="337" y="85"/>
                    <a:pt x="322" y="85"/>
                  </a:cubicBezTo>
                  <a:cubicBezTo>
                    <a:pt x="313" y="85"/>
                    <a:pt x="304" y="90"/>
                    <a:pt x="300" y="98"/>
                  </a:cubicBezTo>
                  <a:cubicBezTo>
                    <a:pt x="238" y="86"/>
                    <a:pt x="238" y="86"/>
                    <a:pt x="238" y="86"/>
                  </a:cubicBezTo>
                  <a:cubicBezTo>
                    <a:pt x="236" y="73"/>
                    <a:pt x="226" y="63"/>
                    <a:pt x="212" y="63"/>
                  </a:cubicBezTo>
                  <a:cubicBezTo>
                    <a:pt x="198" y="63"/>
                    <a:pt x="186" y="74"/>
                    <a:pt x="186" y="89"/>
                  </a:cubicBezTo>
                  <a:cubicBezTo>
                    <a:pt x="186" y="90"/>
                    <a:pt x="187" y="91"/>
                    <a:pt x="187" y="92"/>
                  </a:cubicBezTo>
                  <a:cubicBezTo>
                    <a:pt x="160" y="105"/>
                    <a:pt x="160" y="105"/>
                    <a:pt x="160" y="105"/>
                  </a:cubicBezTo>
                  <a:cubicBezTo>
                    <a:pt x="155" y="100"/>
                    <a:pt x="148" y="97"/>
                    <a:pt x="141" y="97"/>
                  </a:cubicBezTo>
                  <a:cubicBezTo>
                    <a:pt x="127" y="97"/>
                    <a:pt x="115" y="108"/>
                    <a:pt x="115" y="122"/>
                  </a:cubicBezTo>
                  <a:cubicBezTo>
                    <a:pt x="115" y="134"/>
                    <a:pt x="123" y="144"/>
                    <a:pt x="133" y="147"/>
                  </a:cubicBezTo>
                  <a:cubicBezTo>
                    <a:pt x="133" y="193"/>
                    <a:pt x="133" y="193"/>
                    <a:pt x="133" y="193"/>
                  </a:cubicBezTo>
                  <a:cubicBezTo>
                    <a:pt x="123" y="196"/>
                    <a:pt x="115" y="206"/>
                    <a:pt x="115" y="217"/>
                  </a:cubicBezTo>
                  <a:cubicBezTo>
                    <a:pt x="115" y="232"/>
                    <a:pt x="127" y="243"/>
                    <a:pt x="141" y="243"/>
                  </a:cubicBezTo>
                  <a:cubicBezTo>
                    <a:pt x="151" y="243"/>
                    <a:pt x="159" y="238"/>
                    <a:pt x="163" y="230"/>
                  </a:cubicBezTo>
                  <a:cubicBezTo>
                    <a:pt x="225" y="242"/>
                    <a:pt x="225" y="242"/>
                    <a:pt x="225" y="242"/>
                  </a:cubicBezTo>
                  <a:cubicBezTo>
                    <a:pt x="227" y="255"/>
                    <a:pt x="238" y="265"/>
                    <a:pt x="251" y="265"/>
                  </a:cubicBezTo>
                  <a:cubicBezTo>
                    <a:pt x="265" y="265"/>
                    <a:pt x="277" y="253"/>
                    <a:pt x="277" y="239"/>
                  </a:cubicBezTo>
                  <a:cubicBezTo>
                    <a:pt x="277" y="238"/>
                    <a:pt x="277" y="237"/>
                    <a:pt x="277" y="236"/>
                  </a:cubicBezTo>
                  <a:cubicBezTo>
                    <a:pt x="304" y="224"/>
                    <a:pt x="304" y="224"/>
                    <a:pt x="304" y="224"/>
                  </a:cubicBezTo>
                  <a:cubicBezTo>
                    <a:pt x="308" y="229"/>
                    <a:pt x="315" y="232"/>
                    <a:pt x="322" y="232"/>
                  </a:cubicBezTo>
                  <a:cubicBezTo>
                    <a:pt x="337" y="232"/>
                    <a:pt x="348" y="220"/>
                    <a:pt x="348" y="206"/>
                  </a:cubicBezTo>
                  <a:cubicBezTo>
                    <a:pt x="348" y="195"/>
                    <a:pt x="341" y="185"/>
                    <a:pt x="330" y="181"/>
                  </a:cubicBezTo>
                  <a:cubicBezTo>
                    <a:pt x="330" y="135"/>
                    <a:pt x="330" y="135"/>
                    <a:pt x="330" y="135"/>
                  </a:cubicBezTo>
                  <a:cubicBezTo>
                    <a:pt x="341" y="132"/>
                    <a:pt x="348" y="122"/>
                    <a:pt x="348" y="111"/>
                  </a:cubicBezTo>
                  <a:close/>
                  <a:moveTo>
                    <a:pt x="235" y="101"/>
                  </a:moveTo>
                  <a:cubicBezTo>
                    <a:pt x="297" y="114"/>
                    <a:pt x="297" y="114"/>
                    <a:pt x="297" y="114"/>
                  </a:cubicBezTo>
                  <a:cubicBezTo>
                    <a:pt x="297" y="114"/>
                    <a:pt x="297" y="114"/>
                    <a:pt x="297" y="114"/>
                  </a:cubicBezTo>
                  <a:cubicBezTo>
                    <a:pt x="270" y="127"/>
                    <a:pt x="270" y="127"/>
                    <a:pt x="270" y="127"/>
                  </a:cubicBezTo>
                  <a:cubicBezTo>
                    <a:pt x="265" y="122"/>
                    <a:pt x="258" y="119"/>
                    <a:pt x="251" y="119"/>
                  </a:cubicBezTo>
                  <a:cubicBezTo>
                    <a:pt x="241" y="119"/>
                    <a:pt x="233" y="124"/>
                    <a:pt x="228" y="132"/>
                  </a:cubicBezTo>
                  <a:cubicBezTo>
                    <a:pt x="220" y="130"/>
                    <a:pt x="220" y="130"/>
                    <a:pt x="220" y="130"/>
                  </a:cubicBezTo>
                  <a:cubicBezTo>
                    <a:pt x="220" y="113"/>
                    <a:pt x="220" y="113"/>
                    <a:pt x="220" y="113"/>
                  </a:cubicBezTo>
                  <a:cubicBezTo>
                    <a:pt x="227" y="111"/>
                    <a:pt x="232" y="107"/>
                    <a:pt x="235" y="101"/>
                  </a:cubicBezTo>
                  <a:close/>
                  <a:moveTo>
                    <a:pt x="220" y="160"/>
                  </a:moveTo>
                  <a:cubicBezTo>
                    <a:pt x="220" y="147"/>
                    <a:pt x="220" y="147"/>
                    <a:pt x="220" y="147"/>
                  </a:cubicBezTo>
                  <a:cubicBezTo>
                    <a:pt x="225" y="148"/>
                    <a:pt x="225" y="148"/>
                    <a:pt x="225" y="148"/>
                  </a:cubicBezTo>
                  <a:cubicBezTo>
                    <a:pt x="227" y="158"/>
                    <a:pt x="234" y="166"/>
                    <a:pt x="243" y="169"/>
                  </a:cubicBezTo>
                  <a:cubicBezTo>
                    <a:pt x="243" y="182"/>
                    <a:pt x="243" y="182"/>
                    <a:pt x="243" y="182"/>
                  </a:cubicBezTo>
                  <a:cubicBezTo>
                    <a:pt x="238" y="181"/>
                    <a:pt x="238" y="181"/>
                    <a:pt x="238" y="181"/>
                  </a:cubicBezTo>
                  <a:cubicBezTo>
                    <a:pt x="237" y="171"/>
                    <a:pt x="230" y="163"/>
                    <a:pt x="220" y="160"/>
                  </a:cubicBezTo>
                  <a:close/>
                  <a:moveTo>
                    <a:pt x="222" y="184"/>
                  </a:moveTo>
                  <a:cubicBezTo>
                    <a:pt x="222" y="190"/>
                    <a:pt x="218" y="194"/>
                    <a:pt x="212" y="194"/>
                  </a:cubicBezTo>
                  <a:cubicBezTo>
                    <a:pt x="207" y="194"/>
                    <a:pt x="202" y="190"/>
                    <a:pt x="202" y="184"/>
                  </a:cubicBezTo>
                  <a:cubicBezTo>
                    <a:pt x="202" y="179"/>
                    <a:pt x="207" y="174"/>
                    <a:pt x="212" y="174"/>
                  </a:cubicBezTo>
                  <a:cubicBezTo>
                    <a:pt x="218" y="174"/>
                    <a:pt x="222" y="179"/>
                    <a:pt x="222" y="184"/>
                  </a:cubicBezTo>
                  <a:close/>
                  <a:moveTo>
                    <a:pt x="241" y="144"/>
                  </a:moveTo>
                  <a:cubicBezTo>
                    <a:pt x="241" y="139"/>
                    <a:pt x="246" y="135"/>
                    <a:pt x="251" y="135"/>
                  </a:cubicBezTo>
                  <a:cubicBezTo>
                    <a:pt x="256" y="135"/>
                    <a:pt x="261" y="139"/>
                    <a:pt x="261" y="144"/>
                  </a:cubicBezTo>
                  <a:cubicBezTo>
                    <a:pt x="261" y="150"/>
                    <a:pt x="256" y="154"/>
                    <a:pt x="251" y="154"/>
                  </a:cubicBezTo>
                  <a:cubicBezTo>
                    <a:pt x="246" y="154"/>
                    <a:pt x="241" y="150"/>
                    <a:pt x="241" y="144"/>
                  </a:cubicBezTo>
                  <a:close/>
                  <a:moveTo>
                    <a:pt x="212" y="79"/>
                  </a:moveTo>
                  <a:cubicBezTo>
                    <a:pt x="218" y="79"/>
                    <a:pt x="222" y="83"/>
                    <a:pt x="222" y="89"/>
                  </a:cubicBezTo>
                  <a:cubicBezTo>
                    <a:pt x="222" y="94"/>
                    <a:pt x="218" y="99"/>
                    <a:pt x="212" y="99"/>
                  </a:cubicBezTo>
                  <a:cubicBezTo>
                    <a:pt x="207" y="99"/>
                    <a:pt x="202" y="94"/>
                    <a:pt x="202" y="89"/>
                  </a:cubicBezTo>
                  <a:cubicBezTo>
                    <a:pt x="202" y="83"/>
                    <a:pt x="207" y="79"/>
                    <a:pt x="212" y="79"/>
                  </a:cubicBezTo>
                  <a:close/>
                  <a:moveTo>
                    <a:pt x="194" y="106"/>
                  </a:moveTo>
                  <a:cubicBezTo>
                    <a:pt x="197" y="110"/>
                    <a:pt x="200" y="112"/>
                    <a:pt x="204" y="113"/>
                  </a:cubicBezTo>
                  <a:cubicBezTo>
                    <a:pt x="204" y="127"/>
                    <a:pt x="204" y="127"/>
                    <a:pt x="204" y="127"/>
                  </a:cubicBezTo>
                  <a:cubicBezTo>
                    <a:pt x="167" y="120"/>
                    <a:pt x="167" y="120"/>
                    <a:pt x="167" y="120"/>
                  </a:cubicBezTo>
                  <a:cubicBezTo>
                    <a:pt x="167" y="120"/>
                    <a:pt x="167" y="119"/>
                    <a:pt x="167" y="119"/>
                  </a:cubicBezTo>
                  <a:lnTo>
                    <a:pt x="194" y="106"/>
                  </a:lnTo>
                  <a:close/>
                  <a:moveTo>
                    <a:pt x="131" y="122"/>
                  </a:moveTo>
                  <a:cubicBezTo>
                    <a:pt x="131" y="117"/>
                    <a:pt x="136" y="113"/>
                    <a:pt x="141" y="113"/>
                  </a:cubicBezTo>
                  <a:cubicBezTo>
                    <a:pt x="146" y="113"/>
                    <a:pt x="151" y="117"/>
                    <a:pt x="151" y="122"/>
                  </a:cubicBezTo>
                  <a:cubicBezTo>
                    <a:pt x="151" y="128"/>
                    <a:pt x="146" y="132"/>
                    <a:pt x="141" y="132"/>
                  </a:cubicBezTo>
                  <a:cubicBezTo>
                    <a:pt x="136" y="132"/>
                    <a:pt x="131" y="128"/>
                    <a:pt x="131" y="122"/>
                  </a:cubicBezTo>
                  <a:close/>
                  <a:moveTo>
                    <a:pt x="141" y="227"/>
                  </a:moveTo>
                  <a:cubicBezTo>
                    <a:pt x="136" y="227"/>
                    <a:pt x="131" y="223"/>
                    <a:pt x="131" y="217"/>
                  </a:cubicBezTo>
                  <a:cubicBezTo>
                    <a:pt x="131" y="212"/>
                    <a:pt x="136" y="207"/>
                    <a:pt x="141" y="207"/>
                  </a:cubicBezTo>
                  <a:cubicBezTo>
                    <a:pt x="146" y="207"/>
                    <a:pt x="151" y="212"/>
                    <a:pt x="151" y="217"/>
                  </a:cubicBezTo>
                  <a:cubicBezTo>
                    <a:pt x="151" y="223"/>
                    <a:pt x="146" y="227"/>
                    <a:pt x="141" y="227"/>
                  </a:cubicBezTo>
                  <a:close/>
                  <a:moveTo>
                    <a:pt x="160" y="200"/>
                  </a:moveTo>
                  <a:cubicBezTo>
                    <a:pt x="157" y="197"/>
                    <a:pt x="153" y="194"/>
                    <a:pt x="149" y="193"/>
                  </a:cubicBezTo>
                  <a:cubicBezTo>
                    <a:pt x="149" y="147"/>
                    <a:pt x="149" y="147"/>
                    <a:pt x="149" y="147"/>
                  </a:cubicBezTo>
                  <a:cubicBezTo>
                    <a:pt x="155" y="145"/>
                    <a:pt x="160" y="141"/>
                    <a:pt x="163" y="136"/>
                  </a:cubicBezTo>
                  <a:cubicBezTo>
                    <a:pt x="204" y="144"/>
                    <a:pt x="204" y="144"/>
                    <a:pt x="204" y="144"/>
                  </a:cubicBezTo>
                  <a:cubicBezTo>
                    <a:pt x="204" y="160"/>
                    <a:pt x="204" y="160"/>
                    <a:pt x="204" y="160"/>
                  </a:cubicBezTo>
                  <a:cubicBezTo>
                    <a:pt x="194" y="163"/>
                    <a:pt x="186" y="173"/>
                    <a:pt x="186" y="184"/>
                  </a:cubicBezTo>
                  <a:cubicBezTo>
                    <a:pt x="186" y="185"/>
                    <a:pt x="187" y="186"/>
                    <a:pt x="187" y="187"/>
                  </a:cubicBezTo>
                  <a:lnTo>
                    <a:pt x="160" y="200"/>
                  </a:lnTo>
                  <a:close/>
                  <a:moveTo>
                    <a:pt x="228" y="227"/>
                  </a:moveTo>
                  <a:cubicBezTo>
                    <a:pt x="167" y="214"/>
                    <a:pt x="167" y="214"/>
                    <a:pt x="167" y="214"/>
                  </a:cubicBezTo>
                  <a:cubicBezTo>
                    <a:pt x="194" y="202"/>
                    <a:pt x="194" y="202"/>
                    <a:pt x="194" y="202"/>
                  </a:cubicBezTo>
                  <a:cubicBezTo>
                    <a:pt x="198" y="207"/>
                    <a:pt x="205" y="210"/>
                    <a:pt x="212" y="210"/>
                  </a:cubicBezTo>
                  <a:cubicBezTo>
                    <a:pt x="222" y="210"/>
                    <a:pt x="230" y="205"/>
                    <a:pt x="235" y="197"/>
                  </a:cubicBezTo>
                  <a:cubicBezTo>
                    <a:pt x="243" y="198"/>
                    <a:pt x="243" y="198"/>
                    <a:pt x="243" y="198"/>
                  </a:cubicBezTo>
                  <a:cubicBezTo>
                    <a:pt x="243" y="215"/>
                    <a:pt x="243" y="215"/>
                    <a:pt x="243" y="215"/>
                  </a:cubicBezTo>
                  <a:cubicBezTo>
                    <a:pt x="237" y="217"/>
                    <a:pt x="232" y="221"/>
                    <a:pt x="228" y="227"/>
                  </a:cubicBezTo>
                  <a:close/>
                  <a:moveTo>
                    <a:pt x="251" y="249"/>
                  </a:moveTo>
                  <a:cubicBezTo>
                    <a:pt x="246" y="249"/>
                    <a:pt x="241" y="245"/>
                    <a:pt x="241" y="239"/>
                  </a:cubicBezTo>
                  <a:cubicBezTo>
                    <a:pt x="241" y="234"/>
                    <a:pt x="246" y="229"/>
                    <a:pt x="251" y="229"/>
                  </a:cubicBezTo>
                  <a:cubicBezTo>
                    <a:pt x="256" y="229"/>
                    <a:pt x="261" y="234"/>
                    <a:pt x="261" y="239"/>
                  </a:cubicBezTo>
                  <a:cubicBezTo>
                    <a:pt x="261" y="245"/>
                    <a:pt x="256" y="249"/>
                    <a:pt x="251" y="249"/>
                  </a:cubicBezTo>
                  <a:close/>
                  <a:moveTo>
                    <a:pt x="270" y="222"/>
                  </a:moveTo>
                  <a:cubicBezTo>
                    <a:pt x="267" y="219"/>
                    <a:pt x="263" y="216"/>
                    <a:pt x="259" y="215"/>
                  </a:cubicBezTo>
                  <a:cubicBezTo>
                    <a:pt x="259" y="202"/>
                    <a:pt x="259" y="202"/>
                    <a:pt x="259" y="202"/>
                  </a:cubicBezTo>
                  <a:cubicBezTo>
                    <a:pt x="297" y="209"/>
                    <a:pt x="297" y="209"/>
                    <a:pt x="297" y="209"/>
                  </a:cubicBezTo>
                  <a:cubicBezTo>
                    <a:pt x="297" y="209"/>
                    <a:pt x="297" y="209"/>
                    <a:pt x="297" y="209"/>
                  </a:cubicBezTo>
                  <a:lnTo>
                    <a:pt x="270" y="222"/>
                  </a:lnTo>
                  <a:close/>
                  <a:moveTo>
                    <a:pt x="300" y="193"/>
                  </a:moveTo>
                  <a:cubicBezTo>
                    <a:pt x="259" y="185"/>
                    <a:pt x="259" y="185"/>
                    <a:pt x="259" y="185"/>
                  </a:cubicBezTo>
                  <a:cubicBezTo>
                    <a:pt x="259" y="169"/>
                    <a:pt x="259" y="169"/>
                    <a:pt x="259" y="169"/>
                  </a:cubicBezTo>
                  <a:cubicBezTo>
                    <a:pt x="269" y="166"/>
                    <a:pt x="277" y="156"/>
                    <a:pt x="277" y="144"/>
                  </a:cubicBezTo>
                  <a:cubicBezTo>
                    <a:pt x="277" y="143"/>
                    <a:pt x="277" y="142"/>
                    <a:pt x="277" y="141"/>
                  </a:cubicBezTo>
                  <a:cubicBezTo>
                    <a:pt x="304" y="128"/>
                    <a:pt x="304" y="128"/>
                    <a:pt x="304" y="128"/>
                  </a:cubicBezTo>
                  <a:cubicBezTo>
                    <a:pt x="306" y="131"/>
                    <a:pt x="310" y="134"/>
                    <a:pt x="314" y="135"/>
                  </a:cubicBezTo>
                  <a:cubicBezTo>
                    <a:pt x="314" y="181"/>
                    <a:pt x="314" y="181"/>
                    <a:pt x="314" y="181"/>
                  </a:cubicBezTo>
                  <a:cubicBezTo>
                    <a:pt x="308" y="183"/>
                    <a:pt x="303" y="188"/>
                    <a:pt x="300" y="193"/>
                  </a:cubicBezTo>
                  <a:close/>
                  <a:moveTo>
                    <a:pt x="332" y="206"/>
                  </a:moveTo>
                  <a:cubicBezTo>
                    <a:pt x="332" y="211"/>
                    <a:pt x="328" y="216"/>
                    <a:pt x="322" y="216"/>
                  </a:cubicBezTo>
                  <a:cubicBezTo>
                    <a:pt x="317" y="216"/>
                    <a:pt x="312" y="211"/>
                    <a:pt x="312" y="206"/>
                  </a:cubicBezTo>
                  <a:cubicBezTo>
                    <a:pt x="312" y="201"/>
                    <a:pt x="317" y="196"/>
                    <a:pt x="322" y="196"/>
                  </a:cubicBezTo>
                  <a:cubicBezTo>
                    <a:pt x="328" y="196"/>
                    <a:pt x="332" y="201"/>
                    <a:pt x="332" y="206"/>
                  </a:cubicBezTo>
                  <a:close/>
                  <a:moveTo>
                    <a:pt x="322" y="120"/>
                  </a:moveTo>
                  <a:cubicBezTo>
                    <a:pt x="317" y="120"/>
                    <a:pt x="312" y="116"/>
                    <a:pt x="312" y="111"/>
                  </a:cubicBezTo>
                  <a:cubicBezTo>
                    <a:pt x="312" y="105"/>
                    <a:pt x="317" y="101"/>
                    <a:pt x="322" y="101"/>
                  </a:cubicBezTo>
                  <a:cubicBezTo>
                    <a:pt x="328" y="101"/>
                    <a:pt x="332" y="105"/>
                    <a:pt x="332" y="111"/>
                  </a:cubicBezTo>
                  <a:cubicBezTo>
                    <a:pt x="332" y="116"/>
                    <a:pt x="328" y="120"/>
                    <a:pt x="322" y="120"/>
                  </a:cubicBezTo>
                  <a:close/>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cxnSp>
          <p:nvCxnSpPr>
            <p:cNvPr id="61" name="Straight Connector 65"/>
            <p:cNvCxnSpPr>
              <a:cxnSpLocks noChangeShapeType="1"/>
            </p:cNvCxnSpPr>
            <p:nvPr/>
          </p:nvCxnSpPr>
          <p:spPr bwMode="auto">
            <a:xfrm flipH="1">
              <a:off x="6804609" y="5036605"/>
              <a:ext cx="137846" cy="0"/>
            </a:xfrm>
            <a:prstGeom prst="line">
              <a:avLst/>
            </a:prstGeom>
            <a:noFill/>
            <a:ln w="28575">
              <a:solidFill>
                <a:srgbClr val="FFFFFF"/>
              </a:solidFill>
              <a:round/>
              <a:headEnd type="triangle" w="med" len="sm"/>
              <a:tailEnd type="triangle" w="med" len="sm"/>
            </a:ln>
            <a:extLst>
              <a:ext uri="{909E8E84-426E-40DD-AFC4-6F175D3DCCD1}">
                <a14:hiddenFill xmlns:a14="http://schemas.microsoft.com/office/drawing/2010/main">
                  <a:noFill/>
                </a14:hiddenFill>
              </a:ext>
            </a:extLst>
          </p:spPr>
        </p:cxnSp>
        <p:cxnSp>
          <p:nvCxnSpPr>
            <p:cNvPr id="62" name="Straight Connector 65"/>
            <p:cNvCxnSpPr>
              <a:cxnSpLocks noChangeShapeType="1"/>
            </p:cNvCxnSpPr>
            <p:nvPr/>
          </p:nvCxnSpPr>
          <p:spPr bwMode="auto">
            <a:xfrm flipH="1">
              <a:off x="7332080" y="5036605"/>
              <a:ext cx="137846" cy="0"/>
            </a:xfrm>
            <a:prstGeom prst="line">
              <a:avLst/>
            </a:prstGeom>
            <a:noFill/>
            <a:ln w="28575">
              <a:solidFill>
                <a:srgbClr val="FFFFFF"/>
              </a:solidFill>
              <a:round/>
              <a:headEnd type="triangle" w="med" len="sm"/>
              <a:tailEnd type="triangle" w="med" len="sm"/>
            </a:ln>
            <a:extLst>
              <a:ext uri="{909E8E84-426E-40DD-AFC4-6F175D3DCCD1}">
                <a14:hiddenFill xmlns:a14="http://schemas.microsoft.com/office/drawing/2010/main">
                  <a:noFill/>
                </a14:hiddenFill>
              </a:ext>
            </a:extLst>
          </p:spPr>
        </p:cxnSp>
        <p:sp>
          <p:nvSpPr>
            <p:cNvPr id="63" name="Freeform 6"/>
            <p:cNvSpPr>
              <a:spLocks noChangeAspect="1"/>
            </p:cNvSpPr>
            <p:nvPr/>
          </p:nvSpPr>
          <p:spPr bwMode="auto">
            <a:xfrm>
              <a:off x="6266691" y="3827893"/>
              <a:ext cx="1810186" cy="1511778"/>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Distributed Cloud</a:t>
              </a:r>
              <a:b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CORE &amp; RAN</a:t>
              </a:r>
            </a:p>
          </p:txBody>
        </p:sp>
        <p:sp>
          <p:nvSpPr>
            <p:cNvPr id="64" name="Freeform 61"/>
            <p:cNvSpPr>
              <a:spLocks noChangeAspect="1" noEditPoints="1"/>
            </p:cNvSpPr>
            <p:nvPr/>
          </p:nvSpPr>
          <p:spPr bwMode="auto">
            <a:xfrm>
              <a:off x="7743825" y="4826908"/>
              <a:ext cx="195263"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65" name="Freeform 61"/>
            <p:cNvSpPr>
              <a:spLocks noChangeAspect="1" noEditPoints="1"/>
            </p:cNvSpPr>
            <p:nvPr/>
          </p:nvSpPr>
          <p:spPr bwMode="auto">
            <a:xfrm>
              <a:off x="7507288" y="4826908"/>
              <a:ext cx="195262"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66" name="Freeform 61"/>
            <p:cNvSpPr>
              <a:spLocks noChangeAspect="1" noEditPoints="1"/>
            </p:cNvSpPr>
            <p:nvPr/>
          </p:nvSpPr>
          <p:spPr bwMode="auto">
            <a:xfrm>
              <a:off x="7743825" y="4482421"/>
              <a:ext cx="195263"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67" name="Freeform 61"/>
            <p:cNvSpPr>
              <a:spLocks noChangeAspect="1" noEditPoints="1"/>
            </p:cNvSpPr>
            <p:nvPr/>
          </p:nvSpPr>
          <p:spPr bwMode="auto">
            <a:xfrm>
              <a:off x="7507288" y="4482421"/>
              <a:ext cx="195262" cy="314325"/>
            </a:xfrm>
            <a:custGeom>
              <a:avLst/>
              <a:gdLst>
                <a:gd name="T0" fmla="*/ 2147483646 w 255"/>
                <a:gd name="T1" fmla="*/ 2147483646 h 412"/>
                <a:gd name="T2" fmla="*/ 2147483646 w 255"/>
                <a:gd name="T3" fmla="*/ 2147483646 h 412"/>
                <a:gd name="T4" fmla="*/ 2147483646 w 255"/>
                <a:gd name="T5" fmla="*/ 2147483646 h 412"/>
                <a:gd name="T6" fmla="*/ 2147483646 w 255"/>
                <a:gd name="T7" fmla="*/ 2147483646 h 412"/>
                <a:gd name="T8" fmla="*/ 2147483646 w 255"/>
                <a:gd name="T9" fmla="*/ 2147483646 h 412"/>
                <a:gd name="T10" fmla="*/ 2147483646 w 255"/>
                <a:gd name="T11" fmla="*/ 2147483646 h 412"/>
                <a:gd name="T12" fmla="*/ 2147483646 w 255"/>
                <a:gd name="T13" fmla="*/ 2147483646 h 412"/>
                <a:gd name="T14" fmla="*/ 2147483646 w 255"/>
                <a:gd name="T15" fmla="*/ 2147483646 h 412"/>
                <a:gd name="T16" fmla="*/ 2147483646 w 255"/>
                <a:gd name="T17" fmla="*/ 2147483646 h 412"/>
                <a:gd name="T18" fmla="*/ 2147483646 w 255"/>
                <a:gd name="T19" fmla="*/ 2147483646 h 412"/>
                <a:gd name="T20" fmla="*/ 2147483646 w 255"/>
                <a:gd name="T21" fmla="*/ 2147483646 h 412"/>
                <a:gd name="T22" fmla="*/ 2147483646 w 255"/>
                <a:gd name="T23" fmla="*/ 2147483646 h 412"/>
                <a:gd name="T24" fmla="*/ 2147483646 w 255"/>
                <a:gd name="T25" fmla="*/ 2147483646 h 412"/>
                <a:gd name="T26" fmla="*/ 2147483646 w 255"/>
                <a:gd name="T27" fmla="*/ 2147483646 h 412"/>
                <a:gd name="T28" fmla="*/ 2147483646 w 255"/>
                <a:gd name="T29" fmla="*/ 2147483646 h 412"/>
                <a:gd name="T30" fmla="*/ 2147483646 w 255"/>
                <a:gd name="T31" fmla="*/ 2147483646 h 412"/>
                <a:gd name="T32" fmla="*/ 2147483646 w 255"/>
                <a:gd name="T33" fmla="*/ 2147483646 h 412"/>
                <a:gd name="T34" fmla="*/ 2147483646 w 255"/>
                <a:gd name="T35" fmla="*/ 2147483646 h 412"/>
                <a:gd name="T36" fmla="*/ 2147483646 w 255"/>
                <a:gd name="T37" fmla="*/ 2147483646 h 412"/>
                <a:gd name="T38" fmla="*/ 2147483646 w 255"/>
                <a:gd name="T39" fmla="*/ 2147483646 h 412"/>
                <a:gd name="T40" fmla="*/ 2147483646 w 255"/>
                <a:gd name="T41" fmla="*/ 2147483646 h 412"/>
                <a:gd name="T42" fmla="*/ 2147483646 w 255"/>
                <a:gd name="T43" fmla="*/ 2147483646 h 412"/>
                <a:gd name="T44" fmla="*/ 2147483646 w 255"/>
                <a:gd name="T45" fmla="*/ 2147483646 h 412"/>
                <a:gd name="T46" fmla="*/ 2147483646 w 255"/>
                <a:gd name="T47" fmla="*/ 2147483646 h 412"/>
                <a:gd name="T48" fmla="*/ 2147483646 w 255"/>
                <a:gd name="T49" fmla="*/ 2147483646 h 412"/>
                <a:gd name="T50" fmla="*/ 2147483646 w 255"/>
                <a:gd name="T51" fmla="*/ 2147483646 h 412"/>
                <a:gd name="T52" fmla="*/ 2147483646 w 255"/>
                <a:gd name="T53" fmla="*/ 2147483646 h 412"/>
                <a:gd name="T54" fmla="*/ 2147483646 w 255"/>
                <a:gd name="T55" fmla="*/ 2147483646 h 412"/>
                <a:gd name="T56" fmla="*/ 2147483646 w 255"/>
                <a:gd name="T57" fmla="*/ 2147483646 h 412"/>
                <a:gd name="T58" fmla="*/ 2147483646 w 255"/>
                <a:gd name="T59" fmla="*/ 2147483646 h 412"/>
                <a:gd name="T60" fmla="*/ 2147483646 w 255"/>
                <a:gd name="T61" fmla="*/ 2147483646 h 412"/>
                <a:gd name="T62" fmla="*/ 2147483646 w 255"/>
                <a:gd name="T63" fmla="*/ 2147483646 h 412"/>
                <a:gd name="T64" fmla="*/ 2147483646 w 255"/>
                <a:gd name="T65" fmla="*/ 2147483646 h 412"/>
                <a:gd name="T66" fmla="*/ 2147483646 w 255"/>
                <a:gd name="T67" fmla="*/ 2147483646 h 412"/>
                <a:gd name="T68" fmla="*/ 2147483646 w 255"/>
                <a:gd name="T69" fmla="*/ 2147483646 h 412"/>
                <a:gd name="T70" fmla="*/ 2147483646 w 255"/>
                <a:gd name="T71" fmla="*/ 2147483646 h 412"/>
                <a:gd name="T72" fmla="*/ 2147483646 w 255"/>
                <a:gd name="T73" fmla="*/ 2147483646 h 412"/>
                <a:gd name="T74" fmla="*/ 2147483646 w 255"/>
                <a:gd name="T75" fmla="*/ 2147483646 h 412"/>
                <a:gd name="T76" fmla="*/ 2147483646 w 255"/>
                <a:gd name="T77" fmla="*/ 2147483646 h 412"/>
                <a:gd name="T78" fmla="*/ 2147483646 w 255"/>
                <a:gd name="T79" fmla="*/ 2147483646 h 412"/>
                <a:gd name="T80" fmla="*/ 2147483646 w 255"/>
                <a:gd name="T81" fmla="*/ 2147483646 h 412"/>
                <a:gd name="T82" fmla="*/ 2147483646 w 255"/>
                <a:gd name="T83" fmla="*/ 2147483646 h 412"/>
                <a:gd name="T84" fmla="*/ 2147483646 w 255"/>
                <a:gd name="T85" fmla="*/ 2147483646 h 412"/>
                <a:gd name="T86" fmla="*/ 2147483646 w 255"/>
                <a:gd name="T87" fmla="*/ 2147483646 h 412"/>
                <a:gd name="T88" fmla="*/ 2147483646 w 255"/>
                <a:gd name="T89" fmla="*/ 2147483646 h 412"/>
                <a:gd name="T90" fmla="*/ 2147483646 w 255"/>
                <a:gd name="T91" fmla="*/ 2147483646 h 412"/>
                <a:gd name="T92" fmla="*/ 2147483646 w 255"/>
                <a:gd name="T93" fmla="*/ 2147483646 h 412"/>
                <a:gd name="T94" fmla="*/ 2147483646 w 255"/>
                <a:gd name="T95" fmla="*/ 2147483646 h 412"/>
                <a:gd name="T96" fmla="*/ 2147483646 w 255"/>
                <a:gd name="T97" fmla="*/ 2147483646 h 412"/>
                <a:gd name="T98" fmla="*/ 2147483646 w 255"/>
                <a:gd name="T99" fmla="*/ 2147483646 h 412"/>
                <a:gd name="T100" fmla="*/ 0 w 255"/>
                <a:gd name="T101" fmla="*/ 2147483646 h 412"/>
                <a:gd name="T102" fmla="*/ 2147483646 w 255"/>
                <a:gd name="T103" fmla="*/ 2147483646 h 412"/>
                <a:gd name="T104" fmla="*/ 2147483646 w 255"/>
                <a:gd name="T105" fmla="*/ 2147483646 h 412"/>
                <a:gd name="T106" fmla="*/ 2147483646 w 255"/>
                <a:gd name="T107" fmla="*/ 2147483646 h 412"/>
                <a:gd name="T108" fmla="*/ 2147483646 w 255"/>
                <a:gd name="T109" fmla="*/ 2147483646 h 412"/>
                <a:gd name="T110" fmla="*/ 2147483646 w 255"/>
                <a:gd name="T111" fmla="*/ 2147483646 h 4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
                <a:gd name="T169" fmla="*/ 0 h 412"/>
                <a:gd name="T170" fmla="*/ 255 w 255"/>
                <a:gd name="T171" fmla="*/ 412 h 4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 h="412">
                  <a:moveTo>
                    <a:pt x="169" y="344"/>
                  </a:moveTo>
                  <a:cubicBezTo>
                    <a:pt x="45" y="344"/>
                    <a:pt x="45" y="344"/>
                    <a:pt x="45" y="344"/>
                  </a:cubicBezTo>
                  <a:cubicBezTo>
                    <a:pt x="37" y="344"/>
                    <a:pt x="30" y="349"/>
                    <a:pt x="29" y="358"/>
                  </a:cubicBezTo>
                  <a:cubicBezTo>
                    <a:pt x="29" y="370"/>
                    <a:pt x="29" y="370"/>
                    <a:pt x="29" y="370"/>
                  </a:cubicBezTo>
                  <a:cubicBezTo>
                    <a:pt x="30" y="380"/>
                    <a:pt x="37" y="385"/>
                    <a:pt x="45" y="385"/>
                  </a:cubicBezTo>
                  <a:cubicBezTo>
                    <a:pt x="169" y="385"/>
                    <a:pt x="169" y="385"/>
                    <a:pt x="169" y="385"/>
                  </a:cubicBezTo>
                  <a:cubicBezTo>
                    <a:pt x="177" y="385"/>
                    <a:pt x="185" y="380"/>
                    <a:pt x="185" y="370"/>
                  </a:cubicBezTo>
                  <a:cubicBezTo>
                    <a:pt x="185" y="358"/>
                    <a:pt x="185" y="358"/>
                    <a:pt x="185" y="358"/>
                  </a:cubicBezTo>
                  <a:cubicBezTo>
                    <a:pt x="184" y="349"/>
                    <a:pt x="177" y="344"/>
                    <a:pt x="169" y="344"/>
                  </a:cubicBezTo>
                  <a:close/>
                  <a:moveTo>
                    <a:pt x="169" y="369"/>
                  </a:moveTo>
                  <a:cubicBezTo>
                    <a:pt x="45" y="369"/>
                    <a:pt x="45" y="369"/>
                    <a:pt x="45" y="369"/>
                  </a:cubicBezTo>
                  <a:cubicBezTo>
                    <a:pt x="45" y="369"/>
                    <a:pt x="45" y="369"/>
                    <a:pt x="45" y="369"/>
                  </a:cubicBezTo>
                  <a:cubicBezTo>
                    <a:pt x="45" y="360"/>
                    <a:pt x="45" y="360"/>
                    <a:pt x="45" y="360"/>
                  </a:cubicBezTo>
                  <a:cubicBezTo>
                    <a:pt x="45" y="360"/>
                    <a:pt x="45" y="360"/>
                    <a:pt x="45" y="360"/>
                  </a:cubicBezTo>
                  <a:cubicBezTo>
                    <a:pt x="169" y="360"/>
                    <a:pt x="169" y="360"/>
                    <a:pt x="169" y="360"/>
                  </a:cubicBezTo>
                  <a:lnTo>
                    <a:pt x="169" y="369"/>
                  </a:lnTo>
                  <a:close/>
                  <a:moveTo>
                    <a:pt x="185" y="306"/>
                  </a:moveTo>
                  <a:cubicBezTo>
                    <a:pt x="185" y="297"/>
                    <a:pt x="177" y="291"/>
                    <a:pt x="169" y="291"/>
                  </a:cubicBezTo>
                  <a:cubicBezTo>
                    <a:pt x="45" y="291"/>
                    <a:pt x="45" y="291"/>
                    <a:pt x="45" y="291"/>
                  </a:cubicBezTo>
                  <a:cubicBezTo>
                    <a:pt x="37" y="291"/>
                    <a:pt x="30" y="297"/>
                    <a:pt x="29" y="306"/>
                  </a:cubicBezTo>
                  <a:cubicBezTo>
                    <a:pt x="29" y="318"/>
                    <a:pt x="29" y="318"/>
                    <a:pt x="29" y="318"/>
                  </a:cubicBezTo>
                  <a:cubicBezTo>
                    <a:pt x="30" y="327"/>
                    <a:pt x="37" y="333"/>
                    <a:pt x="45" y="333"/>
                  </a:cubicBezTo>
                  <a:cubicBezTo>
                    <a:pt x="169" y="333"/>
                    <a:pt x="169" y="333"/>
                    <a:pt x="169" y="333"/>
                  </a:cubicBezTo>
                  <a:cubicBezTo>
                    <a:pt x="177" y="333"/>
                    <a:pt x="184" y="327"/>
                    <a:pt x="185" y="318"/>
                  </a:cubicBezTo>
                  <a:lnTo>
                    <a:pt x="185" y="306"/>
                  </a:lnTo>
                  <a:close/>
                  <a:moveTo>
                    <a:pt x="169" y="317"/>
                  </a:moveTo>
                  <a:cubicBezTo>
                    <a:pt x="45" y="317"/>
                    <a:pt x="45" y="317"/>
                    <a:pt x="45" y="317"/>
                  </a:cubicBezTo>
                  <a:cubicBezTo>
                    <a:pt x="45" y="317"/>
                    <a:pt x="45" y="317"/>
                    <a:pt x="45" y="317"/>
                  </a:cubicBezTo>
                  <a:cubicBezTo>
                    <a:pt x="45" y="307"/>
                    <a:pt x="45" y="307"/>
                    <a:pt x="45" y="307"/>
                  </a:cubicBezTo>
                  <a:cubicBezTo>
                    <a:pt x="45" y="307"/>
                    <a:pt x="45" y="307"/>
                    <a:pt x="45" y="307"/>
                  </a:cubicBezTo>
                  <a:cubicBezTo>
                    <a:pt x="169" y="307"/>
                    <a:pt x="169" y="307"/>
                    <a:pt x="169" y="307"/>
                  </a:cubicBezTo>
                  <a:lnTo>
                    <a:pt x="169" y="317"/>
                  </a:lnTo>
                  <a:close/>
                  <a:moveTo>
                    <a:pt x="185" y="253"/>
                  </a:moveTo>
                  <a:cubicBezTo>
                    <a:pt x="184" y="244"/>
                    <a:pt x="177" y="239"/>
                    <a:pt x="169" y="239"/>
                  </a:cubicBezTo>
                  <a:cubicBezTo>
                    <a:pt x="45" y="239"/>
                    <a:pt x="45" y="239"/>
                    <a:pt x="45" y="239"/>
                  </a:cubicBezTo>
                  <a:cubicBezTo>
                    <a:pt x="37" y="239"/>
                    <a:pt x="30" y="244"/>
                    <a:pt x="29" y="253"/>
                  </a:cubicBezTo>
                  <a:cubicBezTo>
                    <a:pt x="29" y="265"/>
                    <a:pt x="29" y="265"/>
                    <a:pt x="29" y="265"/>
                  </a:cubicBezTo>
                  <a:cubicBezTo>
                    <a:pt x="30" y="275"/>
                    <a:pt x="37" y="280"/>
                    <a:pt x="45" y="280"/>
                  </a:cubicBezTo>
                  <a:cubicBezTo>
                    <a:pt x="169" y="280"/>
                    <a:pt x="169" y="280"/>
                    <a:pt x="169" y="280"/>
                  </a:cubicBezTo>
                  <a:cubicBezTo>
                    <a:pt x="177" y="280"/>
                    <a:pt x="185" y="275"/>
                    <a:pt x="185" y="265"/>
                  </a:cubicBezTo>
                  <a:lnTo>
                    <a:pt x="185" y="253"/>
                  </a:lnTo>
                  <a:close/>
                  <a:moveTo>
                    <a:pt x="169" y="264"/>
                  </a:moveTo>
                  <a:cubicBezTo>
                    <a:pt x="45" y="264"/>
                    <a:pt x="45" y="264"/>
                    <a:pt x="45" y="264"/>
                  </a:cubicBezTo>
                  <a:cubicBezTo>
                    <a:pt x="45" y="264"/>
                    <a:pt x="45" y="264"/>
                    <a:pt x="45" y="264"/>
                  </a:cubicBezTo>
                  <a:cubicBezTo>
                    <a:pt x="45" y="255"/>
                    <a:pt x="45" y="255"/>
                    <a:pt x="45" y="255"/>
                  </a:cubicBezTo>
                  <a:cubicBezTo>
                    <a:pt x="45" y="255"/>
                    <a:pt x="45" y="255"/>
                    <a:pt x="45" y="255"/>
                  </a:cubicBezTo>
                  <a:cubicBezTo>
                    <a:pt x="169" y="255"/>
                    <a:pt x="169" y="255"/>
                    <a:pt x="169" y="255"/>
                  </a:cubicBezTo>
                  <a:lnTo>
                    <a:pt x="169" y="264"/>
                  </a:lnTo>
                  <a:close/>
                  <a:moveTo>
                    <a:pt x="185" y="201"/>
                  </a:moveTo>
                  <a:cubicBezTo>
                    <a:pt x="185" y="192"/>
                    <a:pt x="177" y="186"/>
                    <a:pt x="169" y="186"/>
                  </a:cubicBezTo>
                  <a:cubicBezTo>
                    <a:pt x="45" y="186"/>
                    <a:pt x="45" y="186"/>
                    <a:pt x="45" y="186"/>
                  </a:cubicBezTo>
                  <a:cubicBezTo>
                    <a:pt x="37" y="186"/>
                    <a:pt x="30" y="192"/>
                    <a:pt x="29" y="201"/>
                  </a:cubicBezTo>
                  <a:cubicBezTo>
                    <a:pt x="29" y="213"/>
                    <a:pt x="29" y="213"/>
                    <a:pt x="29" y="213"/>
                  </a:cubicBezTo>
                  <a:cubicBezTo>
                    <a:pt x="30" y="222"/>
                    <a:pt x="37" y="228"/>
                    <a:pt x="45" y="228"/>
                  </a:cubicBezTo>
                  <a:cubicBezTo>
                    <a:pt x="169" y="228"/>
                    <a:pt x="169" y="228"/>
                    <a:pt x="169" y="228"/>
                  </a:cubicBezTo>
                  <a:cubicBezTo>
                    <a:pt x="177" y="228"/>
                    <a:pt x="184" y="222"/>
                    <a:pt x="185" y="213"/>
                  </a:cubicBezTo>
                  <a:lnTo>
                    <a:pt x="185" y="201"/>
                  </a:lnTo>
                  <a:close/>
                  <a:moveTo>
                    <a:pt x="169" y="212"/>
                  </a:moveTo>
                  <a:cubicBezTo>
                    <a:pt x="45" y="212"/>
                    <a:pt x="45" y="212"/>
                    <a:pt x="45" y="212"/>
                  </a:cubicBezTo>
                  <a:cubicBezTo>
                    <a:pt x="45" y="212"/>
                    <a:pt x="45" y="212"/>
                    <a:pt x="45" y="212"/>
                  </a:cubicBezTo>
                  <a:cubicBezTo>
                    <a:pt x="45" y="202"/>
                    <a:pt x="45" y="202"/>
                    <a:pt x="45" y="202"/>
                  </a:cubicBezTo>
                  <a:cubicBezTo>
                    <a:pt x="45" y="202"/>
                    <a:pt x="45" y="202"/>
                    <a:pt x="45" y="202"/>
                  </a:cubicBezTo>
                  <a:cubicBezTo>
                    <a:pt x="169" y="202"/>
                    <a:pt x="169" y="202"/>
                    <a:pt x="169" y="202"/>
                  </a:cubicBezTo>
                  <a:lnTo>
                    <a:pt x="169" y="212"/>
                  </a:lnTo>
                  <a:close/>
                  <a:moveTo>
                    <a:pt x="185" y="148"/>
                  </a:moveTo>
                  <a:cubicBezTo>
                    <a:pt x="184" y="139"/>
                    <a:pt x="177" y="134"/>
                    <a:pt x="169" y="134"/>
                  </a:cubicBezTo>
                  <a:cubicBezTo>
                    <a:pt x="45" y="134"/>
                    <a:pt x="45" y="134"/>
                    <a:pt x="45" y="134"/>
                  </a:cubicBezTo>
                  <a:cubicBezTo>
                    <a:pt x="37" y="134"/>
                    <a:pt x="30" y="139"/>
                    <a:pt x="29" y="148"/>
                  </a:cubicBezTo>
                  <a:cubicBezTo>
                    <a:pt x="29" y="161"/>
                    <a:pt x="29" y="161"/>
                    <a:pt x="29" y="161"/>
                  </a:cubicBezTo>
                  <a:cubicBezTo>
                    <a:pt x="30" y="170"/>
                    <a:pt x="37" y="175"/>
                    <a:pt x="45" y="175"/>
                  </a:cubicBezTo>
                  <a:cubicBezTo>
                    <a:pt x="169" y="175"/>
                    <a:pt x="169" y="175"/>
                    <a:pt x="169" y="175"/>
                  </a:cubicBezTo>
                  <a:cubicBezTo>
                    <a:pt x="177" y="175"/>
                    <a:pt x="185" y="170"/>
                    <a:pt x="185" y="161"/>
                  </a:cubicBezTo>
                  <a:lnTo>
                    <a:pt x="185" y="148"/>
                  </a:lnTo>
                  <a:close/>
                  <a:moveTo>
                    <a:pt x="169" y="159"/>
                  </a:moveTo>
                  <a:cubicBezTo>
                    <a:pt x="45" y="159"/>
                    <a:pt x="45" y="159"/>
                    <a:pt x="45" y="159"/>
                  </a:cubicBezTo>
                  <a:cubicBezTo>
                    <a:pt x="45" y="159"/>
                    <a:pt x="45" y="159"/>
                    <a:pt x="45" y="159"/>
                  </a:cubicBezTo>
                  <a:cubicBezTo>
                    <a:pt x="45" y="150"/>
                    <a:pt x="45" y="150"/>
                    <a:pt x="45" y="150"/>
                  </a:cubicBezTo>
                  <a:cubicBezTo>
                    <a:pt x="45" y="150"/>
                    <a:pt x="45" y="150"/>
                    <a:pt x="45" y="150"/>
                  </a:cubicBezTo>
                  <a:cubicBezTo>
                    <a:pt x="169" y="150"/>
                    <a:pt x="169" y="150"/>
                    <a:pt x="169" y="150"/>
                  </a:cubicBezTo>
                  <a:lnTo>
                    <a:pt x="169" y="159"/>
                  </a:lnTo>
                  <a:close/>
                  <a:moveTo>
                    <a:pt x="185" y="96"/>
                  </a:moveTo>
                  <a:cubicBezTo>
                    <a:pt x="185" y="87"/>
                    <a:pt x="177" y="81"/>
                    <a:pt x="169" y="81"/>
                  </a:cubicBezTo>
                  <a:cubicBezTo>
                    <a:pt x="45" y="81"/>
                    <a:pt x="45" y="81"/>
                    <a:pt x="45" y="81"/>
                  </a:cubicBezTo>
                  <a:cubicBezTo>
                    <a:pt x="37" y="81"/>
                    <a:pt x="30" y="87"/>
                    <a:pt x="29" y="96"/>
                  </a:cubicBezTo>
                  <a:cubicBezTo>
                    <a:pt x="29" y="108"/>
                    <a:pt x="29" y="108"/>
                    <a:pt x="29" y="108"/>
                  </a:cubicBezTo>
                  <a:cubicBezTo>
                    <a:pt x="30" y="117"/>
                    <a:pt x="37" y="123"/>
                    <a:pt x="45" y="123"/>
                  </a:cubicBezTo>
                  <a:cubicBezTo>
                    <a:pt x="169" y="123"/>
                    <a:pt x="169" y="123"/>
                    <a:pt x="169" y="123"/>
                  </a:cubicBezTo>
                  <a:cubicBezTo>
                    <a:pt x="177" y="123"/>
                    <a:pt x="184" y="117"/>
                    <a:pt x="185" y="108"/>
                  </a:cubicBezTo>
                  <a:lnTo>
                    <a:pt x="185" y="96"/>
                  </a:lnTo>
                  <a:close/>
                  <a:moveTo>
                    <a:pt x="169" y="107"/>
                  </a:moveTo>
                  <a:cubicBezTo>
                    <a:pt x="45" y="107"/>
                    <a:pt x="45" y="107"/>
                    <a:pt x="45" y="107"/>
                  </a:cubicBezTo>
                  <a:cubicBezTo>
                    <a:pt x="45" y="107"/>
                    <a:pt x="45" y="107"/>
                    <a:pt x="45" y="107"/>
                  </a:cubicBezTo>
                  <a:cubicBezTo>
                    <a:pt x="45" y="97"/>
                    <a:pt x="45" y="97"/>
                    <a:pt x="45" y="97"/>
                  </a:cubicBezTo>
                  <a:cubicBezTo>
                    <a:pt x="45" y="97"/>
                    <a:pt x="45" y="97"/>
                    <a:pt x="45" y="97"/>
                  </a:cubicBezTo>
                  <a:cubicBezTo>
                    <a:pt x="169" y="97"/>
                    <a:pt x="169" y="97"/>
                    <a:pt x="169" y="97"/>
                  </a:cubicBezTo>
                  <a:lnTo>
                    <a:pt x="169" y="107"/>
                  </a:lnTo>
                  <a:close/>
                  <a:moveTo>
                    <a:pt x="185" y="44"/>
                  </a:moveTo>
                  <a:cubicBezTo>
                    <a:pt x="184" y="34"/>
                    <a:pt x="177" y="29"/>
                    <a:pt x="169" y="29"/>
                  </a:cubicBezTo>
                  <a:cubicBezTo>
                    <a:pt x="45" y="29"/>
                    <a:pt x="45" y="29"/>
                    <a:pt x="45" y="29"/>
                  </a:cubicBezTo>
                  <a:cubicBezTo>
                    <a:pt x="37" y="29"/>
                    <a:pt x="30" y="34"/>
                    <a:pt x="29" y="44"/>
                  </a:cubicBezTo>
                  <a:cubicBezTo>
                    <a:pt x="29" y="56"/>
                    <a:pt x="29" y="56"/>
                    <a:pt x="29" y="56"/>
                  </a:cubicBezTo>
                  <a:cubicBezTo>
                    <a:pt x="30" y="65"/>
                    <a:pt x="37" y="70"/>
                    <a:pt x="45" y="70"/>
                  </a:cubicBezTo>
                  <a:cubicBezTo>
                    <a:pt x="169" y="70"/>
                    <a:pt x="169" y="70"/>
                    <a:pt x="169" y="70"/>
                  </a:cubicBezTo>
                  <a:cubicBezTo>
                    <a:pt x="177" y="70"/>
                    <a:pt x="185" y="65"/>
                    <a:pt x="185" y="56"/>
                  </a:cubicBezTo>
                  <a:lnTo>
                    <a:pt x="185" y="44"/>
                  </a:lnTo>
                  <a:close/>
                  <a:moveTo>
                    <a:pt x="169" y="54"/>
                  </a:moveTo>
                  <a:cubicBezTo>
                    <a:pt x="45" y="54"/>
                    <a:pt x="45" y="54"/>
                    <a:pt x="45" y="54"/>
                  </a:cubicBezTo>
                  <a:cubicBezTo>
                    <a:pt x="45" y="54"/>
                    <a:pt x="45" y="54"/>
                    <a:pt x="45" y="54"/>
                  </a:cubicBezTo>
                  <a:cubicBezTo>
                    <a:pt x="45" y="45"/>
                    <a:pt x="45" y="45"/>
                    <a:pt x="45" y="45"/>
                  </a:cubicBezTo>
                  <a:cubicBezTo>
                    <a:pt x="45" y="45"/>
                    <a:pt x="45" y="45"/>
                    <a:pt x="45" y="45"/>
                  </a:cubicBezTo>
                  <a:cubicBezTo>
                    <a:pt x="169" y="45"/>
                    <a:pt x="169" y="45"/>
                    <a:pt x="169" y="45"/>
                  </a:cubicBezTo>
                  <a:lnTo>
                    <a:pt x="169" y="54"/>
                  </a:lnTo>
                  <a:close/>
                  <a:moveTo>
                    <a:pt x="212" y="88"/>
                  </a:moveTo>
                  <a:cubicBezTo>
                    <a:pt x="204" y="88"/>
                    <a:pt x="198" y="94"/>
                    <a:pt x="198" y="102"/>
                  </a:cubicBezTo>
                  <a:cubicBezTo>
                    <a:pt x="198" y="110"/>
                    <a:pt x="204" y="116"/>
                    <a:pt x="212" y="116"/>
                  </a:cubicBezTo>
                  <a:cubicBezTo>
                    <a:pt x="220" y="116"/>
                    <a:pt x="226" y="110"/>
                    <a:pt x="226" y="102"/>
                  </a:cubicBezTo>
                  <a:cubicBezTo>
                    <a:pt x="226" y="94"/>
                    <a:pt x="220" y="88"/>
                    <a:pt x="212" y="88"/>
                  </a:cubicBezTo>
                  <a:close/>
                  <a:moveTo>
                    <a:pt x="212" y="35"/>
                  </a:moveTo>
                  <a:cubicBezTo>
                    <a:pt x="204" y="35"/>
                    <a:pt x="198" y="42"/>
                    <a:pt x="198" y="50"/>
                  </a:cubicBezTo>
                  <a:cubicBezTo>
                    <a:pt x="198" y="57"/>
                    <a:pt x="204" y="64"/>
                    <a:pt x="212" y="64"/>
                  </a:cubicBezTo>
                  <a:cubicBezTo>
                    <a:pt x="220" y="64"/>
                    <a:pt x="226" y="57"/>
                    <a:pt x="226" y="50"/>
                  </a:cubicBezTo>
                  <a:cubicBezTo>
                    <a:pt x="226" y="42"/>
                    <a:pt x="220" y="35"/>
                    <a:pt x="212" y="35"/>
                  </a:cubicBezTo>
                  <a:close/>
                  <a:moveTo>
                    <a:pt x="212" y="140"/>
                  </a:moveTo>
                  <a:cubicBezTo>
                    <a:pt x="204" y="140"/>
                    <a:pt x="198" y="147"/>
                    <a:pt x="198" y="155"/>
                  </a:cubicBezTo>
                  <a:cubicBezTo>
                    <a:pt x="198" y="162"/>
                    <a:pt x="204" y="169"/>
                    <a:pt x="212" y="169"/>
                  </a:cubicBezTo>
                  <a:cubicBezTo>
                    <a:pt x="220" y="169"/>
                    <a:pt x="226" y="162"/>
                    <a:pt x="226" y="155"/>
                  </a:cubicBezTo>
                  <a:cubicBezTo>
                    <a:pt x="226" y="147"/>
                    <a:pt x="220" y="140"/>
                    <a:pt x="212" y="140"/>
                  </a:cubicBezTo>
                  <a:close/>
                  <a:moveTo>
                    <a:pt x="212" y="193"/>
                  </a:moveTo>
                  <a:cubicBezTo>
                    <a:pt x="204" y="193"/>
                    <a:pt x="198" y="199"/>
                    <a:pt x="198" y="207"/>
                  </a:cubicBezTo>
                  <a:cubicBezTo>
                    <a:pt x="198" y="215"/>
                    <a:pt x="204" y="221"/>
                    <a:pt x="212" y="221"/>
                  </a:cubicBezTo>
                  <a:cubicBezTo>
                    <a:pt x="220" y="221"/>
                    <a:pt x="226" y="215"/>
                    <a:pt x="226" y="207"/>
                  </a:cubicBezTo>
                  <a:cubicBezTo>
                    <a:pt x="226" y="199"/>
                    <a:pt x="220" y="193"/>
                    <a:pt x="212" y="193"/>
                  </a:cubicBezTo>
                  <a:close/>
                  <a:moveTo>
                    <a:pt x="212" y="245"/>
                  </a:moveTo>
                  <a:cubicBezTo>
                    <a:pt x="204" y="245"/>
                    <a:pt x="198" y="252"/>
                    <a:pt x="198" y="259"/>
                  </a:cubicBezTo>
                  <a:cubicBezTo>
                    <a:pt x="198" y="267"/>
                    <a:pt x="204" y="274"/>
                    <a:pt x="212" y="274"/>
                  </a:cubicBezTo>
                  <a:cubicBezTo>
                    <a:pt x="220" y="274"/>
                    <a:pt x="226" y="267"/>
                    <a:pt x="226" y="259"/>
                  </a:cubicBezTo>
                  <a:cubicBezTo>
                    <a:pt x="226" y="252"/>
                    <a:pt x="220" y="245"/>
                    <a:pt x="212" y="245"/>
                  </a:cubicBezTo>
                  <a:close/>
                  <a:moveTo>
                    <a:pt x="212" y="298"/>
                  </a:moveTo>
                  <a:cubicBezTo>
                    <a:pt x="204" y="298"/>
                    <a:pt x="198" y="304"/>
                    <a:pt x="198" y="312"/>
                  </a:cubicBezTo>
                  <a:cubicBezTo>
                    <a:pt x="198" y="320"/>
                    <a:pt x="204" y="326"/>
                    <a:pt x="212" y="326"/>
                  </a:cubicBezTo>
                  <a:cubicBezTo>
                    <a:pt x="220" y="326"/>
                    <a:pt x="226" y="320"/>
                    <a:pt x="226" y="312"/>
                  </a:cubicBezTo>
                  <a:cubicBezTo>
                    <a:pt x="226" y="304"/>
                    <a:pt x="220" y="298"/>
                    <a:pt x="212" y="298"/>
                  </a:cubicBezTo>
                  <a:close/>
                  <a:moveTo>
                    <a:pt x="212" y="350"/>
                  </a:moveTo>
                  <a:cubicBezTo>
                    <a:pt x="204" y="350"/>
                    <a:pt x="198" y="356"/>
                    <a:pt x="198" y="364"/>
                  </a:cubicBezTo>
                  <a:cubicBezTo>
                    <a:pt x="198" y="372"/>
                    <a:pt x="204" y="379"/>
                    <a:pt x="212" y="379"/>
                  </a:cubicBezTo>
                  <a:cubicBezTo>
                    <a:pt x="220" y="379"/>
                    <a:pt x="226" y="372"/>
                    <a:pt x="226" y="364"/>
                  </a:cubicBezTo>
                  <a:cubicBezTo>
                    <a:pt x="226" y="356"/>
                    <a:pt x="220" y="350"/>
                    <a:pt x="212" y="350"/>
                  </a:cubicBezTo>
                  <a:close/>
                  <a:moveTo>
                    <a:pt x="247" y="44"/>
                  </a:moveTo>
                  <a:cubicBezTo>
                    <a:pt x="251" y="44"/>
                    <a:pt x="255" y="41"/>
                    <a:pt x="255" y="36"/>
                  </a:cubicBezTo>
                  <a:cubicBezTo>
                    <a:pt x="255" y="16"/>
                    <a:pt x="255" y="16"/>
                    <a:pt x="255" y="16"/>
                  </a:cubicBezTo>
                  <a:cubicBezTo>
                    <a:pt x="255" y="7"/>
                    <a:pt x="248" y="0"/>
                    <a:pt x="239" y="0"/>
                  </a:cubicBezTo>
                  <a:cubicBezTo>
                    <a:pt x="16" y="0"/>
                    <a:pt x="16" y="0"/>
                    <a:pt x="16" y="0"/>
                  </a:cubicBezTo>
                  <a:cubicBezTo>
                    <a:pt x="7" y="0"/>
                    <a:pt x="0" y="7"/>
                    <a:pt x="0" y="16"/>
                  </a:cubicBezTo>
                  <a:cubicBezTo>
                    <a:pt x="0" y="396"/>
                    <a:pt x="0" y="396"/>
                    <a:pt x="0" y="396"/>
                  </a:cubicBezTo>
                  <a:cubicBezTo>
                    <a:pt x="0" y="405"/>
                    <a:pt x="7" y="412"/>
                    <a:pt x="16" y="412"/>
                  </a:cubicBezTo>
                  <a:cubicBezTo>
                    <a:pt x="239" y="412"/>
                    <a:pt x="239" y="412"/>
                    <a:pt x="239" y="412"/>
                  </a:cubicBezTo>
                  <a:cubicBezTo>
                    <a:pt x="248" y="412"/>
                    <a:pt x="255" y="405"/>
                    <a:pt x="255" y="396"/>
                  </a:cubicBezTo>
                  <a:cubicBezTo>
                    <a:pt x="255" y="60"/>
                    <a:pt x="255" y="60"/>
                    <a:pt x="255" y="60"/>
                  </a:cubicBezTo>
                  <a:cubicBezTo>
                    <a:pt x="255" y="56"/>
                    <a:pt x="251" y="52"/>
                    <a:pt x="247" y="52"/>
                  </a:cubicBezTo>
                  <a:cubicBezTo>
                    <a:pt x="242" y="52"/>
                    <a:pt x="239" y="56"/>
                    <a:pt x="239" y="60"/>
                  </a:cubicBezTo>
                  <a:cubicBezTo>
                    <a:pt x="239" y="396"/>
                    <a:pt x="239" y="396"/>
                    <a:pt x="239" y="396"/>
                  </a:cubicBezTo>
                  <a:cubicBezTo>
                    <a:pt x="16" y="396"/>
                    <a:pt x="16" y="396"/>
                    <a:pt x="16" y="396"/>
                  </a:cubicBezTo>
                  <a:cubicBezTo>
                    <a:pt x="16" y="396"/>
                    <a:pt x="16" y="396"/>
                    <a:pt x="16" y="396"/>
                  </a:cubicBezTo>
                  <a:cubicBezTo>
                    <a:pt x="16" y="16"/>
                    <a:pt x="16" y="16"/>
                    <a:pt x="16" y="16"/>
                  </a:cubicBezTo>
                  <a:cubicBezTo>
                    <a:pt x="16" y="16"/>
                    <a:pt x="16" y="16"/>
                    <a:pt x="16" y="16"/>
                  </a:cubicBezTo>
                  <a:cubicBezTo>
                    <a:pt x="239" y="16"/>
                    <a:pt x="239" y="16"/>
                    <a:pt x="239" y="16"/>
                  </a:cubicBezTo>
                  <a:cubicBezTo>
                    <a:pt x="239" y="36"/>
                    <a:pt x="239" y="36"/>
                    <a:pt x="239" y="36"/>
                  </a:cubicBezTo>
                  <a:cubicBezTo>
                    <a:pt x="239" y="41"/>
                    <a:pt x="242" y="44"/>
                    <a:pt x="24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sp>
        <p:nvSpPr>
          <p:cNvPr id="34" name="Freeform 9"/>
          <p:cNvSpPr>
            <a:spLocks noChangeAspect="1"/>
          </p:cNvSpPr>
          <p:nvPr/>
        </p:nvSpPr>
        <p:spPr bwMode="auto">
          <a:xfrm>
            <a:off x="10855325" y="1473200"/>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35" name="Freeform 9"/>
          <p:cNvSpPr>
            <a:spLocks noChangeAspect="1"/>
          </p:cNvSpPr>
          <p:nvPr/>
        </p:nvSpPr>
        <p:spPr bwMode="auto">
          <a:xfrm>
            <a:off x="10855325" y="2211388"/>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36" name="Freeform 9"/>
          <p:cNvSpPr>
            <a:spLocks noChangeAspect="1"/>
          </p:cNvSpPr>
          <p:nvPr/>
        </p:nvSpPr>
        <p:spPr bwMode="auto">
          <a:xfrm>
            <a:off x="10855325" y="2949575"/>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37" name="Freeform 9"/>
          <p:cNvSpPr>
            <a:spLocks noChangeAspect="1"/>
          </p:cNvSpPr>
          <p:nvPr/>
        </p:nvSpPr>
        <p:spPr bwMode="auto">
          <a:xfrm>
            <a:off x="10855325" y="3689350"/>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38" name="Freeform 9"/>
          <p:cNvSpPr>
            <a:spLocks noChangeAspect="1"/>
          </p:cNvSpPr>
          <p:nvPr/>
        </p:nvSpPr>
        <p:spPr bwMode="auto">
          <a:xfrm>
            <a:off x="10855325" y="4427538"/>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39" name="Freeform 9"/>
          <p:cNvSpPr>
            <a:spLocks noChangeAspect="1"/>
          </p:cNvSpPr>
          <p:nvPr/>
        </p:nvSpPr>
        <p:spPr bwMode="auto">
          <a:xfrm>
            <a:off x="10855325" y="5165725"/>
            <a:ext cx="820738" cy="488950"/>
          </a:xfrm>
          <a:custGeom>
            <a:avLst/>
            <a:gdLst>
              <a:gd name="T0" fmla="*/ 2147483646 w 474"/>
              <a:gd name="T1" fmla="*/ 2147483646 h 295"/>
              <a:gd name="T2" fmla="*/ 2147483646 w 474"/>
              <a:gd name="T3" fmla="*/ 2147483646 h 295"/>
              <a:gd name="T4" fmla="*/ 2147483646 w 474"/>
              <a:gd name="T5" fmla="*/ 2147483646 h 295"/>
              <a:gd name="T6" fmla="*/ 2147483646 w 474"/>
              <a:gd name="T7" fmla="*/ 2147483646 h 295"/>
              <a:gd name="T8" fmla="*/ 2147483646 w 474"/>
              <a:gd name="T9" fmla="*/ 2147483646 h 295"/>
              <a:gd name="T10" fmla="*/ 2147483646 w 474"/>
              <a:gd name="T11" fmla="*/ 2147483646 h 295"/>
              <a:gd name="T12" fmla="*/ 2147483646 w 474"/>
              <a:gd name="T13" fmla="*/ 2147483646 h 295"/>
              <a:gd name="T14" fmla="*/ 2147483646 w 474"/>
              <a:gd name="T15" fmla="*/ 2147483646 h 295"/>
              <a:gd name="T16" fmla="*/ 2147483646 w 474"/>
              <a:gd name="T17" fmla="*/ 2147483646 h 295"/>
              <a:gd name="T18" fmla="*/ 2147483646 w 474"/>
              <a:gd name="T19" fmla="*/ 2147483646 h 295"/>
              <a:gd name="T20" fmla="*/ 2147483646 w 474"/>
              <a:gd name="T21" fmla="*/ 2147483646 h 295"/>
              <a:gd name="T22" fmla="*/ 2147483646 w 474"/>
              <a:gd name="T23" fmla="*/ 2147483646 h 295"/>
              <a:gd name="T24" fmla="*/ 2147483646 w 474"/>
              <a:gd name="T25" fmla="*/ 2147483646 h 295"/>
              <a:gd name="T26" fmla="*/ 2147483646 w 474"/>
              <a:gd name="T27" fmla="*/ 2147483646 h 295"/>
              <a:gd name="T28" fmla="*/ 2147483646 w 474"/>
              <a:gd name="T29" fmla="*/ 2147483646 h 295"/>
              <a:gd name="T30" fmla="*/ 2147483646 w 474"/>
              <a:gd name="T31" fmla="*/ 2147483646 h 295"/>
              <a:gd name="T32" fmla="*/ 2147483646 w 474"/>
              <a:gd name="T33" fmla="*/ 2147483646 h 295"/>
              <a:gd name="T34" fmla="*/ 2147483646 w 474"/>
              <a:gd name="T35" fmla="*/ 2147483646 h 295"/>
              <a:gd name="T36" fmla="*/ 2147483646 w 474"/>
              <a:gd name="T37" fmla="*/ 2147483646 h 295"/>
              <a:gd name="T38" fmla="*/ 2147483646 w 474"/>
              <a:gd name="T39" fmla="*/ 2147483646 h 295"/>
              <a:gd name="T40" fmla="*/ 2147483646 w 474"/>
              <a:gd name="T41" fmla="*/ 2147483646 h 295"/>
              <a:gd name="T42" fmla="*/ 2147483646 w 474"/>
              <a:gd name="T43" fmla="*/ 2147483646 h 295"/>
              <a:gd name="T44" fmla="*/ 2147483646 w 474"/>
              <a:gd name="T45" fmla="*/ 2147483646 h 295"/>
              <a:gd name="T46" fmla="*/ 2147483646 w 474"/>
              <a:gd name="T47" fmla="*/ 2147483646 h 295"/>
              <a:gd name="T48" fmla="*/ 2147483646 w 474"/>
              <a:gd name="T49" fmla="*/ 2147483646 h 295"/>
              <a:gd name="T50" fmla="*/ 2147483646 w 474"/>
              <a:gd name="T51" fmla="*/ 2147483646 h 295"/>
              <a:gd name="T52" fmla="*/ 2147483646 w 474"/>
              <a:gd name="T53" fmla="*/ 2147483646 h 295"/>
              <a:gd name="T54" fmla="*/ 2147483646 w 474"/>
              <a:gd name="T55" fmla="*/ 2147483646 h 295"/>
              <a:gd name="T56" fmla="*/ 2147483646 w 474"/>
              <a:gd name="T57" fmla="*/ 2147483646 h 295"/>
              <a:gd name="T58" fmla="*/ 2147483646 w 474"/>
              <a:gd name="T59" fmla="*/ 0 h 295"/>
              <a:gd name="T60" fmla="*/ 2147483646 w 474"/>
              <a:gd name="T61" fmla="*/ 2147483646 h 295"/>
              <a:gd name="T62" fmla="*/ 0 w 474"/>
              <a:gd name="T63" fmla="*/ 2147483646 h 295"/>
              <a:gd name="T64" fmla="*/ 2147483646 w 474"/>
              <a:gd name="T65" fmla="*/ 2147483646 h 295"/>
              <a:gd name="T66" fmla="*/ 2147483646 w 474"/>
              <a:gd name="T67" fmla="*/ 2147483646 h 295"/>
              <a:gd name="T68" fmla="*/ 2147483646 w 474"/>
              <a:gd name="T69" fmla="*/ 2147483646 h 295"/>
              <a:gd name="T70" fmla="*/ 2147483646 w 474"/>
              <a:gd name="T71" fmla="*/ 2147483646 h 295"/>
              <a:gd name="T72" fmla="*/ 2147483646 w 474"/>
              <a:gd name="T73" fmla="*/ 2147483646 h 295"/>
              <a:gd name="T74" fmla="*/ 2147483646 w 474"/>
              <a:gd name="T75" fmla="*/ 2147483646 h 295"/>
              <a:gd name="T76" fmla="*/ 2147483646 w 474"/>
              <a:gd name="T77" fmla="*/ 2147483646 h 295"/>
              <a:gd name="T78" fmla="*/ 2147483646 w 474"/>
              <a:gd name="T79" fmla="*/ 2147483646 h 295"/>
              <a:gd name="T80" fmla="*/ 2147483646 w 474"/>
              <a:gd name="T81" fmla="*/ 2147483646 h 295"/>
              <a:gd name="T82" fmla="*/ 2147483646 w 474"/>
              <a:gd name="T83" fmla="*/ 2147483646 h 295"/>
              <a:gd name="T84" fmla="*/ 2147483646 w 474"/>
              <a:gd name="T85" fmla="*/ 2147483646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cxnSp>
        <p:nvCxnSpPr>
          <p:cNvPr id="40" name="Straight Connector 62"/>
          <p:cNvCxnSpPr>
            <a:cxnSpLocks noChangeShapeType="1"/>
          </p:cNvCxnSpPr>
          <p:nvPr>
            <p:custDataLst>
              <p:tags r:id="rId24"/>
            </p:custDataLst>
          </p:nvPr>
        </p:nvCxnSpPr>
        <p:spPr bwMode="auto">
          <a:xfrm>
            <a:off x="2551113" y="3673475"/>
            <a:ext cx="7415212"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41" name="Freeform 3"/>
          <p:cNvSpPr>
            <a:spLocks noChangeAspect="1" noEditPoints="1"/>
          </p:cNvSpPr>
          <p:nvPr/>
        </p:nvSpPr>
        <p:spPr bwMode="auto">
          <a:xfrm>
            <a:off x="2692400" y="4467225"/>
            <a:ext cx="414338" cy="436563"/>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73966" tIns="36983" rIns="73966" bIns="36983"/>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42" name="Freeform 6"/>
          <p:cNvSpPr>
            <a:spLocks noChangeAspect="1"/>
          </p:cNvSpPr>
          <p:nvPr/>
        </p:nvSpPr>
        <p:spPr bwMode="auto">
          <a:xfrm>
            <a:off x="2538413" y="3802063"/>
            <a:ext cx="1809750" cy="1512887"/>
          </a:xfrm>
          <a:custGeom>
            <a:avLst/>
            <a:gdLst>
              <a:gd name="T0" fmla="*/ 2147483646 w 545"/>
              <a:gd name="T1" fmla="*/ 2147483646 h 455"/>
              <a:gd name="T2" fmla="*/ 0 w 545"/>
              <a:gd name="T3" fmla="*/ 2147483646 h 455"/>
              <a:gd name="T4" fmla="*/ 0 w 545"/>
              <a:gd name="T5" fmla="*/ 2147483646 h 455"/>
              <a:gd name="T6" fmla="*/ 0 w 545"/>
              <a:gd name="T7" fmla="*/ 2147483646 h 455"/>
              <a:gd name="T8" fmla="*/ 2147483646 w 545"/>
              <a:gd name="T9" fmla="*/ 0 h 455"/>
              <a:gd name="T10" fmla="*/ 2147483646 w 545"/>
              <a:gd name="T11" fmla="*/ 0 h 455"/>
              <a:gd name="T12" fmla="*/ 2147483646 w 545"/>
              <a:gd name="T13" fmla="*/ 0 h 455"/>
              <a:gd name="T14" fmla="*/ 2147483646 w 545"/>
              <a:gd name="T15" fmla="*/ 2147483646 h 455"/>
              <a:gd name="T16" fmla="*/ 2147483646 w 545"/>
              <a:gd name="T17" fmla="*/ 2147483646 h 455"/>
              <a:gd name="T18" fmla="*/ 2147483646 w 545"/>
              <a:gd name="T19" fmla="*/ 2147483646 h 455"/>
              <a:gd name="T20" fmla="*/ 2147483646 w 545"/>
              <a:gd name="T21" fmla="*/ 2147483646 h 455"/>
              <a:gd name="T22" fmla="*/ 2147483646 w 545"/>
              <a:gd name="T23" fmla="*/ 2147483646 h 455"/>
              <a:gd name="T24" fmla="*/ 2147483646 w 545"/>
              <a:gd name="T25" fmla="*/ 2147483646 h 455"/>
              <a:gd name="T26" fmla="*/ 2147483646 w 545"/>
              <a:gd name="T27" fmla="*/ 2147483646 h 455"/>
              <a:gd name="T28" fmla="*/ 2147483646 w 545"/>
              <a:gd name="T29" fmla="*/ 2147483646 h 455"/>
              <a:gd name="T30" fmla="*/ 2147483646 w 545"/>
              <a:gd name="T31" fmla="*/ 2147483646 h 455"/>
              <a:gd name="T32" fmla="*/ 2147483646 w 545"/>
              <a:gd name="T33" fmla="*/ 2147483646 h 455"/>
              <a:gd name="T34" fmla="*/ 2147483646 w 545"/>
              <a:gd name="T35" fmla="*/ 2147483646 h 455"/>
              <a:gd name="T36" fmla="*/ 2147483646 w 545"/>
              <a:gd name="T37" fmla="*/ 2147483646 h 455"/>
              <a:gd name="T38" fmla="*/ 2147483646 w 545"/>
              <a:gd name="T39" fmla="*/ 2147483646 h 455"/>
              <a:gd name="T40" fmla="*/ 2147483646 w 545"/>
              <a:gd name="T41" fmla="*/ 2147483646 h 455"/>
              <a:gd name="T42" fmla="*/ 2147483646 w 545"/>
              <a:gd name="T43" fmla="*/ 2147483646 h 455"/>
              <a:gd name="T44" fmla="*/ 2147483646 w 545"/>
              <a:gd name="T45" fmla="*/ 2147483646 h 455"/>
              <a:gd name="T46" fmla="*/ 2147483646 w 545"/>
              <a:gd name="T47" fmla="*/ 2147483646 h 455"/>
              <a:gd name="T48" fmla="*/ 2147483646 w 545"/>
              <a:gd name="T49" fmla="*/ 2147483646 h 455"/>
              <a:gd name="T50" fmla="*/ 2147483646 w 545"/>
              <a:gd name="T51" fmla="*/ 2147483646 h 455"/>
              <a:gd name="T52" fmla="*/ 2147483646 w 545"/>
              <a:gd name="T53" fmla="*/ 2147483646 h 455"/>
              <a:gd name="T54" fmla="*/ 2147483646 w 545"/>
              <a:gd name="T55" fmla="*/ 2147483646 h 455"/>
              <a:gd name="T56" fmla="*/ 2147483646 w 545"/>
              <a:gd name="T57" fmla="*/ 2147483646 h 455"/>
              <a:gd name="T58" fmla="*/ 2147483646 w 545"/>
              <a:gd name="T59" fmla="*/ 2147483646 h 455"/>
              <a:gd name="T60" fmla="*/ 2147483646 w 545"/>
              <a:gd name="T61" fmla="*/ 2147483646 h 455"/>
              <a:gd name="T62" fmla="*/ 2147483646 w 545"/>
              <a:gd name="T63" fmla="*/ 2147483646 h 455"/>
              <a:gd name="T64" fmla="*/ 2147483646 w 545"/>
              <a:gd name="T65" fmla="*/ 2147483646 h 455"/>
              <a:gd name="T66" fmla="*/ 2147483646 w 545"/>
              <a:gd name="T67" fmla="*/ 2147483646 h 455"/>
              <a:gd name="T68" fmla="*/ 2147483646 w 545"/>
              <a:gd name="T69" fmla="*/ 2147483646 h 4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455"/>
              <a:gd name="T107" fmla="*/ 545 w 545"/>
              <a:gd name="T108" fmla="*/ 455 h 4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455">
                <a:moveTo>
                  <a:pt x="31" y="455"/>
                </a:moveTo>
                <a:cubicBezTo>
                  <a:pt x="14" y="455"/>
                  <a:pt x="0" y="441"/>
                  <a:pt x="0" y="424"/>
                </a:cubicBezTo>
                <a:cubicBezTo>
                  <a:pt x="0" y="424"/>
                  <a:pt x="0" y="424"/>
                  <a:pt x="0" y="424"/>
                </a:cubicBezTo>
                <a:cubicBezTo>
                  <a:pt x="0" y="30"/>
                  <a:pt x="0" y="30"/>
                  <a:pt x="0" y="30"/>
                </a:cubicBezTo>
                <a:cubicBezTo>
                  <a:pt x="0" y="13"/>
                  <a:pt x="14" y="0"/>
                  <a:pt x="31" y="0"/>
                </a:cubicBezTo>
                <a:cubicBezTo>
                  <a:pt x="31" y="0"/>
                  <a:pt x="31" y="0"/>
                  <a:pt x="31" y="0"/>
                </a:cubicBezTo>
                <a:cubicBezTo>
                  <a:pt x="515" y="0"/>
                  <a:pt x="515" y="0"/>
                  <a:pt x="515" y="0"/>
                </a:cubicBezTo>
                <a:cubicBezTo>
                  <a:pt x="532"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5" y="16"/>
                </a:cubicBezTo>
                <a:cubicBezTo>
                  <a:pt x="515" y="16"/>
                  <a:pt x="515" y="16"/>
                  <a:pt x="515" y="16"/>
                </a:cubicBezTo>
                <a:cubicBezTo>
                  <a:pt x="31" y="16"/>
                  <a:pt x="31" y="16"/>
                  <a:pt x="31" y="16"/>
                </a:cubicBezTo>
                <a:cubicBezTo>
                  <a:pt x="23" y="16"/>
                  <a:pt x="16" y="22"/>
                  <a:pt x="16" y="30"/>
                </a:cubicBezTo>
                <a:cubicBezTo>
                  <a:pt x="16" y="30"/>
                  <a:pt x="16" y="30"/>
                  <a:pt x="16" y="30"/>
                </a:cubicBezTo>
                <a:cubicBezTo>
                  <a:pt x="16" y="424"/>
                  <a:pt x="16" y="424"/>
                  <a:pt x="16" y="424"/>
                </a:cubicBezTo>
                <a:cubicBezTo>
                  <a:pt x="16" y="432"/>
                  <a:pt x="23" y="439"/>
                  <a:pt x="31" y="439"/>
                </a:cubicBezTo>
                <a:cubicBezTo>
                  <a:pt x="31" y="439"/>
                  <a:pt x="31" y="439"/>
                  <a:pt x="31" y="439"/>
                </a:cubicBezTo>
                <a:cubicBezTo>
                  <a:pt x="515" y="439"/>
                  <a:pt x="515" y="439"/>
                  <a:pt x="515" y="439"/>
                </a:cubicBezTo>
                <a:cubicBezTo>
                  <a:pt x="523" y="439"/>
                  <a:pt x="529" y="432"/>
                  <a:pt x="529" y="424"/>
                </a:cubicBezTo>
                <a:cubicBezTo>
                  <a:pt x="529" y="424"/>
                  <a:pt x="529" y="424"/>
                  <a:pt x="529" y="424"/>
                </a:cubicBezTo>
                <a:cubicBezTo>
                  <a:pt x="529" y="82"/>
                  <a:pt x="529" y="82"/>
                  <a:pt x="529" y="82"/>
                </a:cubicBezTo>
                <a:cubicBezTo>
                  <a:pt x="529" y="77"/>
                  <a:pt x="533" y="74"/>
                  <a:pt x="537" y="74"/>
                </a:cubicBezTo>
                <a:cubicBezTo>
                  <a:pt x="537" y="74"/>
                  <a:pt x="537" y="74"/>
                  <a:pt x="537" y="74"/>
                </a:cubicBezTo>
                <a:cubicBezTo>
                  <a:pt x="542" y="74"/>
                  <a:pt x="545" y="77"/>
                  <a:pt x="545" y="82"/>
                </a:cubicBezTo>
                <a:cubicBezTo>
                  <a:pt x="545" y="82"/>
                  <a:pt x="545" y="82"/>
                  <a:pt x="545" y="82"/>
                </a:cubicBezTo>
                <a:cubicBezTo>
                  <a:pt x="545" y="424"/>
                  <a:pt x="545" y="424"/>
                  <a:pt x="545" y="424"/>
                </a:cubicBezTo>
                <a:cubicBezTo>
                  <a:pt x="545" y="441"/>
                  <a:pt x="532" y="455"/>
                  <a:pt x="515" y="455"/>
                </a:cubicBezTo>
                <a:cubicBezTo>
                  <a:pt x="515" y="455"/>
                  <a:pt x="515" y="455"/>
                  <a:pt x="515" y="455"/>
                </a:cubicBezTo>
                <a:cubicBezTo>
                  <a:pt x="31" y="455"/>
                  <a:pt x="31" y="455"/>
                  <a:pt x="31" y="4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ccess</a:t>
            </a:r>
          </a:p>
        </p:txBody>
      </p:sp>
      <p:grpSp>
        <p:nvGrpSpPr>
          <p:cNvPr id="43" name="Group 37"/>
          <p:cNvGrpSpPr>
            <a:grpSpLocks/>
          </p:cNvGrpSpPr>
          <p:nvPr/>
        </p:nvGrpSpPr>
        <p:grpSpPr bwMode="auto">
          <a:xfrm>
            <a:off x="3087688" y="4808538"/>
            <a:ext cx="323850" cy="312737"/>
            <a:chOff x="10080561" y="5420759"/>
            <a:chExt cx="324000" cy="324000"/>
          </a:xfrm>
        </p:grpSpPr>
        <p:sp>
          <p:nvSpPr>
            <p:cNvPr id="56" name="Oval 121"/>
            <p:cNvSpPr>
              <a:spLocks noChangeAspect="1"/>
            </p:cNvSpPr>
            <p:nvPr/>
          </p:nvSpPr>
          <p:spPr bwMode="auto">
            <a:xfrm>
              <a:off x="10080561" y="5420759"/>
              <a:ext cx="324000" cy="324000"/>
            </a:xfrm>
            <a:prstGeom prst="ellipse">
              <a:avLst/>
            </a:prstGeom>
            <a:noFill/>
            <a:ln w="25400">
              <a:solidFill>
                <a:srgbClr val="FFFFFF"/>
              </a:solidFill>
              <a:round/>
              <a:headEnd/>
              <a:tailEnd/>
            </a:ln>
            <a:extLst>
              <a:ext uri="{909E8E84-426E-40DD-AFC4-6F175D3DCCD1}">
                <a14:hiddenFill xmlns:a14="http://schemas.microsoft.com/office/drawing/2010/main">
                  <a:solidFill>
                    <a:srgbClr val="F08A00"/>
                  </a:solidFill>
                </a14:hiddenFill>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sv-SE" sz="20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57" name="Freeform 6"/>
            <p:cNvSpPr>
              <a:spLocks noChangeAspect="1" noEditPoints="1"/>
            </p:cNvSpPr>
            <p:nvPr/>
          </p:nvSpPr>
          <p:spPr bwMode="auto">
            <a:xfrm>
              <a:off x="10168519" y="5482340"/>
              <a:ext cx="174462" cy="174462"/>
            </a:xfrm>
            <a:custGeom>
              <a:avLst/>
              <a:gdLst>
                <a:gd name="T0" fmla="*/ 2147483646 w 298"/>
                <a:gd name="T1" fmla="*/ 2147483646 h 298"/>
                <a:gd name="T2" fmla="*/ 2147483646 w 298"/>
                <a:gd name="T3" fmla="*/ 2147483646 h 298"/>
                <a:gd name="T4" fmla="*/ 2147483646 w 298"/>
                <a:gd name="T5" fmla="*/ 2147483646 h 298"/>
                <a:gd name="T6" fmla="*/ 2147483646 w 298"/>
                <a:gd name="T7" fmla="*/ 2147483646 h 298"/>
                <a:gd name="T8" fmla="*/ 2147483646 w 298"/>
                <a:gd name="T9" fmla="*/ 2147483646 h 298"/>
                <a:gd name="T10" fmla="*/ 2147483646 w 298"/>
                <a:gd name="T11" fmla="*/ 2147483646 h 298"/>
                <a:gd name="T12" fmla="*/ 2147483646 w 298"/>
                <a:gd name="T13" fmla="*/ 2147483646 h 298"/>
                <a:gd name="T14" fmla="*/ 2147483646 w 298"/>
                <a:gd name="T15" fmla="*/ 2147483646 h 298"/>
                <a:gd name="T16" fmla="*/ 2147483646 w 298"/>
                <a:gd name="T17" fmla="*/ 2147483646 h 298"/>
                <a:gd name="T18" fmla="*/ 2147483646 w 298"/>
                <a:gd name="T19" fmla="*/ 2147483646 h 298"/>
                <a:gd name="T20" fmla="*/ 2147483646 w 298"/>
                <a:gd name="T21" fmla="*/ 2147483646 h 298"/>
                <a:gd name="T22" fmla="*/ 2147483646 w 298"/>
                <a:gd name="T23" fmla="*/ 2147483646 h 298"/>
                <a:gd name="T24" fmla="*/ 2147483646 w 298"/>
                <a:gd name="T25" fmla="*/ 2147483646 h 298"/>
                <a:gd name="T26" fmla="*/ 2147483646 w 298"/>
                <a:gd name="T27" fmla="*/ 2147483646 h 298"/>
                <a:gd name="T28" fmla="*/ 2147483646 w 298"/>
                <a:gd name="T29" fmla="*/ 2147483646 h 298"/>
                <a:gd name="T30" fmla="*/ 2147483646 w 298"/>
                <a:gd name="T31" fmla="*/ 2147483646 h 298"/>
                <a:gd name="T32" fmla="*/ 2147483646 w 298"/>
                <a:gd name="T33" fmla="*/ 2147483646 h 298"/>
                <a:gd name="T34" fmla="*/ 0 w 298"/>
                <a:gd name="T35" fmla="*/ 2147483646 h 298"/>
                <a:gd name="T36" fmla="*/ 2147483646 w 298"/>
                <a:gd name="T37" fmla="*/ 2147483646 h 298"/>
                <a:gd name="T38" fmla="*/ 2147483646 w 298"/>
                <a:gd name="T39" fmla="*/ 2147483646 h 298"/>
                <a:gd name="T40" fmla="*/ 2147483646 w 298"/>
                <a:gd name="T41" fmla="*/ 2147483646 h 298"/>
                <a:gd name="T42" fmla="*/ 2147483646 w 298"/>
                <a:gd name="T43" fmla="*/ 2147483646 h 298"/>
                <a:gd name="T44" fmla="*/ 2147483646 w 298"/>
                <a:gd name="T45" fmla="*/ 2147483646 h 298"/>
                <a:gd name="T46" fmla="*/ 2147483646 w 298"/>
                <a:gd name="T47" fmla="*/ 2147483646 h 298"/>
                <a:gd name="T48" fmla="*/ 2147483646 w 298"/>
                <a:gd name="T49" fmla="*/ 2147483646 h 298"/>
                <a:gd name="T50" fmla="*/ 2147483646 w 298"/>
                <a:gd name="T51" fmla="*/ 2147483646 h 298"/>
                <a:gd name="T52" fmla="*/ 2147483646 w 298"/>
                <a:gd name="T53" fmla="*/ 2147483646 h 298"/>
                <a:gd name="T54" fmla="*/ 2147483646 w 298"/>
                <a:gd name="T55" fmla="*/ 2147483646 h 298"/>
                <a:gd name="T56" fmla="*/ 2147483646 w 298"/>
                <a:gd name="T57" fmla="*/ 2147483646 h 298"/>
                <a:gd name="T58" fmla="*/ 2147483646 w 298"/>
                <a:gd name="T59" fmla="*/ 2147483646 h 298"/>
                <a:gd name="T60" fmla="*/ 2147483646 w 298"/>
                <a:gd name="T61" fmla="*/ 2147483646 h 298"/>
                <a:gd name="T62" fmla="*/ 2147483646 w 298"/>
                <a:gd name="T63" fmla="*/ 2147483646 h 298"/>
                <a:gd name="T64" fmla="*/ 2147483646 w 298"/>
                <a:gd name="T65" fmla="*/ 2147483646 h 298"/>
                <a:gd name="T66" fmla="*/ 2147483646 w 298"/>
                <a:gd name="T67" fmla="*/ 2147483646 h 298"/>
                <a:gd name="T68" fmla="*/ 2147483646 w 298"/>
                <a:gd name="T69" fmla="*/ 2147483646 h 298"/>
                <a:gd name="T70" fmla="*/ 2147483646 w 298"/>
                <a:gd name="T71" fmla="*/ 2147483646 h 298"/>
                <a:gd name="T72" fmla="*/ 2147483646 w 298"/>
                <a:gd name="T73" fmla="*/ 2147483646 h 298"/>
                <a:gd name="T74" fmla="*/ 2147483646 w 298"/>
                <a:gd name="T75" fmla="*/ 2147483646 h 298"/>
                <a:gd name="T76" fmla="*/ 2147483646 w 298"/>
                <a:gd name="T77" fmla="*/ 2147483646 h 298"/>
                <a:gd name="T78" fmla="*/ 2147483646 w 298"/>
                <a:gd name="T79" fmla="*/ 2147483646 h 298"/>
                <a:gd name="T80" fmla="*/ 2147483646 w 298"/>
                <a:gd name="T81" fmla="*/ 0 h 298"/>
                <a:gd name="T82" fmla="*/ 2147483646 w 298"/>
                <a:gd name="T83" fmla="*/ 2147483646 h 298"/>
                <a:gd name="T84" fmla="*/ 2147483646 w 298"/>
                <a:gd name="T85" fmla="*/ 2147483646 h 298"/>
                <a:gd name="T86" fmla="*/ 2147483646 w 298"/>
                <a:gd name="T87" fmla="*/ 2147483646 h 298"/>
                <a:gd name="T88" fmla="*/ 2147483646 w 298"/>
                <a:gd name="T89" fmla="*/ 2147483646 h 298"/>
                <a:gd name="T90" fmla="*/ 2147483646 w 298"/>
                <a:gd name="T91" fmla="*/ 2147483646 h 298"/>
                <a:gd name="T92" fmla="*/ 2147483646 w 298"/>
                <a:gd name="T93" fmla="*/ 2147483646 h 298"/>
                <a:gd name="T94" fmla="*/ 2147483646 w 298"/>
                <a:gd name="T95" fmla="*/ 2147483646 h 298"/>
                <a:gd name="T96" fmla="*/ 2147483646 w 298"/>
                <a:gd name="T97" fmla="*/ 2147483646 h 298"/>
                <a:gd name="T98" fmla="*/ 2147483646 w 298"/>
                <a:gd name="T99" fmla="*/ 2147483646 h 2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8" h="298">
                  <a:moveTo>
                    <a:pt x="181" y="117"/>
                  </a:moveTo>
                  <a:cubicBezTo>
                    <a:pt x="153" y="89"/>
                    <a:pt x="117" y="75"/>
                    <a:pt x="80" y="75"/>
                  </a:cubicBezTo>
                  <a:cubicBezTo>
                    <a:pt x="59" y="75"/>
                    <a:pt x="38" y="80"/>
                    <a:pt x="19" y="89"/>
                  </a:cubicBezTo>
                  <a:cubicBezTo>
                    <a:pt x="15" y="91"/>
                    <a:pt x="13" y="96"/>
                    <a:pt x="15" y="100"/>
                  </a:cubicBezTo>
                  <a:cubicBezTo>
                    <a:pt x="17" y="104"/>
                    <a:pt x="22" y="106"/>
                    <a:pt x="26" y="104"/>
                  </a:cubicBezTo>
                  <a:cubicBezTo>
                    <a:pt x="43" y="95"/>
                    <a:pt x="62" y="91"/>
                    <a:pt x="80" y="91"/>
                  </a:cubicBezTo>
                  <a:cubicBezTo>
                    <a:pt x="113" y="91"/>
                    <a:pt x="145" y="104"/>
                    <a:pt x="170" y="128"/>
                  </a:cubicBezTo>
                  <a:cubicBezTo>
                    <a:pt x="194" y="153"/>
                    <a:pt x="206" y="185"/>
                    <a:pt x="207" y="217"/>
                  </a:cubicBezTo>
                  <a:cubicBezTo>
                    <a:pt x="207" y="218"/>
                    <a:pt x="207" y="218"/>
                    <a:pt x="207" y="218"/>
                  </a:cubicBezTo>
                  <a:cubicBezTo>
                    <a:pt x="206" y="237"/>
                    <a:pt x="202" y="256"/>
                    <a:pt x="193" y="273"/>
                  </a:cubicBezTo>
                  <a:cubicBezTo>
                    <a:pt x="191" y="277"/>
                    <a:pt x="193" y="282"/>
                    <a:pt x="197" y="284"/>
                  </a:cubicBezTo>
                  <a:cubicBezTo>
                    <a:pt x="198" y="285"/>
                    <a:pt x="199" y="285"/>
                    <a:pt x="201" y="285"/>
                  </a:cubicBezTo>
                  <a:cubicBezTo>
                    <a:pt x="204" y="285"/>
                    <a:pt x="206" y="283"/>
                    <a:pt x="208" y="281"/>
                  </a:cubicBezTo>
                  <a:cubicBezTo>
                    <a:pt x="218" y="261"/>
                    <a:pt x="222" y="240"/>
                    <a:pt x="223" y="218"/>
                  </a:cubicBezTo>
                  <a:cubicBezTo>
                    <a:pt x="223" y="218"/>
                    <a:pt x="223" y="218"/>
                    <a:pt x="223" y="217"/>
                  </a:cubicBezTo>
                  <a:cubicBezTo>
                    <a:pt x="223" y="181"/>
                    <a:pt x="209" y="145"/>
                    <a:pt x="181" y="117"/>
                  </a:cubicBezTo>
                  <a:close/>
                  <a:moveTo>
                    <a:pt x="76" y="147"/>
                  </a:moveTo>
                  <a:cubicBezTo>
                    <a:pt x="34" y="147"/>
                    <a:pt x="0" y="181"/>
                    <a:pt x="0" y="222"/>
                  </a:cubicBezTo>
                  <a:cubicBezTo>
                    <a:pt x="0" y="264"/>
                    <a:pt x="34" y="298"/>
                    <a:pt x="76" y="298"/>
                  </a:cubicBezTo>
                  <a:cubicBezTo>
                    <a:pt x="117" y="298"/>
                    <a:pt x="151" y="264"/>
                    <a:pt x="151" y="222"/>
                  </a:cubicBezTo>
                  <a:cubicBezTo>
                    <a:pt x="151" y="181"/>
                    <a:pt x="117" y="147"/>
                    <a:pt x="76" y="147"/>
                  </a:cubicBezTo>
                  <a:close/>
                  <a:moveTo>
                    <a:pt x="76" y="282"/>
                  </a:moveTo>
                  <a:cubicBezTo>
                    <a:pt x="43" y="282"/>
                    <a:pt x="16" y="255"/>
                    <a:pt x="16" y="222"/>
                  </a:cubicBezTo>
                  <a:cubicBezTo>
                    <a:pt x="16" y="189"/>
                    <a:pt x="43" y="163"/>
                    <a:pt x="76" y="163"/>
                  </a:cubicBezTo>
                  <a:cubicBezTo>
                    <a:pt x="108" y="163"/>
                    <a:pt x="135" y="189"/>
                    <a:pt x="135" y="222"/>
                  </a:cubicBezTo>
                  <a:cubicBezTo>
                    <a:pt x="135" y="255"/>
                    <a:pt x="108" y="282"/>
                    <a:pt x="76" y="282"/>
                  </a:cubicBezTo>
                  <a:close/>
                  <a:moveTo>
                    <a:pt x="298" y="218"/>
                  </a:moveTo>
                  <a:cubicBezTo>
                    <a:pt x="298" y="218"/>
                    <a:pt x="298" y="218"/>
                    <a:pt x="298" y="218"/>
                  </a:cubicBezTo>
                  <a:cubicBezTo>
                    <a:pt x="298" y="170"/>
                    <a:pt x="280" y="118"/>
                    <a:pt x="245" y="75"/>
                  </a:cubicBezTo>
                  <a:cubicBezTo>
                    <a:pt x="242" y="71"/>
                    <a:pt x="237" y="71"/>
                    <a:pt x="234" y="74"/>
                  </a:cubicBezTo>
                  <a:cubicBezTo>
                    <a:pt x="230" y="77"/>
                    <a:pt x="230" y="82"/>
                    <a:pt x="233" y="85"/>
                  </a:cubicBezTo>
                  <a:cubicBezTo>
                    <a:pt x="233" y="85"/>
                    <a:pt x="233" y="85"/>
                    <a:pt x="233" y="85"/>
                  </a:cubicBezTo>
                  <a:cubicBezTo>
                    <a:pt x="266" y="125"/>
                    <a:pt x="282" y="174"/>
                    <a:pt x="282" y="218"/>
                  </a:cubicBezTo>
                  <a:cubicBezTo>
                    <a:pt x="282" y="218"/>
                    <a:pt x="282" y="218"/>
                    <a:pt x="282" y="218"/>
                  </a:cubicBezTo>
                  <a:cubicBezTo>
                    <a:pt x="282" y="238"/>
                    <a:pt x="279" y="257"/>
                    <a:pt x="274" y="276"/>
                  </a:cubicBezTo>
                  <a:cubicBezTo>
                    <a:pt x="272" y="280"/>
                    <a:pt x="275" y="284"/>
                    <a:pt x="279" y="286"/>
                  </a:cubicBezTo>
                  <a:cubicBezTo>
                    <a:pt x="280" y="286"/>
                    <a:pt x="281" y="286"/>
                    <a:pt x="281" y="286"/>
                  </a:cubicBezTo>
                  <a:cubicBezTo>
                    <a:pt x="285" y="286"/>
                    <a:pt x="288" y="284"/>
                    <a:pt x="289" y="280"/>
                  </a:cubicBezTo>
                  <a:cubicBezTo>
                    <a:pt x="295" y="260"/>
                    <a:pt x="298" y="239"/>
                    <a:pt x="298" y="218"/>
                  </a:cubicBezTo>
                  <a:close/>
                  <a:moveTo>
                    <a:pt x="222" y="51"/>
                  </a:moveTo>
                  <a:cubicBezTo>
                    <a:pt x="180" y="17"/>
                    <a:pt x="128" y="0"/>
                    <a:pt x="80" y="0"/>
                  </a:cubicBezTo>
                  <a:cubicBezTo>
                    <a:pt x="59" y="0"/>
                    <a:pt x="38" y="3"/>
                    <a:pt x="18" y="9"/>
                  </a:cubicBezTo>
                  <a:cubicBezTo>
                    <a:pt x="13" y="10"/>
                    <a:pt x="11" y="15"/>
                    <a:pt x="12" y="19"/>
                  </a:cubicBezTo>
                  <a:cubicBezTo>
                    <a:pt x="14" y="23"/>
                    <a:pt x="18" y="25"/>
                    <a:pt x="22" y="24"/>
                  </a:cubicBezTo>
                  <a:cubicBezTo>
                    <a:pt x="22" y="24"/>
                    <a:pt x="22" y="24"/>
                    <a:pt x="22" y="24"/>
                  </a:cubicBezTo>
                  <a:cubicBezTo>
                    <a:pt x="41" y="18"/>
                    <a:pt x="61" y="16"/>
                    <a:pt x="80" y="16"/>
                  </a:cubicBezTo>
                  <a:cubicBezTo>
                    <a:pt x="124" y="16"/>
                    <a:pt x="173" y="32"/>
                    <a:pt x="212" y="64"/>
                  </a:cubicBezTo>
                  <a:cubicBezTo>
                    <a:pt x="214" y="65"/>
                    <a:pt x="215" y="65"/>
                    <a:pt x="217" y="65"/>
                  </a:cubicBezTo>
                  <a:cubicBezTo>
                    <a:pt x="220" y="65"/>
                    <a:pt x="222" y="64"/>
                    <a:pt x="223" y="63"/>
                  </a:cubicBezTo>
                  <a:cubicBezTo>
                    <a:pt x="226" y="59"/>
                    <a:pt x="226" y="54"/>
                    <a:pt x="22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sp>
        <p:nvSpPr>
          <p:cNvPr id="44" name="TextBox 43"/>
          <p:cNvSpPr txBox="1"/>
          <p:nvPr/>
        </p:nvSpPr>
        <p:spPr>
          <a:xfrm>
            <a:off x="5419725" y="3373438"/>
            <a:ext cx="1447800" cy="254000"/>
          </a:xfrm>
          <a:prstGeom prst="rect">
            <a:avLst/>
          </a:prstGeom>
          <a:noFill/>
          <a:extLst>
            <a:ext uri="{909E8E84-426E-40DD-AFC4-6F175D3DCCD1}">
              <a14:hiddenFill xmlns:a14="http://schemas.microsoft.com/office/drawing/2010/main">
                <a:solidFill>
                  <a:srgbClr val="00285F"/>
                </a:solidFill>
              </a14:hiddenFill>
            </a:ext>
          </a:ex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rPr>
              <a:t>NETWORK SLICING</a:t>
            </a:r>
          </a:p>
        </p:txBody>
      </p:sp>
      <p:grpSp>
        <p:nvGrpSpPr>
          <p:cNvPr id="45" name="Group 57"/>
          <p:cNvGrpSpPr>
            <a:grpSpLocks/>
          </p:cNvGrpSpPr>
          <p:nvPr/>
        </p:nvGrpSpPr>
        <p:grpSpPr bwMode="auto">
          <a:xfrm>
            <a:off x="6870700" y="3392488"/>
            <a:ext cx="3090863" cy="187325"/>
            <a:chOff x="7613195" y="3441791"/>
            <a:chExt cx="2347574" cy="187210"/>
          </a:xfrm>
        </p:grpSpPr>
        <p:cxnSp>
          <p:nvCxnSpPr>
            <p:cNvPr id="53" name="Straight Connector 60"/>
            <p:cNvCxnSpPr>
              <a:cxnSpLocks noChangeShapeType="1"/>
            </p:cNvCxnSpPr>
            <p:nvPr>
              <p:custDataLst>
                <p:tags r:id="rId25"/>
              </p:custDataLst>
            </p:nvPr>
          </p:nvCxnSpPr>
          <p:spPr bwMode="auto">
            <a:xfrm>
              <a:off x="7613195" y="3441791"/>
              <a:ext cx="2347574" cy="1586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4" name="Straight Connector 61"/>
            <p:cNvCxnSpPr>
              <a:cxnSpLocks noChangeShapeType="1"/>
            </p:cNvCxnSpPr>
            <p:nvPr>
              <p:custDataLst>
                <p:tags r:id="rId26"/>
              </p:custDataLst>
            </p:nvPr>
          </p:nvCxnSpPr>
          <p:spPr bwMode="auto">
            <a:xfrm>
              <a:off x="7613195" y="3535396"/>
              <a:ext cx="23475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5" name="Straight Connector 62"/>
            <p:cNvCxnSpPr>
              <a:cxnSpLocks noChangeShapeType="1"/>
            </p:cNvCxnSpPr>
            <p:nvPr>
              <p:custDataLst>
                <p:tags r:id="rId27"/>
              </p:custDataLst>
            </p:nvPr>
          </p:nvCxnSpPr>
          <p:spPr bwMode="auto">
            <a:xfrm>
              <a:off x="7613195" y="3629001"/>
              <a:ext cx="23475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grpSp>
        <p:nvGrpSpPr>
          <p:cNvPr id="46" name="Group 157"/>
          <p:cNvGrpSpPr>
            <a:grpSpLocks/>
          </p:cNvGrpSpPr>
          <p:nvPr/>
        </p:nvGrpSpPr>
        <p:grpSpPr bwMode="auto">
          <a:xfrm>
            <a:off x="3346450" y="4443413"/>
            <a:ext cx="323850" cy="312737"/>
            <a:chOff x="10080561" y="5420759"/>
            <a:chExt cx="324000" cy="324000"/>
          </a:xfrm>
        </p:grpSpPr>
        <p:sp>
          <p:nvSpPr>
            <p:cNvPr id="51" name="Oval 158"/>
            <p:cNvSpPr>
              <a:spLocks noChangeAspect="1"/>
            </p:cNvSpPr>
            <p:nvPr/>
          </p:nvSpPr>
          <p:spPr bwMode="auto">
            <a:xfrm>
              <a:off x="10080561" y="5420759"/>
              <a:ext cx="324000" cy="324000"/>
            </a:xfrm>
            <a:prstGeom prst="ellipse">
              <a:avLst/>
            </a:prstGeom>
            <a:noFill/>
            <a:ln w="25400">
              <a:solidFill>
                <a:srgbClr val="FFFFFF"/>
              </a:solidFill>
              <a:round/>
              <a:headEnd/>
              <a:tailEnd/>
            </a:ln>
            <a:extLst>
              <a:ext uri="{909E8E84-426E-40DD-AFC4-6F175D3DCCD1}">
                <a14:hiddenFill xmlns:a14="http://schemas.microsoft.com/office/drawing/2010/main">
                  <a:solidFill>
                    <a:srgbClr val="F08A00"/>
                  </a:solidFill>
                </a14:hiddenFill>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sv-SE" sz="20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52" name="Freeform 6"/>
            <p:cNvSpPr>
              <a:spLocks noChangeAspect="1" noEditPoints="1"/>
            </p:cNvSpPr>
            <p:nvPr/>
          </p:nvSpPr>
          <p:spPr bwMode="auto">
            <a:xfrm>
              <a:off x="10168519" y="5482340"/>
              <a:ext cx="174462" cy="174462"/>
            </a:xfrm>
            <a:custGeom>
              <a:avLst/>
              <a:gdLst>
                <a:gd name="T0" fmla="*/ 2147483646 w 298"/>
                <a:gd name="T1" fmla="*/ 2147483646 h 298"/>
                <a:gd name="T2" fmla="*/ 2147483646 w 298"/>
                <a:gd name="T3" fmla="*/ 2147483646 h 298"/>
                <a:gd name="T4" fmla="*/ 2147483646 w 298"/>
                <a:gd name="T5" fmla="*/ 2147483646 h 298"/>
                <a:gd name="T6" fmla="*/ 2147483646 w 298"/>
                <a:gd name="T7" fmla="*/ 2147483646 h 298"/>
                <a:gd name="T8" fmla="*/ 2147483646 w 298"/>
                <a:gd name="T9" fmla="*/ 2147483646 h 298"/>
                <a:gd name="T10" fmla="*/ 2147483646 w 298"/>
                <a:gd name="T11" fmla="*/ 2147483646 h 298"/>
                <a:gd name="T12" fmla="*/ 2147483646 w 298"/>
                <a:gd name="T13" fmla="*/ 2147483646 h 298"/>
                <a:gd name="T14" fmla="*/ 2147483646 w 298"/>
                <a:gd name="T15" fmla="*/ 2147483646 h 298"/>
                <a:gd name="T16" fmla="*/ 2147483646 w 298"/>
                <a:gd name="T17" fmla="*/ 2147483646 h 298"/>
                <a:gd name="T18" fmla="*/ 2147483646 w 298"/>
                <a:gd name="T19" fmla="*/ 2147483646 h 298"/>
                <a:gd name="T20" fmla="*/ 2147483646 w 298"/>
                <a:gd name="T21" fmla="*/ 2147483646 h 298"/>
                <a:gd name="T22" fmla="*/ 2147483646 w 298"/>
                <a:gd name="T23" fmla="*/ 2147483646 h 298"/>
                <a:gd name="T24" fmla="*/ 2147483646 w 298"/>
                <a:gd name="T25" fmla="*/ 2147483646 h 298"/>
                <a:gd name="T26" fmla="*/ 2147483646 w 298"/>
                <a:gd name="T27" fmla="*/ 2147483646 h 298"/>
                <a:gd name="T28" fmla="*/ 2147483646 w 298"/>
                <a:gd name="T29" fmla="*/ 2147483646 h 298"/>
                <a:gd name="T30" fmla="*/ 2147483646 w 298"/>
                <a:gd name="T31" fmla="*/ 2147483646 h 298"/>
                <a:gd name="T32" fmla="*/ 2147483646 w 298"/>
                <a:gd name="T33" fmla="*/ 2147483646 h 298"/>
                <a:gd name="T34" fmla="*/ 0 w 298"/>
                <a:gd name="T35" fmla="*/ 2147483646 h 298"/>
                <a:gd name="T36" fmla="*/ 2147483646 w 298"/>
                <a:gd name="T37" fmla="*/ 2147483646 h 298"/>
                <a:gd name="T38" fmla="*/ 2147483646 w 298"/>
                <a:gd name="T39" fmla="*/ 2147483646 h 298"/>
                <a:gd name="T40" fmla="*/ 2147483646 w 298"/>
                <a:gd name="T41" fmla="*/ 2147483646 h 298"/>
                <a:gd name="T42" fmla="*/ 2147483646 w 298"/>
                <a:gd name="T43" fmla="*/ 2147483646 h 298"/>
                <a:gd name="T44" fmla="*/ 2147483646 w 298"/>
                <a:gd name="T45" fmla="*/ 2147483646 h 298"/>
                <a:gd name="T46" fmla="*/ 2147483646 w 298"/>
                <a:gd name="T47" fmla="*/ 2147483646 h 298"/>
                <a:gd name="T48" fmla="*/ 2147483646 w 298"/>
                <a:gd name="T49" fmla="*/ 2147483646 h 298"/>
                <a:gd name="T50" fmla="*/ 2147483646 w 298"/>
                <a:gd name="T51" fmla="*/ 2147483646 h 298"/>
                <a:gd name="T52" fmla="*/ 2147483646 w 298"/>
                <a:gd name="T53" fmla="*/ 2147483646 h 298"/>
                <a:gd name="T54" fmla="*/ 2147483646 w 298"/>
                <a:gd name="T55" fmla="*/ 2147483646 h 298"/>
                <a:gd name="T56" fmla="*/ 2147483646 w 298"/>
                <a:gd name="T57" fmla="*/ 2147483646 h 298"/>
                <a:gd name="T58" fmla="*/ 2147483646 w 298"/>
                <a:gd name="T59" fmla="*/ 2147483646 h 298"/>
                <a:gd name="T60" fmla="*/ 2147483646 w 298"/>
                <a:gd name="T61" fmla="*/ 2147483646 h 298"/>
                <a:gd name="T62" fmla="*/ 2147483646 w 298"/>
                <a:gd name="T63" fmla="*/ 2147483646 h 298"/>
                <a:gd name="T64" fmla="*/ 2147483646 w 298"/>
                <a:gd name="T65" fmla="*/ 2147483646 h 298"/>
                <a:gd name="T66" fmla="*/ 2147483646 w 298"/>
                <a:gd name="T67" fmla="*/ 2147483646 h 298"/>
                <a:gd name="T68" fmla="*/ 2147483646 w 298"/>
                <a:gd name="T69" fmla="*/ 2147483646 h 298"/>
                <a:gd name="T70" fmla="*/ 2147483646 w 298"/>
                <a:gd name="T71" fmla="*/ 2147483646 h 298"/>
                <a:gd name="T72" fmla="*/ 2147483646 w 298"/>
                <a:gd name="T73" fmla="*/ 2147483646 h 298"/>
                <a:gd name="T74" fmla="*/ 2147483646 w 298"/>
                <a:gd name="T75" fmla="*/ 2147483646 h 298"/>
                <a:gd name="T76" fmla="*/ 2147483646 w 298"/>
                <a:gd name="T77" fmla="*/ 2147483646 h 298"/>
                <a:gd name="T78" fmla="*/ 2147483646 w 298"/>
                <a:gd name="T79" fmla="*/ 2147483646 h 298"/>
                <a:gd name="T80" fmla="*/ 2147483646 w 298"/>
                <a:gd name="T81" fmla="*/ 0 h 298"/>
                <a:gd name="T82" fmla="*/ 2147483646 w 298"/>
                <a:gd name="T83" fmla="*/ 2147483646 h 298"/>
                <a:gd name="T84" fmla="*/ 2147483646 w 298"/>
                <a:gd name="T85" fmla="*/ 2147483646 h 298"/>
                <a:gd name="T86" fmla="*/ 2147483646 w 298"/>
                <a:gd name="T87" fmla="*/ 2147483646 h 298"/>
                <a:gd name="T88" fmla="*/ 2147483646 w 298"/>
                <a:gd name="T89" fmla="*/ 2147483646 h 298"/>
                <a:gd name="T90" fmla="*/ 2147483646 w 298"/>
                <a:gd name="T91" fmla="*/ 2147483646 h 298"/>
                <a:gd name="T92" fmla="*/ 2147483646 w 298"/>
                <a:gd name="T93" fmla="*/ 2147483646 h 298"/>
                <a:gd name="T94" fmla="*/ 2147483646 w 298"/>
                <a:gd name="T95" fmla="*/ 2147483646 h 298"/>
                <a:gd name="T96" fmla="*/ 2147483646 w 298"/>
                <a:gd name="T97" fmla="*/ 2147483646 h 298"/>
                <a:gd name="T98" fmla="*/ 2147483646 w 298"/>
                <a:gd name="T99" fmla="*/ 2147483646 h 2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8" h="298">
                  <a:moveTo>
                    <a:pt x="181" y="117"/>
                  </a:moveTo>
                  <a:cubicBezTo>
                    <a:pt x="153" y="89"/>
                    <a:pt x="117" y="75"/>
                    <a:pt x="80" y="75"/>
                  </a:cubicBezTo>
                  <a:cubicBezTo>
                    <a:pt x="59" y="75"/>
                    <a:pt x="38" y="80"/>
                    <a:pt x="19" y="89"/>
                  </a:cubicBezTo>
                  <a:cubicBezTo>
                    <a:pt x="15" y="91"/>
                    <a:pt x="13" y="96"/>
                    <a:pt x="15" y="100"/>
                  </a:cubicBezTo>
                  <a:cubicBezTo>
                    <a:pt x="17" y="104"/>
                    <a:pt x="22" y="106"/>
                    <a:pt x="26" y="104"/>
                  </a:cubicBezTo>
                  <a:cubicBezTo>
                    <a:pt x="43" y="95"/>
                    <a:pt x="62" y="91"/>
                    <a:pt x="80" y="91"/>
                  </a:cubicBezTo>
                  <a:cubicBezTo>
                    <a:pt x="113" y="91"/>
                    <a:pt x="145" y="104"/>
                    <a:pt x="170" y="128"/>
                  </a:cubicBezTo>
                  <a:cubicBezTo>
                    <a:pt x="194" y="153"/>
                    <a:pt x="206" y="185"/>
                    <a:pt x="207" y="217"/>
                  </a:cubicBezTo>
                  <a:cubicBezTo>
                    <a:pt x="207" y="218"/>
                    <a:pt x="207" y="218"/>
                    <a:pt x="207" y="218"/>
                  </a:cubicBezTo>
                  <a:cubicBezTo>
                    <a:pt x="206" y="237"/>
                    <a:pt x="202" y="256"/>
                    <a:pt x="193" y="273"/>
                  </a:cubicBezTo>
                  <a:cubicBezTo>
                    <a:pt x="191" y="277"/>
                    <a:pt x="193" y="282"/>
                    <a:pt x="197" y="284"/>
                  </a:cubicBezTo>
                  <a:cubicBezTo>
                    <a:pt x="198" y="285"/>
                    <a:pt x="199" y="285"/>
                    <a:pt x="201" y="285"/>
                  </a:cubicBezTo>
                  <a:cubicBezTo>
                    <a:pt x="204" y="285"/>
                    <a:pt x="206" y="283"/>
                    <a:pt x="208" y="281"/>
                  </a:cubicBezTo>
                  <a:cubicBezTo>
                    <a:pt x="218" y="261"/>
                    <a:pt x="222" y="240"/>
                    <a:pt x="223" y="218"/>
                  </a:cubicBezTo>
                  <a:cubicBezTo>
                    <a:pt x="223" y="218"/>
                    <a:pt x="223" y="218"/>
                    <a:pt x="223" y="217"/>
                  </a:cubicBezTo>
                  <a:cubicBezTo>
                    <a:pt x="223" y="181"/>
                    <a:pt x="209" y="145"/>
                    <a:pt x="181" y="117"/>
                  </a:cubicBezTo>
                  <a:close/>
                  <a:moveTo>
                    <a:pt x="76" y="147"/>
                  </a:moveTo>
                  <a:cubicBezTo>
                    <a:pt x="34" y="147"/>
                    <a:pt x="0" y="181"/>
                    <a:pt x="0" y="222"/>
                  </a:cubicBezTo>
                  <a:cubicBezTo>
                    <a:pt x="0" y="264"/>
                    <a:pt x="34" y="298"/>
                    <a:pt x="76" y="298"/>
                  </a:cubicBezTo>
                  <a:cubicBezTo>
                    <a:pt x="117" y="298"/>
                    <a:pt x="151" y="264"/>
                    <a:pt x="151" y="222"/>
                  </a:cubicBezTo>
                  <a:cubicBezTo>
                    <a:pt x="151" y="181"/>
                    <a:pt x="117" y="147"/>
                    <a:pt x="76" y="147"/>
                  </a:cubicBezTo>
                  <a:close/>
                  <a:moveTo>
                    <a:pt x="76" y="282"/>
                  </a:moveTo>
                  <a:cubicBezTo>
                    <a:pt x="43" y="282"/>
                    <a:pt x="16" y="255"/>
                    <a:pt x="16" y="222"/>
                  </a:cubicBezTo>
                  <a:cubicBezTo>
                    <a:pt x="16" y="189"/>
                    <a:pt x="43" y="163"/>
                    <a:pt x="76" y="163"/>
                  </a:cubicBezTo>
                  <a:cubicBezTo>
                    <a:pt x="108" y="163"/>
                    <a:pt x="135" y="189"/>
                    <a:pt x="135" y="222"/>
                  </a:cubicBezTo>
                  <a:cubicBezTo>
                    <a:pt x="135" y="255"/>
                    <a:pt x="108" y="282"/>
                    <a:pt x="76" y="282"/>
                  </a:cubicBezTo>
                  <a:close/>
                  <a:moveTo>
                    <a:pt x="298" y="218"/>
                  </a:moveTo>
                  <a:cubicBezTo>
                    <a:pt x="298" y="218"/>
                    <a:pt x="298" y="218"/>
                    <a:pt x="298" y="218"/>
                  </a:cubicBezTo>
                  <a:cubicBezTo>
                    <a:pt x="298" y="170"/>
                    <a:pt x="280" y="118"/>
                    <a:pt x="245" y="75"/>
                  </a:cubicBezTo>
                  <a:cubicBezTo>
                    <a:pt x="242" y="71"/>
                    <a:pt x="237" y="71"/>
                    <a:pt x="234" y="74"/>
                  </a:cubicBezTo>
                  <a:cubicBezTo>
                    <a:pt x="230" y="77"/>
                    <a:pt x="230" y="82"/>
                    <a:pt x="233" y="85"/>
                  </a:cubicBezTo>
                  <a:cubicBezTo>
                    <a:pt x="233" y="85"/>
                    <a:pt x="233" y="85"/>
                    <a:pt x="233" y="85"/>
                  </a:cubicBezTo>
                  <a:cubicBezTo>
                    <a:pt x="266" y="125"/>
                    <a:pt x="282" y="174"/>
                    <a:pt x="282" y="218"/>
                  </a:cubicBezTo>
                  <a:cubicBezTo>
                    <a:pt x="282" y="218"/>
                    <a:pt x="282" y="218"/>
                    <a:pt x="282" y="218"/>
                  </a:cubicBezTo>
                  <a:cubicBezTo>
                    <a:pt x="282" y="238"/>
                    <a:pt x="279" y="257"/>
                    <a:pt x="274" y="276"/>
                  </a:cubicBezTo>
                  <a:cubicBezTo>
                    <a:pt x="272" y="280"/>
                    <a:pt x="275" y="284"/>
                    <a:pt x="279" y="286"/>
                  </a:cubicBezTo>
                  <a:cubicBezTo>
                    <a:pt x="280" y="286"/>
                    <a:pt x="281" y="286"/>
                    <a:pt x="281" y="286"/>
                  </a:cubicBezTo>
                  <a:cubicBezTo>
                    <a:pt x="285" y="286"/>
                    <a:pt x="288" y="284"/>
                    <a:pt x="289" y="280"/>
                  </a:cubicBezTo>
                  <a:cubicBezTo>
                    <a:pt x="295" y="260"/>
                    <a:pt x="298" y="239"/>
                    <a:pt x="298" y="218"/>
                  </a:cubicBezTo>
                  <a:close/>
                  <a:moveTo>
                    <a:pt x="222" y="51"/>
                  </a:moveTo>
                  <a:cubicBezTo>
                    <a:pt x="180" y="17"/>
                    <a:pt x="128" y="0"/>
                    <a:pt x="80" y="0"/>
                  </a:cubicBezTo>
                  <a:cubicBezTo>
                    <a:pt x="59" y="0"/>
                    <a:pt x="38" y="3"/>
                    <a:pt x="18" y="9"/>
                  </a:cubicBezTo>
                  <a:cubicBezTo>
                    <a:pt x="13" y="10"/>
                    <a:pt x="11" y="15"/>
                    <a:pt x="12" y="19"/>
                  </a:cubicBezTo>
                  <a:cubicBezTo>
                    <a:pt x="14" y="23"/>
                    <a:pt x="18" y="25"/>
                    <a:pt x="22" y="24"/>
                  </a:cubicBezTo>
                  <a:cubicBezTo>
                    <a:pt x="22" y="24"/>
                    <a:pt x="22" y="24"/>
                    <a:pt x="22" y="24"/>
                  </a:cubicBezTo>
                  <a:cubicBezTo>
                    <a:pt x="41" y="18"/>
                    <a:pt x="61" y="16"/>
                    <a:pt x="80" y="16"/>
                  </a:cubicBezTo>
                  <a:cubicBezTo>
                    <a:pt x="124" y="16"/>
                    <a:pt x="173" y="32"/>
                    <a:pt x="212" y="64"/>
                  </a:cubicBezTo>
                  <a:cubicBezTo>
                    <a:pt x="214" y="65"/>
                    <a:pt x="215" y="65"/>
                    <a:pt x="217" y="65"/>
                  </a:cubicBezTo>
                  <a:cubicBezTo>
                    <a:pt x="220" y="65"/>
                    <a:pt x="222" y="64"/>
                    <a:pt x="223" y="63"/>
                  </a:cubicBezTo>
                  <a:cubicBezTo>
                    <a:pt x="226" y="59"/>
                    <a:pt x="226" y="54"/>
                    <a:pt x="222"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sp>
        <p:nvSpPr>
          <p:cNvPr id="47" name="Freeform 7"/>
          <p:cNvSpPr>
            <a:spLocks noChangeAspect="1"/>
          </p:cNvSpPr>
          <p:nvPr/>
        </p:nvSpPr>
        <p:spPr bwMode="auto">
          <a:xfrm>
            <a:off x="2532063" y="5394325"/>
            <a:ext cx="7453312" cy="685800"/>
          </a:xfrm>
          <a:custGeom>
            <a:avLst/>
            <a:gdLst>
              <a:gd name="T0" fmla="*/ 2147483646 w 2234"/>
              <a:gd name="T1" fmla="*/ 2147483646 h 227"/>
              <a:gd name="T2" fmla="*/ 0 w 2234"/>
              <a:gd name="T3" fmla="*/ 2147483646 h 227"/>
              <a:gd name="T4" fmla="*/ 0 w 2234"/>
              <a:gd name="T5" fmla="*/ 2147483646 h 227"/>
              <a:gd name="T6" fmla="*/ 0 w 2234"/>
              <a:gd name="T7" fmla="*/ 2147483646 h 227"/>
              <a:gd name="T8" fmla="*/ 2147483646 w 2234"/>
              <a:gd name="T9" fmla="*/ 0 h 227"/>
              <a:gd name="T10" fmla="*/ 2147483646 w 2234"/>
              <a:gd name="T11" fmla="*/ 0 h 227"/>
              <a:gd name="T12" fmla="*/ 2147483646 w 2234"/>
              <a:gd name="T13" fmla="*/ 0 h 227"/>
              <a:gd name="T14" fmla="*/ 2147483646 w 2234"/>
              <a:gd name="T15" fmla="*/ 2147483646 h 227"/>
              <a:gd name="T16" fmla="*/ 2147483646 w 2234"/>
              <a:gd name="T17" fmla="*/ 2147483646 h 227"/>
              <a:gd name="T18" fmla="*/ 2147483646 w 2234"/>
              <a:gd name="T19" fmla="*/ 2147483646 h 227"/>
              <a:gd name="T20" fmla="*/ 2147483646 w 2234"/>
              <a:gd name="T21" fmla="*/ 2147483646 h 227"/>
              <a:gd name="T22" fmla="*/ 2147483646 w 2234"/>
              <a:gd name="T23" fmla="*/ 2147483646 h 227"/>
              <a:gd name="T24" fmla="*/ 2147483646 w 2234"/>
              <a:gd name="T25" fmla="*/ 2147483646 h 227"/>
              <a:gd name="T26" fmla="*/ 2147483646 w 2234"/>
              <a:gd name="T27" fmla="*/ 2147483646 h 227"/>
              <a:gd name="T28" fmla="*/ 2147483646 w 2234"/>
              <a:gd name="T29" fmla="*/ 2147483646 h 227"/>
              <a:gd name="T30" fmla="*/ 2147483646 w 2234"/>
              <a:gd name="T31" fmla="*/ 2147483646 h 227"/>
              <a:gd name="T32" fmla="*/ 2147483646 w 2234"/>
              <a:gd name="T33" fmla="*/ 2147483646 h 227"/>
              <a:gd name="T34" fmla="*/ 2147483646 w 2234"/>
              <a:gd name="T35" fmla="*/ 2147483646 h 227"/>
              <a:gd name="T36" fmla="*/ 2147483646 w 2234"/>
              <a:gd name="T37" fmla="*/ 2147483646 h 227"/>
              <a:gd name="T38" fmla="*/ 2147483646 w 2234"/>
              <a:gd name="T39" fmla="*/ 2147483646 h 227"/>
              <a:gd name="T40" fmla="*/ 2147483646 w 2234"/>
              <a:gd name="T41" fmla="*/ 2147483646 h 227"/>
              <a:gd name="T42" fmla="*/ 2147483646 w 2234"/>
              <a:gd name="T43" fmla="*/ 2147483646 h 227"/>
              <a:gd name="T44" fmla="*/ 2147483646 w 2234"/>
              <a:gd name="T45" fmla="*/ 2147483646 h 227"/>
              <a:gd name="T46" fmla="*/ 2147483646 w 2234"/>
              <a:gd name="T47" fmla="*/ 2147483646 h 227"/>
              <a:gd name="T48" fmla="*/ 2147483646 w 2234"/>
              <a:gd name="T49" fmla="*/ 2147483646 h 227"/>
              <a:gd name="T50" fmla="*/ 2147483646 w 2234"/>
              <a:gd name="T51" fmla="*/ 2147483646 h 227"/>
              <a:gd name="T52" fmla="*/ 2147483646 w 2234"/>
              <a:gd name="T53" fmla="*/ 2147483646 h 227"/>
              <a:gd name="T54" fmla="*/ 2147483646 w 2234"/>
              <a:gd name="T55" fmla="*/ 2147483646 h 227"/>
              <a:gd name="T56" fmla="*/ 2147483646 w 2234"/>
              <a:gd name="T57" fmla="*/ 2147483646 h 227"/>
              <a:gd name="T58" fmla="*/ 2147483646 w 2234"/>
              <a:gd name="T59" fmla="*/ 2147483646 h 227"/>
              <a:gd name="T60" fmla="*/ 2147483646 w 2234"/>
              <a:gd name="T61" fmla="*/ 2147483646 h 227"/>
              <a:gd name="T62" fmla="*/ 2147483646 w 2234"/>
              <a:gd name="T63" fmla="*/ 2147483646 h 227"/>
              <a:gd name="T64" fmla="*/ 2147483646 w 2234"/>
              <a:gd name="T65" fmla="*/ 2147483646 h 227"/>
              <a:gd name="T66" fmla="*/ 2147483646 w 2234"/>
              <a:gd name="T67" fmla="*/ 2147483646 h 227"/>
              <a:gd name="T68" fmla="*/ 2147483646 w 2234"/>
              <a:gd name="T69" fmla="*/ 2147483646 h 227"/>
              <a:gd name="T70" fmla="*/ 2147483646 w 2234"/>
              <a:gd name="T71" fmla="*/ 2147483646 h 2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34"/>
              <a:gd name="T109" fmla="*/ 0 h 227"/>
              <a:gd name="T110" fmla="*/ 2234 w 2234"/>
              <a:gd name="T111" fmla="*/ 227 h 2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34"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2203" y="0"/>
                  <a:pt x="2203" y="0"/>
                  <a:pt x="2203" y="0"/>
                </a:cubicBezTo>
                <a:cubicBezTo>
                  <a:pt x="2220" y="0"/>
                  <a:pt x="2234" y="13"/>
                  <a:pt x="2234" y="30"/>
                </a:cubicBezTo>
                <a:cubicBezTo>
                  <a:pt x="2234" y="30"/>
                  <a:pt x="2234" y="30"/>
                  <a:pt x="2234" y="30"/>
                </a:cubicBezTo>
                <a:cubicBezTo>
                  <a:pt x="2234" y="52"/>
                  <a:pt x="2234" y="52"/>
                  <a:pt x="2234" y="52"/>
                </a:cubicBezTo>
                <a:cubicBezTo>
                  <a:pt x="2234" y="57"/>
                  <a:pt x="2230" y="60"/>
                  <a:pt x="2226" y="60"/>
                </a:cubicBezTo>
                <a:cubicBezTo>
                  <a:pt x="2226" y="60"/>
                  <a:pt x="2226" y="60"/>
                  <a:pt x="2226" y="60"/>
                </a:cubicBezTo>
                <a:cubicBezTo>
                  <a:pt x="2221" y="60"/>
                  <a:pt x="2218" y="57"/>
                  <a:pt x="2218" y="52"/>
                </a:cubicBezTo>
                <a:cubicBezTo>
                  <a:pt x="2218" y="52"/>
                  <a:pt x="2218" y="52"/>
                  <a:pt x="2218" y="52"/>
                </a:cubicBezTo>
                <a:cubicBezTo>
                  <a:pt x="2218" y="30"/>
                  <a:pt x="2218" y="30"/>
                  <a:pt x="2218" y="30"/>
                </a:cubicBezTo>
                <a:cubicBezTo>
                  <a:pt x="2218" y="22"/>
                  <a:pt x="2211" y="16"/>
                  <a:pt x="2203" y="16"/>
                </a:cubicBezTo>
                <a:cubicBezTo>
                  <a:pt x="2203" y="16"/>
                  <a:pt x="2203" y="16"/>
                  <a:pt x="2203"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2203" y="211"/>
                  <a:pt x="2203" y="211"/>
                  <a:pt x="2203" y="211"/>
                </a:cubicBezTo>
                <a:cubicBezTo>
                  <a:pt x="2211" y="211"/>
                  <a:pt x="2218" y="204"/>
                  <a:pt x="2218" y="196"/>
                </a:cubicBezTo>
                <a:cubicBezTo>
                  <a:pt x="2218" y="196"/>
                  <a:pt x="2218" y="196"/>
                  <a:pt x="2218" y="196"/>
                </a:cubicBezTo>
                <a:cubicBezTo>
                  <a:pt x="2218" y="82"/>
                  <a:pt x="2218" y="82"/>
                  <a:pt x="2218" y="82"/>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196"/>
                  <a:pt x="2234" y="196"/>
                  <a:pt x="2234" y="196"/>
                </a:cubicBezTo>
                <a:cubicBezTo>
                  <a:pt x="2234" y="213"/>
                  <a:pt x="2220" y="227"/>
                  <a:pt x="2203" y="227"/>
                </a:cubicBezTo>
                <a:cubicBezTo>
                  <a:pt x="2203" y="227"/>
                  <a:pt x="2203" y="227"/>
                  <a:pt x="2203" y="227"/>
                </a:cubicBezTo>
                <a:cubicBezTo>
                  <a:pt x="31" y="227"/>
                  <a:pt x="31" y="227"/>
                  <a:pt x="31"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6000" tIns="82800" rIns="126000" anchor="ct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altLang="sv-SE" sz="16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rPr>
              <a:t>Transport</a:t>
            </a:r>
          </a:p>
        </p:txBody>
      </p:sp>
      <p:sp>
        <p:nvSpPr>
          <p:cNvPr id="48" name="Freeform 3"/>
          <p:cNvSpPr>
            <a:spLocks noChangeAspect="1" noEditPoints="1"/>
          </p:cNvSpPr>
          <p:nvPr/>
        </p:nvSpPr>
        <p:spPr bwMode="auto">
          <a:xfrm>
            <a:off x="3716338" y="4706938"/>
            <a:ext cx="371475" cy="441325"/>
          </a:xfrm>
          <a:custGeom>
            <a:avLst/>
            <a:gdLst>
              <a:gd name="T0" fmla="*/ 2147483646 w 294"/>
              <a:gd name="T1" fmla="*/ 2147483646 h 350"/>
              <a:gd name="T2" fmla="*/ 2147483646 w 294"/>
              <a:gd name="T3" fmla="*/ 2147483646 h 350"/>
              <a:gd name="T4" fmla="*/ 2147483646 w 294"/>
              <a:gd name="T5" fmla="*/ 2147483646 h 350"/>
              <a:gd name="T6" fmla="*/ 2147483646 w 294"/>
              <a:gd name="T7" fmla="*/ 2147483646 h 350"/>
              <a:gd name="T8" fmla="*/ 2147483646 w 294"/>
              <a:gd name="T9" fmla="*/ 2147483646 h 350"/>
              <a:gd name="T10" fmla="*/ 2147483646 w 294"/>
              <a:gd name="T11" fmla="*/ 2147483646 h 350"/>
              <a:gd name="T12" fmla="*/ 2147483646 w 294"/>
              <a:gd name="T13" fmla="*/ 2147483646 h 350"/>
              <a:gd name="T14" fmla="*/ 2147483646 w 294"/>
              <a:gd name="T15" fmla="*/ 2147483646 h 350"/>
              <a:gd name="T16" fmla="*/ 2147483646 w 294"/>
              <a:gd name="T17" fmla="*/ 2147483646 h 350"/>
              <a:gd name="T18" fmla="*/ 2147483646 w 294"/>
              <a:gd name="T19" fmla="*/ 2147483646 h 350"/>
              <a:gd name="T20" fmla="*/ 0 w 294"/>
              <a:gd name="T21" fmla="*/ 2147483646 h 350"/>
              <a:gd name="T22" fmla="*/ 2147483646 w 294"/>
              <a:gd name="T23" fmla="*/ 2147483646 h 350"/>
              <a:gd name="T24" fmla="*/ 2147483646 w 294"/>
              <a:gd name="T25" fmla="*/ 2147483646 h 350"/>
              <a:gd name="T26" fmla="*/ 2147483646 w 294"/>
              <a:gd name="T27" fmla="*/ 2147483646 h 350"/>
              <a:gd name="T28" fmla="*/ 2147483646 w 294"/>
              <a:gd name="T29" fmla="*/ 2147483646 h 350"/>
              <a:gd name="T30" fmla="*/ 2147483646 w 294"/>
              <a:gd name="T31" fmla="*/ 2147483646 h 350"/>
              <a:gd name="T32" fmla="*/ 2147483646 w 294"/>
              <a:gd name="T33" fmla="*/ 2147483646 h 350"/>
              <a:gd name="T34" fmla="*/ 2147483646 w 294"/>
              <a:gd name="T35" fmla="*/ 2147483646 h 350"/>
              <a:gd name="T36" fmla="*/ 2147483646 w 294"/>
              <a:gd name="T37" fmla="*/ 2147483646 h 350"/>
              <a:gd name="T38" fmla="*/ 2147483646 w 294"/>
              <a:gd name="T39" fmla="*/ 2147483646 h 350"/>
              <a:gd name="T40" fmla="*/ 2147483646 w 294"/>
              <a:gd name="T41" fmla="*/ 2147483646 h 350"/>
              <a:gd name="T42" fmla="*/ 2147483646 w 294"/>
              <a:gd name="T43" fmla="*/ 2147483646 h 350"/>
              <a:gd name="T44" fmla="*/ 2147483646 w 294"/>
              <a:gd name="T45" fmla="*/ 2147483646 h 350"/>
              <a:gd name="T46" fmla="*/ 2147483646 w 294"/>
              <a:gd name="T47" fmla="*/ 2147483646 h 350"/>
              <a:gd name="T48" fmla="*/ 2147483646 w 294"/>
              <a:gd name="T49" fmla="*/ 2147483646 h 350"/>
              <a:gd name="T50" fmla="*/ 2147483646 w 294"/>
              <a:gd name="T51" fmla="*/ 2147483646 h 350"/>
              <a:gd name="T52" fmla="*/ 2147483646 w 294"/>
              <a:gd name="T53" fmla="*/ 2147483646 h 350"/>
              <a:gd name="T54" fmla="*/ 2147483646 w 294"/>
              <a:gd name="T55" fmla="*/ 2147483646 h 350"/>
              <a:gd name="T56" fmla="*/ 2147483646 w 294"/>
              <a:gd name="T57" fmla="*/ 2147483646 h 350"/>
              <a:gd name="T58" fmla="*/ 2147483646 w 294"/>
              <a:gd name="T59" fmla="*/ 2147483646 h 350"/>
              <a:gd name="T60" fmla="*/ 2147483646 w 294"/>
              <a:gd name="T61" fmla="*/ 2147483646 h 350"/>
              <a:gd name="T62" fmla="*/ 2147483646 w 294"/>
              <a:gd name="T63" fmla="*/ 2147483646 h 350"/>
              <a:gd name="T64" fmla="*/ 2147483646 w 294"/>
              <a:gd name="T65" fmla="*/ 2147483646 h 350"/>
              <a:gd name="T66" fmla="*/ 2147483646 w 294"/>
              <a:gd name="T67" fmla="*/ 2147483646 h 350"/>
              <a:gd name="T68" fmla="*/ 2147483646 w 294"/>
              <a:gd name="T69" fmla="*/ 2147483646 h 350"/>
              <a:gd name="T70" fmla="*/ 2147483646 w 294"/>
              <a:gd name="T71" fmla="*/ 2147483646 h 350"/>
              <a:gd name="T72" fmla="*/ 2147483646 w 294"/>
              <a:gd name="T73" fmla="*/ 2147483646 h 350"/>
              <a:gd name="T74" fmla="*/ 2147483646 w 294"/>
              <a:gd name="T75" fmla="*/ 2147483646 h 350"/>
              <a:gd name="T76" fmla="*/ 2147483646 w 294"/>
              <a:gd name="T77" fmla="*/ 2147483646 h 350"/>
              <a:gd name="T78" fmla="*/ 2147483646 w 294"/>
              <a:gd name="T79" fmla="*/ 2147483646 h 350"/>
              <a:gd name="T80" fmla="*/ 2147483646 w 294"/>
              <a:gd name="T81" fmla="*/ 2147483646 h 350"/>
              <a:gd name="T82" fmla="*/ 2147483646 w 294"/>
              <a:gd name="T83" fmla="*/ 2147483646 h 350"/>
              <a:gd name="T84" fmla="*/ 2147483646 w 294"/>
              <a:gd name="T85" fmla="*/ 2147483646 h 350"/>
              <a:gd name="T86" fmla="*/ 2147483646 w 294"/>
              <a:gd name="T87" fmla="*/ 2147483646 h 350"/>
              <a:gd name="T88" fmla="*/ 2147483646 w 294"/>
              <a:gd name="T89" fmla="*/ 2147483646 h 350"/>
              <a:gd name="T90" fmla="*/ 2147483646 w 294"/>
              <a:gd name="T91" fmla="*/ 2147483646 h 350"/>
              <a:gd name="T92" fmla="*/ 2147483646 w 294"/>
              <a:gd name="T93" fmla="*/ 2147483646 h 350"/>
              <a:gd name="T94" fmla="*/ 2147483646 w 294"/>
              <a:gd name="T95" fmla="*/ 2147483646 h 350"/>
              <a:gd name="T96" fmla="*/ 2147483646 w 294"/>
              <a:gd name="T97" fmla="*/ 0 h 350"/>
              <a:gd name="T98" fmla="*/ 2147483646 w 294"/>
              <a:gd name="T99" fmla="*/ 2147483646 h 350"/>
              <a:gd name="T100" fmla="*/ 2147483646 w 294"/>
              <a:gd name="T101" fmla="*/ 2147483646 h 350"/>
              <a:gd name="T102" fmla="*/ 2147483646 w 294"/>
              <a:gd name="T103" fmla="*/ 2147483646 h 350"/>
              <a:gd name="T104" fmla="*/ 2147483646 w 294"/>
              <a:gd name="T105" fmla="*/ 2147483646 h 350"/>
              <a:gd name="T106" fmla="*/ 2147483646 w 294"/>
              <a:gd name="T107" fmla="*/ 2147483646 h 350"/>
              <a:gd name="T108" fmla="*/ 2147483646 w 294"/>
              <a:gd name="T109" fmla="*/ 2147483646 h 350"/>
              <a:gd name="T110" fmla="*/ 2147483646 w 294"/>
              <a:gd name="T111" fmla="*/ 2147483646 h 350"/>
              <a:gd name="T112" fmla="*/ 2147483646 w 294"/>
              <a:gd name="T113" fmla="*/ 2147483646 h 3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94" h="350">
                <a:moveTo>
                  <a:pt x="270" y="244"/>
                </a:moveTo>
                <a:cubicBezTo>
                  <a:pt x="152" y="244"/>
                  <a:pt x="152" y="244"/>
                  <a:pt x="152" y="244"/>
                </a:cubicBezTo>
                <a:cubicBezTo>
                  <a:pt x="141" y="244"/>
                  <a:pt x="132" y="252"/>
                  <a:pt x="129" y="262"/>
                </a:cubicBezTo>
                <a:cubicBezTo>
                  <a:pt x="115" y="257"/>
                  <a:pt x="103" y="249"/>
                  <a:pt x="92" y="239"/>
                </a:cubicBezTo>
                <a:cubicBezTo>
                  <a:pt x="74" y="220"/>
                  <a:pt x="63" y="195"/>
                  <a:pt x="63" y="168"/>
                </a:cubicBezTo>
                <a:cubicBezTo>
                  <a:pt x="63" y="157"/>
                  <a:pt x="65" y="146"/>
                  <a:pt x="67" y="138"/>
                </a:cubicBezTo>
                <a:cubicBezTo>
                  <a:pt x="69" y="134"/>
                  <a:pt x="70" y="131"/>
                  <a:pt x="71" y="129"/>
                </a:cubicBezTo>
                <a:cubicBezTo>
                  <a:pt x="71" y="127"/>
                  <a:pt x="72" y="126"/>
                  <a:pt x="72" y="126"/>
                </a:cubicBezTo>
                <a:cubicBezTo>
                  <a:pt x="74" y="122"/>
                  <a:pt x="72" y="117"/>
                  <a:pt x="68" y="115"/>
                </a:cubicBezTo>
                <a:cubicBezTo>
                  <a:pt x="64" y="113"/>
                  <a:pt x="59" y="115"/>
                  <a:pt x="57" y="119"/>
                </a:cubicBezTo>
                <a:cubicBezTo>
                  <a:pt x="57" y="120"/>
                  <a:pt x="47" y="141"/>
                  <a:pt x="47" y="168"/>
                </a:cubicBezTo>
                <a:cubicBezTo>
                  <a:pt x="47" y="219"/>
                  <a:pt x="81" y="264"/>
                  <a:pt x="129" y="279"/>
                </a:cubicBezTo>
                <a:cubicBezTo>
                  <a:pt x="129" y="311"/>
                  <a:pt x="129" y="311"/>
                  <a:pt x="129" y="311"/>
                </a:cubicBezTo>
                <a:cubicBezTo>
                  <a:pt x="67" y="296"/>
                  <a:pt x="20" y="244"/>
                  <a:pt x="17" y="178"/>
                </a:cubicBezTo>
                <a:cubicBezTo>
                  <a:pt x="17" y="178"/>
                  <a:pt x="17" y="178"/>
                  <a:pt x="17" y="178"/>
                </a:cubicBezTo>
                <a:cubicBezTo>
                  <a:pt x="16" y="170"/>
                  <a:pt x="16" y="170"/>
                  <a:pt x="16" y="170"/>
                </a:cubicBezTo>
                <a:cubicBezTo>
                  <a:pt x="16" y="170"/>
                  <a:pt x="16" y="170"/>
                  <a:pt x="16" y="170"/>
                </a:cubicBezTo>
                <a:cubicBezTo>
                  <a:pt x="16" y="167"/>
                  <a:pt x="17" y="126"/>
                  <a:pt x="30" y="102"/>
                </a:cubicBezTo>
                <a:cubicBezTo>
                  <a:pt x="32" y="98"/>
                  <a:pt x="31" y="94"/>
                  <a:pt x="27" y="91"/>
                </a:cubicBezTo>
                <a:cubicBezTo>
                  <a:pt x="23" y="89"/>
                  <a:pt x="18" y="91"/>
                  <a:pt x="16" y="95"/>
                </a:cubicBezTo>
                <a:cubicBezTo>
                  <a:pt x="0" y="124"/>
                  <a:pt x="1" y="166"/>
                  <a:pt x="0" y="170"/>
                </a:cubicBezTo>
                <a:cubicBezTo>
                  <a:pt x="0" y="171"/>
                  <a:pt x="0" y="171"/>
                  <a:pt x="0" y="171"/>
                </a:cubicBezTo>
                <a:cubicBezTo>
                  <a:pt x="0" y="215"/>
                  <a:pt x="19" y="256"/>
                  <a:pt x="48" y="284"/>
                </a:cubicBezTo>
                <a:cubicBezTo>
                  <a:pt x="70" y="306"/>
                  <a:pt x="98" y="321"/>
                  <a:pt x="129" y="327"/>
                </a:cubicBezTo>
                <a:cubicBezTo>
                  <a:pt x="129" y="340"/>
                  <a:pt x="140" y="350"/>
                  <a:pt x="152" y="350"/>
                </a:cubicBezTo>
                <a:cubicBezTo>
                  <a:pt x="215" y="350"/>
                  <a:pt x="215" y="350"/>
                  <a:pt x="215" y="350"/>
                </a:cubicBezTo>
                <a:cubicBezTo>
                  <a:pt x="220" y="350"/>
                  <a:pt x="223" y="346"/>
                  <a:pt x="223" y="342"/>
                </a:cubicBezTo>
                <a:cubicBezTo>
                  <a:pt x="223" y="337"/>
                  <a:pt x="220" y="334"/>
                  <a:pt x="215" y="334"/>
                </a:cubicBezTo>
                <a:cubicBezTo>
                  <a:pt x="152" y="334"/>
                  <a:pt x="152" y="334"/>
                  <a:pt x="152" y="334"/>
                </a:cubicBezTo>
                <a:cubicBezTo>
                  <a:pt x="148" y="334"/>
                  <a:pt x="145" y="330"/>
                  <a:pt x="145" y="326"/>
                </a:cubicBezTo>
                <a:cubicBezTo>
                  <a:pt x="145" y="324"/>
                  <a:pt x="145" y="324"/>
                  <a:pt x="145" y="324"/>
                </a:cubicBezTo>
                <a:cubicBezTo>
                  <a:pt x="178" y="324"/>
                  <a:pt x="178" y="324"/>
                  <a:pt x="178" y="324"/>
                </a:cubicBezTo>
                <a:cubicBezTo>
                  <a:pt x="183" y="324"/>
                  <a:pt x="186" y="321"/>
                  <a:pt x="186" y="316"/>
                </a:cubicBezTo>
                <a:cubicBezTo>
                  <a:pt x="186" y="278"/>
                  <a:pt x="186" y="278"/>
                  <a:pt x="186" y="278"/>
                </a:cubicBezTo>
                <a:cubicBezTo>
                  <a:pt x="186" y="273"/>
                  <a:pt x="183" y="270"/>
                  <a:pt x="178" y="270"/>
                </a:cubicBezTo>
                <a:cubicBezTo>
                  <a:pt x="145" y="270"/>
                  <a:pt x="145" y="270"/>
                  <a:pt x="145" y="270"/>
                </a:cubicBezTo>
                <a:cubicBezTo>
                  <a:pt x="145" y="267"/>
                  <a:pt x="145" y="267"/>
                  <a:pt x="145" y="267"/>
                </a:cubicBezTo>
                <a:cubicBezTo>
                  <a:pt x="145" y="263"/>
                  <a:pt x="148" y="260"/>
                  <a:pt x="152" y="260"/>
                </a:cubicBezTo>
                <a:cubicBezTo>
                  <a:pt x="270" y="260"/>
                  <a:pt x="270" y="260"/>
                  <a:pt x="270" y="260"/>
                </a:cubicBezTo>
                <a:cubicBezTo>
                  <a:pt x="275" y="260"/>
                  <a:pt x="278" y="263"/>
                  <a:pt x="278" y="267"/>
                </a:cubicBezTo>
                <a:cubicBezTo>
                  <a:pt x="278" y="274"/>
                  <a:pt x="278" y="274"/>
                  <a:pt x="278" y="274"/>
                </a:cubicBezTo>
                <a:cubicBezTo>
                  <a:pt x="247" y="274"/>
                  <a:pt x="247" y="274"/>
                  <a:pt x="247" y="274"/>
                </a:cubicBezTo>
                <a:cubicBezTo>
                  <a:pt x="242" y="274"/>
                  <a:pt x="239" y="278"/>
                  <a:pt x="239" y="282"/>
                </a:cubicBezTo>
                <a:cubicBezTo>
                  <a:pt x="239" y="287"/>
                  <a:pt x="242" y="290"/>
                  <a:pt x="247" y="290"/>
                </a:cubicBezTo>
                <a:cubicBezTo>
                  <a:pt x="278" y="290"/>
                  <a:pt x="278" y="290"/>
                  <a:pt x="278" y="290"/>
                </a:cubicBezTo>
                <a:cubicBezTo>
                  <a:pt x="278" y="304"/>
                  <a:pt x="278" y="304"/>
                  <a:pt x="278" y="304"/>
                </a:cubicBezTo>
                <a:cubicBezTo>
                  <a:pt x="247" y="304"/>
                  <a:pt x="247" y="304"/>
                  <a:pt x="247" y="304"/>
                </a:cubicBezTo>
                <a:cubicBezTo>
                  <a:pt x="242" y="304"/>
                  <a:pt x="239" y="307"/>
                  <a:pt x="239" y="312"/>
                </a:cubicBezTo>
                <a:cubicBezTo>
                  <a:pt x="239" y="316"/>
                  <a:pt x="242" y="320"/>
                  <a:pt x="247" y="320"/>
                </a:cubicBezTo>
                <a:cubicBezTo>
                  <a:pt x="278" y="320"/>
                  <a:pt x="278" y="320"/>
                  <a:pt x="278" y="320"/>
                </a:cubicBezTo>
                <a:cubicBezTo>
                  <a:pt x="278" y="326"/>
                  <a:pt x="278" y="326"/>
                  <a:pt x="278" y="326"/>
                </a:cubicBezTo>
                <a:cubicBezTo>
                  <a:pt x="278" y="330"/>
                  <a:pt x="275" y="334"/>
                  <a:pt x="270" y="334"/>
                </a:cubicBezTo>
                <a:cubicBezTo>
                  <a:pt x="247" y="334"/>
                  <a:pt x="247" y="334"/>
                  <a:pt x="247" y="334"/>
                </a:cubicBezTo>
                <a:cubicBezTo>
                  <a:pt x="242" y="334"/>
                  <a:pt x="239" y="337"/>
                  <a:pt x="239" y="342"/>
                </a:cubicBezTo>
                <a:cubicBezTo>
                  <a:pt x="239" y="346"/>
                  <a:pt x="242" y="350"/>
                  <a:pt x="247" y="350"/>
                </a:cubicBezTo>
                <a:cubicBezTo>
                  <a:pt x="270" y="350"/>
                  <a:pt x="270" y="350"/>
                  <a:pt x="270" y="350"/>
                </a:cubicBezTo>
                <a:cubicBezTo>
                  <a:pt x="283" y="350"/>
                  <a:pt x="294" y="339"/>
                  <a:pt x="294" y="326"/>
                </a:cubicBezTo>
                <a:cubicBezTo>
                  <a:pt x="294" y="267"/>
                  <a:pt x="294" y="267"/>
                  <a:pt x="294" y="267"/>
                </a:cubicBezTo>
                <a:cubicBezTo>
                  <a:pt x="294" y="254"/>
                  <a:pt x="283" y="244"/>
                  <a:pt x="270" y="244"/>
                </a:cubicBezTo>
                <a:close/>
                <a:moveTo>
                  <a:pt x="142" y="147"/>
                </a:moveTo>
                <a:cubicBezTo>
                  <a:pt x="131" y="158"/>
                  <a:pt x="131" y="176"/>
                  <a:pt x="142" y="186"/>
                </a:cubicBezTo>
                <a:cubicBezTo>
                  <a:pt x="147" y="192"/>
                  <a:pt x="154" y="194"/>
                  <a:pt x="161" y="194"/>
                </a:cubicBezTo>
                <a:cubicBezTo>
                  <a:pt x="169" y="194"/>
                  <a:pt x="176" y="192"/>
                  <a:pt x="181" y="186"/>
                </a:cubicBezTo>
                <a:cubicBezTo>
                  <a:pt x="192" y="176"/>
                  <a:pt x="192" y="158"/>
                  <a:pt x="181" y="147"/>
                </a:cubicBezTo>
                <a:cubicBezTo>
                  <a:pt x="176" y="142"/>
                  <a:pt x="169" y="139"/>
                  <a:pt x="161" y="139"/>
                </a:cubicBezTo>
                <a:cubicBezTo>
                  <a:pt x="154" y="139"/>
                  <a:pt x="147" y="142"/>
                  <a:pt x="142" y="147"/>
                </a:cubicBezTo>
                <a:close/>
                <a:moveTo>
                  <a:pt x="204" y="125"/>
                </a:moveTo>
                <a:cubicBezTo>
                  <a:pt x="206" y="125"/>
                  <a:pt x="208" y="124"/>
                  <a:pt x="210" y="122"/>
                </a:cubicBezTo>
                <a:cubicBezTo>
                  <a:pt x="212" y="121"/>
                  <a:pt x="212" y="119"/>
                  <a:pt x="212" y="116"/>
                </a:cubicBezTo>
                <a:cubicBezTo>
                  <a:pt x="212" y="114"/>
                  <a:pt x="212" y="112"/>
                  <a:pt x="210" y="110"/>
                </a:cubicBezTo>
                <a:cubicBezTo>
                  <a:pt x="197" y="98"/>
                  <a:pt x="180" y="90"/>
                  <a:pt x="161" y="90"/>
                </a:cubicBezTo>
                <a:cubicBezTo>
                  <a:pt x="143" y="90"/>
                  <a:pt x="126" y="98"/>
                  <a:pt x="113" y="110"/>
                </a:cubicBezTo>
                <a:cubicBezTo>
                  <a:pt x="110" y="114"/>
                  <a:pt x="110" y="119"/>
                  <a:pt x="113" y="122"/>
                </a:cubicBezTo>
                <a:cubicBezTo>
                  <a:pt x="114" y="124"/>
                  <a:pt x="117" y="125"/>
                  <a:pt x="119" y="125"/>
                </a:cubicBezTo>
                <a:cubicBezTo>
                  <a:pt x="121" y="125"/>
                  <a:pt x="123" y="124"/>
                  <a:pt x="125" y="122"/>
                </a:cubicBezTo>
                <a:cubicBezTo>
                  <a:pt x="135" y="113"/>
                  <a:pt x="148" y="107"/>
                  <a:pt x="161" y="107"/>
                </a:cubicBezTo>
                <a:cubicBezTo>
                  <a:pt x="175" y="107"/>
                  <a:pt x="188" y="113"/>
                  <a:pt x="198" y="122"/>
                </a:cubicBezTo>
                <a:cubicBezTo>
                  <a:pt x="200" y="124"/>
                  <a:pt x="202" y="125"/>
                  <a:pt x="204" y="125"/>
                </a:cubicBezTo>
                <a:close/>
                <a:moveTo>
                  <a:pt x="242" y="42"/>
                </a:moveTo>
                <a:cubicBezTo>
                  <a:pt x="244" y="43"/>
                  <a:pt x="246" y="44"/>
                  <a:pt x="248" y="45"/>
                </a:cubicBezTo>
                <a:cubicBezTo>
                  <a:pt x="253" y="49"/>
                  <a:pt x="258" y="54"/>
                  <a:pt x="262" y="58"/>
                </a:cubicBezTo>
                <a:cubicBezTo>
                  <a:pt x="264" y="60"/>
                  <a:pt x="266" y="61"/>
                  <a:pt x="268" y="61"/>
                </a:cubicBezTo>
                <a:cubicBezTo>
                  <a:pt x="270" y="61"/>
                  <a:pt x="273" y="60"/>
                  <a:pt x="274" y="58"/>
                </a:cubicBezTo>
                <a:cubicBezTo>
                  <a:pt x="276" y="57"/>
                  <a:pt x="277" y="55"/>
                  <a:pt x="277" y="52"/>
                </a:cubicBezTo>
                <a:cubicBezTo>
                  <a:pt x="277" y="50"/>
                  <a:pt x="276" y="48"/>
                  <a:pt x="274" y="46"/>
                </a:cubicBezTo>
                <a:cubicBezTo>
                  <a:pt x="269" y="41"/>
                  <a:pt x="263" y="36"/>
                  <a:pt x="258" y="32"/>
                </a:cubicBezTo>
                <a:cubicBezTo>
                  <a:pt x="256" y="31"/>
                  <a:pt x="254" y="29"/>
                  <a:pt x="252" y="28"/>
                </a:cubicBezTo>
                <a:cubicBezTo>
                  <a:pt x="250" y="27"/>
                  <a:pt x="249" y="26"/>
                  <a:pt x="247" y="26"/>
                </a:cubicBezTo>
                <a:cubicBezTo>
                  <a:pt x="244" y="26"/>
                  <a:pt x="242" y="28"/>
                  <a:pt x="240" y="30"/>
                </a:cubicBezTo>
                <a:cubicBezTo>
                  <a:pt x="237" y="34"/>
                  <a:pt x="238" y="39"/>
                  <a:pt x="242" y="42"/>
                </a:cubicBezTo>
                <a:close/>
                <a:moveTo>
                  <a:pt x="55" y="61"/>
                </a:moveTo>
                <a:cubicBezTo>
                  <a:pt x="57" y="61"/>
                  <a:pt x="59" y="60"/>
                  <a:pt x="61" y="58"/>
                </a:cubicBezTo>
                <a:cubicBezTo>
                  <a:pt x="88" y="31"/>
                  <a:pt x="123" y="16"/>
                  <a:pt x="161" y="16"/>
                </a:cubicBezTo>
                <a:cubicBezTo>
                  <a:pt x="179" y="16"/>
                  <a:pt x="197" y="20"/>
                  <a:pt x="213" y="26"/>
                </a:cubicBezTo>
                <a:cubicBezTo>
                  <a:pt x="214" y="26"/>
                  <a:pt x="215" y="27"/>
                  <a:pt x="216" y="27"/>
                </a:cubicBezTo>
                <a:cubicBezTo>
                  <a:pt x="220" y="27"/>
                  <a:pt x="223" y="25"/>
                  <a:pt x="224" y="21"/>
                </a:cubicBezTo>
                <a:cubicBezTo>
                  <a:pt x="226" y="17"/>
                  <a:pt x="223" y="12"/>
                  <a:pt x="219" y="10"/>
                </a:cubicBezTo>
                <a:cubicBezTo>
                  <a:pt x="201" y="3"/>
                  <a:pt x="181" y="0"/>
                  <a:pt x="161" y="0"/>
                </a:cubicBezTo>
                <a:cubicBezTo>
                  <a:pt x="119" y="0"/>
                  <a:pt x="79" y="16"/>
                  <a:pt x="49" y="46"/>
                </a:cubicBezTo>
                <a:cubicBezTo>
                  <a:pt x="47" y="48"/>
                  <a:pt x="46" y="50"/>
                  <a:pt x="46" y="52"/>
                </a:cubicBezTo>
                <a:cubicBezTo>
                  <a:pt x="46" y="55"/>
                  <a:pt x="47" y="57"/>
                  <a:pt x="49" y="58"/>
                </a:cubicBezTo>
                <a:cubicBezTo>
                  <a:pt x="50" y="60"/>
                  <a:pt x="52" y="61"/>
                  <a:pt x="55" y="61"/>
                </a:cubicBezTo>
                <a:close/>
                <a:moveTo>
                  <a:pt x="236" y="93"/>
                </a:moveTo>
                <a:cubicBezTo>
                  <a:pt x="238" y="93"/>
                  <a:pt x="240" y="92"/>
                  <a:pt x="242" y="91"/>
                </a:cubicBezTo>
                <a:cubicBezTo>
                  <a:pt x="245" y="87"/>
                  <a:pt x="245" y="82"/>
                  <a:pt x="242" y="79"/>
                </a:cubicBezTo>
                <a:cubicBezTo>
                  <a:pt x="220" y="57"/>
                  <a:pt x="192" y="45"/>
                  <a:pt x="161" y="45"/>
                </a:cubicBezTo>
                <a:cubicBezTo>
                  <a:pt x="131" y="45"/>
                  <a:pt x="103" y="57"/>
                  <a:pt x="81" y="79"/>
                </a:cubicBezTo>
                <a:cubicBezTo>
                  <a:pt x="79" y="80"/>
                  <a:pt x="79" y="82"/>
                  <a:pt x="79" y="85"/>
                </a:cubicBezTo>
                <a:cubicBezTo>
                  <a:pt x="79" y="87"/>
                  <a:pt x="79" y="89"/>
                  <a:pt x="81" y="90"/>
                </a:cubicBezTo>
                <a:cubicBezTo>
                  <a:pt x="83" y="92"/>
                  <a:pt x="85" y="93"/>
                  <a:pt x="87" y="93"/>
                </a:cubicBezTo>
                <a:cubicBezTo>
                  <a:pt x="89" y="93"/>
                  <a:pt x="91" y="92"/>
                  <a:pt x="93" y="91"/>
                </a:cubicBezTo>
                <a:cubicBezTo>
                  <a:pt x="93" y="90"/>
                  <a:pt x="93" y="90"/>
                  <a:pt x="93" y="90"/>
                </a:cubicBezTo>
                <a:cubicBezTo>
                  <a:pt x="111" y="72"/>
                  <a:pt x="136" y="62"/>
                  <a:pt x="161" y="62"/>
                </a:cubicBezTo>
                <a:cubicBezTo>
                  <a:pt x="187" y="62"/>
                  <a:pt x="212" y="72"/>
                  <a:pt x="230" y="90"/>
                </a:cubicBezTo>
                <a:cubicBezTo>
                  <a:pt x="232" y="92"/>
                  <a:pt x="234" y="93"/>
                  <a:pt x="23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49" name="Freeform 3"/>
          <p:cNvSpPr>
            <a:spLocks noChangeAspect="1" noEditPoints="1"/>
          </p:cNvSpPr>
          <p:nvPr/>
        </p:nvSpPr>
        <p:spPr bwMode="auto">
          <a:xfrm>
            <a:off x="4241800" y="5522913"/>
            <a:ext cx="369888" cy="392112"/>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50" name="Freeform 3"/>
          <p:cNvSpPr>
            <a:spLocks noChangeAspect="1" noEditPoints="1"/>
          </p:cNvSpPr>
          <p:nvPr/>
        </p:nvSpPr>
        <p:spPr bwMode="auto">
          <a:xfrm>
            <a:off x="7999413" y="5556250"/>
            <a:ext cx="369887" cy="392113"/>
          </a:xfrm>
          <a:custGeom>
            <a:avLst/>
            <a:gdLst>
              <a:gd name="T0" fmla="*/ 2147483646 w 382"/>
              <a:gd name="T1" fmla="*/ 2147483646 h 405"/>
              <a:gd name="T2" fmla="*/ 2147483646 w 382"/>
              <a:gd name="T3" fmla="*/ 2147483646 h 405"/>
              <a:gd name="T4" fmla="*/ 2147483646 w 382"/>
              <a:gd name="T5" fmla="*/ 2147483646 h 405"/>
              <a:gd name="T6" fmla="*/ 2147483646 w 382"/>
              <a:gd name="T7" fmla="*/ 2147483646 h 405"/>
              <a:gd name="T8" fmla="*/ 2147483646 w 382"/>
              <a:gd name="T9" fmla="*/ 2147483646 h 405"/>
              <a:gd name="T10" fmla="*/ 2147483646 w 382"/>
              <a:gd name="T11" fmla="*/ 2147483646 h 405"/>
              <a:gd name="T12" fmla="*/ 2147483646 w 382"/>
              <a:gd name="T13" fmla="*/ 2147483646 h 405"/>
              <a:gd name="T14" fmla="*/ 2147483646 w 382"/>
              <a:gd name="T15" fmla="*/ 2147483646 h 405"/>
              <a:gd name="T16" fmla="*/ 0 w 382"/>
              <a:gd name="T17" fmla="*/ 2147483646 h 405"/>
              <a:gd name="T18" fmla="*/ 2147483646 w 382"/>
              <a:gd name="T19" fmla="*/ 2147483646 h 405"/>
              <a:gd name="T20" fmla="*/ 2147483646 w 382"/>
              <a:gd name="T21" fmla="*/ 2147483646 h 405"/>
              <a:gd name="T22" fmla="*/ 2147483646 w 382"/>
              <a:gd name="T23" fmla="*/ 2147483646 h 405"/>
              <a:gd name="T24" fmla="*/ 2147483646 w 382"/>
              <a:gd name="T25" fmla="*/ 2147483646 h 405"/>
              <a:gd name="T26" fmla="*/ 2147483646 w 382"/>
              <a:gd name="T27" fmla="*/ 2147483646 h 405"/>
              <a:gd name="T28" fmla="*/ 2147483646 w 382"/>
              <a:gd name="T29" fmla="*/ 2147483646 h 405"/>
              <a:gd name="T30" fmla="*/ 2147483646 w 382"/>
              <a:gd name="T31" fmla="*/ 2147483646 h 405"/>
              <a:gd name="T32" fmla="*/ 2147483646 w 382"/>
              <a:gd name="T33" fmla="*/ 2147483646 h 405"/>
              <a:gd name="T34" fmla="*/ 2147483646 w 382"/>
              <a:gd name="T35" fmla="*/ 2147483646 h 405"/>
              <a:gd name="T36" fmla="*/ 2147483646 w 382"/>
              <a:gd name="T37" fmla="*/ 2147483646 h 405"/>
              <a:gd name="T38" fmla="*/ 2147483646 w 382"/>
              <a:gd name="T39" fmla="*/ 2147483646 h 405"/>
              <a:gd name="T40" fmla="*/ 2147483646 w 382"/>
              <a:gd name="T41" fmla="*/ 2147483646 h 405"/>
              <a:gd name="T42" fmla="*/ 2147483646 w 382"/>
              <a:gd name="T43" fmla="*/ 2147483646 h 405"/>
              <a:gd name="T44" fmla="*/ 2147483646 w 382"/>
              <a:gd name="T45" fmla="*/ 2147483646 h 405"/>
              <a:gd name="T46" fmla="*/ 2147483646 w 382"/>
              <a:gd name="T47" fmla="*/ 2147483646 h 405"/>
              <a:gd name="T48" fmla="*/ 2147483646 w 382"/>
              <a:gd name="T49" fmla="*/ 2147483646 h 405"/>
              <a:gd name="T50" fmla="*/ 2147483646 w 382"/>
              <a:gd name="T51" fmla="*/ 2147483646 h 405"/>
              <a:gd name="T52" fmla="*/ 2147483646 w 382"/>
              <a:gd name="T53" fmla="*/ 2147483646 h 405"/>
              <a:gd name="T54" fmla="*/ 2147483646 w 382"/>
              <a:gd name="T55" fmla="*/ 2147483646 h 405"/>
              <a:gd name="T56" fmla="*/ 2147483646 w 382"/>
              <a:gd name="T57" fmla="*/ 2147483646 h 405"/>
              <a:gd name="T58" fmla="*/ 2147483646 w 382"/>
              <a:gd name="T59" fmla="*/ 2147483646 h 405"/>
              <a:gd name="T60" fmla="*/ 2147483646 w 382"/>
              <a:gd name="T61" fmla="*/ 2147483646 h 405"/>
              <a:gd name="T62" fmla="*/ 2147483646 w 382"/>
              <a:gd name="T63" fmla="*/ 2147483646 h 405"/>
              <a:gd name="T64" fmla="*/ 2147483646 w 382"/>
              <a:gd name="T65" fmla="*/ 2147483646 h 405"/>
              <a:gd name="T66" fmla="*/ 2147483646 w 382"/>
              <a:gd name="T67" fmla="*/ 2147483646 h 405"/>
              <a:gd name="T68" fmla="*/ 2147483646 w 382"/>
              <a:gd name="T69" fmla="*/ 2147483646 h 405"/>
              <a:gd name="T70" fmla="*/ 2147483646 w 382"/>
              <a:gd name="T71" fmla="*/ 2147483646 h 405"/>
              <a:gd name="T72" fmla="*/ 2147483646 w 382"/>
              <a:gd name="T73" fmla="*/ 2147483646 h 405"/>
              <a:gd name="T74" fmla="*/ 2147483646 w 382"/>
              <a:gd name="T75" fmla="*/ 2147483646 h 405"/>
              <a:gd name="T76" fmla="*/ 2147483646 w 382"/>
              <a:gd name="T77" fmla="*/ 2147483646 h 405"/>
              <a:gd name="T78" fmla="*/ 2147483646 w 382"/>
              <a:gd name="T79" fmla="*/ 2147483646 h 405"/>
              <a:gd name="T80" fmla="*/ 2147483646 w 382"/>
              <a:gd name="T81" fmla="*/ 2147483646 h 405"/>
              <a:gd name="T82" fmla="*/ 2147483646 w 382"/>
              <a:gd name="T83" fmla="*/ 2147483646 h 405"/>
              <a:gd name="T84" fmla="*/ 2147483646 w 382"/>
              <a:gd name="T85" fmla="*/ 2147483646 h 405"/>
              <a:gd name="T86" fmla="*/ 2147483646 w 382"/>
              <a:gd name="T87" fmla="*/ 2147483646 h 405"/>
              <a:gd name="T88" fmla="*/ 2147483646 w 382"/>
              <a:gd name="T89" fmla="*/ 2147483646 h 405"/>
              <a:gd name="T90" fmla="*/ 2147483646 w 382"/>
              <a:gd name="T91" fmla="*/ 2147483646 h 405"/>
              <a:gd name="T92" fmla="*/ 2147483646 w 382"/>
              <a:gd name="T93" fmla="*/ 2147483646 h 405"/>
              <a:gd name="T94" fmla="*/ 2147483646 w 382"/>
              <a:gd name="T95" fmla="*/ 2147483646 h 405"/>
              <a:gd name="T96" fmla="*/ 2147483646 w 382"/>
              <a:gd name="T97" fmla="*/ 2147483646 h 405"/>
              <a:gd name="T98" fmla="*/ 2147483646 w 382"/>
              <a:gd name="T99" fmla="*/ 2147483646 h 405"/>
              <a:gd name="T100" fmla="*/ 2147483646 w 382"/>
              <a:gd name="T101" fmla="*/ 2147483646 h 405"/>
              <a:gd name="T102" fmla="*/ 2147483646 w 382"/>
              <a:gd name="T103" fmla="*/ 2147483646 h 405"/>
              <a:gd name="T104" fmla="*/ 2147483646 w 382"/>
              <a:gd name="T105" fmla="*/ 2147483646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206767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Rektangel med rundade hörn 2"/>
          <p:cNvSpPr/>
          <p:nvPr/>
        </p:nvSpPr>
        <p:spPr bwMode="auto">
          <a:xfrm>
            <a:off x="922896" y="1535296"/>
            <a:ext cx="3718322" cy="1933503"/>
          </a:xfrm>
          <a:prstGeom prst="roundRect">
            <a:avLst>
              <a:gd name="adj" fmla="val 2170"/>
            </a:avLst>
          </a:prstGeom>
          <a:solidFill>
            <a:schemeClr val="bg1">
              <a:alpha val="2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1" i="0" u="none" strike="noStrike" kern="0" cap="none" spc="0" normalizeH="0" baseline="0" noProof="0" dirty="0">
              <a:ln>
                <a:noFill/>
              </a:ln>
              <a:solidFill>
                <a:schemeClr val="bg1"/>
              </a:solidFill>
              <a:effectLst/>
              <a:uLnTx/>
              <a:uFillTx/>
              <a:latin typeface="Arial" charset="0"/>
            </a:endParaRPr>
          </a:p>
        </p:txBody>
      </p:sp>
      <p:sp>
        <p:nvSpPr>
          <p:cNvPr id="6" name="Title 2"/>
          <p:cNvSpPr>
            <a:spLocks noGrp="1"/>
          </p:cNvSpPr>
          <p:nvPr>
            <p:ph type="title"/>
          </p:nvPr>
        </p:nvSpPr>
        <p:spPr>
          <a:xfrm>
            <a:off x="524935" y="239714"/>
            <a:ext cx="9992784" cy="1085371"/>
          </a:xfrm>
        </p:spPr>
        <p:txBody>
          <a:bodyPr>
            <a:normAutofit/>
          </a:bodyPr>
          <a:lstStyle/>
          <a:p>
            <a:r>
              <a:rPr lang="en-US" dirty="0">
                <a:solidFill>
                  <a:schemeClr val="bg1"/>
                </a:solidFill>
              </a:rPr>
              <a:t>Business and operational flexibility</a:t>
            </a:r>
            <a:endParaRPr lang="en-US" sz="3600" dirty="0">
              <a:solidFill>
                <a:schemeClr val="bg1"/>
              </a:solidFill>
            </a:endParaRPr>
          </a:p>
        </p:txBody>
      </p:sp>
      <p:sp>
        <p:nvSpPr>
          <p:cNvPr id="7" name="Rektangel med rundade hörn 2"/>
          <p:cNvSpPr/>
          <p:nvPr/>
        </p:nvSpPr>
        <p:spPr bwMode="auto">
          <a:xfrm>
            <a:off x="953876" y="4179301"/>
            <a:ext cx="3718322" cy="2291200"/>
          </a:xfrm>
          <a:prstGeom prst="roundRect">
            <a:avLst>
              <a:gd name="adj" fmla="val 2170"/>
            </a:avLst>
          </a:prstGeom>
          <a:solidFill>
            <a:srgbClr val="575A5B">
              <a:alpha val="74902"/>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1" i="0" u="none" strike="noStrike" kern="0" cap="none" spc="0" normalizeH="0" baseline="0" noProof="0" dirty="0">
              <a:ln>
                <a:noFill/>
              </a:ln>
              <a:solidFill>
                <a:schemeClr val="bg1"/>
              </a:solidFill>
              <a:effectLst/>
              <a:uLnTx/>
              <a:uFillTx/>
              <a:latin typeface="Arial" charset="0"/>
            </a:endParaRPr>
          </a:p>
        </p:txBody>
      </p:sp>
      <p:sp>
        <p:nvSpPr>
          <p:cNvPr id="8" name="Rectangle 7"/>
          <p:cNvSpPr/>
          <p:nvPr/>
        </p:nvSpPr>
        <p:spPr>
          <a:xfrm>
            <a:off x="2131802" y="6155148"/>
            <a:ext cx="1237839" cy="26161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MS PGothic" pitchFamily="34" charset="-128"/>
              </a:rPr>
              <a:t>CONNECTIVITY</a:t>
            </a:r>
            <a:endParaRPr kumimoji="0" lang="en-US" sz="1100" b="1" i="0" u="none" strike="noStrike" kern="0" cap="none" spc="0" normalizeH="0" baseline="0" noProof="0" dirty="0">
              <a:ln>
                <a:noFill/>
              </a:ln>
              <a:solidFill>
                <a:schemeClr val="bg1"/>
              </a:solidFill>
              <a:effectLst/>
              <a:uLnTx/>
              <a:uFillTx/>
            </a:endParaRPr>
          </a:p>
        </p:txBody>
      </p:sp>
      <p:sp>
        <p:nvSpPr>
          <p:cNvPr id="9" name="Rectangle 8"/>
          <p:cNvSpPr/>
          <p:nvPr/>
        </p:nvSpPr>
        <p:spPr>
          <a:xfrm>
            <a:off x="2659253" y="5143297"/>
            <a:ext cx="2640330" cy="2462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DISTRIBUTION</a:t>
            </a:r>
          </a:p>
        </p:txBody>
      </p:sp>
      <p:sp>
        <p:nvSpPr>
          <p:cNvPr id="10" name="Rectangle 9"/>
          <p:cNvSpPr/>
          <p:nvPr/>
        </p:nvSpPr>
        <p:spPr>
          <a:xfrm>
            <a:off x="862016" y="6046159"/>
            <a:ext cx="1230876"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rPr>
              <a:t>ISOLATION/</a:t>
            </a:r>
            <a:br>
              <a:rPr kumimoji="0" lang="en-US" sz="1100" b="1" i="0" u="none" strike="noStrike" kern="0" cap="none" spc="0" normalizeH="0" baseline="0" noProof="0" dirty="0">
                <a:ln>
                  <a:noFill/>
                </a:ln>
                <a:solidFill>
                  <a:schemeClr val="bg1"/>
                </a:solidFill>
                <a:effectLst/>
                <a:uLnTx/>
                <a:uFillTx/>
              </a:rPr>
            </a:br>
            <a:r>
              <a:rPr kumimoji="0" lang="en-US" sz="1100" b="1" i="0" u="none" strike="noStrike" kern="0" cap="none" spc="0" normalizeH="0" baseline="0" noProof="0" dirty="0">
                <a:ln>
                  <a:noFill/>
                </a:ln>
                <a:solidFill>
                  <a:schemeClr val="bg1"/>
                </a:solidFill>
                <a:effectLst/>
                <a:uLnTx/>
                <a:uFillTx/>
              </a:rPr>
              <a:t>SHARING</a:t>
            </a:r>
          </a:p>
        </p:txBody>
      </p:sp>
      <p:cxnSp>
        <p:nvCxnSpPr>
          <p:cNvPr id="11" name="Rak 16"/>
          <p:cNvCxnSpPr/>
          <p:nvPr/>
        </p:nvCxnSpPr>
        <p:spPr bwMode="auto">
          <a:xfrm>
            <a:off x="1288588" y="5380995"/>
            <a:ext cx="3095625" cy="0"/>
          </a:xfrm>
          <a:prstGeom prst="line">
            <a:avLst/>
          </a:prstGeom>
          <a:solidFill>
            <a:schemeClr val="accent1"/>
          </a:solidFill>
          <a:ln w="6350" cap="flat" cmpd="sng" algn="ctr">
            <a:solidFill>
              <a:schemeClr val="bg1"/>
            </a:solidFill>
            <a:prstDash val="dash"/>
            <a:round/>
            <a:headEnd type="none" w="med" len="med"/>
            <a:tailEnd type="none" w="med" len="med"/>
          </a:ln>
          <a:effectLst/>
        </p:spPr>
      </p:cxnSp>
      <p:cxnSp>
        <p:nvCxnSpPr>
          <p:cNvPr id="12" name="Rak 101"/>
          <p:cNvCxnSpPr/>
          <p:nvPr/>
        </p:nvCxnSpPr>
        <p:spPr bwMode="auto">
          <a:xfrm>
            <a:off x="3423414" y="4615185"/>
            <a:ext cx="0" cy="1659048"/>
          </a:xfrm>
          <a:prstGeom prst="line">
            <a:avLst/>
          </a:prstGeom>
          <a:solidFill>
            <a:schemeClr val="accent1"/>
          </a:solidFill>
          <a:ln w="6350" cap="flat" cmpd="sng" algn="ctr">
            <a:solidFill>
              <a:schemeClr val="bg1"/>
            </a:solidFill>
            <a:prstDash val="dash"/>
            <a:round/>
            <a:headEnd type="none" w="med" len="med"/>
            <a:tailEnd type="none" w="med" len="med"/>
          </a:ln>
          <a:effectLst/>
        </p:spPr>
      </p:cxnSp>
      <p:sp>
        <p:nvSpPr>
          <p:cNvPr id="13" name="Rectangle 98"/>
          <p:cNvSpPr/>
          <p:nvPr/>
        </p:nvSpPr>
        <p:spPr>
          <a:xfrm>
            <a:off x="958984" y="5113054"/>
            <a:ext cx="1121725" cy="2462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FEATURES</a:t>
            </a:r>
          </a:p>
        </p:txBody>
      </p:sp>
      <p:sp>
        <p:nvSpPr>
          <p:cNvPr id="14" name="Rectangle 13"/>
          <p:cNvSpPr/>
          <p:nvPr/>
        </p:nvSpPr>
        <p:spPr>
          <a:xfrm>
            <a:off x="3580734" y="6148444"/>
            <a:ext cx="991204" cy="26161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rPr>
              <a:t>SCALE</a:t>
            </a:r>
          </a:p>
        </p:txBody>
      </p:sp>
      <p:cxnSp>
        <p:nvCxnSpPr>
          <p:cNvPr id="15" name="Rak 101"/>
          <p:cNvCxnSpPr/>
          <p:nvPr/>
        </p:nvCxnSpPr>
        <p:spPr bwMode="auto">
          <a:xfrm>
            <a:off x="2032882" y="4626905"/>
            <a:ext cx="0" cy="1659048"/>
          </a:xfrm>
          <a:prstGeom prst="line">
            <a:avLst/>
          </a:prstGeom>
          <a:solidFill>
            <a:schemeClr val="accent1"/>
          </a:solidFill>
          <a:ln w="6350" cap="flat" cmpd="sng" algn="ctr">
            <a:solidFill>
              <a:schemeClr val="bg1"/>
            </a:solidFill>
            <a:prstDash val="dash"/>
            <a:round/>
            <a:headEnd type="none" w="med" len="med"/>
            <a:tailEnd type="none" w="med" len="med"/>
          </a:ln>
          <a:effectLst/>
        </p:spPr>
      </p:cxnSp>
      <p:sp>
        <p:nvSpPr>
          <p:cNvPr id="16" name="Freeform 3"/>
          <p:cNvSpPr>
            <a:spLocks noChangeAspect="1" noEditPoints="1"/>
          </p:cNvSpPr>
          <p:nvPr/>
        </p:nvSpPr>
        <p:spPr bwMode="auto">
          <a:xfrm>
            <a:off x="2530312" y="5567205"/>
            <a:ext cx="440820" cy="469866"/>
          </a:xfrm>
          <a:custGeom>
            <a:avLst/>
            <a:gdLst>
              <a:gd name="T0" fmla="*/ 2147483647 w 328"/>
              <a:gd name="T1" fmla="*/ 2147483647 h 349"/>
              <a:gd name="T2" fmla="*/ 2147483647 w 328"/>
              <a:gd name="T3" fmla="*/ 2147483647 h 349"/>
              <a:gd name="T4" fmla="*/ 2147483647 w 328"/>
              <a:gd name="T5" fmla="*/ 2147483647 h 349"/>
              <a:gd name="T6" fmla="*/ 2147483647 w 328"/>
              <a:gd name="T7" fmla="*/ 2147483647 h 349"/>
              <a:gd name="T8" fmla="*/ 2147483647 w 328"/>
              <a:gd name="T9" fmla="*/ 2147483647 h 349"/>
              <a:gd name="T10" fmla="*/ 2147483647 w 328"/>
              <a:gd name="T11" fmla="*/ 2147483647 h 349"/>
              <a:gd name="T12" fmla="*/ 2147483647 w 328"/>
              <a:gd name="T13" fmla="*/ 2147483647 h 349"/>
              <a:gd name="T14" fmla="*/ 2147483647 w 328"/>
              <a:gd name="T15" fmla="*/ 2147483647 h 349"/>
              <a:gd name="T16" fmla="*/ 2147483647 w 328"/>
              <a:gd name="T17" fmla="*/ 2147483647 h 349"/>
              <a:gd name="T18" fmla="*/ 2147483647 w 328"/>
              <a:gd name="T19" fmla="*/ 2147483647 h 349"/>
              <a:gd name="T20" fmla="*/ 2147483647 w 328"/>
              <a:gd name="T21" fmla="*/ 2147483647 h 349"/>
              <a:gd name="T22" fmla="*/ 2147483647 w 328"/>
              <a:gd name="T23" fmla="*/ 2147483647 h 349"/>
              <a:gd name="T24" fmla="*/ 2147483647 w 328"/>
              <a:gd name="T25" fmla="*/ 2147483647 h 349"/>
              <a:gd name="T26" fmla="*/ 2147483647 w 328"/>
              <a:gd name="T27" fmla="*/ 2147483647 h 349"/>
              <a:gd name="T28" fmla="*/ 2147483647 w 328"/>
              <a:gd name="T29" fmla="*/ 2147483647 h 349"/>
              <a:gd name="T30" fmla="*/ 2147483647 w 328"/>
              <a:gd name="T31" fmla="*/ 2147483647 h 349"/>
              <a:gd name="T32" fmla="*/ 2147483647 w 328"/>
              <a:gd name="T33" fmla="*/ 2147483647 h 349"/>
              <a:gd name="T34" fmla="*/ 2147483647 w 328"/>
              <a:gd name="T35" fmla="*/ 2147483647 h 349"/>
              <a:gd name="T36" fmla="*/ 2147483647 w 328"/>
              <a:gd name="T37" fmla="*/ 0 h 349"/>
              <a:gd name="T38" fmla="*/ 2147483647 w 328"/>
              <a:gd name="T39" fmla="*/ 2147483647 h 349"/>
              <a:gd name="T40" fmla="*/ 2147483647 w 328"/>
              <a:gd name="T41" fmla="*/ 2147483647 h 349"/>
              <a:gd name="T42" fmla="*/ 2147483647 w 328"/>
              <a:gd name="T43" fmla="*/ 2147483647 h 349"/>
              <a:gd name="T44" fmla="*/ 2147483647 w 328"/>
              <a:gd name="T45" fmla="*/ 2147483647 h 349"/>
              <a:gd name="T46" fmla="*/ 0 w 328"/>
              <a:gd name="T47" fmla="*/ 2147483647 h 349"/>
              <a:gd name="T48" fmla="*/ 2147483647 w 328"/>
              <a:gd name="T49" fmla="*/ 2147483647 h 349"/>
              <a:gd name="T50" fmla="*/ 2147483647 w 328"/>
              <a:gd name="T51" fmla="*/ 2147483647 h 349"/>
              <a:gd name="T52" fmla="*/ 2147483647 w 328"/>
              <a:gd name="T53" fmla="*/ 2147483647 h 349"/>
              <a:gd name="T54" fmla="*/ 2147483647 w 328"/>
              <a:gd name="T55" fmla="*/ 2147483647 h 349"/>
              <a:gd name="T56" fmla="*/ 2147483647 w 328"/>
              <a:gd name="T57" fmla="*/ 2147483647 h 349"/>
              <a:gd name="T58" fmla="*/ 2147483647 w 328"/>
              <a:gd name="T59" fmla="*/ 2147483647 h 349"/>
              <a:gd name="T60" fmla="*/ 2147483647 w 328"/>
              <a:gd name="T61" fmla="*/ 2147483647 h 349"/>
              <a:gd name="T62" fmla="*/ 2147483647 w 328"/>
              <a:gd name="T63" fmla="*/ 2147483647 h 349"/>
              <a:gd name="T64" fmla="*/ 2147483647 w 328"/>
              <a:gd name="T65" fmla="*/ 2147483647 h 349"/>
              <a:gd name="T66" fmla="*/ 2147483647 w 328"/>
              <a:gd name="T67" fmla="*/ 2147483647 h 349"/>
              <a:gd name="T68" fmla="*/ 2147483647 w 328"/>
              <a:gd name="T69" fmla="*/ 2147483647 h 349"/>
              <a:gd name="T70" fmla="*/ 2147483647 w 328"/>
              <a:gd name="T71" fmla="*/ 2147483647 h 349"/>
              <a:gd name="T72" fmla="*/ 2147483647 w 328"/>
              <a:gd name="T73" fmla="*/ 2147483647 h 349"/>
              <a:gd name="T74" fmla="*/ 2147483647 w 328"/>
              <a:gd name="T75" fmla="*/ 2147483647 h 349"/>
              <a:gd name="T76" fmla="*/ 2147483647 w 328"/>
              <a:gd name="T77" fmla="*/ 2147483647 h 349"/>
              <a:gd name="T78" fmla="*/ 2147483647 w 328"/>
              <a:gd name="T79" fmla="*/ 2147483647 h 349"/>
              <a:gd name="T80" fmla="*/ 2147483647 w 328"/>
              <a:gd name="T81" fmla="*/ 2147483647 h 3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28" h="349">
                <a:moveTo>
                  <a:pt x="259" y="211"/>
                </a:moveTo>
                <a:cubicBezTo>
                  <a:pt x="236" y="211"/>
                  <a:pt x="215" y="222"/>
                  <a:pt x="203" y="240"/>
                </a:cubicBezTo>
                <a:cubicBezTo>
                  <a:pt x="133" y="201"/>
                  <a:pt x="133" y="201"/>
                  <a:pt x="133" y="201"/>
                </a:cubicBezTo>
                <a:cubicBezTo>
                  <a:pt x="137" y="193"/>
                  <a:pt x="139" y="184"/>
                  <a:pt x="139" y="175"/>
                </a:cubicBezTo>
                <a:cubicBezTo>
                  <a:pt x="139" y="166"/>
                  <a:pt x="137" y="157"/>
                  <a:pt x="134" y="149"/>
                </a:cubicBezTo>
                <a:cubicBezTo>
                  <a:pt x="204" y="111"/>
                  <a:pt x="204" y="111"/>
                  <a:pt x="204" y="111"/>
                </a:cubicBezTo>
                <a:cubicBezTo>
                  <a:pt x="217" y="127"/>
                  <a:pt x="237" y="138"/>
                  <a:pt x="259" y="138"/>
                </a:cubicBezTo>
                <a:cubicBezTo>
                  <a:pt x="297" y="138"/>
                  <a:pt x="328" y="107"/>
                  <a:pt x="328" y="69"/>
                </a:cubicBezTo>
                <a:cubicBezTo>
                  <a:pt x="328" y="57"/>
                  <a:pt x="325" y="45"/>
                  <a:pt x="319" y="34"/>
                </a:cubicBezTo>
                <a:cubicBezTo>
                  <a:pt x="317" y="31"/>
                  <a:pt x="312" y="29"/>
                  <a:pt x="308" y="31"/>
                </a:cubicBezTo>
                <a:cubicBezTo>
                  <a:pt x="304" y="34"/>
                  <a:pt x="303" y="39"/>
                  <a:pt x="305" y="42"/>
                </a:cubicBezTo>
                <a:cubicBezTo>
                  <a:pt x="310" y="50"/>
                  <a:pt x="312" y="60"/>
                  <a:pt x="312" y="69"/>
                </a:cubicBezTo>
                <a:cubicBezTo>
                  <a:pt x="312" y="98"/>
                  <a:pt x="288" y="122"/>
                  <a:pt x="259" y="122"/>
                </a:cubicBezTo>
                <a:cubicBezTo>
                  <a:pt x="230" y="122"/>
                  <a:pt x="206" y="98"/>
                  <a:pt x="206" y="69"/>
                </a:cubicBezTo>
                <a:cubicBezTo>
                  <a:pt x="206" y="40"/>
                  <a:pt x="230" y="16"/>
                  <a:pt x="259" y="16"/>
                </a:cubicBezTo>
                <a:cubicBezTo>
                  <a:pt x="268" y="16"/>
                  <a:pt x="278" y="18"/>
                  <a:pt x="286" y="23"/>
                </a:cubicBezTo>
                <a:cubicBezTo>
                  <a:pt x="289" y="25"/>
                  <a:pt x="294" y="24"/>
                  <a:pt x="296" y="20"/>
                </a:cubicBezTo>
                <a:cubicBezTo>
                  <a:pt x="299" y="16"/>
                  <a:pt x="297" y="11"/>
                  <a:pt x="294" y="9"/>
                </a:cubicBezTo>
                <a:cubicBezTo>
                  <a:pt x="283" y="3"/>
                  <a:pt x="271" y="0"/>
                  <a:pt x="259" y="0"/>
                </a:cubicBezTo>
                <a:cubicBezTo>
                  <a:pt x="221" y="0"/>
                  <a:pt x="190" y="31"/>
                  <a:pt x="190" y="69"/>
                </a:cubicBezTo>
                <a:cubicBezTo>
                  <a:pt x="190" y="79"/>
                  <a:pt x="192" y="89"/>
                  <a:pt x="196" y="97"/>
                </a:cubicBezTo>
                <a:cubicBezTo>
                  <a:pt x="126" y="135"/>
                  <a:pt x="126" y="135"/>
                  <a:pt x="126" y="135"/>
                </a:cubicBezTo>
                <a:cubicBezTo>
                  <a:pt x="113" y="117"/>
                  <a:pt x="93" y="105"/>
                  <a:pt x="69" y="105"/>
                </a:cubicBezTo>
                <a:cubicBezTo>
                  <a:pt x="31" y="105"/>
                  <a:pt x="0" y="136"/>
                  <a:pt x="0" y="175"/>
                </a:cubicBezTo>
                <a:cubicBezTo>
                  <a:pt x="0" y="213"/>
                  <a:pt x="31" y="244"/>
                  <a:pt x="69" y="244"/>
                </a:cubicBezTo>
                <a:cubicBezTo>
                  <a:pt x="92" y="244"/>
                  <a:pt x="113" y="232"/>
                  <a:pt x="125" y="215"/>
                </a:cubicBezTo>
                <a:cubicBezTo>
                  <a:pt x="195" y="254"/>
                  <a:pt x="195" y="254"/>
                  <a:pt x="195" y="254"/>
                </a:cubicBezTo>
                <a:cubicBezTo>
                  <a:pt x="192" y="262"/>
                  <a:pt x="190" y="271"/>
                  <a:pt x="190" y="280"/>
                </a:cubicBezTo>
                <a:cubicBezTo>
                  <a:pt x="190" y="318"/>
                  <a:pt x="221" y="349"/>
                  <a:pt x="259" y="349"/>
                </a:cubicBezTo>
                <a:cubicBezTo>
                  <a:pt x="297" y="349"/>
                  <a:pt x="328" y="318"/>
                  <a:pt x="328" y="280"/>
                </a:cubicBezTo>
                <a:cubicBezTo>
                  <a:pt x="328" y="242"/>
                  <a:pt x="297" y="211"/>
                  <a:pt x="259" y="211"/>
                </a:cubicBezTo>
                <a:close/>
                <a:moveTo>
                  <a:pt x="69" y="228"/>
                </a:moveTo>
                <a:cubicBezTo>
                  <a:pt x="40" y="228"/>
                  <a:pt x="16" y="204"/>
                  <a:pt x="16" y="175"/>
                </a:cubicBezTo>
                <a:cubicBezTo>
                  <a:pt x="16" y="145"/>
                  <a:pt x="40" y="121"/>
                  <a:pt x="69" y="121"/>
                </a:cubicBezTo>
                <a:cubicBezTo>
                  <a:pt x="99" y="121"/>
                  <a:pt x="123" y="145"/>
                  <a:pt x="123" y="175"/>
                </a:cubicBezTo>
                <a:cubicBezTo>
                  <a:pt x="123" y="204"/>
                  <a:pt x="99" y="228"/>
                  <a:pt x="69" y="228"/>
                </a:cubicBezTo>
                <a:close/>
                <a:moveTo>
                  <a:pt x="259" y="333"/>
                </a:moveTo>
                <a:cubicBezTo>
                  <a:pt x="230" y="333"/>
                  <a:pt x="206" y="310"/>
                  <a:pt x="206" y="280"/>
                </a:cubicBezTo>
                <a:cubicBezTo>
                  <a:pt x="206" y="251"/>
                  <a:pt x="230" y="227"/>
                  <a:pt x="259" y="227"/>
                </a:cubicBezTo>
                <a:cubicBezTo>
                  <a:pt x="288" y="227"/>
                  <a:pt x="312" y="251"/>
                  <a:pt x="312" y="280"/>
                </a:cubicBezTo>
                <a:cubicBezTo>
                  <a:pt x="312" y="310"/>
                  <a:pt x="288" y="333"/>
                  <a:pt x="259" y="333"/>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7" name="Freeform 3"/>
          <p:cNvSpPr>
            <a:spLocks noChangeAspect="1" noEditPoints="1"/>
          </p:cNvSpPr>
          <p:nvPr/>
        </p:nvSpPr>
        <p:spPr bwMode="auto">
          <a:xfrm>
            <a:off x="3811107" y="4538416"/>
            <a:ext cx="464653" cy="521517"/>
          </a:xfrm>
          <a:custGeom>
            <a:avLst/>
            <a:gdLst>
              <a:gd name="T0" fmla="*/ 2147483647 w 384"/>
              <a:gd name="T1" fmla="*/ 2147483647 h 431"/>
              <a:gd name="T2" fmla="*/ 2147483647 w 384"/>
              <a:gd name="T3" fmla="*/ 2147483647 h 431"/>
              <a:gd name="T4" fmla="*/ 2147483647 w 384"/>
              <a:gd name="T5" fmla="*/ 2147483647 h 431"/>
              <a:gd name="T6" fmla="*/ 2147483647 w 384"/>
              <a:gd name="T7" fmla="*/ 2147483647 h 431"/>
              <a:gd name="T8" fmla="*/ 2147483647 w 384"/>
              <a:gd name="T9" fmla="*/ 2147483647 h 431"/>
              <a:gd name="T10" fmla="*/ 2147483647 w 384"/>
              <a:gd name="T11" fmla="*/ 2147483647 h 431"/>
              <a:gd name="T12" fmla="*/ 2147483647 w 384"/>
              <a:gd name="T13" fmla="*/ 2147483647 h 431"/>
              <a:gd name="T14" fmla="*/ 2147483647 w 384"/>
              <a:gd name="T15" fmla="*/ 2147483647 h 431"/>
              <a:gd name="T16" fmla="*/ 2147483647 w 384"/>
              <a:gd name="T17" fmla="*/ 2147483647 h 431"/>
              <a:gd name="T18" fmla="*/ 2147483647 w 384"/>
              <a:gd name="T19" fmla="*/ 2147483647 h 431"/>
              <a:gd name="T20" fmla="*/ 2147483647 w 384"/>
              <a:gd name="T21" fmla="*/ 2147483647 h 431"/>
              <a:gd name="T22" fmla="*/ 2147483647 w 384"/>
              <a:gd name="T23" fmla="*/ 2147483647 h 431"/>
              <a:gd name="T24" fmla="*/ 2147483647 w 384"/>
              <a:gd name="T25" fmla="*/ 2147483647 h 431"/>
              <a:gd name="T26" fmla="*/ 2147483647 w 384"/>
              <a:gd name="T27" fmla="*/ 2147483647 h 431"/>
              <a:gd name="T28" fmla="*/ 2147483647 w 384"/>
              <a:gd name="T29" fmla="*/ 2147483647 h 431"/>
              <a:gd name="T30" fmla="*/ 2147483647 w 384"/>
              <a:gd name="T31" fmla="*/ 2147483647 h 431"/>
              <a:gd name="T32" fmla="*/ 2147483647 w 384"/>
              <a:gd name="T33" fmla="*/ 2147483647 h 431"/>
              <a:gd name="T34" fmla="*/ 2147483647 w 384"/>
              <a:gd name="T35" fmla="*/ 2147483647 h 431"/>
              <a:gd name="T36" fmla="*/ 2147483647 w 384"/>
              <a:gd name="T37" fmla="*/ 2147483647 h 431"/>
              <a:gd name="T38" fmla="*/ 2147483647 w 384"/>
              <a:gd name="T39" fmla="*/ 2147483647 h 431"/>
              <a:gd name="T40" fmla="*/ 2147483647 w 384"/>
              <a:gd name="T41" fmla="*/ 0 h 431"/>
              <a:gd name="T42" fmla="*/ 2147483647 w 384"/>
              <a:gd name="T43" fmla="*/ 2147483647 h 431"/>
              <a:gd name="T44" fmla="*/ 2147483647 w 384"/>
              <a:gd name="T45" fmla="*/ 2147483647 h 431"/>
              <a:gd name="T46" fmla="*/ 2147483647 w 384"/>
              <a:gd name="T47" fmla="*/ 2147483647 h 431"/>
              <a:gd name="T48" fmla="*/ 2147483647 w 384"/>
              <a:gd name="T49" fmla="*/ 2147483647 h 431"/>
              <a:gd name="T50" fmla="*/ 2147483647 w 384"/>
              <a:gd name="T51" fmla="*/ 2147483647 h 431"/>
              <a:gd name="T52" fmla="*/ 2147483647 w 384"/>
              <a:gd name="T53" fmla="*/ 2147483647 h 431"/>
              <a:gd name="T54" fmla="*/ 2147483647 w 384"/>
              <a:gd name="T55" fmla="*/ 2147483647 h 431"/>
              <a:gd name="T56" fmla="*/ 2147483647 w 384"/>
              <a:gd name="T57" fmla="*/ 2147483647 h 431"/>
              <a:gd name="T58" fmla="*/ 2147483647 w 384"/>
              <a:gd name="T59" fmla="*/ 2147483647 h 431"/>
              <a:gd name="T60" fmla="*/ 2147483647 w 384"/>
              <a:gd name="T61" fmla="*/ 2147483647 h 431"/>
              <a:gd name="T62" fmla="*/ 2147483647 w 384"/>
              <a:gd name="T63" fmla="*/ 2147483647 h 431"/>
              <a:gd name="T64" fmla="*/ 2147483647 w 384"/>
              <a:gd name="T65" fmla="*/ 2147483647 h 431"/>
              <a:gd name="T66" fmla="*/ 2147483647 w 384"/>
              <a:gd name="T67" fmla="*/ 2147483647 h 431"/>
              <a:gd name="T68" fmla="*/ 2147483647 w 384"/>
              <a:gd name="T69" fmla="*/ 2147483647 h 431"/>
              <a:gd name="T70" fmla="*/ 2147483647 w 384"/>
              <a:gd name="T71" fmla="*/ 2147483647 h 431"/>
              <a:gd name="T72" fmla="*/ 2147483647 w 384"/>
              <a:gd name="T73" fmla="*/ 2147483647 h 431"/>
              <a:gd name="T74" fmla="*/ 2147483647 w 384"/>
              <a:gd name="T75" fmla="*/ 2147483647 h 431"/>
              <a:gd name="T76" fmla="*/ 2147483647 w 384"/>
              <a:gd name="T77" fmla="*/ 2147483647 h 431"/>
              <a:gd name="T78" fmla="*/ 2147483647 w 384"/>
              <a:gd name="T79" fmla="*/ 2147483647 h 431"/>
              <a:gd name="T80" fmla="*/ 2147483647 w 384"/>
              <a:gd name="T81" fmla="*/ 2147483647 h 431"/>
              <a:gd name="T82" fmla="*/ 2147483647 w 384"/>
              <a:gd name="T83" fmla="*/ 2147483647 h 431"/>
              <a:gd name="T84" fmla="*/ 2147483647 w 384"/>
              <a:gd name="T85" fmla="*/ 2147483647 h 431"/>
              <a:gd name="T86" fmla="*/ 2147483647 w 384"/>
              <a:gd name="T87" fmla="*/ 2147483647 h 431"/>
              <a:gd name="T88" fmla="*/ 2147483647 w 384"/>
              <a:gd name="T89" fmla="*/ 2147483647 h 431"/>
              <a:gd name="T90" fmla="*/ 2147483647 w 384"/>
              <a:gd name="T91" fmla="*/ 2147483647 h 431"/>
              <a:gd name="T92" fmla="*/ 2147483647 w 384"/>
              <a:gd name="T93" fmla="*/ 2147483647 h 431"/>
              <a:gd name="T94" fmla="*/ 2147483647 w 384"/>
              <a:gd name="T95" fmla="*/ 2147483647 h 431"/>
              <a:gd name="T96" fmla="*/ 2147483647 w 384"/>
              <a:gd name="T97" fmla="*/ 2147483647 h 431"/>
              <a:gd name="T98" fmla="*/ 2147483647 w 384"/>
              <a:gd name="T99" fmla="*/ 2147483647 h 431"/>
              <a:gd name="T100" fmla="*/ 2147483647 w 384"/>
              <a:gd name="T101" fmla="*/ 2147483647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84" h="431">
                <a:moveTo>
                  <a:pt x="274" y="177"/>
                </a:moveTo>
                <a:cubicBezTo>
                  <a:pt x="275" y="177"/>
                  <a:pt x="276" y="177"/>
                  <a:pt x="278" y="176"/>
                </a:cubicBezTo>
                <a:cubicBezTo>
                  <a:pt x="315" y="154"/>
                  <a:pt x="315" y="154"/>
                  <a:pt x="315" y="154"/>
                </a:cubicBezTo>
                <a:cubicBezTo>
                  <a:pt x="322" y="162"/>
                  <a:pt x="333" y="167"/>
                  <a:pt x="345" y="167"/>
                </a:cubicBezTo>
                <a:cubicBezTo>
                  <a:pt x="366" y="167"/>
                  <a:pt x="384" y="150"/>
                  <a:pt x="384" y="128"/>
                </a:cubicBezTo>
                <a:cubicBezTo>
                  <a:pt x="384" y="106"/>
                  <a:pt x="366" y="88"/>
                  <a:pt x="345" y="88"/>
                </a:cubicBezTo>
                <a:cubicBezTo>
                  <a:pt x="323" y="88"/>
                  <a:pt x="305" y="106"/>
                  <a:pt x="305" y="128"/>
                </a:cubicBezTo>
                <a:cubicBezTo>
                  <a:pt x="305" y="132"/>
                  <a:pt x="306" y="137"/>
                  <a:pt x="307" y="141"/>
                </a:cubicBezTo>
                <a:cubicBezTo>
                  <a:pt x="270" y="162"/>
                  <a:pt x="270" y="162"/>
                  <a:pt x="270" y="162"/>
                </a:cubicBezTo>
                <a:cubicBezTo>
                  <a:pt x="266" y="164"/>
                  <a:pt x="265" y="169"/>
                  <a:pt x="267" y="173"/>
                </a:cubicBezTo>
                <a:cubicBezTo>
                  <a:pt x="268" y="176"/>
                  <a:pt x="271" y="177"/>
                  <a:pt x="274" y="177"/>
                </a:cubicBezTo>
                <a:close/>
                <a:moveTo>
                  <a:pt x="345" y="104"/>
                </a:moveTo>
                <a:cubicBezTo>
                  <a:pt x="358" y="104"/>
                  <a:pt x="368" y="115"/>
                  <a:pt x="368" y="128"/>
                </a:cubicBezTo>
                <a:cubicBezTo>
                  <a:pt x="368" y="141"/>
                  <a:pt x="358" y="151"/>
                  <a:pt x="345" y="151"/>
                </a:cubicBezTo>
                <a:cubicBezTo>
                  <a:pt x="332" y="151"/>
                  <a:pt x="321" y="141"/>
                  <a:pt x="321" y="128"/>
                </a:cubicBezTo>
                <a:cubicBezTo>
                  <a:pt x="321" y="115"/>
                  <a:pt x="332" y="104"/>
                  <a:pt x="345" y="104"/>
                </a:cubicBezTo>
                <a:close/>
                <a:moveTo>
                  <a:pt x="345" y="264"/>
                </a:moveTo>
                <a:cubicBezTo>
                  <a:pt x="333" y="264"/>
                  <a:pt x="322" y="269"/>
                  <a:pt x="315" y="277"/>
                </a:cubicBezTo>
                <a:cubicBezTo>
                  <a:pt x="264" y="248"/>
                  <a:pt x="264" y="248"/>
                  <a:pt x="264" y="248"/>
                </a:cubicBezTo>
                <a:cubicBezTo>
                  <a:pt x="268" y="238"/>
                  <a:pt x="270" y="228"/>
                  <a:pt x="270" y="218"/>
                </a:cubicBezTo>
                <a:cubicBezTo>
                  <a:pt x="271" y="210"/>
                  <a:pt x="269" y="202"/>
                  <a:pt x="267" y="194"/>
                </a:cubicBezTo>
                <a:cubicBezTo>
                  <a:pt x="266" y="189"/>
                  <a:pt x="261" y="187"/>
                  <a:pt x="257" y="188"/>
                </a:cubicBezTo>
                <a:cubicBezTo>
                  <a:pt x="253" y="189"/>
                  <a:pt x="251" y="194"/>
                  <a:pt x="252" y="198"/>
                </a:cubicBezTo>
                <a:cubicBezTo>
                  <a:pt x="254" y="204"/>
                  <a:pt x="255" y="211"/>
                  <a:pt x="254" y="217"/>
                </a:cubicBezTo>
                <a:cubicBezTo>
                  <a:pt x="254" y="228"/>
                  <a:pt x="251" y="238"/>
                  <a:pt x="246" y="247"/>
                </a:cubicBezTo>
                <a:cubicBezTo>
                  <a:pt x="246" y="247"/>
                  <a:pt x="246" y="247"/>
                  <a:pt x="246" y="247"/>
                </a:cubicBezTo>
                <a:cubicBezTo>
                  <a:pt x="246" y="247"/>
                  <a:pt x="246" y="247"/>
                  <a:pt x="246" y="247"/>
                </a:cubicBezTo>
                <a:cubicBezTo>
                  <a:pt x="243" y="252"/>
                  <a:pt x="239" y="257"/>
                  <a:pt x="235" y="261"/>
                </a:cubicBezTo>
                <a:cubicBezTo>
                  <a:pt x="223" y="272"/>
                  <a:pt x="207" y="278"/>
                  <a:pt x="191" y="278"/>
                </a:cubicBezTo>
                <a:cubicBezTo>
                  <a:pt x="156" y="277"/>
                  <a:pt x="129" y="248"/>
                  <a:pt x="130" y="214"/>
                </a:cubicBezTo>
                <a:cubicBezTo>
                  <a:pt x="130" y="204"/>
                  <a:pt x="133" y="194"/>
                  <a:pt x="138" y="185"/>
                </a:cubicBezTo>
                <a:cubicBezTo>
                  <a:pt x="138" y="185"/>
                  <a:pt x="138" y="185"/>
                  <a:pt x="138" y="185"/>
                </a:cubicBezTo>
                <a:cubicBezTo>
                  <a:pt x="138" y="185"/>
                  <a:pt x="138" y="185"/>
                  <a:pt x="138" y="185"/>
                </a:cubicBezTo>
                <a:cubicBezTo>
                  <a:pt x="141" y="180"/>
                  <a:pt x="145" y="175"/>
                  <a:pt x="149" y="171"/>
                </a:cubicBezTo>
                <a:cubicBezTo>
                  <a:pt x="162" y="159"/>
                  <a:pt x="177" y="153"/>
                  <a:pt x="194" y="154"/>
                </a:cubicBezTo>
                <a:cubicBezTo>
                  <a:pt x="211" y="154"/>
                  <a:pt x="226" y="161"/>
                  <a:pt x="238" y="174"/>
                </a:cubicBezTo>
                <a:cubicBezTo>
                  <a:pt x="241" y="177"/>
                  <a:pt x="246" y="177"/>
                  <a:pt x="249" y="174"/>
                </a:cubicBezTo>
                <a:cubicBezTo>
                  <a:pt x="252" y="171"/>
                  <a:pt x="253" y="166"/>
                  <a:pt x="250" y="163"/>
                </a:cubicBezTo>
                <a:cubicBezTo>
                  <a:pt x="237" y="149"/>
                  <a:pt x="219" y="140"/>
                  <a:pt x="200" y="138"/>
                </a:cubicBezTo>
                <a:cubicBezTo>
                  <a:pt x="200" y="79"/>
                  <a:pt x="200" y="79"/>
                  <a:pt x="200" y="79"/>
                </a:cubicBezTo>
                <a:cubicBezTo>
                  <a:pt x="218" y="75"/>
                  <a:pt x="232" y="59"/>
                  <a:pt x="232" y="40"/>
                </a:cubicBezTo>
                <a:cubicBezTo>
                  <a:pt x="232" y="18"/>
                  <a:pt x="214" y="0"/>
                  <a:pt x="192" y="0"/>
                </a:cubicBezTo>
                <a:cubicBezTo>
                  <a:pt x="170" y="0"/>
                  <a:pt x="153" y="18"/>
                  <a:pt x="153" y="40"/>
                </a:cubicBezTo>
                <a:cubicBezTo>
                  <a:pt x="153" y="59"/>
                  <a:pt x="166" y="75"/>
                  <a:pt x="184" y="79"/>
                </a:cubicBezTo>
                <a:cubicBezTo>
                  <a:pt x="184" y="138"/>
                  <a:pt x="184" y="138"/>
                  <a:pt x="184" y="138"/>
                </a:cubicBezTo>
                <a:cubicBezTo>
                  <a:pt x="167" y="140"/>
                  <a:pt x="151" y="147"/>
                  <a:pt x="138" y="159"/>
                </a:cubicBezTo>
                <a:cubicBezTo>
                  <a:pt x="135" y="162"/>
                  <a:pt x="132" y="166"/>
                  <a:pt x="129" y="170"/>
                </a:cubicBezTo>
                <a:cubicBezTo>
                  <a:pt x="77" y="141"/>
                  <a:pt x="77" y="141"/>
                  <a:pt x="77" y="141"/>
                </a:cubicBezTo>
                <a:cubicBezTo>
                  <a:pt x="79" y="137"/>
                  <a:pt x="79" y="132"/>
                  <a:pt x="79" y="128"/>
                </a:cubicBezTo>
                <a:cubicBezTo>
                  <a:pt x="79" y="106"/>
                  <a:pt x="62" y="88"/>
                  <a:pt x="40" y="88"/>
                </a:cubicBezTo>
                <a:cubicBezTo>
                  <a:pt x="18" y="88"/>
                  <a:pt x="0" y="106"/>
                  <a:pt x="0" y="128"/>
                </a:cubicBezTo>
                <a:cubicBezTo>
                  <a:pt x="0" y="150"/>
                  <a:pt x="18" y="167"/>
                  <a:pt x="40" y="167"/>
                </a:cubicBezTo>
                <a:cubicBezTo>
                  <a:pt x="51" y="167"/>
                  <a:pt x="62" y="162"/>
                  <a:pt x="69" y="154"/>
                </a:cubicBezTo>
                <a:cubicBezTo>
                  <a:pt x="121" y="184"/>
                  <a:pt x="121" y="184"/>
                  <a:pt x="121" y="184"/>
                </a:cubicBezTo>
                <a:cubicBezTo>
                  <a:pt x="117" y="193"/>
                  <a:pt x="114" y="203"/>
                  <a:pt x="114" y="214"/>
                </a:cubicBezTo>
                <a:cubicBezTo>
                  <a:pt x="114" y="226"/>
                  <a:pt x="116" y="237"/>
                  <a:pt x="121" y="248"/>
                </a:cubicBezTo>
                <a:cubicBezTo>
                  <a:pt x="69" y="277"/>
                  <a:pt x="69" y="277"/>
                  <a:pt x="69" y="277"/>
                </a:cubicBezTo>
                <a:cubicBezTo>
                  <a:pt x="62" y="269"/>
                  <a:pt x="51" y="264"/>
                  <a:pt x="40" y="264"/>
                </a:cubicBezTo>
                <a:cubicBezTo>
                  <a:pt x="18" y="264"/>
                  <a:pt x="0" y="282"/>
                  <a:pt x="0" y="304"/>
                </a:cubicBezTo>
                <a:cubicBezTo>
                  <a:pt x="0" y="326"/>
                  <a:pt x="18" y="343"/>
                  <a:pt x="40" y="343"/>
                </a:cubicBezTo>
                <a:cubicBezTo>
                  <a:pt x="62" y="343"/>
                  <a:pt x="79" y="326"/>
                  <a:pt x="79" y="304"/>
                </a:cubicBezTo>
                <a:cubicBezTo>
                  <a:pt x="79" y="299"/>
                  <a:pt x="79" y="295"/>
                  <a:pt x="77" y="291"/>
                </a:cubicBezTo>
                <a:cubicBezTo>
                  <a:pt x="129" y="262"/>
                  <a:pt x="129" y="262"/>
                  <a:pt x="129" y="262"/>
                </a:cubicBezTo>
                <a:cubicBezTo>
                  <a:pt x="142" y="279"/>
                  <a:pt x="161" y="291"/>
                  <a:pt x="184" y="293"/>
                </a:cubicBezTo>
                <a:cubicBezTo>
                  <a:pt x="184" y="353"/>
                  <a:pt x="184" y="353"/>
                  <a:pt x="184" y="353"/>
                </a:cubicBezTo>
                <a:cubicBezTo>
                  <a:pt x="166" y="357"/>
                  <a:pt x="153" y="373"/>
                  <a:pt x="153" y="392"/>
                </a:cubicBezTo>
                <a:cubicBezTo>
                  <a:pt x="153" y="414"/>
                  <a:pt x="170" y="431"/>
                  <a:pt x="192" y="431"/>
                </a:cubicBezTo>
                <a:cubicBezTo>
                  <a:pt x="214" y="431"/>
                  <a:pt x="232" y="414"/>
                  <a:pt x="232" y="392"/>
                </a:cubicBezTo>
                <a:cubicBezTo>
                  <a:pt x="232" y="373"/>
                  <a:pt x="218" y="357"/>
                  <a:pt x="200" y="353"/>
                </a:cubicBezTo>
                <a:cubicBezTo>
                  <a:pt x="200" y="294"/>
                  <a:pt x="200" y="294"/>
                  <a:pt x="200" y="294"/>
                </a:cubicBezTo>
                <a:cubicBezTo>
                  <a:pt x="217" y="292"/>
                  <a:pt x="233" y="285"/>
                  <a:pt x="246" y="273"/>
                </a:cubicBezTo>
                <a:cubicBezTo>
                  <a:pt x="250" y="269"/>
                  <a:pt x="253" y="265"/>
                  <a:pt x="256" y="262"/>
                </a:cubicBezTo>
                <a:cubicBezTo>
                  <a:pt x="307" y="291"/>
                  <a:pt x="307" y="291"/>
                  <a:pt x="307" y="291"/>
                </a:cubicBezTo>
                <a:cubicBezTo>
                  <a:pt x="306" y="295"/>
                  <a:pt x="305" y="299"/>
                  <a:pt x="305" y="304"/>
                </a:cubicBezTo>
                <a:cubicBezTo>
                  <a:pt x="305" y="326"/>
                  <a:pt x="323" y="343"/>
                  <a:pt x="345" y="343"/>
                </a:cubicBezTo>
                <a:cubicBezTo>
                  <a:pt x="366" y="343"/>
                  <a:pt x="384" y="326"/>
                  <a:pt x="384" y="304"/>
                </a:cubicBezTo>
                <a:cubicBezTo>
                  <a:pt x="384" y="282"/>
                  <a:pt x="366" y="264"/>
                  <a:pt x="345" y="264"/>
                </a:cubicBezTo>
                <a:close/>
                <a:moveTo>
                  <a:pt x="169" y="40"/>
                </a:moveTo>
                <a:cubicBezTo>
                  <a:pt x="169" y="27"/>
                  <a:pt x="179" y="16"/>
                  <a:pt x="192" y="16"/>
                </a:cubicBezTo>
                <a:cubicBezTo>
                  <a:pt x="205" y="16"/>
                  <a:pt x="216" y="27"/>
                  <a:pt x="216" y="40"/>
                </a:cubicBezTo>
                <a:cubicBezTo>
                  <a:pt x="216" y="53"/>
                  <a:pt x="205" y="64"/>
                  <a:pt x="192" y="64"/>
                </a:cubicBezTo>
                <a:cubicBezTo>
                  <a:pt x="179" y="64"/>
                  <a:pt x="169" y="53"/>
                  <a:pt x="169" y="40"/>
                </a:cubicBezTo>
                <a:close/>
                <a:moveTo>
                  <a:pt x="40" y="151"/>
                </a:moveTo>
                <a:cubicBezTo>
                  <a:pt x="27" y="151"/>
                  <a:pt x="16" y="141"/>
                  <a:pt x="16" y="128"/>
                </a:cubicBezTo>
                <a:cubicBezTo>
                  <a:pt x="16" y="115"/>
                  <a:pt x="27" y="104"/>
                  <a:pt x="40" y="104"/>
                </a:cubicBezTo>
                <a:cubicBezTo>
                  <a:pt x="53" y="104"/>
                  <a:pt x="63" y="115"/>
                  <a:pt x="63" y="128"/>
                </a:cubicBezTo>
                <a:cubicBezTo>
                  <a:pt x="63" y="141"/>
                  <a:pt x="53" y="151"/>
                  <a:pt x="40" y="151"/>
                </a:cubicBezTo>
                <a:close/>
                <a:moveTo>
                  <a:pt x="40" y="327"/>
                </a:moveTo>
                <a:cubicBezTo>
                  <a:pt x="27" y="327"/>
                  <a:pt x="16" y="317"/>
                  <a:pt x="16" y="304"/>
                </a:cubicBezTo>
                <a:cubicBezTo>
                  <a:pt x="16" y="291"/>
                  <a:pt x="27" y="280"/>
                  <a:pt x="40" y="280"/>
                </a:cubicBezTo>
                <a:cubicBezTo>
                  <a:pt x="53" y="280"/>
                  <a:pt x="63" y="291"/>
                  <a:pt x="63" y="304"/>
                </a:cubicBezTo>
                <a:cubicBezTo>
                  <a:pt x="63" y="317"/>
                  <a:pt x="53" y="327"/>
                  <a:pt x="40" y="327"/>
                </a:cubicBezTo>
                <a:close/>
                <a:moveTo>
                  <a:pt x="216" y="392"/>
                </a:moveTo>
                <a:cubicBezTo>
                  <a:pt x="216" y="405"/>
                  <a:pt x="205" y="415"/>
                  <a:pt x="192" y="415"/>
                </a:cubicBezTo>
                <a:cubicBezTo>
                  <a:pt x="179" y="415"/>
                  <a:pt x="169" y="405"/>
                  <a:pt x="169" y="392"/>
                </a:cubicBezTo>
                <a:cubicBezTo>
                  <a:pt x="169" y="379"/>
                  <a:pt x="179" y="368"/>
                  <a:pt x="192" y="368"/>
                </a:cubicBezTo>
                <a:cubicBezTo>
                  <a:pt x="205" y="368"/>
                  <a:pt x="216" y="379"/>
                  <a:pt x="216" y="392"/>
                </a:cubicBezTo>
                <a:close/>
                <a:moveTo>
                  <a:pt x="345" y="327"/>
                </a:moveTo>
                <a:cubicBezTo>
                  <a:pt x="332" y="327"/>
                  <a:pt x="321" y="317"/>
                  <a:pt x="321" y="304"/>
                </a:cubicBezTo>
                <a:cubicBezTo>
                  <a:pt x="321" y="291"/>
                  <a:pt x="332" y="280"/>
                  <a:pt x="345" y="280"/>
                </a:cubicBezTo>
                <a:cubicBezTo>
                  <a:pt x="358" y="280"/>
                  <a:pt x="368" y="291"/>
                  <a:pt x="368" y="304"/>
                </a:cubicBezTo>
                <a:cubicBezTo>
                  <a:pt x="368" y="317"/>
                  <a:pt x="358" y="327"/>
                  <a:pt x="345" y="327"/>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8" name="Freeform 3"/>
          <p:cNvSpPr>
            <a:spLocks noEditPoints="1"/>
          </p:cNvSpPr>
          <p:nvPr/>
        </p:nvSpPr>
        <p:spPr bwMode="auto">
          <a:xfrm rot="5400000">
            <a:off x="1377332" y="5510389"/>
            <a:ext cx="285027" cy="690623"/>
          </a:xfrm>
          <a:custGeom>
            <a:avLst/>
            <a:gdLst>
              <a:gd name="T0" fmla="*/ 2147483647 w 268"/>
              <a:gd name="T1" fmla="*/ 2147483647 h 411"/>
              <a:gd name="T2" fmla="*/ 2147483647 w 268"/>
              <a:gd name="T3" fmla="*/ 2147483647 h 411"/>
              <a:gd name="T4" fmla="*/ 2147483647 w 268"/>
              <a:gd name="T5" fmla="*/ 2147483647 h 411"/>
              <a:gd name="T6" fmla="*/ 2147483647 w 268"/>
              <a:gd name="T7" fmla="*/ 2147483647 h 411"/>
              <a:gd name="T8" fmla="*/ 2147483647 w 268"/>
              <a:gd name="T9" fmla="*/ 2147483647 h 411"/>
              <a:gd name="T10" fmla="*/ 2147483647 w 268"/>
              <a:gd name="T11" fmla="*/ 2147483647 h 411"/>
              <a:gd name="T12" fmla="*/ 2147483647 w 268"/>
              <a:gd name="T13" fmla="*/ 2147483647 h 411"/>
              <a:gd name="T14" fmla="*/ 2147483647 w 268"/>
              <a:gd name="T15" fmla="*/ 2147483647 h 411"/>
              <a:gd name="T16" fmla="*/ 2147483647 w 268"/>
              <a:gd name="T17" fmla="*/ 2147483647 h 411"/>
              <a:gd name="T18" fmla="*/ 2147483647 w 268"/>
              <a:gd name="T19" fmla="*/ 2147483647 h 411"/>
              <a:gd name="T20" fmla="*/ 2147483647 w 268"/>
              <a:gd name="T21" fmla="*/ 2147483647 h 411"/>
              <a:gd name="T22" fmla="*/ 2147483647 w 268"/>
              <a:gd name="T23" fmla="*/ 2147483647 h 411"/>
              <a:gd name="T24" fmla="*/ 2147483647 w 268"/>
              <a:gd name="T25" fmla="*/ 2147483647 h 411"/>
              <a:gd name="T26" fmla="*/ 2147483647 w 268"/>
              <a:gd name="T27" fmla="*/ 2147483647 h 411"/>
              <a:gd name="T28" fmla="*/ 2147483647 w 268"/>
              <a:gd name="T29" fmla="*/ 2147483647 h 411"/>
              <a:gd name="T30" fmla="*/ 2147483647 w 268"/>
              <a:gd name="T31" fmla="*/ 2147483647 h 411"/>
              <a:gd name="T32" fmla="*/ 2147483647 w 268"/>
              <a:gd name="T33" fmla="*/ 2147483647 h 411"/>
              <a:gd name="T34" fmla="*/ 2147483647 w 268"/>
              <a:gd name="T35" fmla="*/ 2147483647 h 411"/>
              <a:gd name="T36" fmla="*/ 2147483647 w 268"/>
              <a:gd name="T37" fmla="*/ 2147483647 h 411"/>
              <a:gd name="T38" fmla="*/ 2147483647 w 268"/>
              <a:gd name="T39" fmla="*/ 2147483647 h 411"/>
              <a:gd name="T40" fmla="*/ 2147483647 w 268"/>
              <a:gd name="T41" fmla="*/ 2147483647 h 411"/>
              <a:gd name="T42" fmla="*/ 2147483647 w 268"/>
              <a:gd name="T43" fmla="*/ 2147483647 h 411"/>
              <a:gd name="T44" fmla="*/ 2147483647 w 268"/>
              <a:gd name="T45" fmla="*/ 2147483647 h 411"/>
              <a:gd name="T46" fmla="*/ 2147483647 w 268"/>
              <a:gd name="T47" fmla="*/ 2147483647 h 411"/>
              <a:gd name="T48" fmla="*/ 2147483647 w 268"/>
              <a:gd name="T49" fmla="*/ 2147483647 h 411"/>
              <a:gd name="T50" fmla="*/ 2147483647 w 268"/>
              <a:gd name="T51" fmla="*/ 2147483647 h 411"/>
              <a:gd name="T52" fmla="*/ 2147483647 w 268"/>
              <a:gd name="T53" fmla="*/ 2147483647 h 411"/>
              <a:gd name="T54" fmla="*/ 2147483647 w 268"/>
              <a:gd name="T55" fmla="*/ 2147483647 h 411"/>
              <a:gd name="T56" fmla="*/ 2147483647 w 268"/>
              <a:gd name="T57" fmla="*/ 2147483647 h 411"/>
              <a:gd name="T58" fmla="*/ 2147483647 w 268"/>
              <a:gd name="T59" fmla="*/ 2147483647 h 411"/>
              <a:gd name="T60" fmla="*/ 2147483647 w 268"/>
              <a:gd name="T61" fmla="*/ 2147483647 h 411"/>
              <a:gd name="T62" fmla="*/ 0 w 268"/>
              <a:gd name="T63" fmla="*/ 2147483647 h 411"/>
              <a:gd name="T64" fmla="*/ 2147483647 w 268"/>
              <a:gd name="T65" fmla="*/ 2147483647 h 4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8" h="411">
                <a:moveTo>
                  <a:pt x="239" y="134"/>
                </a:moveTo>
                <a:cubicBezTo>
                  <a:pt x="251" y="145"/>
                  <a:pt x="251" y="164"/>
                  <a:pt x="239" y="176"/>
                </a:cubicBezTo>
                <a:cubicBezTo>
                  <a:pt x="176" y="239"/>
                  <a:pt x="176" y="239"/>
                  <a:pt x="176" y="239"/>
                </a:cubicBezTo>
                <a:cubicBezTo>
                  <a:pt x="170" y="245"/>
                  <a:pt x="163" y="248"/>
                  <a:pt x="155" y="248"/>
                </a:cubicBezTo>
                <a:cubicBezTo>
                  <a:pt x="147" y="248"/>
                  <a:pt x="139" y="245"/>
                  <a:pt x="134" y="239"/>
                </a:cubicBezTo>
                <a:cubicBezTo>
                  <a:pt x="94" y="200"/>
                  <a:pt x="94" y="200"/>
                  <a:pt x="94" y="200"/>
                </a:cubicBezTo>
                <a:cubicBezTo>
                  <a:pt x="91" y="197"/>
                  <a:pt x="86" y="197"/>
                  <a:pt x="83" y="200"/>
                </a:cubicBezTo>
                <a:cubicBezTo>
                  <a:pt x="80" y="203"/>
                  <a:pt x="80" y="208"/>
                  <a:pt x="83" y="211"/>
                </a:cubicBezTo>
                <a:cubicBezTo>
                  <a:pt x="122" y="251"/>
                  <a:pt x="122" y="251"/>
                  <a:pt x="122" y="251"/>
                </a:cubicBezTo>
                <a:cubicBezTo>
                  <a:pt x="131" y="259"/>
                  <a:pt x="143" y="264"/>
                  <a:pt x="155" y="264"/>
                </a:cubicBezTo>
                <a:cubicBezTo>
                  <a:pt x="167" y="264"/>
                  <a:pt x="179" y="259"/>
                  <a:pt x="187" y="251"/>
                </a:cubicBezTo>
                <a:cubicBezTo>
                  <a:pt x="250" y="187"/>
                  <a:pt x="250" y="187"/>
                  <a:pt x="250" y="187"/>
                </a:cubicBezTo>
                <a:cubicBezTo>
                  <a:pt x="268" y="170"/>
                  <a:pt x="268" y="140"/>
                  <a:pt x="250" y="122"/>
                </a:cubicBezTo>
                <a:cubicBezTo>
                  <a:pt x="174" y="46"/>
                  <a:pt x="174" y="46"/>
                  <a:pt x="174" y="46"/>
                </a:cubicBezTo>
                <a:cubicBezTo>
                  <a:pt x="171" y="43"/>
                  <a:pt x="166" y="43"/>
                  <a:pt x="163" y="46"/>
                </a:cubicBezTo>
                <a:cubicBezTo>
                  <a:pt x="160" y="49"/>
                  <a:pt x="160" y="54"/>
                  <a:pt x="163" y="58"/>
                </a:cubicBezTo>
                <a:lnTo>
                  <a:pt x="239" y="134"/>
                </a:lnTo>
                <a:close/>
                <a:moveTo>
                  <a:pt x="226" y="246"/>
                </a:moveTo>
                <a:cubicBezTo>
                  <a:pt x="223" y="243"/>
                  <a:pt x="218" y="243"/>
                  <a:pt x="215" y="246"/>
                </a:cubicBezTo>
                <a:cubicBezTo>
                  <a:pt x="212" y="249"/>
                  <a:pt x="212" y="254"/>
                  <a:pt x="215" y="257"/>
                </a:cubicBezTo>
                <a:cubicBezTo>
                  <a:pt x="239" y="281"/>
                  <a:pt x="239" y="281"/>
                  <a:pt x="239" y="281"/>
                </a:cubicBezTo>
                <a:cubicBezTo>
                  <a:pt x="251" y="293"/>
                  <a:pt x="251" y="312"/>
                  <a:pt x="239" y="324"/>
                </a:cubicBezTo>
                <a:cubicBezTo>
                  <a:pt x="176" y="387"/>
                  <a:pt x="176" y="387"/>
                  <a:pt x="176" y="387"/>
                </a:cubicBezTo>
                <a:cubicBezTo>
                  <a:pt x="170" y="392"/>
                  <a:pt x="163" y="395"/>
                  <a:pt x="155" y="395"/>
                </a:cubicBezTo>
                <a:cubicBezTo>
                  <a:pt x="147" y="395"/>
                  <a:pt x="139" y="392"/>
                  <a:pt x="134" y="387"/>
                </a:cubicBezTo>
                <a:cubicBezTo>
                  <a:pt x="25" y="278"/>
                  <a:pt x="25" y="278"/>
                  <a:pt x="25" y="278"/>
                </a:cubicBezTo>
                <a:cubicBezTo>
                  <a:pt x="19" y="272"/>
                  <a:pt x="16" y="265"/>
                  <a:pt x="16" y="257"/>
                </a:cubicBezTo>
                <a:cubicBezTo>
                  <a:pt x="16" y="249"/>
                  <a:pt x="19" y="241"/>
                  <a:pt x="25" y="235"/>
                </a:cubicBezTo>
                <a:cubicBezTo>
                  <a:pt x="88" y="172"/>
                  <a:pt x="88" y="172"/>
                  <a:pt x="88" y="172"/>
                </a:cubicBezTo>
                <a:cubicBezTo>
                  <a:pt x="94" y="167"/>
                  <a:pt x="101" y="164"/>
                  <a:pt x="109" y="164"/>
                </a:cubicBezTo>
                <a:cubicBezTo>
                  <a:pt x="117" y="164"/>
                  <a:pt x="125" y="167"/>
                  <a:pt x="130" y="172"/>
                </a:cubicBezTo>
                <a:cubicBezTo>
                  <a:pt x="169" y="211"/>
                  <a:pt x="169" y="211"/>
                  <a:pt x="169" y="211"/>
                </a:cubicBezTo>
                <a:cubicBezTo>
                  <a:pt x="172" y="214"/>
                  <a:pt x="177" y="214"/>
                  <a:pt x="181" y="211"/>
                </a:cubicBezTo>
                <a:cubicBezTo>
                  <a:pt x="184" y="208"/>
                  <a:pt x="184" y="203"/>
                  <a:pt x="181" y="200"/>
                </a:cubicBezTo>
                <a:cubicBezTo>
                  <a:pt x="142" y="161"/>
                  <a:pt x="142" y="161"/>
                  <a:pt x="142" y="161"/>
                </a:cubicBezTo>
                <a:cubicBezTo>
                  <a:pt x="133" y="152"/>
                  <a:pt x="121" y="148"/>
                  <a:pt x="109" y="148"/>
                </a:cubicBezTo>
                <a:cubicBezTo>
                  <a:pt x="97" y="148"/>
                  <a:pt x="85" y="152"/>
                  <a:pt x="77" y="161"/>
                </a:cubicBezTo>
                <a:cubicBezTo>
                  <a:pt x="14" y="224"/>
                  <a:pt x="14" y="224"/>
                  <a:pt x="14" y="224"/>
                </a:cubicBezTo>
                <a:cubicBezTo>
                  <a:pt x="5" y="233"/>
                  <a:pt x="0" y="244"/>
                  <a:pt x="0" y="257"/>
                </a:cubicBezTo>
                <a:cubicBezTo>
                  <a:pt x="0" y="269"/>
                  <a:pt x="5" y="281"/>
                  <a:pt x="14" y="289"/>
                </a:cubicBezTo>
                <a:cubicBezTo>
                  <a:pt x="122" y="398"/>
                  <a:pt x="122" y="398"/>
                  <a:pt x="122" y="398"/>
                </a:cubicBezTo>
                <a:cubicBezTo>
                  <a:pt x="131" y="407"/>
                  <a:pt x="143" y="411"/>
                  <a:pt x="155" y="411"/>
                </a:cubicBezTo>
                <a:cubicBezTo>
                  <a:pt x="167" y="411"/>
                  <a:pt x="179" y="407"/>
                  <a:pt x="187" y="398"/>
                </a:cubicBezTo>
                <a:cubicBezTo>
                  <a:pt x="250" y="335"/>
                  <a:pt x="250" y="335"/>
                  <a:pt x="250" y="335"/>
                </a:cubicBezTo>
                <a:cubicBezTo>
                  <a:pt x="268" y="317"/>
                  <a:pt x="268" y="288"/>
                  <a:pt x="250" y="270"/>
                </a:cubicBezTo>
                <a:lnTo>
                  <a:pt x="226" y="246"/>
                </a:lnTo>
                <a:close/>
                <a:moveTo>
                  <a:pt x="38" y="166"/>
                </a:moveTo>
                <a:cubicBezTo>
                  <a:pt x="40" y="168"/>
                  <a:pt x="42" y="169"/>
                  <a:pt x="44" y="169"/>
                </a:cubicBezTo>
                <a:cubicBezTo>
                  <a:pt x="46" y="169"/>
                  <a:pt x="48" y="168"/>
                  <a:pt x="49" y="166"/>
                </a:cubicBezTo>
                <a:cubicBezTo>
                  <a:pt x="53" y="163"/>
                  <a:pt x="53" y="158"/>
                  <a:pt x="49" y="155"/>
                </a:cubicBezTo>
                <a:cubicBezTo>
                  <a:pt x="25" y="130"/>
                  <a:pt x="25" y="130"/>
                  <a:pt x="25" y="130"/>
                </a:cubicBezTo>
                <a:cubicBezTo>
                  <a:pt x="19" y="125"/>
                  <a:pt x="16" y="117"/>
                  <a:pt x="16" y="109"/>
                </a:cubicBezTo>
                <a:cubicBezTo>
                  <a:pt x="16" y="101"/>
                  <a:pt x="19" y="94"/>
                  <a:pt x="25" y="88"/>
                </a:cubicBezTo>
                <a:cubicBezTo>
                  <a:pt x="88" y="25"/>
                  <a:pt x="88" y="25"/>
                  <a:pt x="88" y="25"/>
                </a:cubicBezTo>
                <a:cubicBezTo>
                  <a:pt x="94" y="19"/>
                  <a:pt x="101" y="16"/>
                  <a:pt x="109" y="16"/>
                </a:cubicBezTo>
                <a:cubicBezTo>
                  <a:pt x="117" y="16"/>
                  <a:pt x="125" y="19"/>
                  <a:pt x="130" y="25"/>
                </a:cubicBezTo>
                <a:cubicBezTo>
                  <a:pt x="140" y="35"/>
                  <a:pt x="140" y="35"/>
                  <a:pt x="140" y="35"/>
                </a:cubicBezTo>
                <a:cubicBezTo>
                  <a:pt x="144" y="38"/>
                  <a:pt x="149" y="38"/>
                  <a:pt x="152" y="35"/>
                </a:cubicBezTo>
                <a:cubicBezTo>
                  <a:pt x="155" y="32"/>
                  <a:pt x="155" y="27"/>
                  <a:pt x="152" y="24"/>
                </a:cubicBezTo>
                <a:cubicBezTo>
                  <a:pt x="142" y="14"/>
                  <a:pt x="142" y="14"/>
                  <a:pt x="142" y="14"/>
                </a:cubicBezTo>
                <a:cubicBezTo>
                  <a:pt x="133" y="5"/>
                  <a:pt x="121" y="0"/>
                  <a:pt x="109" y="0"/>
                </a:cubicBezTo>
                <a:cubicBezTo>
                  <a:pt x="97" y="0"/>
                  <a:pt x="85" y="5"/>
                  <a:pt x="77" y="14"/>
                </a:cubicBezTo>
                <a:cubicBezTo>
                  <a:pt x="14" y="77"/>
                  <a:pt x="14" y="77"/>
                  <a:pt x="14" y="77"/>
                </a:cubicBezTo>
                <a:cubicBezTo>
                  <a:pt x="5" y="85"/>
                  <a:pt x="0" y="97"/>
                  <a:pt x="0" y="109"/>
                </a:cubicBezTo>
                <a:cubicBezTo>
                  <a:pt x="0" y="122"/>
                  <a:pt x="5" y="133"/>
                  <a:pt x="14" y="142"/>
                </a:cubicBezTo>
                <a:lnTo>
                  <a:pt x="38" y="166"/>
                </a:ln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19" name="Freeform 3"/>
          <p:cNvSpPr>
            <a:spLocks noChangeAspect="1" noEditPoints="1"/>
          </p:cNvSpPr>
          <p:nvPr/>
        </p:nvSpPr>
        <p:spPr bwMode="auto">
          <a:xfrm>
            <a:off x="1363682" y="4521740"/>
            <a:ext cx="340547" cy="489496"/>
          </a:xfrm>
          <a:custGeom>
            <a:avLst/>
            <a:gdLst>
              <a:gd name="T0" fmla="*/ 2147483647 w 220"/>
              <a:gd name="T1" fmla="*/ 2147483647 h 316"/>
              <a:gd name="T2" fmla="*/ 2147483647 w 220"/>
              <a:gd name="T3" fmla="*/ 2147483647 h 316"/>
              <a:gd name="T4" fmla="*/ 2147483647 w 220"/>
              <a:gd name="T5" fmla="*/ 2147483647 h 316"/>
              <a:gd name="T6" fmla="*/ 2147483647 w 220"/>
              <a:gd name="T7" fmla="*/ 2147483647 h 316"/>
              <a:gd name="T8" fmla="*/ 2147483647 w 220"/>
              <a:gd name="T9" fmla="*/ 2147483647 h 316"/>
              <a:gd name="T10" fmla="*/ 2147483647 w 220"/>
              <a:gd name="T11" fmla="*/ 2147483647 h 316"/>
              <a:gd name="T12" fmla="*/ 2147483647 w 220"/>
              <a:gd name="T13" fmla="*/ 2147483647 h 316"/>
              <a:gd name="T14" fmla="*/ 2147483647 w 220"/>
              <a:gd name="T15" fmla="*/ 0 h 316"/>
              <a:gd name="T16" fmla="*/ 2147483647 w 220"/>
              <a:gd name="T17" fmla="*/ 2147483647 h 316"/>
              <a:gd name="T18" fmla="*/ 2147483647 w 220"/>
              <a:gd name="T19" fmla="*/ 2147483647 h 316"/>
              <a:gd name="T20" fmla="*/ 2147483647 w 220"/>
              <a:gd name="T21" fmla="*/ 2147483647 h 316"/>
              <a:gd name="T22" fmla="*/ 2147483647 w 220"/>
              <a:gd name="T23" fmla="*/ 2147483647 h 316"/>
              <a:gd name="T24" fmla="*/ 0 w 220"/>
              <a:gd name="T25" fmla="*/ 2147483647 h 316"/>
              <a:gd name="T26" fmla="*/ 0 w 220"/>
              <a:gd name="T27" fmla="*/ 2147483647 h 316"/>
              <a:gd name="T28" fmla="*/ 2147483647 w 220"/>
              <a:gd name="T29" fmla="*/ 2147483647 h 316"/>
              <a:gd name="T30" fmla="*/ 2147483647 w 220"/>
              <a:gd name="T31" fmla="*/ 2147483647 h 316"/>
              <a:gd name="T32" fmla="*/ 2147483647 w 220"/>
              <a:gd name="T33" fmla="*/ 2147483647 h 316"/>
              <a:gd name="T34" fmla="*/ 0 w 220"/>
              <a:gd name="T35" fmla="*/ 2147483647 h 316"/>
              <a:gd name="T36" fmla="*/ 0 w 220"/>
              <a:gd name="T37" fmla="*/ 2147483647 h 316"/>
              <a:gd name="T38" fmla="*/ 2147483647 w 220"/>
              <a:gd name="T39" fmla="*/ 2147483647 h 316"/>
              <a:gd name="T40" fmla="*/ 2147483647 w 220"/>
              <a:gd name="T41" fmla="*/ 2147483647 h 316"/>
              <a:gd name="T42" fmla="*/ 2147483647 w 220"/>
              <a:gd name="T43" fmla="*/ 2147483647 h 316"/>
              <a:gd name="T44" fmla="*/ 2147483647 w 220"/>
              <a:gd name="T45" fmla="*/ 2147483647 h 316"/>
              <a:gd name="T46" fmla="*/ 2147483647 w 220"/>
              <a:gd name="T47" fmla="*/ 2147483647 h 316"/>
              <a:gd name="T48" fmla="*/ 2147483647 w 220"/>
              <a:gd name="T49" fmla="*/ 2147483647 h 316"/>
              <a:gd name="T50" fmla="*/ 2147483647 w 220"/>
              <a:gd name="T51" fmla="*/ 2147483647 h 316"/>
              <a:gd name="T52" fmla="*/ 2147483647 w 220"/>
              <a:gd name="T53" fmla="*/ 2147483647 h 316"/>
              <a:gd name="T54" fmla="*/ 2147483647 w 220"/>
              <a:gd name="T55" fmla="*/ 2147483647 h 316"/>
              <a:gd name="T56" fmla="*/ 2147483647 w 220"/>
              <a:gd name="T57" fmla="*/ 2147483647 h 316"/>
              <a:gd name="T58" fmla="*/ 2147483647 w 220"/>
              <a:gd name="T59" fmla="*/ 2147483647 h 316"/>
              <a:gd name="T60" fmla="*/ 2147483647 w 220"/>
              <a:gd name="T61" fmla="*/ 2147483647 h 316"/>
              <a:gd name="T62" fmla="*/ 2147483647 w 220"/>
              <a:gd name="T63" fmla="*/ 2147483647 h 316"/>
              <a:gd name="T64" fmla="*/ 2147483647 w 220"/>
              <a:gd name="T65" fmla="*/ 2147483647 h 316"/>
              <a:gd name="T66" fmla="*/ 2147483647 w 220"/>
              <a:gd name="T67" fmla="*/ 2147483647 h 316"/>
              <a:gd name="T68" fmla="*/ 2147483647 w 220"/>
              <a:gd name="T69" fmla="*/ 2147483647 h 316"/>
              <a:gd name="T70" fmla="*/ 2147483647 w 220"/>
              <a:gd name="T71" fmla="*/ 2147483647 h 316"/>
              <a:gd name="T72" fmla="*/ 2147483647 w 220"/>
              <a:gd name="T73" fmla="*/ 2147483647 h 316"/>
              <a:gd name="T74" fmla="*/ 2147483647 w 220"/>
              <a:gd name="T75" fmla="*/ 2147483647 h 316"/>
              <a:gd name="T76" fmla="*/ 2147483647 w 220"/>
              <a:gd name="T77" fmla="*/ 2147483647 h 316"/>
              <a:gd name="T78" fmla="*/ 2147483647 w 220"/>
              <a:gd name="T79" fmla="*/ 2147483647 h 316"/>
              <a:gd name="T80" fmla="*/ 2147483647 w 220"/>
              <a:gd name="T81" fmla="*/ 2147483647 h 316"/>
              <a:gd name="T82" fmla="*/ 2147483647 w 220"/>
              <a:gd name="T83" fmla="*/ 2147483647 h 316"/>
              <a:gd name="T84" fmla="*/ 2147483647 w 220"/>
              <a:gd name="T85" fmla="*/ 2147483647 h 316"/>
              <a:gd name="T86" fmla="*/ 2147483647 w 220"/>
              <a:gd name="T87" fmla="*/ 2147483647 h 316"/>
              <a:gd name="T88" fmla="*/ 2147483647 w 220"/>
              <a:gd name="T89" fmla="*/ 2147483647 h 316"/>
              <a:gd name="T90" fmla="*/ 2147483647 w 220"/>
              <a:gd name="T91" fmla="*/ 2147483647 h 316"/>
              <a:gd name="T92" fmla="*/ 2147483647 w 220"/>
              <a:gd name="T93" fmla="*/ 2147483647 h 316"/>
              <a:gd name="T94" fmla="*/ 2147483647 w 220"/>
              <a:gd name="T95" fmla="*/ 2147483647 h 316"/>
              <a:gd name="T96" fmla="*/ 2147483647 w 220"/>
              <a:gd name="T97" fmla="*/ 2147483647 h 316"/>
              <a:gd name="T98" fmla="*/ 2147483647 w 220"/>
              <a:gd name="T99" fmla="*/ 2147483647 h 316"/>
              <a:gd name="T100" fmla="*/ 2147483647 w 220"/>
              <a:gd name="T101" fmla="*/ 2147483647 h 316"/>
              <a:gd name="T102" fmla="*/ 2147483647 w 220"/>
              <a:gd name="T103" fmla="*/ 2147483647 h 316"/>
              <a:gd name="T104" fmla="*/ 2147483647 w 220"/>
              <a:gd name="T105" fmla="*/ 2147483647 h 316"/>
              <a:gd name="T106" fmla="*/ 2147483647 w 220"/>
              <a:gd name="T107" fmla="*/ 2147483647 h 316"/>
              <a:gd name="T108" fmla="*/ 2147483647 w 220"/>
              <a:gd name="T109" fmla="*/ 2147483647 h 316"/>
              <a:gd name="T110" fmla="*/ 2147483647 w 220"/>
              <a:gd name="T111" fmla="*/ 2147483647 h 316"/>
              <a:gd name="T112" fmla="*/ 2147483647 w 220"/>
              <a:gd name="T113" fmla="*/ 2147483647 h 316"/>
              <a:gd name="T114" fmla="*/ 2147483647 w 220"/>
              <a:gd name="T115" fmla="*/ 2147483647 h 316"/>
              <a:gd name="T116" fmla="*/ 2147483647 w 220"/>
              <a:gd name="T117" fmla="*/ 2147483647 h 3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0" h="316">
                <a:moveTo>
                  <a:pt x="170" y="132"/>
                </a:moveTo>
                <a:cubicBezTo>
                  <a:pt x="173" y="132"/>
                  <a:pt x="178" y="136"/>
                  <a:pt x="183" y="139"/>
                </a:cubicBezTo>
                <a:cubicBezTo>
                  <a:pt x="188" y="143"/>
                  <a:pt x="195" y="148"/>
                  <a:pt x="203" y="148"/>
                </a:cubicBezTo>
                <a:cubicBezTo>
                  <a:pt x="211" y="148"/>
                  <a:pt x="217" y="143"/>
                  <a:pt x="220" y="135"/>
                </a:cubicBezTo>
                <a:cubicBezTo>
                  <a:pt x="220" y="134"/>
                  <a:pt x="220" y="133"/>
                  <a:pt x="220" y="132"/>
                </a:cubicBezTo>
                <a:cubicBezTo>
                  <a:pt x="220" y="120"/>
                  <a:pt x="220" y="120"/>
                  <a:pt x="220" y="120"/>
                </a:cubicBezTo>
                <a:cubicBezTo>
                  <a:pt x="220" y="99"/>
                  <a:pt x="217" y="80"/>
                  <a:pt x="210" y="63"/>
                </a:cubicBezTo>
                <a:cubicBezTo>
                  <a:pt x="209" y="62"/>
                  <a:pt x="209" y="62"/>
                  <a:pt x="209" y="62"/>
                </a:cubicBezTo>
                <a:cubicBezTo>
                  <a:pt x="209" y="60"/>
                  <a:pt x="207" y="58"/>
                  <a:pt x="205" y="58"/>
                </a:cubicBezTo>
                <a:cubicBezTo>
                  <a:pt x="203" y="57"/>
                  <a:pt x="200" y="57"/>
                  <a:pt x="198" y="58"/>
                </a:cubicBezTo>
                <a:cubicBezTo>
                  <a:pt x="198" y="58"/>
                  <a:pt x="179" y="68"/>
                  <a:pt x="148" y="68"/>
                </a:cubicBezTo>
                <a:cubicBezTo>
                  <a:pt x="137" y="68"/>
                  <a:pt x="137" y="68"/>
                  <a:pt x="137" y="68"/>
                </a:cubicBezTo>
                <a:cubicBezTo>
                  <a:pt x="136" y="67"/>
                  <a:pt x="136" y="67"/>
                  <a:pt x="136" y="66"/>
                </a:cubicBezTo>
                <a:cubicBezTo>
                  <a:pt x="136" y="64"/>
                  <a:pt x="139" y="59"/>
                  <a:pt x="142" y="55"/>
                </a:cubicBezTo>
                <a:cubicBezTo>
                  <a:pt x="146" y="49"/>
                  <a:pt x="152" y="42"/>
                  <a:pt x="152" y="33"/>
                </a:cubicBezTo>
                <a:cubicBezTo>
                  <a:pt x="152" y="9"/>
                  <a:pt x="127" y="0"/>
                  <a:pt x="110" y="0"/>
                </a:cubicBezTo>
                <a:cubicBezTo>
                  <a:pt x="94" y="0"/>
                  <a:pt x="69" y="9"/>
                  <a:pt x="69" y="33"/>
                </a:cubicBezTo>
                <a:cubicBezTo>
                  <a:pt x="69" y="42"/>
                  <a:pt x="74" y="49"/>
                  <a:pt x="79" y="55"/>
                </a:cubicBezTo>
                <a:cubicBezTo>
                  <a:pt x="81" y="59"/>
                  <a:pt x="85" y="64"/>
                  <a:pt x="85" y="66"/>
                </a:cubicBezTo>
                <a:cubicBezTo>
                  <a:pt x="85" y="67"/>
                  <a:pt x="85" y="67"/>
                  <a:pt x="83" y="68"/>
                </a:cubicBezTo>
                <a:cubicBezTo>
                  <a:pt x="72" y="68"/>
                  <a:pt x="72" y="68"/>
                  <a:pt x="72" y="68"/>
                </a:cubicBezTo>
                <a:cubicBezTo>
                  <a:pt x="41" y="68"/>
                  <a:pt x="22" y="58"/>
                  <a:pt x="22" y="58"/>
                </a:cubicBezTo>
                <a:cubicBezTo>
                  <a:pt x="20" y="57"/>
                  <a:pt x="18" y="57"/>
                  <a:pt x="16" y="58"/>
                </a:cubicBezTo>
                <a:cubicBezTo>
                  <a:pt x="13" y="58"/>
                  <a:pt x="12" y="60"/>
                  <a:pt x="11" y="62"/>
                </a:cubicBezTo>
                <a:cubicBezTo>
                  <a:pt x="11" y="63"/>
                  <a:pt x="11" y="63"/>
                  <a:pt x="11" y="63"/>
                </a:cubicBezTo>
                <a:cubicBezTo>
                  <a:pt x="4" y="80"/>
                  <a:pt x="0" y="99"/>
                  <a:pt x="0" y="120"/>
                </a:cubicBezTo>
                <a:cubicBezTo>
                  <a:pt x="0" y="132"/>
                  <a:pt x="0" y="132"/>
                  <a:pt x="0" y="132"/>
                </a:cubicBezTo>
                <a:cubicBezTo>
                  <a:pt x="0" y="133"/>
                  <a:pt x="0" y="134"/>
                  <a:pt x="0" y="135"/>
                </a:cubicBezTo>
                <a:cubicBezTo>
                  <a:pt x="3" y="143"/>
                  <a:pt x="9" y="148"/>
                  <a:pt x="17" y="148"/>
                </a:cubicBezTo>
                <a:cubicBezTo>
                  <a:pt x="25" y="148"/>
                  <a:pt x="32" y="143"/>
                  <a:pt x="38" y="139"/>
                </a:cubicBezTo>
                <a:cubicBezTo>
                  <a:pt x="43" y="136"/>
                  <a:pt x="47" y="132"/>
                  <a:pt x="51" y="132"/>
                </a:cubicBezTo>
                <a:cubicBezTo>
                  <a:pt x="67" y="132"/>
                  <a:pt x="68" y="158"/>
                  <a:pt x="68" y="158"/>
                </a:cubicBezTo>
                <a:cubicBezTo>
                  <a:pt x="68" y="158"/>
                  <a:pt x="67" y="183"/>
                  <a:pt x="51" y="183"/>
                </a:cubicBezTo>
                <a:cubicBezTo>
                  <a:pt x="47" y="183"/>
                  <a:pt x="43" y="180"/>
                  <a:pt x="38" y="177"/>
                </a:cubicBezTo>
                <a:cubicBezTo>
                  <a:pt x="32" y="172"/>
                  <a:pt x="25" y="167"/>
                  <a:pt x="17" y="167"/>
                </a:cubicBezTo>
                <a:cubicBezTo>
                  <a:pt x="9" y="167"/>
                  <a:pt x="3" y="172"/>
                  <a:pt x="0" y="181"/>
                </a:cubicBezTo>
                <a:cubicBezTo>
                  <a:pt x="0" y="182"/>
                  <a:pt x="0" y="182"/>
                  <a:pt x="0" y="183"/>
                </a:cubicBezTo>
                <a:cubicBezTo>
                  <a:pt x="0" y="196"/>
                  <a:pt x="0" y="196"/>
                  <a:pt x="0" y="196"/>
                </a:cubicBezTo>
                <a:cubicBezTo>
                  <a:pt x="0" y="216"/>
                  <a:pt x="4" y="235"/>
                  <a:pt x="11" y="253"/>
                </a:cubicBezTo>
                <a:cubicBezTo>
                  <a:pt x="11" y="253"/>
                  <a:pt x="11" y="253"/>
                  <a:pt x="11" y="253"/>
                </a:cubicBezTo>
                <a:cubicBezTo>
                  <a:pt x="12" y="256"/>
                  <a:pt x="13" y="257"/>
                  <a:pt x="16" y="258"/>
                </a:cubicBezTo>
                <a:cubicBezTo>
                  <a:pt x="18" y="259"/>
                  <a:pt x="20" y="259"/>
                  <a:pt x="22" y="258"/>
                </a:cubicBezTo>
                <a:cubicBezTo>
                  <a:pt x="22" y="257"/>
                  <a:pt x="41" y="248"/>
                  <a:pt x="72" y="248"/>
                </a:cubicBezTo>
                <a:cubicBezTo>
                  <a:pt x="83" y="248"/>
                  <a:pt x="83" y="248"/>
                  <a:pt x="83" y="248"/>
                </a:cubicBezTo>
                <a:cubicBezTo>
                  <a:pt x="85" y="248"/>
                  <a:pt x="85" y="249"/>
                  <a:pt x="85" y="249"/>
                </a:cubicBezTo>
                <a:cubicBezTo>
                  <a:pt x="85" y="252"/>
                  <a:pt x="81" y="256"/>
                  <a:pt x="79" y="260"/>
                </a:cubicBezTo>
                <a:cubicBezTo>
                  <a:pt x="74" y="267"/>
                  <a:pt x="69" y="274"/>
                  <a:pt x="69" y="283"/>
                </a:cubicBezTo>
                <a:cubicBezTo>
                  <a:pt x="69" y="307"/>
                  <a:pt x="94" y="316"/>
                  <a:pt x="110" y="316"/>
                </a:cubicBezTo>
                <a:cubicBezTo>
                  <a:pt x="127" y="316"/>
                  <a:pt x="152" y="307"/>
                  <a:pt x="152" y="283"/>
                </a:cubicBezTo>
                <a:cubicBezTo>
                  <a:pt x="152" y="274"/>
                  <a:pt x="146" y="267"/>
                  <a:pt x="142" y="260"/>
                </a:cubicBezTo>
                <a:cubicBezTo>
                  <a:pt x="139" y="256"/>
                  <a:pt x="136" y="252"/>
                  <a:pt x="136" y="249"/>
                </a:cubicBezTo>
                <a:cubicBezTo>
                  <a:pt x="136" y="249"/>
                  <a:pt x="136" y="248"/>
                  <a:pt x="137" y="248"/>
                </a:cubicBezTo>
                <a:cubicBezTo>
                  <a:pt x="148" y="248"/>
                  <a:pt x="148" y="248"/>
                  <a:pt x="148" y="248"/>
                </a:cubicBezTo>
                <a:cubicBezTo>
                  <a:pt x="179" y="248"/>
                  <a:pt x="198" y="257"/>
                  <a:pt x="198" y="258"/>
                </a:cubicBezTo>
                <a:cubicBezTo>
                  <a:pt x="200" y="259"/>
                  <a:pt x="203" y="259"/>
                  <a:pt x="205" y="258"/>
                </a:cubicBezTo>
                <a:cubicBezTo>
                  <a:pt x="207" y="257"/>
                  <a:pt x="209" y="256"/>
                  <a:pt x="209" y="253"/>
                </a:cubicBezTo>
                <a:cubicBezTo>
                  <a:pt x="210" y="253"/>
                  <a:pt x="210" y="253"/>
                  <a:pt x="210" y="253"/>
                </a:cubicBezTo>
                <a:cubicBezTo>
                  <a:pt x="217" y="235"/>
                  <a:pt x="220" y="216"/>
                  <a:pt x="220" y="196"/>
                </a:cubicBezTo>
                <a:cubicBezTo>
                  <a:pt x="220" y="183"/>
                  <a:pt x="220" y="183"/>
                  <a:pt x="220" y="183"/>
                </a:cubicBezTo>
                <a:cubicBezTo>
                  <a:pt x="220" y="182"/>
                  <a:pt x="220" y="182"/>
                  <a:pt x="220" y="181"/>
                </a:cubicBezTo>
                <a:cubicBezTo>
                  <a:pt x="217" y="172"/>
                  <a:pt x="211" y="167"/>
                  <a:pt x="203" y="167"/>
                </a:cubicBezTo>
                <a:cubicBezTo>
                  <a:pt x="195" y="167"/>
                  <a:pt x="188" y="172"/>
                  <a:pt x="183" y="177"/>
                </a:cubicBezTo>
                <a:cubicBezTo>
                  <a:pt x="178" y="180"/>
                  <a:pt x="173" y="183"/>
                  <a:pt x="170" y="183"/>
                </a:cubicBezTo>
                <a:cubicBezTo>
                  <a:pt x="153" y="183"/>
                  <a:pt x="153" y="158"/>
                  <a:pt x="153" y="158"/>
                </a:cubicBezTo>
                <a:cubicBezTo>
                  <a:pt x="153" y="158"/>
                  <a:pt x="153" y="132"/>
                  <a:pt x="170" y="132"/>
                </a:cubicBezTo>
                <a:close/>
                <a:moveTo>
                  <a:pt x="170" y="199"/>
                </a:moveTo>
                <a:cubicBezTo>
                  <a:pt x="179" y="199"/>
                  <a:pt x="186" y="194"/>
                  <a:pt x="192" y="189"/>
                </a:cubicBezTo>
                <a:cubicBezTo>
                  <a:pt x="196" y="187"/>
                  <a:pt x="200" y="183"/>
                  <a:pt x="203" y="183"/>
                </a:cubicBezTo>
                <a:cubicBezTo>
                  <a:pt x="203" y="183"/>
                  <a:pt x="204" y="183"/>
                  <a:pt x="204" y="185"/>
                </a:cubicBezTo>
                <a:cubicBezTo>
                  <a:pt x="204" y="196"/>
                  <a:pt x="204" y="196"/>
                  <a:pt x="204" y="196"/>
                </a:cubicBezTo>
                <a:cubicBezTo>
                  <a:pt x="204" y="211"/>
                  <a:pt x="202" y="226"/>
                  <a:pt x="197" y="240"/>
                </a:cubicBezTo>
                <a:cubicBezTo>
                  <a:pt x="188" y="236"/>
                  <a:pt x="171" y="232"/>
                  <a:pt x="148" y="232"/>
                </a:cubicBezTo>
                <a:cubicBezTo>
                  <a:pt x="136" y="232"/>
                  <a:pt x="136" y="232"/>
                  <a:pt x="136" y="232"/>
                </a:cubicBezTo>
                <a:cubicBezTo>
                  <a:pt x="135" y="232"/>
                  <a:pt x="134" y="232"/>
                  <a:pt x="133" y="232"/>
                </a:cubicBezTo>
                <a:cubicBezTo>
                  <a:pt x="125" y="235"/>
                  <a:pt x="120" y="241"/>
                  <a:pt x="120" y="249"/>
                </a:cubicBezTo>
                <a:cubicBezTo>
                  <a:pt x="120" y="257"/>
                  <a:pt x="125" y="264"/>
                  <a:pt x="129" y="270"/>
                </a:cubicBezTo>
                <a:cubicBezTo>
                  <a:pt x="132" y="274"/>
                  <a:pt x="136" y="279"/>
                  <a:pt x="136" y="283"/>
                </a:cubicBezTo>
                <a:cubicBezTo>
                  <a:pt x="136" y="299"/>
                  <a:pt x="110" y="300"/>
                  <a:pt x="110" y="300"/>
                </a:cubicBezTo>
                <a:cubicBezTo>
                  <a:pt x="110" y="300"/>
                  <a:pt x="85" y="299"/>
                  <a:pt x="85" y="283"/>
                </a:cubicBezTo>
                <a:cubicBezTo>
                  <a:pt x="85" y="279"/>
                  <a:pt x="88" y="274"/>
                  <a:pt x="91" y="270"/>
                </a:cubicBezTo>
                <a:cubicBezTo>
                  <a:pt x="96" y="264"/>
                  <a:pt x="101" y="257"/>
                  <a:pt x="101" y="249"/>
                </a:cubicBezTo>
                <a:cubicBezTo>
                  <a:pt x="101" y="241"/>
                  <a:pt x="96" y="235"/>
                  <a:pt x="87" y="232"/>
                </a:cubicBezTo>
                <a:cubicBezTo>
                  <a:pt x="86" y="232"/>
                  <a:pt x="86" y="232"/>
                  <a:pt x="85" y="232"/>
                </a:cubicBezTo>
                <a:cubicBezTo>
                  <a:pt x="72" y="232"/>
                  <a:pt x="72" y="232"/>
                  <a:pt x="72" y="232"/>
                </a:cubicBezTo>
                <a:cubicBezTo>
                  <a:pt x="49" y="232"/>
                  <a:pt x="32" y="236"/>
                  <a:pt x="23" y="240"/>
                </a:cubicBezTo>
                <a:cubicBezTo>
                  <a:pt x="18" y="226"/>
                  <a:pt x="16" y="211"/>
                  <a:pt x="16" y="196"/>
                </a:cubicBezTo>
                <a:cubicBezTo>
                  <a:pt x="16" y="185"/>
                  <a:pt x="16" y="185"/>
                  <a:pt x="16" y="185"/>
                </a:cubicBezTo>
                <a:cubicBezTo>
                  <a:pt x="17" y="183"/>
                  <a:pt x="17" y="183"/>
                  <a:pt x="17" y="183"/>
                </a:cubicBezTo>
                <a:cubicBezTo>
                  <a:pt x="20" y="183"/>
                  <a:pt x="24" y="187"/>
                  <a:pt x="28" y="189"/>
                </a:cubicBezTo>
                <a:cubicBezTo>
                  <a:pt x="35" y="194"/>
                  <a:pt x="42" y="199"/>
                  <a:pt x="51" y="199"/>
                </a:cubicBezTo>
                <a:cubicBezTo>
                  <a:pt x="75" y="199"/>
                  <a:pt x="84" y="174"/>
                  <a:pt x="84" y="158"/>
                </a:cubicBezTo>
                <a:cubicBezTo>
                  <a:pt x="84" y="141"/>
                  <a:pt x="75" y="116"/>
                  <a:pt x="51" y="116"/>
                </a:cubicBezTo>
                <a:cubicBezTo>
                  <a:pt x="42" y="116"/>
                  <a:pt x="35" y="122"/>
                  <a:pt x="28" y="126"/>
                </a:cubicBezTo>
                <a:cubicBezTo>
                  <a:pt x="24" y="129"/>
                  <a:pt x="20" y="132"/>
                  <a:pt x="17" y="132"/>
                </a:cubicBezTo>
                <a:cubicBezTo>
                  <a:pt x="17" y="132"/>
                  <a:pt x="17" y="132"/>
                  <a:pt x="16" y="131"/>
                </a:cubicBezTo>
                <a:cubicBezTo>
                  <a:pt x="16" y="120"/>
                  <a:pt x="16" y="120"/>
                  <a:pt x="16" y="120"/>
                </a:cubicBezTo>
                <a:cubicBezTo>
                  <a:pt x="16" y="104"/>
                  <a:pt x="18" y="89"/>
                  <a:pt x="23" y="76"/>
                </a:cubicBezTo>
                <a:cubicBezTo>
                  <a:pt x="32" y="79"/>
                  <a:pt x="49" y="84"/>
                  <a:pt x="72" y="84"/>
                </a:cubicBezTo>
                <a:cubicBezTo>
                  <a:pt x="85" y="84"/>
                  <a:pt x="85" y="84"/>
                  <a:pt x="85" y="84"/>
                </a:cubicBezTo>
                <a:cubicBezTo>
                  <a:pt x="86" y="84"/>
                  <a:pt x="86" y="84"/>
                  <a:pt x="87" y="83"/>
                </a:cubicBezTo>
                <a:cubicBezTo>
                  <a:pt x="96" y="81"/>
                  <a:pt x="101" y="74"/>
                  <a:pt x="101" y="66"/>
                </a:cubicBezTo>
                <a:cubicBezTo>
                  <a:pt x="101" y="58"/>
                  <a:pt x="96" y="52"/>
                  <a:pt x="91" y="46"/>
                </a:cubicBezTo>
                <a:cubicBezTo>
                  <a:pt x="88" y="41"/>
                  <a:pt x="85" y="37"/>
                  <a:pt x="85" y="33"/>
                </a:cubicBezTo>
                <a:cubicBezTo>
                  <a:pt x="85" y="16"/>
                  <a:pt x="110" y="16"/>
                  <a:pt x="110" y="16"/>
                </a:cubicBezTo>
                <a:cubicBezTo>
                  <a:pt x="110" y="16"/>
                  <a:pt x="136" y="16"/>
                  <a:pt x="136" y="33"/>
                </a:cubicBezTo>
                <a:cubicBezTo>
                  <a:pt x="136" y="37"/>
                  <a:pt x="132" y="41"/>
                  <a:pt x="129" y="46"/>
                </a:cubicBezTo>
                <a:cubicBezTo>
                  <a:pt x="125" y="52"/>
                  <a:pt x="120" y="58"/>
                  <a:pt x="120" y="66"/>
                </a:cubicBezTo>
                <a:cubicBezTo>
                  <a:pt x="120" y="74"/>
                  <a:pt x="125" y="81"/>
                  <a:pt x="133" y="83"/>
                </a:cubicBezTo>
                <a:cubicBezTo>
                  <a:pt x="134" y="84"/>
                  <a:pt x="135" y="84"/>
                  <a:pt x="136" y="84"/>
                </a:cubicBezTo>
                <a:cubicBezTo>
                  <a:pt x="148" y="84"/>
                  <a:pt x="148" y="84"/>
                  <a:pt x="148" y="84"/>
                </a:cubicBezTo>
                <a:cubicBezTo>
                  <a:pt x="171" y="84"/>
                  <a:pt x="188" y="79"/>
                  <a:pt x="197" y="76"/>
                </a:cubicBezTo>
                <a:cubicBezTo>
                  <a:pt x="202" y="89"/>
                  <a:pt x="204" y="104"/>
                  <a:pt x="204" y="120"/>
                </a:cubicBezTo>
                <a:cubicBezTo>
                  <a:pt x="204" y="131"/>
                  <a:pt x="204" y="131"/>
                  <a:pt x="204" y="131"/>
                </a:cubicBezTo>
                <a:cubicBezTo>
                  <a:pt x="204" y="132"/>
                  <a:pt x="203" y="132"/>
                  <a:pt x="203" y="132"/>
                </a:cubicBezTo>
                <a:cubicBezTo>
                  <a:pt x="200" y="132"/>
                  <a:pt x="196" y="129"/>
                  <a:pt x="192" y="126"/>
                </a:cubicBezTo>
                <a:cubicBezTo>
                  <a:pt x="186" y="122"/>
                  <a:pt x="179" y="116"/>
                  <a:pt x="170" y="116"/>
                </a:cubicBezTo>
                <a:cubicBezTo>
                  <a:pt x="145" y="116"/>
                  <a:pt x="137" y="141"/>
                  <a:pt x="137" y="158"/>
                </a:cubicBezTo>
                <a:cubicBezTo>
                  <a:pt x="137" y="174"/>
                  <a:pt x="145" y="199"/>
                  <a:pt x="170" y="199"/>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20" name="Freeform 5"/>
          <p:cNvSpPr>
            <a:spLocks noChangeAspect="1" noEditPoints="1"/>
          </p:cNvSpPr>
          <p:nvPr/>
        </p:nvSpPr>
        <p:spPr bwMode="auto">
          <a:xfrm>
            <a:off x="1064294" y="2147475"/>
            <a:ext cx="774701" cy="400844"/>
          </a:xfrm>
          <a:custGeom>
            <a:avLst/>
            <a:gdLst>
              <a:gd name="T0" fmla="*/ 2147483647 w 413"/>
              <a:gd name="T1" fmla="*/ 2147483647 h 214"/>
              <a:gd name="T2" fmla="*/ 2147483647 w 413"/>
              <a:gd name="T3" fmla="*/ 0 h 214"/>
              <a:gd name="T4" fmla="*/ 0 w 413"/>
              <a:gd name="T5" fmla="*/ 2147483647 h 214"/>
              <a:gd name="T6" fmla="*/ 2147483647 w 413"/>
              <a:gd name="T7" fmla="*/ 2147483647 h 214"/>
              <a:gd name="T8" fmla="*/ 2147483647 w 413"/>
              <a:gd name="T9" fmla="*/ 2147483647 h 214"/>
              <a:gd name="T10" fmla="*/ 2147483647 w 413"/>
              <a:gd name="T11" fmla="*/ 2147483647 h 214"/>
              <a:gd name="T12" fmla="*/ 2147483647 w 413"/>
              <a:gd name="T13" fmla="*/ 2147483647 h 214"/>
              <a:gd name="T14" fmla="*/ 2147483647 w 413"/>
              <a:gd name="T15" fmla="*/ 2147483647 h 214"/>
              <a:gd name="T16" fmla="*/ 2147483647 w 413"/>
              <a:gd name="T17" fmla="*/ 2147483647 h 214"/>
              <a:gd name="T18" fmla="*/ 2147483647 w 413"/>
              <a:gd name="T19" fmla="*/ 2147483647 h 214"/>
              <a:gd name="T20" fmla="*/ 2147483647 w 413"/>
              <a:gd name="T21" fmla="*/ 2147483647 h 214"/>
              <a:gd name="T22" fmla="*/ 2147483647 w 413"/>
              <a:gd name="T23" fmla="*/ 2147483647 h 214"/>
              <a:gd name="T24" fmla="*/ 2147483647 w 413"/>
              <a:gd name="T25" fmla="*/ 2147483647 h 214"/>
              <a:gd name="T26" fmla="*/ 2147483647 w 413"/>
              <a:gd name="T27" fmla="*/ 2147483647 h 214"/>
              <a:gd name="T28" fmla="*/ 2147483647 w 413"/>
              <a:gd name="T29" fmla="*/ 2147483647 h 214"/>
              <a:gd name="T30" fmla="*/ 2147483647 w 413"/>
              <a:gd name="T31" fmla="*/ 2147483647 h 214"/>
              <a:gd name="T32" fmla="*/ 2147483647 w 413"/>
              <a:gd name="T33" fmla="*/ 2147483647 h 214"/>
              <a:gd name="T34" fmla="*/ 2147483647 w 413"/>
              <a:gd name="T35" fmla="*/ 2147483647 h 214"/>
              <a:gd name="T36" fmla="*/ 2147483647 w 413"/>
              <a:gd name="T37" fmla="*/ 2147483647 h 214"/>
              <a:gd name="T38" fmla="*/ 2147483647 w 413"/>
              <a:gd name="T39" fmla="*/ 2147483647 h 214"/>
              <a:gd name="T40" fmla="*/ 2147483647 w 413"/>
              <a:gd name="T41" fmla="*/ 2147483647 h 214"/>
              <a:gd name="T42" fmla="*/ 2147483647 w 413"/>
              <a:gd name="T43" fmla="*/ 2147483647 h 214"/>
              <a:gd name="T44" fmla="*/ 2147483647 w 413"/>
              <a:gd name="T45" fmla="*/ 2147483647 h 214"/>
              <a:gd name="T46" fmla="*/ 2147483647 w 413"/>
              <a:gd name="T47" fmla="*/ 2147483647 h 214"/>
              <a:gd name="T48" fmla="*/ 2147483647 w 413"/>
              <a:gd name="T49" fmla="*/ 2147483647 h 214"/>
              <a:gd name="T50" fmla="*/ 2147483647 w 413"/>
              <a:gd name="T51" fmla="*/ 2147483647 h 214"/>
              <a:gd name="T52" fmla="*/ 2147483647 w 413"/>
              <a:gd name="T53" fmla="*/ 2147483647 h 214"/>
              <a:gd name="T54" fmla="*/ 2147483647 w 413"/>
              <a:gd name="T55" fmla="*/ 2147483647 h 214"/>
              <a:gd name="T56" fmla="*/ 2147483647 w 413"/>
              <a:gd name="T57" fmla="*/ 2147483647 h 214"/>
              <a:gd name="T58" fmla="*/ 2147483647 w 413"/>
              <a:gd name="T59" fmla="*/ 2147483647 h 214"/>
              <a:gd name="T60" fmla="*/ 2147483647 w 413"/>
              <a:gd name="T61" fmla="*/ 2147483647 h 214"/>
              <a:gd name="T62" fmla="*/ 2147483647 w 413"/>
              <a:gd name="T63" fmla="*/ 2147483647 h 214"/>
              <a:gd name="T64" fmla="*/ 2147483647 w 413"/>
              <a:gd name="T65" fmla="*/ 2147483647 h 214"/>
              <a:gd name="T66" fmla="*/ 2147483647 w 413"/>
              <a:gd name="T67" fmla="*/ 2147483647 h 214"/>
              <a:gd name="T68" fmla="*/ 2147483647 w 413"/>
              <a:gd name="T69" fmla="*/ 2147483647 h 214"/>
              <a:gd name="T70" fmla="*/ 2147483647 w 413"/>
              <a:gd name="T71" fmla="*/ 2147483647 h 214"/>
              <a:gd name="T72" fmla="*/ 2147483647 w 413"/>
              <a:gd name="T73" fmla="*/ 2147483647 h 214"/>
              <a:gd name="T74" fmla="*/ 2147483647 w 413"/>
              <a:gd name="T75" fmla="*/ 2147483647 h 214"/>
              <a:gd name="T76" fmla="*/ 2147483647 w 413"/>
              <a:gd name="T77" fmla="*/ 2147483647 h 214"/>
              <a:gd name="T78" fmla="*/ 2147483647 w 413"/>
              <a:gd name="T79" fmla="*/ 2147483647 h 214"/>
              <a:gd name="T80" fmla="*/ 2147483647 w 413"/>
              <a:gd name="T81" fmla="*/ 2147483647 h 214"/>
              <a:gd name="T82" fmla="*/ 2147483647 w 413"/>
              <a:gd name="T83" fmla="*/ 2147483647 h 214"/>
              <a:gd name="T84" fmla="*/ 2147483647 w 413"/>
              <a:gd name="T85" fmla="*/ 2147483647 h 214"/>
              <a:gd name="T86" fmla="*/ 2147483647 w 413"/>
              <a:gd name="T87" fmla="*/ 2147483647 h 214"/>
              <a:gd name="T88" fmla="*/ 2147483647 w 413"/>
              <a:gd name="T89" fmla="*/ 2147483647 h 214"/>
              <a:gd name="T90" fmla="*/ 2147483647 w 413"/>
              <a:gd name="T91" fmla="*/ 2147483647 h 214"/>
              <a:gd name="T92" fmla="*/ 2147483647 w 413"/>
              <a:gd name="T93" fmla="*/ 2147483647 h 214"/>
              <a:gd name="T94" fmla="*/ 2147483647 w 413"/>
              <a:gd name="T95" fmla="*/ 2147483647 h 214"/>
              <a:gd name="T96" fmla="*/ 2147483647 w 413"/>
              <a:gd name="T97" fmla="*/ 2147483647 h 214"/>
              <a:gd name="T98" fmla="*/ 2147483647 w 413"/>
              <a:gd name="T99" fmla="*/ 2147483647 h 214"/>
              <a:gd name="T100" fmla="*/ 2147483647 w 413"/>
              <a:gd name="T101" fmla="*/ 2147483647 h 214"/>
              <a:gd name="T102" fmla="*/ 2147483647 w 413"/>
              <a:gd name="T103" fmla="*/ 2147483647 h 214"/>
              <a:gd name="T104" fmla="*/ 2147483647 w 413"/>
              <a:gd name="T105" fmla="*/ 2147483647 h 214"/>
              <a:gd name="T106" fmla="*/ 2147483647 w 413"/>
              <a:gd name="T107" fmla="*/ 2147483647 h 214"/>
              <a:gd name="T108" fmla="*/ 2147483647 w 413"/>
              <a:gd name="T109" fmla="*/ 2147483647 h 214"/>
              <a:gd name="T110" fmla="*/ 2147483647 w 413"/>
              <a:gd name="T111" fmla="*/ 2147483647 h 2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3"/>
              <a:gd name="T169" fmla="*/ 0 h 214"/>
              <a:gd name="T170" fmla="*/ 413 w 413"/>
              <a:gd name="T171" fmla="*/ 214 h 2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3" h="214">
                <a:moveTo>
                  <a:pt x="364" y="73"/>
                </a:moveTo>
                <a:cubicBezTo>
                  <a:pt x="325" y="26"/>
                  <a:pt x="267" y="0"/>
                  <a:pt x="206" y="0"/>
                </a:cubicBezTo>
                <a:cubicBezTo>
                  <a:pt x="92" y="0"/>
                  <a:pt x="0" y="92"/>
                  <a:pt x="0" y="206"/>
                </a:cubicBezTo>
                <a:cubicBezTo>
                  <a:pt x="0" y="210"/>
                  <a:pt x="3" y="214"/>
                  <a:pt x="8" y="214"/>
                </a:cubicBezTo>
                <a:cubicBezTo>
                  <a:pt x="12" y="214"/>
                  <a:pt x="16" y="210"/>
                  <a:pt x="16" y="206"/>
                </a:cubicBezTo>
                <a:cubicBezTo>
                  <a:pt x="16" y="194"/>
                  <a:pt x="17" y="182"/>
                  <a:pt x="19" y="171"/>
                </a:cubicBezTo>
                <a:cubicBezTo>
                  <a:pt x="31" y="175"/>
                  <a:pt x="31" y="175"/>
                  <a:pt x="31" y="175"/>
                </a:cubicBezTo>
                <a:cubicBezTo>
                  <a:pt x="34" y="176"/>
                  <a:pt x="38" y="175"/>
                  <a:pt x="39" y="171"/>
                </a:cubicBezTo>
                <a:cubicBezTo>
                  <a:pt x="50" y="135"/>
                  <a:pt x="50" y="135"/>
                  <a:pt x="50" y="135"/>
                </a:cubicBezTo>
                <a:cubicBezTo>
                  <a:pt x="51" y="132"/>
                  <a:pt x="50" y="129"/>
                  <a:pt x="47" y="128"/>
                </a:cubicBezTo>
                <a:cubicBezTo>
                  <a:pt x="34" y="124"/>
                  <a:pt x="34" y="124"/>
                  <a:pt x="34" y="124"/>
                </a:cubicBezTo>
                <a:cubicBezTo>
                  <a:pt x="44" y="103"/>
                  <a:pt x="58" y="84"/>
                  <a:pt x="75" y="68"/>
                </a:cubicBezTo>
                <a:cubicBezTo>
                  <a:pt x="83" y="78"/>
                  <a:pt x="83" y="78"/>
                  <a:pt x="83" y="78"/>
                </a:cubicBezTo>
                <a:cubicBezTo>
                  <a:pt x="85" y="81"/>
                  <a:pt x="88" y="81"/>
                  <a:pt x="91" y="80"/>
                </a:cubicBezTo>
                <a:cubicBezTo>
                  <a:pt x="122" y="57"/>
                  <a:pt x="122" y="57"/>
                  <a:pt x="122" y="57"/>
                </a:cubicBezTo>
                <a:cubicBezTo>
                  <a:pt x="124" y="55"/>
                  <a:pt x="125" y="52"/>
                  <a:pt x="123" y="49"/>
                </a:cubicBezTo>
                <a:cubicBezTo>
                  <a:pt x="115" y="39"/>
                  <a:pt x="115" y="39"/>
                  <a:pt x="115" y="39"/>
                </a:cubicBezTo>
                <a:cubicBezTo>
                  <a:pt x="135" y="28"/>
                  <a:pt x="158" y="20"/>
                  <a:pt x="181" y="17"/>
                </a:cubicBezTo>
                <a:cubicBezTo>
                  <a:pt x="181" y="30"/>
                  <a:pt x="181" y="30"/>
                  <a:pt x="181" y="30"/>
                </a:cubicBezTo>
                <a:cubicBezTo>
                  <a:pt x="181" y="33"/>
                  <a:pt x="184" y="36"/>
                  <a:pt x="187" y="36"/>
                </a:cubicBezTo>
                <a:cubicBezTo>
                  <a:pt x="225" y="36"/>
                  <a:pt x="225" y="36"/>
                  <a:pt x="225" y="36"/>
                </a:cubicBezTo>
                <a:cubicBezTo>
                  <a:pt x="228" y="36"/>
                  <a:pt x="231" y="33"/>
                  <a:pt x="231" y="30"/>
                </a:cubicBezTo>
                <a:cubicBezTo>
                  <a:pt x="231" y="17"/>
                  <a:pt x="231" y="17"/>
                  <a:pt x="231" y="17"/>
                </a:cubicBezTo>
                <a:cubicBezTo>
                  <a:pt x="254" y="20"/>
                  <a:pt x="277" y="28"/>
                  <a:pt x="297" y="39"/>
                </a:cubicBezTo>
                <a:cubicBezTo>
                  <a:pt x="290" y="49"/>
                  <a:pt x="290" y="49"/>
                  <a:pt x="290" y="49"/>
                </a:cubicBezTo>
                <a:cubicBezTo>
                  <a:pt x="288" y="52"/>
                  <a:pt x="288" y="55"/>
                  <a:pt x="291" y="57"/>
                </a:cubicBezTo>
                <a:cubicBezTo>
                  <a:pt x="322" y="80"/>
                  <a:pt x="322" y="80"/>
                  <a:pt x="322" y="80"/>
                </a:cubicBezTo>
                <a:cubicBezTo>
                  <a:pt x="324" y="81"/>
                  <a:pt x="328" y="81"/>
                  <a:pt x="330" y="78"/>
                </a:cubicBezTo>
                <a:cubicBezTo>
                  <a:pt x="337" y="68"/>
                  <a:pt x="337" y="68"/>
                  <a:pt x="337" y="68"/>
                </a:cubicBezTo>
                <a:cubicBezTo>
                  <a:pt x="342" y="73"/>
                  <a:pt x="347" y="78"/>
                  <a:pt x="352" y="83"/>
                </a:cubicBezTo>
                <a:cubicBezTo>
                  <a:pt x="355" y="87"/>
                  <a:pt x="360" y="87"/>
                  <a:pt x="363" y="84"/>
                </a:cubicBezTo>
                <a:cubicBezTo>
                  <a:pt x="366" y="81"/>
                  <a:pt x="367" y="76"/>
                  <a:pt x="364" y="73"/>
                </a:cubicBezTo>
                <a:close/>
                <a:moveTo>
                  <a:pt x="383" y="100"/>
                </a:moveTo>
                <a:cubicBezTo>
                  <a:pt x="381" y="96"/>
                  <a:pt x="376" y="95"/>
                  <a:pt x="372" y="97"/>
                </a:cubicBezTo>
                <a:cubicBezTo>
                  <a:pt x="369" y="99"/>
                  <a:pt x="367" y="104"/>
                  <a:pt x="370" y="108"/>
                </a:cubicBezTo>
                <a:cubicBezTo>
                  <a:pt x="373" y="113"/>
                  <a:pt x="375" y="119"/>
                  <a:pt x="378" y="124"/>
                </a:cubicBezTo>
                <a:cubicBezTo>
                  <a:pt x="366" y="128"/>
                  <a:pt x="366" y="128"/>
                  <a:pt x="366" y="128"/>
                </a:cubicBezTo>
                <a:cubicBezTo>
                  <a:pt x="363" y="129"/>
                  <a:pt x="361" y="132"/>
                  <a:pt x="362" y="135"/>
                </a:cubicBezTo>
                <a:cubicBezTo>
                  <a:pt x="374" y="171"/>
                  <a:pt x="374" y="171"/>
                  <a:pt x="374" y="171"/>
                </a:cubicBezTo>
                <a:cubicBezTo>
                  <a:pt x="375" y="175"/>
                  <a:pt x="378" y="176"/>
                  <a:pt x="381" y="175"/>
                </a:cubicBezTo>
                <a:cubicBezTo>
                  <a:pt x="393" y="171"/>
                  <a:pt x="393" y="171"/>
                  <a:pt x="393" y="171"/>
                </a:cubicBezTo>
                <a:cubicBezTo>
                  <a:pt x="395" y="183"/>
                  <a:pt x="397" y="194"/>
                  <a:pt x="397" y="206"/>
                </a:cubicBezTo>
                <a:cubicBezTo>
                  <a:pt x="397" y="210"/>
                  <a:pt x="400" y="214"/>
                  <a:pt x="405" y="214"/>
                </a:cubicBezTo>
                <a:cubicBezTo>
                  <a:pt x="409" y="214"/>
                  <a:pt x="413" y="210"/>
                  <a:pt x="413" y="206"/>
                </a:cubicBezTo>
                <a:cubicBezTo>
                  <a:pt x="413" y="169"/>
                  <a:pt x="402" y="132"/>
                  <a:pt x="383" y="100"/>
                </a:cubicBezTo>
                <a:close/>
                <a:moveTo>
                  <a:pt x="293" y="85"/>
                </a:moveTo>
                <a:cubicBezTo>
                  <a:pt x="290" y="82"/>
                  <a:pt x="285" y="83"/>
                  <a:pt x="282" y="86"/>
                </a:cubicBezTo>
                <a:cubicBezTo>
                  <a:pt x="219" y="158"/>
                  <a:pt x="219" y="158"/>
                  <a:pt x="219" y="158"/>
                </a:cubicBezTo>
                <a:cubicBezTo>
                  <a:pt x="215" y="157"/>
                  <a:pt x="211" y="156"/>
                  <a:pt x="206" y="156"/>
                </a:cubicBezTo>
                <a:cubicBezTo>
                  <a:pt x="179" y="156"/>
                  <a:pt x="156" y="179"/>
                  <a:pt x="156" y="206"/>
                </a:cubicBezTo>
                <a:cubicBezTo>
                  <a:pt x="156" y="210"/>
                  <a:pt x="160" y="214"/>
                  <a:pt x="164" y="214"/>
                </a:cubicBezTo>
                <a:cubicBezTo>
                  <a:pt x="248" y="214"/>
                  <a:pt x="248" y="214"/>
                  <a:pt x="248" y="214"/>
                </a:cubicBezTo>
                <a:cubicBezTo>
                  <a:pt x="252" y="214"/>
                  <a:pt x="256" y="210"/>
                  <a:pt x="256" y="206"/>
                </a:cubicBezTo>
                <a:cubicBezTo>
                  <a:pt x="256" y="195"/>
                  <a:pt x="252" y="183"/>
                  <a:pt x="245" y="174"/>
                </a:cubicBezTo>
                <a:cubicBezTo>
                  <a:pt x="295" y="96"/>
                  <a:pt x="295" y="96"/>
                  <a:pt x="295" y="96"/>
                </a:cubicBezTo>
                <a:cubicBezTo>
                  <a:pt x="297" y="92"/>
                  <a:pt x="297" y="87"/>
                  <a:pt x="293" y="85"/>
                </a:cubicBezTo>
                <a:close/>
              </a:path>
            </a:pathLst>
          </a:custGeom>
          <a:solidFill>
            <a:schemeClr val="bg1"/>
          </a:solidFill>
          <a:ln>
            <a:noFill/>
          </a:ln>
        </p:spPr>
        <p:txBody>
          <a:bodyPr wrap="none" lIns="0" tIns="0" rIns="0" bIns="0"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21" name="Rectangle 98"/>
          <p:cNvSpPr/>
          <p:nvPr/>
        </p:nvSpPr>
        <p:spPr>
          <a:xfrm>
            <a:off x="1942465" y="5157091"/>
            <a:ext cx="1513545" cy="2462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CHARACTERISTICS</a:t>
            </a:r>
          </a:p>
        </p:txBody>
      </p:sp>
      <p:sp>
        <p:nvSpPr>
          <p:cNvPr id="22" name="Freeform 3"/>
          <p:cNvSpPr>
            <a:spLocks noChangeAspect="1" noEditPoints="1"/>
          </p:cNvSpPr>
          <p:nvPr/>
        </p:nvSpPr>
        <p:spPr bwMode="auto">
          <a:xfrm>
            <a:off x="3811107" y="5538315"/>
            <a:ext cx="576948" cy="527645"/>
          </a:xfrm>
          <a:custGeom>
            <a:avLst/>
            <a:gdLst>
              <a:gd name="T0" fmla="*/ 2147483647 w 466"/>
              <a:gd name="T1" fmla="*/ 2147483647 h 426"/>
              <a:gd name="T2" fmla="*/ 2147483647 w 466"/>
              <a:gd name="T3" fmla="*/ 2147483647 h 426"/>
              <a:gd name="T4" fmla="*/ 2147483647 w 466"/>
              <a:gd name="T5" fmla="*/ 2147483647 h 426"/>
              <a:gd name="T6" fmla="*/ 2147483647 w 466"/>
              <a:gd name="T7" fmla="*/ 2147483647 h 426"/>
              <a:gd name="T8" fmla="*/ 2147483647 w 466"/>
              <a:gd name="T9" fmla="*/ 2147483647 h 426"/>
              <a:gd name="T10" fmla="*/ 2147483647 w 466"/>
              <a:gd name="T11" fmla="*/ 2147483647 h 426"/>
              <a:gd name="T12" fmla="*/ 2147483647 w 466"/>
              <a:gd name="T13" fmla="*/ 2147483647 h 426"/>
              <a:gd name="T14" fmla="*/ 2147483647 w 466"/>
              <a:gd name="T15" fmla="*/ 2147483647 h 426"/>
              <a:gd name="T16" fmla="*/ 2147483647 w 466"/>
              <a:gd name="T17" fmla="*/ 2147483647 h 426"/>
              <a:gd name="T18" fmla="*/ 2147483647 w 466"/>
              <a:gd name="T19" fmla="*/ 2147483647 h 426"/>
              <a:gd name="T20" fmla="*/ 2147483647 w 466"/>
              <a:gd name="T21" fmla="*/ 2147483647 h 426"/>
              <a:gd name="T22" fmla="*/ 2147483647 w 466"/>
              <a:gd name="T23" fmla="*/ 2147483647 h 426"/>
              <a:gd name="T24" fmla="*/ 2147483647 w 466"/>
              <a:gd name="T25" fmla="*/ 2147483647 h 426"/>
              <a:gd name="T26" fmla="*/ 2147483647 w 466"/>
              <a:gd name="T27" fmla="*/ 2147483647 h 426"/>
              <a:gd name="T28" fmla="*/ 2147483647 w 466"/>
              <a:gd name="T29" fmla="*/ 2147483647 h 426"/>
              <a:gd name="T30" fmla="*/ 2147483647 w 466"/>
              <a:gd name="T31" fmla="*/ 2147483647 h 426"/>
              <a:gd name="T32" fmla="*/ 2147483647 w 466"/>
              <a:gd name="T33" fmla="*/ 2147483647 h 426"/>
              <a:gd name="T34" fmla="*/ 2147483647 w 466"/>
              <a:gd name="T35" fmla="*/ 2147483647 h 426"/>
              <a:gd name="T36" fmla="*/ 2147483647 w 466"/>
              <a:gd name="T37" fmla="*/ 2147483647 h 426"/>
              <a:gd name="T38" fmla="*/ 2147483647 w 466"/>
              <a:gd name="T39" fmla="*/ 2147483647 h 426"/>
              <a:gd name="T40" fmla="*/ 2147483647 w 466"/>
              <a:gd name="T41" fmla="*/ 2147483647 h 426"/>
              <a:gd name="T42" fmla="*/ 2147483647 w 466"/>
              <a:gd name="T43" fmla="*/ 2147483647 h 426"/>
              <a:gd name="T44" fmla="*/ 2147483647 w 466"/>
              <a:gd name="T45" fmla="*/ 2147483647 h 426"/>
              <a:gd name="T46" fmla="*/ 2147483647 w 466"/>
              <a:gd name="T47" fmla="*/ 2147483647 h 426"/>
              <a:gd name="T48" fmla="*/ 2147483647 w 466"/>
              <a:gd name="T49" fmla="*/ 2147483647 h 426"/>
              <a:gd name="T50" fmla="*/ 2147483647 w 466"/>
              <a:gd name="T51" fmla="*/ 2147483647 h 426"/>
              <a:gd name="T52" fmla="*/ 2147483647 w 466"/>
              <a:gd name="T53" fmla="*/ 2147483647 h 426"/>
              <a:gd name="T54" fmla="*/ 2147483647 w 466"/>
              <a:gd name="T55" fmla="*/ 2147483647 h 426"/>
              <a:gd name="T56" fmla="*/ 2147483647 w 466"/>
              <a:gd name="T57" fmla="*/ 2147483647 h 426"/>
              <a:gd name="T58" fmla="*/ 2147483647 w 466"/>
              <a:gd name="T59" fmla="*/ 2147483647 h 426"/>
              <a:gd name="T60" fmla="*/ 2147483647 w 466"/>
              <a:gd name="T61" fmla="*/ 2147483647 h 426"/>
              <a:gd name="T62" fmla="*/ 2147483647 w 466"/>
              <a:gd name="T63" fmla="*/ 2147483647 h 426"/>
              <a:gd name="T64" fmla="*/ 2147483647 w 466"/>
              <a:gd name="T65" fmla="*/ 2147483647 h 426"/>
              <a:gd name="T66" fmla="*/ 2147483647 w 466"/>
              <a:gd name="T67" fmla="*/ 2147483647 h 426"/>
              <a:gd name="T68" fmla="*/ 2147483647 w 466"/>
              <a:gd name="T69" fmla="*/ 2147483647 h 426"/>
              <a:gd name="T70" fmla="*/ 2147483647 w 466"/>
              <a:gd name="T71" fmla="*/ 2147483647 h 426"/>
              <a:gd name="T72" fmla="*/ 2147483647 w 466"/>
              <a:gd name="T73" fmla="*/ 2147483647 h 426"/>
              <a:gd name="T74" fmla="*/ 2147483647 w 466"/>
              <a:gd name="T75" fmla="*/ 2147483647 h 426"/>
              <a:gd name="T76" fmla="*/ 2147483647 w 466"/>
              <a:gd name="T77" fmla="*/ 2147483647 h 426"/>
              <a:gd name="T78" fmla="*/ 2147483647 w 466"/>
              <a:gd name="T79" fmla="*/ 2147483647 h 426"/>
              <a:gd name="T80" fmla="*/ 2147483647 w 466"/>
              <a:gd name="T81" fmla="*/ 2147483647 h 426"/>
              <a:gd name="T82" fmla="*/ 2147483647 w 466"/>
              <a:gd name="T83" fmla="*/ 2147483647 h 426"/>
              <a:gd name="T84" fmla="*/ 2147483647 w 466"/>
              <a:gd name="T85" fmla="*/ 2147483647 h 426"/>
              <a:gd name="T86" fmla="*/ 2147483647 w 466"/>
              <a:gd name="T87" fmla="*/ 2147483647 h 426"/>
              <a:gd name="T88" fmla="*/ 2147483647 w 466"/>
              <a:gd name="T89" fmla="*/ 2147483647 h 426"/>
              <a:gd name="T90" fmla="*/ 2147483647 w 466"/>
              <a:gd name="T91" fmla="*/ 2147483647 h 426"/>
              <a:gd name="T92" fmla="*/ 2147483647 w 466"/>
              <a:gd name="T93" fmla="*/ 2147483647 h 426"/>
              <a:gd name="T94" fmla="*/ 2147483647 w 466"/>
              <a:gd name="T95" fmla="*/ 2147483647 h 426"/>
              <a:gd name="T96" fmla="*/ 2147483647 w 466"/>
              <a:gd name="T97" fmla="*/ 2147483647 h 426"/>
              <a:gd name="T98" fmla="*/ 2147483647 w 466"/>
              <a:gd name="T99" fmla="*/ 2147483647 h 426"/>
              <a:gd name="T100" fmla="*/ 2147483647 w 466"/>
              <a:gd name="T101" fmla="*/ 2147483647 h 426"/>
              <a:gd name="T102" fmla="*/ 2147483647 w 466"/>
              <a:gd name="T103" fmla="*/ 2147483647 h 426"/>
              <a:gd name="T104" fmla="*/ 2147483647 w 466"/>
              <a:gd name="T105" fmla="*/ 2147483647 h 4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66" h="426">
                <a:moveTo>
                  <a:pt x="460" y="347"/>
                </a:moveTo>
                <a:cubicBezTo>
                  <a:pt x="411" y="330"/>
                  <a:pt x="411" y="330"/>
                  <a:pt x="411" y="330"/>
                </a:cubicBezTo>
                <a:cubicBezTo>
                  <a:pt x="408" y="329"/>
                  <a:pt x="406" y="330"/>
                  <a:pt x="403" y="331"/>
                </a:cubicBezTo>
                <a:cubicBezTo>
                  <a:pt x="401" y="333"/>
                  <a:pt x="400" y="335"/>
                  <a:pt x="400" y="338"/>
                </a:cubicBezTo>
                <a:cubicBezTo>
                  <a:pt x="400" y="347"/>
                  <a:pt x="400" y="347"/>
                  <a:pt x="400" y="347"/>
                </a:cubicBezTo>
                <a:cubicBezTo>
                  <a:pt x="361" y="347"/>
                  <a:pt x="361" y="347"/>
                  <a:pt x="361" y="347"/>
                </a:cubicBezTo>
                <a:cubicBezTo>
                  <a:pt x="356" y="347"/>
                  <a:pt x="353" y="350"/>
                  <a:pt x="353" y="355"/>
                </a:cubicBezTo>
                <a:cubicBezTo>
                  <a:pt x="353" y="359"/>
                  <a:pt x="356" y="363"/>
                  <a:pt x="361" y="363"/>
                </a:cubicBezTo>
                <a:cubicBezTo>
                  <a:pt x="400" y="363"/>
                  <a:pt x="400" y="363"/>
                  <a:pt x="400" y="363"/>
                </a:cubicBezTo>
                <a:cubicBezTo>
                  <a:pt x="400" y="372"/>
                  <a:pt x="400" y="372"/>
                  <a:pt x="400" y="372"/>
                </a:cubicBezTo>
                <a:cubicBezTo>
                  <a:pt x="400" y="375"/>
                  <a:pt x="402" y="378"/>
                  <a:pt x="404" y="379"/>
                </a:cubicBezTo>
                <a:cubicBezTo>
                  <a:pt x="405" y="380"/>
                  <a:pt x="407" y="380"/>
                  <a:pt x="408" y="380"/>
                </a:cubicBezTo>
                <a:cubicBezTo>
                  <a:pt x="409" y="380"/>
                  <a:pt x="410" y="380"/>
                  <a:pt x="411" y="380"/>
                </a:cubicBezTo>
                <a:cubicBezTo>
                  <a:pt x="460" y="362"/>
                  <a:pt x="460" y="362"/>
                  <a:pt x="460" y="362"/>
                </a:cubicBezTo>
                <a:cubicBezTo>
                  <a:pt x="464" y="361"/>
                  <a:pt x="466" y="358"/>
                  <a:pt x="466" y="355"/>
                </a:cubicBezTo>
                <a:cubicBezTo>
                  <a:pt x="466" y="351"/>
                  <a:pt x="463" y="348"/>
                  <a:pt x="460" y="347"/>
                </a:cubicBezTo>
                <a:close/>
                <a:moveTo>
                  <a:pt x="94" y="223"/>
                </a:moveTo>
                <a:cubicBezTo>
                  <a:pt x="92" y="225"/>
                  <a:pt x="90" y="228"/>
                  <a:pt x="90" y="231"/>
                </a:cubicBezTo>
                <a:cubicBezTo>
                  <a:pt x="90" y="236"/>
                  <a:pt x="94" y="241"/>
                  <a:pt x="98" y="242"/>
                </a:cubicBezTo>
                <a:cubicBezTo>
                  <a:pt x="222" y="288"/>
                  <a:pt x="222" y="288"/>
                  <a:pt x="222" y="288"/>
                </a:cubicBezTo>
                <a:cubicBezTo>
                  <a:pt x="223" y="289"/>
                  <a:pt x="225" y="289"/>
                  <a:pt x="227" y="289"/>
                </a:cubicBezTo>
                <a:cubicBezTo>
                  <a:pt x="232" y="289"/>
                  <a:pt x="236" y="287"/>
                  <a:pt x="240" y="284"/>
                </a:cubicBezTo>
                <a:cubicBezTo>
                  <a:pt x="271" y="247"/>
                  <a:pt x="271" y="247"/>
                  <a:pt x="271" y="247"/>
                </a:cubicBezTo>
                <a:cubicBezTo>
                  <a:pt x="273" y="245"/>
                  <a:pt x="274" y="242"/>
                  <a:pt x="274" y="239"/>
                </a:cubicBezTo>
                <a:cubicBezTo>
                  <a:pt x="275" y="234"/>
                  <a:pt x="271" y="229"/>
                  <a:pt x="267" y="228"/>
                </a:cubicBezTo>
                <a:cubicBezTo>
                  <a:pt x="260" y="224"/>
                  <a:pt x="260" y="224"/>
                  <a:pt x="260" y="224"/>
                </a:cubicBezTo>
                <a:cubicBezTo>
                  <a:pt x="271" y="212"/>
                  <a:pt x="271" y="212"/>
                  <a:pt x="271" y="212"/>
                </a:cubicBezTo>
                <a:cubicBezTo>
                  <a:pt x="273" y="209"/>
                  <a:pt x="274" y="207"/>
                  <a:pt x="274" y="203"/>
                </a:cubicBezTo>
                <a:cubicBezTo>
                  <a:pt x="275" y="199"/>
                  <a:pt x="271" y="194"/>
                  <a:pt x="267" y="192"/>
                </a:cubicBezTo>
                <a:cubicBezTo>
                  <a:pt x="260" y="189"/>
                  <a:pt x="260" y="189"/>
                  <a:pt x="260" y="189"/>
                </a:cubicBezTo>
                <a:cubicBezTo>
                  <a:pt x="271" y="176"/>
                  <a:pt x="271" y="176"/>
                  <a:pt x="271" y="176"/>
                </a:cubicBezTo>
                <a:cubicBezTo>
                  <a:pt x="273" y="174"/>
                  <a:pt x="274" y="171"/>
                  <a:pt x="274" y="168"/>
                </a:cubicBezTo>
                <a:cubicBezTo>
                  <a:pt x="275" y="163"/>
                  <a:pt x="271" y="158"/>
                  <a:pt x="267" y="157"/>
                </a:cubicBezTo>
                <a:cubicBezTo>
                  <a:pt x="143" y="111"/>
                  <a:pt x="143" y="111"/>
                  <a:pt x="143" y="111"/>
                </a:cubicBezTo>
                <a:cubicBezTo>
                  <a:pt x="141" y="110"/>
                  <a:pt x="140" y="110"/>
                  <a:pt x="138" y="110"/>
                </a:cubicBezTo>
                <a:cubicBezTo>
                  <a:pt x="133" y="110"/>
                  <a:pt x="129" y="112"/>
                  <a:pt x="125" y="116"/>
                </a:cubicBezTo>
                <a:cubicBezTo>
                  <a:pt x="94" y="153"/>
                  <a:pt x="94" y="153"/>
                  <a:pt x="94" y="153"/>
                </a:cubicBezTo>
                <a:cubicBezTo>
                  <a:pt x="92" y="155"/>
                  <a:pt x="90" y="158"/>
                  <a:pt x="90" y="161"/>
                </a:cubicBezTo>
                <a:cubicBezTo>
                  <a:pt x="90" y="166"/>
                  <a:pt x="94" y="170"/>
                  <a:pt x="98" y="172"/>
                </a:cubicBezTo>
                <a:cubicBezTo>
                  <a:pt x="106" y="175"/>
                  <a:pt x="106" y="175"/>
                  <a:pt x="106" y="175"/>
                </a:cubicBezTo>
                <a:cubicBezTo>
                  <a:pt x="94" y="187"/>
                  <a:pt x="94" y="187"/>
                  <a:pt x="94" y="187"/>
                </a:cubicBezTo>
                <a:cubicBezTo>
                  <a:pt x="94" y="188"/>
                  <a:pt x="94" y="188"/>
                  <a:pt x="94" y="188"/>
                </a:cubicBezTo>
                <a:cubicBezTo>
                  <a:pt x="92" y="190"/>
                  <a:pt x="90" y="193"/>
                  <a:pt x="90" y="196"/>
                </a:cubicBezTo>
                <a:cubicBezTo>
                  <a:pt x="90" y="201"/>
                  <a:pt x="94" y="206"/>
                  <a:pt x="98" y="207"/>
                </a:cubicBezTo>
                <a:cubicBezTo>
                  <a:pt x="106" y="210"/>
                  <a:pt x="106" y="210"/>
                  <a:pt x="106" y="210"/>
                </a:cubicBezTo>
                <a:cubicBezTo>
                  <a:pt x="94" y="223"/>
                  <a:pt x="94" y="223"/>
                  <a:pt x="94" y="223"/>
                </a:cubicBezTo>
                <a:close/>
                <a:moveTo>
                  <a:pt x="228" y="273"/>
                </a:moveTo>
                <a:cubicBezTo>
                  <a:pt x="228" y="273"/>
                  <a:pt x="228" y="273"/>
                  <a:pt x="228" y="273"/>
                </a:cubicBezTo>
                <a:cubicBezTo>
                  <a:pt x="228" y="273"/>
                  <a:pt x="228" y="273"/>
                  <a:pt x="228" y="273"/>
                </a:cubicBezTo>
                <a:cubicBezTo>
                  <a:pt x="228" y="273"/>
                  <a:pt x="227" y="273"/>
                  <a:pt x="227" y="273"/>
                </a:cubicBezTo>
                <a:cubicBezTo>
                  <a:pt x="110" y="229"/>
                  <a:pt x="110" y="229"/>
                  <a:pt x="110" y="229"/>
                </a:cubicBezTo>
                <a:cubicBezTo>
                  <a:pt x="122" y="216"/>
                  <a:pt x="122" y="216"/>
                  <a:pt x="122" y="216"/>
                </a:cubicBezTo>
                <a:cubicBezTo>
                  <a:pt x="222" y="253"/>
                  <a:pt x="222" y="253"/>
                  <a:pt x="222" y="253"/>
                </a:cubicBezTo>
                <a:cubicBezTo>
                  <a:pt x="223" y="254"/>
                  <a:pt x="225" y="254"/>
                  <a:pt x="227" y="254"/>
                </a:cubicBezTo>
                <a:cubicBezTo>
                  <a:pt x="232" y="254"/>
                  <a:pt x="236" y="252"/>
                  <a:pt x="240" y="248"/>
                </a:cubicBezTo>
                <a:cubicBezTo>
                  <a:pt x="249" y="237"/>
                  <a:pt x="249" y="237"/>
                  <a:pt x="249" y="237"/>
                </a:cubicBezTo>
                <a:cubicBezTo>
                  <a:pt x="256" y="240"/>
                  <a:pt x="256" y="240"/>
                  <a:pt x="256" y="240"/>
                </a:cubicBezTo>
                <a:lnTo>
                  <a:pt x="228" y="273"/>
                </a:lnTo>
                <a:close/>
                <a:moveTo>
                  <a:pt x="228" y="238"/>
                </a:moveTo>
                <a:cubicBezTo>
                  <a:pt x="228" y="238"/>
                  <a:pt x="228" y="238"/>
                  <a:pt x="228" y="238"/>
                </a:cubicBezTo>
                <a:cubicBezTo>
                  <a:pt x="228" y="238"/>
                  <a:pt x="228" y="238"/>
                  <a:pt x="228" y="238"/>
                </a:cubicBezTo>
                <a:cubicBezTo>
                  <a:pt x="228" y="238"/>
                  <a:pt x="227" y="238"/>
                  <a:pt x="227" y="238"/>
                </a:cubicBezTo>
                <a:cubicBezTo>
                  <a:pt x="110" y="194"/>
                  <a:pt x="110" y="194"/>
                  <a:pt x="110" y="194"/>
                </a:cubicBezTo>
                <a:cubicBezTo>
                  <a:pt x="122" y="181"/>
                  <a:pt x="122" y="181"/>
                  <a:pt x="122" y="181"/>
                </a:cubicBezTo>
                <a:cubicBezTo>
                  <a:pt x="222" y="218"/>
                  <a:pt x="222" y="218"/>
                  <a:pt x="222" y="218"/>
                </a:cubicBezTo>
                <a:cubicBezTo>
                  <a:pt x="223" y="219"/>
                  <a:pt x="225" y="219"/>
                  <a:pt x="227" y="219"/>
                </a:cubicBezTo>
                <a:cubicBezTo>
                  <a:pt x="232" y="219"/>
                  <a:pt x="236" y="217"/>
                  <a:pt x="240" y="213"/>
                </a:cubicBezTo>
                <a:cubicBezTo>
                  <a:pt x="250" y="202"/>
                  <a:pt x="250" y="202"/>
                  <a:pt x="250" y="202"/>
                </a:cubicBezTo>
                <a:cubicBezTo>
                  <a:pt x="256" y="205"/>
                  <a:pt x="256" y="205"/>
                  <a:pt x="256" y="205"/>
                </a:cubicBezTo>
                <a:lnTo>
                  <a:pt x="228" y="238"/>
                </a:lnTo>
                <a:close/>
                <a:moveTo>
                  <a:pt x="137" y="126"/>
                </a:moveTo>
                <a:cubicBezTo>
                  <a:pt x="137" y="126"/>
                  <a:pt x="138" y="126"/>
                  <a:pt x="138" y="126"/>
                </a:cubicBezTo>
                <a:cubicBezTo>
                  <a:pt x="256" y="170"/>
                  <a:pt x="256" y="170"/>
                  <a:pt x="256" y="170"/>
                </a:cubicBezTo>
                <a:cubicBezTo>
                  <a:pt x="228" y="203"/>
                  <a:pt x="228" y="203"/>
                  <a:pt x="228" y="203"/>
                </a:cubicBezTo>
                <a:cubicBezTo>
                  <a:pt x="228" y="203"/>
                  <a:pt x="227" y="203"/>
                  <a:pt x="227" y="203"/>
                </a:cubicBezTo>
                <a:cubicBezTo>
                  <a:pt x="109" y="159"/>
                  <a:pt x="109" y="159"/>
                  <a:pt x="109" y="159"/>
                </a:cubicBezTo>
                <a:lnTo>
                  <a:pt x="137" y="126"/>
                </a:lnTo>
                <a:close/>
                <a:moveTo>
                  <a:pt x="443" y="198"/>
                </a:moveTo>
                <a:cubicBezTo>
                  <a:pt x="445" y="195"/>
                  <a:pt x="445" y="190"/>
                  <a:pt x="441" y="187"/>
                </a:cubicBezTo>
                <a:cubicBezTo>
                  <a:pt x="438" y="184"/>
                  <a:pt x="433" y="185"/>
                  <a:pt x="430" y="188"/>
                </a:cubicBezTo>
                <a:cubicBezTo>
                  <a:pt x="368" y="265"/>
                  <a:pt x="320" y="315"/>
                  <a:pt x="276" y="347"/>
                </a:cubicBezTo>
                <a:cubicBezTo>
                  <a:pt x="37" y="347"/>
                  <a:pt x="37" y="347"/>
                  <a:pt x="37" y="347"/>
                </a:cubicBezTo>
                <a:cubicBezTo>
                  <a:pt x="35" y="347"/>
                  <a:pt x="34" y="345"/>
                  <a:pt x="34" y="344"/>
                </a:cubicBezTo>
                <a:cubicBezTo>
                  <a:pt x="34" y="65"/>
                  <a:pt x="34" y="65"/>
                  <a:pt x="34" y="65"/>
                </a:cubicBezTo>
                <a:cubicBezTo>
                  <a:pt x="44" y="65"/>
                  <a:pt x="44" y="65"/>
                  <a:pt x="44" y="65"/>
                </a:cubicBezTo>
                <a:cubicBezTo>
                  <a:pt x="46" y="65"/>
                  <a:pt x="49" y="64"/>
                  <a:pt x="50" y="62"/>
                </a:cubicBezTo>
                <a:cubicBezTo>
                  <a:pt x="52" y="60"/>
                  <a:pt x="52" y="57"/>
                  <a:pt x="51" y="55"/>
                </a:cubicBezTo>
                <a:cubicBezTo>
                  <a:pt x="33" y="5"/>
                  <a:pt x="33" y="5"/>
                  <a:pt x="33" y="5"/>
                </a:cubicBezTo>
                <a:cubicBezTo>
                  <a:pt x="32" y="2"/>
                  <a:pt x="29" y="0"/>
                  <a:pt x="26" y="0"/>
                </a:cubicBezTo>
                <a:cubicBezTo>
                  <a:pt x="22" y="0"/>
                  <a:pt x="19" y="2"/>
                  <a:pt x="18" y="5"/>
                </a:cubicBezTo>
                <a:cubicBezTo>
                  <a:pt x="1" y="55"/>
                  <a:pt x="1" y="55"/>
                  <a:pt x="1" y="55"/>
                </a:cubicBezTo>
                <a:cubicBezTo>
                  <a:pt x="0" y="57"/>
                  <a:pt x="1" y="60"/>
                  <a:pt x="2" y="62"/>
                </a:cubicBezTo>
                <a:cubicBezTo>
                  <a:pt x="4" y="64"/>
                  <a:pt x="6" y="66"/>
                  <a:pt x="9" y="66"/>
                </a:cubicBezTo>
                <a:cubicBezTo>
                  <a:pt x="9" y="66"/>
                  <a:pt x="9" y="66"/>
                  <a:pt x="9" y="66"/>
                </a:cubicBezTo>
                <a:cubicBezTo>
                  <a:pt x="18" y="66"/>
                  <a:pt x="18" y="66"/>
                  <a:pt x="18" y="66"/>
                </a:cubicBezTo>
                <a:cubicBezTo>
                  <a:pt x="18" y="418"/>
                  <a:pt x="18" y="418"/>
                  <a:pt x="18" y="418"/>
                </a:cubicBezTo>
                <a:cubicBezTo>
                  <a:pt x="18" y="422"/>
                  <a:pt x="21" y="426"/>
                  <a:pt x="26" y="426"/>
                </a:cubicBezTo>
                <a:cubicBezTo>
                  <a:pt x="30" y="426"/>
                  <a:pt x="34" y="422"/>
                  <a:pt x="34" y="418"/>
                </a:cubicBezTo>
                <a:cubicBezTo>
                  <a:pt x="34" y="371"/>
                  <a:pt x="34" y="371"/>
                  <a:pt x="34" y="371"/>
                </a:cubicBezTo>
                <a:cubicBezTo>
                  <a:pt x="52" y="385"/>
                  <a:pt x="90" y="407"/>
                  <a:pt x="144" y="407"/>
                </a:cubicBezTo>
                <a:cubicBezTo>
                  <a:pt x="193" y="407"/>
                  <a:pt x="235" y="395"/>
                  <a:pt x="281" y="363"/>
                </a:cubicBezTo>
                <a:cubicBezTo>
                  <a:pt x="328" y="363"/>
                  <a:pt x="328" y="363"/>
                  <a:pt x="328" y="363"/>
                </a:cubicBezTo>
                <a:cubicBezTo>
                  <a:pt x="333" y="363"/>
                  <a:pt x="336" y="359"/>
                  <a:pt x="336" y="355"/>
                </a:cubicBezTo>
                <a:cubicBezTo>
                  <a:pt x="336" y="350"/>
                  <a:pt x="333" y="347"/>
                  <a:pt x="328" y="347"/>
                </a:cubicBezTo>
                <a:cubicBezTo>
                  <a:pt x="303" y="347"/>
                  <a:pt x="303" y="347"/>
                  <a:pt x="303" y="347"/>
                </a:cubicBezTo>
                <a:cubicBezTo>
                  <a:pt x="343" y="314"/>
                  <a:pt x="387" y="266"/>
                  <a:pt x="443" y="198"/>
                </a:cubicBezTo>
                <a:close/>
                <a:moveTo>
                  <a:pt x="144" y="391"/>
                </a:moveTo>
                <a:cubicBezTo>
                  <a:pt x="101" y="391"/>
                  <a:pt x="69" y="375"/>
                  <a:pt x="50" y="363"/>
                </a:cubicBezTo>
                <a:cubicBezTo>
                  <a:pt x="251" y="363"/>
                  <a:pt x="251" y="363"/>
                  <a:pt x="251" y="363"/>
                </a:cubicBezTo>
                <a:cubicBezTo>
                  <a:pt x="216" y="383"/>
                  <a:pt x="182" y="391"/>
                  <a:pt x="144" y="391"/>
                </a:cubicBezTo>
                <a:close/>
                <a:moveTo>
                  <a:pt x="193" y="159"/>
                </a:moveTo>
                <a:cubicBezTo>
                  <a:pt x="193" y="158"/>
                  <a:pt x="192" y="157"/>
                  <a:pt x="191" y="156"/>
                </a:cubicBezTo>
                <a:cubicBezTo>
                  <a:pt x="192" y="155"/>
                  <a:pt x="192" y="154"/>
                  <a:pt x="191" y="153"/>
                </a:cubicBezTo>
                <a:cubicBezTo>
                  <a:pt x="190" y="152"/>
                  <a:pt x="188" y="152"/>
                  <a:pt x="187" y="153"/>
                </a:cubicBezTo>
                <a:cubicBezTo>
                  <a:pt x="186" y="154"/>
                  <a:pt x="186" y="154"/>
                  <a:pt x="186" y="154"/>
                </a:cubicBezTo>
                <a:cubicBezTo>
                  <a:pt x="186" y="154"/>
                  <a:pt x="185" y="154"/>
                  <a:pt x="184" y="154"/>
                </a:cubicBezTo>
                <a:cubicBezTo>
                  <a:pt x="182" y="154"/>
                  <a:pt x="179" y="154"/>
                  <a:pt x="178" y="157"/>
                </a:cubicBezTo>
                <a:cubicBezTo>
                  <a:pt x="177" y="158"/>
                  <a:pt x="176" y="159"/>
                  <a:pt x="176" y="160"/>
                </a:cubicBezTo>
                <a:cubicBezTo>
                  <a:pt x="176" y="162"/>
                  <a:pt x="177" y="163"/>
                  <a:pt x="178" y="164"/>
                </a:cubicBezTo>
                <a:cubicBezTo>
                  <a:pt x="179" y="165"/>
                  <a:pt x="180" y="165"/>
                  <a:pt x="180" y="166"/>
                </a:cubicBezTo>
                <a:cubicBezTo>
                  <a:pt x="181" y="166"/>
                  <a:pt x="181" y="166"/>
                  <a:pt x="182" y="167"/>
                </a:cubicBezTo>
                <a:cubicBezTo>
                  <a:pt x="182" y="167"/>
                  <a:pt x="182" y="167"/>
                  <a:pt x="182" y="167"/>
                </a:cubicBezTo>
                <a:cubicBezTo>
                  <a:pt x="182" y="167"/>
                  <a:pt x="182" y="167"/>
                  <a:pt x="182" y="167"/>
                </a:cubicBezTo>
                <a:cubicBezTo>
                  <a:pt x="182" y="167"/>
                  <a:pt x="182" y="167"/>
                  <a:pt x="182" y="167"/>
                </a:cubicBezTo>
                <a:cubicBezTo>
                  <a:pt x="182" y="167"/>
                  <a:pt x="182" y="167"/>
                  <a:pt x="182" y="168"/>
                </a:cubicBezTo>
                <a:cubicBezTo>
                  <a:pt x="181" y="168"/>
                  <a:pt x="180" y="169"/>
                  <a:pt x="179" y="169"/>
                </a:cubicBezTo>
                <a:cubicBezTo>
                  <a:pt x="178" y="169"/>
                  <a:pt x="178" y="169"/>
                  <a:pt x="177" y="168"/>
                </a:cubicBezTo>
                <a:cubicBezTo>
                  <a:pt x="177" y="168"/>
                  <a:pt x="177" y="168"/>
                  <a:pt x="177" y="168"/>
                </a:cubicBezTo>
                <a:cubicBezTo>
                  <a:pt x="177" y="168"/>
                  <a:pt x="176" y="168"/>
                  <a:pt x="176" y="168"/>
                </a:cubicBezTo>
                <a:cubicBezTo>
                  <a:pt x="176" y="168"/>
                  <a:pt x="176" y="168"/>
                  <a:pt x="176" y="168"/>
                </a:cubicBezTo>
                <a:cubicBezTo>
                  <a:pt x="176" y="168"/>
                  <a:pt x="175" y="167"/>
                  <a:pt x="175" y="167"/>
                </a:cubicBezTo>
                <a:cubicBezTo>
                  <a:pt x="174" y="166"/>
                  <a:pt x="174" y="166"/>
                  <a:pt x="174" y="166"/>
                </a:cubicBezTo>
                <a:cubicBezTo>
                  <a:pt x="174" y="166"/>
                  <a:pt x="174" y="166"/>
                  <a:pt x="174" y="166"/>
                </a:cubicBezTo>
                <a:cubicBezTo>
                  <a:pt x="174" y="165"/>
                  <a:pt x="172" y="164"/>
                  <a:pt x="171" y="164"/>
                </a:cubicBezTo>
                <a:cubicBezTo>
                  <a:pt x="170" y="165"/>
                  <a:pt x="169" y="166"/>
                  <a:pt x="169" y="168"/>
                </a:cubicBezTo>
                <a:cubicBezTo>
                  <a:pt x="170" y="168"/>
                  <a:pt x="170" y="169"/>
                  <a:pt x="172" y="171"/>
                </a:cubicBezTo>
                <a:cubicBezTo>
                  <a:pt x="172" y="171"/>
                  <a:pt x="172" y="171"/>
                  <a:pt x="172" y="171"/>
                </a:cubicBezTo>
                <a:cubicBezTo>
                  <a:pt x="171" y="172"/>
                  <a:pt x="171" y="174"/>
                  <a:pt x="172" y="175"/>
                </a:cubicBezTo>
                <a:cubicBezTo>
                  <a:pt x="172" y="175"/>
                  <a:pt x="173" y="175"/>
                  <a:pt x="174" y="175"/>
                </a:cubicBezTo>
                <a:cubicBezTo>
                  <a:pt x="174" y="175"/>
                  <a:pt x="175" y="175"/>
                  <a:pt x="175" y="174"/>
                </a:cubicBezTo>
                <a:cubicBezTo>
                  <a:pt x="176" y="173"/>
                  <a:pt x="176" y="173"/>
                  <a:pt x="176" y="173"/>
                </a:cubicBezTo>
                <a:cubicBezTo>
                  <a:pt x="177" y="173"/>
                  <a:pt x="178" y="174"/>
                  <a:pt x="179" y="174"/>
                </a:cubicBezTo>
                <a:cubicBezTo>
                  <a:pt x="179" y="174"/>
                  <a:pt x="179" y="174"/>
                  <a:pt x="179" y="174"/>
                </a:cubicBezTo>
                <a:cubicBezTo>
                  <a:pt x="181" y="174"/>
                  <a:pt x="184" y="173"/>
                  <a:pt x="185" y="171"/>
                </a:cubicBezTo>
                <a:cubicBezTo>
                  <a:pt x="186" y="170"/>
                  <a:pt x="186" y="170"/>
                  <a:pt x="187" y="169"/>
                </a:cubicBezTo>
                <a:cubicBezTo>
                  <a:pt x="187" y="168"/>
                  <a:pt x="187" y="168"/>
                  <a:pt x="187" y="167"/>
                </a:cubicBezTo>
                <a:cubicBezTo>
                  <a:pt x="187" y="165"/>
                  <a:pt x="186" y="164"/>
                  <a:pt x="185" y="163"/>
                </a:cubicBezTo>
                <a:cubicBezTo>
                  <a:pt x="184" y="162"/>
                  <a:pt x="183" y="162"/>
                  <a:pt x="183" y="162"/>
                </a:cubicBezTo>
                <a:cubicBezTo>
                  <a:pt x="182" y="161"/>
                  <a:pt x="182" y="161"/>
                  <a:pt x="181" y="160"/>
                </a:cubicBezTo>
                <a:cubicBezTo>
                  <a:pt x="181" y="160"/>
                  <a:pt x="181" y="160"/>
                  <a:pt x="181" y="160"/>
                </a:cubicBezTo>
                <a:cubicBezTo>
                  <a:pt x="181" y="160"/>
                  <a:pt x="181" y="160"/>
                  <a:pt x="181" y="160"/>
                </a:cubicBezTo>
                <a:cubicBezTo>
                  <a:pt x="182" y="159"/>
                  <a:pt x="183" y="159"/>
                  <a:pt x="184" y="159"/>
                </a:cubicBezTo>
                <a:cubicBezTo>
                  <a:pt x="184" y="159"/>
                  <a:pt x="185" y="159"/>
                  <a:pt x="185" y="159"/>
                </a:cubicBezTo>
                <a:cubicBezTo>
                  <a:pt x="186" y="159"/>
                  <a:pt x="186" y="159"/>
                  <a:pt x="186" y="159"/>
                </a:cubicBezTo>
                <a:cubicBezTo>
                  <a:pt x="186" y="159"/>
                  <a:pt x="186" y="159"/>
                  <a:pt x="186" y="159"/>
                </a:cubicBezTo>
                <a:cubicBezTo>
                  <a:pt x="186" y="159"/>
                  <a:pt x="186" y="159"/>
                  <a:pt x="186" y="159"/>
                </a:cubicBezTo>
                <a:cubicBezTo>
                  <a:pt x="187" y="160"/>
                  <a:pt x="188" y="160"/>
                  <a:pt x="188" y="160"/>
                </a:cubicBezTo>
                <a:cubicBezTo>
                  <a:pt x="188" y="160"/>
                  <a:pt x="188" y="160"/>
                  <a:pt x="188" y="160"/>
                </a:cubicBezTo>
                <a:cubicBezTo>
                  <a:pt x="188" y="162"/>
                  <a:pt x="190" y="162"/>
                  <a:pt x="191" y="162"/>
                </a:cubicBezTo>
                <a:cubicBezTo>
                  <a:pt x="192" y="162"/>
                  <a:pt x="193" y="160"/>
                  <a:pt x="193" y="159"/>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23" name="Freeform 3"/>
          <p:cNvSpPr>
            <a:spLocks noChangeAspect="1"/>
          </p:cNvSpPr>
          <p:nvPr/>
        </p:nvSpPr>
        <p:spPr bwMode="auto">
          <a:xfrm>
            <a:off x="5123733" y="4840543"/>
            <a:ext cx="1312862" cy="1125537"/>
          </a:xfrm>
          <a:custGeom>
            <a:avLst/>
            <a:gdLst>
              <a:gd name="T0" fmla="*/ 2147483647 w 350"/>
              <a:gd name="T1" fmla="*/ 2147483647 h 300"/>
              <a:gd name="T2" fmla="*/ 2147483647 w 350"/>
              <a:gd name="T3" fmla="*/ 2147483647 h 300"/>
              <a:gd name="T4" fmla="*/ 2147483647 w 350"/>
              <a:gd name="T5" fmla="*/ 2147483647 h 300"/>
              <a:gd name="T6" fmla="*/ 2147483647 w 350"/>
              <a:gd name="T7" fmla="*/ 2147483647 h 300"/>
              <a:gd name="T8" fmla="*/ 2147483647 w 350"/>
              <a:gd name="T9" fmla="*/ 2147483647 h 300"/>
              <a:gd name="T10" fmla="*/ 2147483647 w 350"/>
              <a:gd name="T11" fmla="*/ 2147483647 h 300"/>
              <a:gd name="T12" fmla="*/ 2147483647 w 350"/>
              <a:gd name="T13" fmla="*/ 2147483647 h 300"/>
              <a:gd name="T14" fmla="*/ 2147483647 w 350"/>
              <a:gd name="T15" fmla="*/ 2147483647 h 300"/>
              <a:gd name="T16" fmla="*/ 2147483647 w 350"/>
              <a:gd name="T17" fmla="*/ 2147483647 h 300"/>
              <a:gd name="T18" fmla="*/ 2147483647 w 350"/>
              <a:gd name="T19" fmla="*/ 2147483647 h 300"/>
              <a:gd name="T20" fmla="*/ 2147483647 w 350"/>
              <a:gd name="T21" fmla="*/ 2147483647 h 300"/>
              <a:gd name="T22" fmla="*/ 2147483647 w 350"/>
              <a:gd name="T23" fmla="*/ 2147483647 h 300"/>
              <a:gd name="T24" fmla="*/ 2147483647 w 350"/>
              <a:gd name="T25" fmla="*/ 2147483647 h 300"/>
              <a:gd name="T26" fmla="*/ 2147483647 w 350"/>
              <a:gd name="T27" fmla="*/ 2147483647 h 300"/>
              <a:gd name="T28" fmla="*/ 2147483647 w 350"/>
              <a:gd name="T29" fmla="*/ 2147483647 h 300"/>
              <a:gd name="T30" fmla="*/ 2147483647 w 350"/>
              <a:gd name="T31" fmla="*/ 2147483647 h 300"/>
              <a:gd name="T32" fmla="*/ 2147483647 w 350"/>
              <a:gd name="T33" fmla="*/ 2147483647 h 300"/>
              <a:gd name="T34" fmla="*/ 2147483647 w 350"/>
              <a:gd name="T35" fmla="*/ 2147483647 h 300"/>
              <a:gd name="T36" fmla="*/ 2147483647 w 350"/>
              <a:gd name="T37" fmla="*/ 2147483647 h 300"/>
              <a:gd name="T38" fmla="*/ 2147483647 w 350"/>
              <a:gd name="T39" fmla="*/ 2147483647 h 300"/>
              <a:gd name="T40" fmla="*/ 2147483647 w 350"/>
              <a:gd name="T41" fmla="*/ 2147483647 h 300"/>
              <a:gd name="T42" fmla="*/ 2147483647 w 350"/>
              <a:gd name="T43" fmla="*/ 2147483647 h 300"/>
              <a:gd name="T44" fmla="*/ 2147483647 w 350"/>
              <a:gd name="T45" fmla="*/ 2147483647 h 300"/>
              <a:gd name="T46" fmla="*/ 2147483647 w 350"/>
              <a:gd name="T47" fmla="*/ 2147483647 h 300"/>
              <a:gd name="T48" fmla="*/ 2147483647 w 350"/>
              <a:gd name="T49" fmla="*/ 2147483647 h 300"/>
              <a:gd name="T50" fmla="*/ 2147483647 w 350"/>
              <a:gd name="T51" fmla="*/ 2147483647 h 300"/>
              <a:gd name="T52" fmla="*/ 2147483647 w 350"/>
              <a:gd name="T53" fmla="*/ 2147483647 h 300"/>
              <a:gd name="T54" fmla="*/ 2147483647 w 350"/>
              <a:gd name="T55" fmla="*/ 2147483647 h 300"/>
              <a:gd name="T56" fmla="*/ 2147483647 w 350"/>
              <a:gd name="T57" fmla="*/ 2147483647 h 300"/>
              <a:gd name="T58" fmla="*/ 2147483647 w 350"/>
              <a:gd name="T59" fmla="*/ 0 h 300"/>
              <a:gd name="T60" fmla="*/ 2147483647 w 350"/>
              <a:gd name="T61" fmla="*/ 2147483647 h 300"/>
              <a:gd name="T62" fmla="*/ 2147483647 w 350"/>
              <a:gd name="T63" fmla="*/ 2147483647 h 300"/>
              <a:gd name="T64" fmla="*/ 2147483647 w 350"/>
              <a:gd name="T65" fmla="*/ 2147483647 h 300"/>
              <a:gd name="T66" fmla="*/ 2147483647 w 350"/>
              <a:gd name="T67" fmla="*/ 2147483647 h 300"/>
              <a:gd name="T68" fmla="*/ 0 w 350"/>
              <a:gd name="T69" fmla="*/ 2147483647 h 300"/>
              <a:gd name="T70" fmla="*/ 0 w 350"/>
              <a:gd name="T71" fmla="*/ 2147483647 h 300"/>
              <a:gd name="T72" fmla="*/ 2147483647 w 350"/>
              <a:gd name="T73" fmla="*/ 2147483647 h 300"/>
              <a:gd name="T74" fmla="*/ 2147483647 w 350"/>
              <a:gd name="T75" fmla="*/ 2147483647 h 300"/>
              <a:gd name="T76" fmla="*/ 2147483647 w 350"/>
              <a:gd name="T77" fmla="*/ 2147483647 h 300"/>
              <a:gd name="T78" fmla="*/ 2147483647 w 350"/>
              <a:gd name="T79" fmla="*/ 2147483647 h 300"/>
              <a:gd name="T80" fmla="*/ 2147483647 w 350"/>
              <a:gd name="T81" fmla="*/ 2147483647 h 300"/>
              <a:gd name="T82" fmla="*/ 2147483647 w 350"/>
              <a:gd name="T83" fmla="*/ 2147483647 h 300"/>
              <a:gd name="T84" fmla="*/ 2147483647 w 350"/>
              <a:gd name="T85" fmla="*/ 2147483647 h 300"/>
              <a:gd name="T86" fmla="*/ 2147483647 w 350"/>
              <a:gd name="T87" fmla="*/ 2147483647 h 300"/>
              <a:gd name="T88" fmla="*/ 2147483647 w 350"/>
              <a:gd name="T89" fmla="*/ 2147483647 h 300"/>
              <a:gd name="T90" fmla="*/ 2147483647 w 350"/>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0" h="300">
                <a:moveTo>
                  <a:pt x="335" y="121"/>
                </a:moveTo>
                <a:cubicBezTo>
                  <a:pt x="331" y="118"/>
                  <a:pt x="296" y="90"/>
                  <a:pt x="258" y="60"/>
                </a:cubicBezTo>
                <a:cubicBezTo>
                  <a:pt x="255" y="58"/>
                  <a:pt x="250" y="58"/>
                  <a:pt x="247" y="62"/>
                </a:cubicBezTo>
                <a:cubicBezTo>
                  <a:pt x="244" y="65"/>
                  <a:pt x="245" y="70"/>
                  <a:pt x="249" y="73"/>
                </a:cubicBezTo>
                <a:cubicBezTo>
                  <a:pt x="286" y="103"/>
                  <a:pt x="321" y="131"/>
                  <a:pt x="325" y="134"/>
                </a:cubicBezTo>
                <a:cubicBezTo>
                  <a:pt x="332" y="139"/>
                  <a:pt x="334" y="143"/>
                  <a:pt x="334" y="150"/>
                </a:cubicBezTo>
                <a:cubicBezTo>
                  <a:pt x="334" y="157"/>
                  <a:pt x="332" y="161"/>
                  <a:pt x="325" y="166"/>
                </a:cubicBezTo>
                <a:cubicBezTo>
                  <a:pt x="310" y="179"/>
                  <a:pt x="201" y="265"/>
                  <a:pt x="184" y="278"/>
                </a:cubicBezTo>
                <a:cubicBezTo>
                  <a:pt x="179" y="282"/>
                  <a:pt x="175" y="284"/>
                  <a:pt x="172" y="284"/>
                </a:cubicBezTo>
                <a:cubicBezTo>
                  <a:pt x="170" y="284"/>
                  <a:pt x="168" y="283"/>
                  <a:pt x="167" y="281"/>
                </a:cubicBezTo>
                <a:cubicBezTo>
                  <a:pt x="165" y="279"/>
                  <a:pt x="163" y="274"/>
                  <a:pt x="163" y="267"/>
                </a:cubicBezTo>
                <a:cubicBezTo>
                  <a:pt x="163" y="261"/>
                  <a:pt x="163" y="253"/>
                  <a:pt x="163" y="244"/>
                </a:cubicBezTo>
                <a:cubicBezTo>
                  <a:pt x="163" y="242"/>
                  <a:pt x="162" y="240"/>
                  <a:pt x="161" y="238"/>
                </a:cubicBezTo>
                <a:cubicBezTo>
                  <a:pt x="160" y="237"/>
                  <a:pt x="157" y="236"/>
                  <a:pt x="155" y="236"/>
                </a:cubicBezTo>
                <a:cubicBezTo>
                  <a:pt x="19" y="236"/>
                  <a:pt x="19" y="236"/>
                  <a:pt x="19" y="236"/>
                </a:cubicBezTo>
                <a:cubicBezTo>
                  <a:pt x="18" y="236"/>
                  <a:pt x="16" y="235"/>
                  <a:pt x="16" y="233"/>
                </a:cubicBezTo>
                <a:cubicBezTo>
                  <a:pt x="16" y="67"/>
                  <a:pt x="16" y="67"/>
                  <a:pt x="16" y="67"/>
                </a:cubicBezTo>
                <a:cubicBezTo>
                  <a:pt x="16" y="65"/>
                  <a:pt x="18" y="63"/>
                  <a:pt x="19" y="63"/>
                </a:cubicBezTo>
                <a:cubicBezTo>
                  <a:pt x="155" y="63"/>
                  <a:pt x="155" y="63"/>
                  <a:pt x="155" y="63"/>
                </a:cubicBezTo>
                <a:cubicBezTo>
                  <a:pt x="160" y="63"/>
                  <a:pt x="163" y="60"/>
                  <a:pt x="163" y="56"/>
                </a:cubicBezTo>
                <a:cubicBezTo>
                  <a:pt x="163" y="46"/>
                  <a:pt x="163" y="39"/>
                  <a:pt x="163" y="33"/>
                </a:cubicBezTo>
                <a:cubicBezTo>
                  <a:pt x="163" y="26"/>
                  <a:pt x="165" y="21"/>
                  <a:pt x="167" y="19"/>
                </a:cubicBezTo>
                <a:cubicBezTo>
                  <a:pt x="168" y="16"/>
                  <a:pt x="169" y="16"/>
                  <a:pt x="172" y="16"/>
                </a:cubicBezTo>
                <a:cubicBezTo>
                  <a:pt x="174" y="16"/>
                  <a:pt x="179" y="17"/>
                  <a:pt x="184" y="22"/>
                </a:cubicBezTo>
                <a:cubicBezTo>
                  <a:pt x="185" y="23"/>
                  <a:pt x="206" y="39"/>
                  <a:pt x="224" y="53"/>
                </a:cubicBezTo>
                <a:cubicBezTo>
                  <a:pt x="227" y="56"/>
                  <a:pt x="232" y="55"/>
                  <a:pt x="235" y="52"/>
                </a:cubicBezTo>
                <a:cubicBezTo>
                  <a:pt x="238" y="48"/>
                  <a:pt x="237" y="43"/>
                  <a:pt x="234" y="41"/>
                </a:cubicBezTo>
                <a:cubicBezTo>
                  <a:pt x="234" y="41"/>
                  <a:pt x="234" y="41"/>
                  <a:pt x="234" y="41"/>
                </a:cubicBezTo>
                <a:cubicBezTo>
                  <a:pt x="216" y="27"/>
                  <a:pt x="195" y="10"/>
                  <a:pt x="195" y="10"/>
                </a:cubicBezTo>
                <a:cubicBezTo>
                  <a:pt x="187" y="4"/>
                  <a:pt x="180" y="0"/>
                  <a:pt x="172" y="0"/>
                </a:cubicBezTo>
                <a:cubicBezTo>
                  <a:pt x="165" y="0"/>
                  <a:pt x="158" y="3"/>
                  <a:pt x="153" y="10"/>
                </a:cubicBezTo>
                <a:cubicBezTo>
                  <a:pt x="149" y="16"/>
                  <a:pt x="148" y="24"/>
                  <a:pt x="147" y="33"/>
                </a:cubicBezTo>
                <a:cubicBezTo>
                  <a:pt x="147" y="37"/>
                  <a:pt x="147" y="42"/>
                  <a:pt x="147" y="47"/>
                </a:cubicBezTo>
                <a:cubicBezTo>
                  <a:pt x="19" y="47"/>
                  <a:pt x="19" y="47"/>
                  <a:pt x="19" y="47"/>
                </a:cubicBezTo>
                <a:cubicBezTo>
                  <a:pt x="9" y="47"/>
                  <a:pt x="0" y="56"/>
                  <a:pt x="0" y="67"/>
                </a:cubicBezTo>
                <a:cubicBezTo>
                  <a:pt x="0" y="233"/>
                  <a:pt x="0" y="233"/>
                  <a:pt x="0" y="233"/>
                </a:cubicBezTo>
                <a:cubicBezTo>
                  <a:pt x="0" y="243"/>
                  <a:pt x="9" y="252"/>
                  <a:pt x="19" y="252"/>
                </a:cubicBezTo>
                <a:cubicBezTo>
                  <a:pt x="147" y="252"/>
                  <a:pt x="147" y="252"/>
                  <a:pt x="147" y="252"/>
                </a:cubicBezTo>
                <a:cubicBezTo>
                  <a:pt x="147" y="258"/>
                  <a:pt x="147" y="263"/>
                  <a:pt x="147" y="267"/>
                </a:cubicBezTo>
                <a:cubicBezTo>
                  <a:pt x="148" y="276"/>
                  <a:pt x="149" y="284"/>
                  <a:pt x="154" y="290"/>
                </a:cubicBezTo>
                <a:cubicBezTo>
                  <a:pt x="158" y="296"/>
                  <a:pt x="165" y="300"/>
                  <a:pt x="172" y="300"/>
                </a:cubicBezTo>
                <a:cubicBezTo>
                  <a:pt x="172" y="300"/>
                  <a:pt x="172" y="300"/>
                  <a:pt x="172" y="300"/>
                </a:cubicBezTo>
                <a:cubicBezTo>
                  <a:pt x="180" y="300"/>
                  <a:pt x="187" y="296"/>
                  <a:pt x="194" y="290"/>
                </a:cubicBezTo>
                <a:cubicBezTo>
                  <a:pt x="211" y="277"/>
                  <a:pt x="320" y="191"/>
                  <a:pt x="335" y="179"/>
                </a:cubicBezTo>
                <a:cubicBezTo>
                  <a:pt x="344" y="172"/>
                  <a:pt x="350" y="162"/>
                  <a:pt x="350" y="150"/>
                </a:cubicBezTo>
                <a:cubicBezTo>
                  <a:pt x="350" y="138"/>
                  <a:pt x="344" y="128"/>
                  <a:pt x="335" y="121"/>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3"/>
          <p:cNvSpPr>
            <a:spLocks noChangeAspect="1" noEditPoints="1"/>
          </p:cNvSpPr>
          <p:nvPr/>
        </p:nvSpPr>
        <p:spPr bwMode="auto">
          <a:xfrm>
            <a:off x="5227835" y="5112847"/>
            <a:ext cx="463626" cy="537970"/>
          </a:xfrm>
          <a:custGeom>
            <a:avLst/>
            <a:gdLst>
              <a:gd name="T0" fmla="*/ 2147483647 w 335"/>
              <a:gd name="T1" fmla="*/ 2147483647 h 389"/>
              <a:gd name="T2" fmla="*/ 2147483647 w 335"/>
              <a:gd name="T3" fmla="*/ 2147483647 h 389"/>
              <a:gd name="T4" fmla="*/ 2147483647 w 335"/>
              <a:gd name="T5" fmla="*/ 2147483647 h 389"/>
              <a:gd name="T6" fmla="*/ 2147483647 w 335"/>
              <a:gd name="T7" fmla="*/ 2147483647 h 389"/>
              <a:gd name="T8" fmla="*/ 2147483647 w 335"/>
              <a:gd name="T9" fmla="*/ 2147483647 h 389"/>
              <a:gd name="T10" fmla="*/ 2147483647 w 335"/>
              <a:gd name="T11" fmla="*/ 2147483647 h 389"/>
              <a:gd name="T12" fmla="*/ 2147483647 w 335"/>
              <a:gd name="T13" fmla="*/ 2147483647 h 389"/>
              <a:gd name="T14" fmla="*/ 2147483647 w 335"/>
              <a:gd name="T15" fmla="*/ 2147483647 h 389"/>
              <a:gd name="T16" fmla="*/ 2147483647 w 335"/>
              <a:gd name="T17" fmla="*/ 2147483647 h 389"/>
              <a:gd name="T18" fmla="*/ 2147483647 w 335"/>
              <a:gd name="T19" fmla="*/ 2147483647 h 389"/>
              <a:gd name="T20" fmla="*/ 2147483647 w 335"/>
              <a:gd name="T21" fmla="*/ 0 h 389"/>
              <a:gd name="T22" fmla="*/ 2147483647 w 335"/>
              <a:gd name="T23" fmla="*/ 2147483647 h 389"/>
              <a:gd name="T24" fmla="*/ 2147483647 w 335"/>
              <a:gd name="T25" fmla="*/ 2147483647 h 389"/>
              <a:gd name="T26" fmla="*/ 2147483647 w 335"/>
              <a:gd name="T27" fmla="*/ 2147483647 h 389"/>
              <a:gd name="T28" fmla="*/ 2147483647 w 335"/>
              <a:gd name="T29" fmla="*/ 2147483647 h 389"/>
              <a:gd name="T30" fmla="*/ 2147483647 w 335"/>
              <a:gd name="T31" fmla="*/ 2147483647 h 389"/>
              <a:gd name="T32" fmla="*/ 2147483647 w 335"/>
              <a:gd name="T33" fmla="*/ 2147483647 h 389"/>
              <a:gd name="T34" fmla="*/ 2147483647 w 335"/>
              <a:gd name="T35" fmla="*/ 2147483647 h 389"/>
              <a:gd name="T36" fmla="*/ 2147483647 w 335"/>
              <a:gd name="T37" fmla="*/ 2147483647 h 389"/>
              <a:gd name="T38" fmla="*/ 2147483647 w 335"/>
              <a:gd name="T39" fmla="*/ 2147483647 h 389"/>
              <a:gd name="T40" fmla="*/ 2147483647 w 335"/>
              <a:gd name="T41" fmla="*/ 2147483647 h 389"/>
              <a:gd name="T42" fmla="*/ 2147483647 w 335"/>
              <a:gd name="T43" fmla="*/ 2147483647 h 389"/>
              <a:gd name="T44" fmla="*/ 2147483647 w 335"/>
              <a:gd name="T45" fmla="*/ 2147483647 h 389"/>
              <a:gd name="T46" fmla="*/ 2147483647 w 335"/>
              <a:gd name="T47" fmla="*/ 2147483647 h 389"/>
              <a:gd name="T48" fmla="*/ 2147483647 w 335"/>
              <a:gd name="T49" fmla="*/ 2147483647 h 389"/>
              <a:gd name="T50" fmla="*/ 2147483647 w 335"/>
              <a:gd name="T51" fmla="*/ 2147483647 h 389"/>
              <a:gd name="T52" fmla="*/ 2147483647 w 335"/>
              <a:gd name="T53" fmla="*/ 2147483647 h 389"/>
              <a:gd name="T54" fmla="*/ 2147483647 w 335"/>
              <a:gd name="T55" fmla="*/ 2147483647 h 389"/>
              <a:gd name="T56" fmla="*/ 2147483647 w 335"/>
              <a:gd name="T57" fmla="*/ 2147483647 h 389"/>
              <a:gd name="T58" fmla="*/ 2147483647 w 335"/>
              <a:gd name="T59" fmla="*/ 2147483647 h 389"/>
              <a:gd name="T60" fmla="*/ 0 w 335"/>
              <a:gd name="T61" fmla="*/ 2147483647 h 389"/>
              <a:gd name="T62" fmla="*/ 2147483647 w 335"/>
              <a:gd name="T63" fmla="*/ 2147483647 h 389"/>
              <a:gd name="T64" fmla="*/ 2147483647 w 335"/>
              <a:gd name="T65" fmla="*/ 2147483647 h 389"/>
              <a:gd name="T66" fmla="*/ 2147483647 w 335"/>
              <a:gd name="T67" fmla="*/ 2147483647 h 389"/>
              <a:gd name="T68" fmla="*/ 2147483647 w 335"/>
              <a:gd name="T69" fmla="*/ 2147483647 h 389"/>
              <a:gd name="T70" fmla="*/ 2147483647 w 335"/>
              <a:gd name="T71" fmla="*/ 2147483647 h 389"/>
              <a:gd name="T72" fmla="*/ 2147483647 w 335"/>
              <a:gd name="T73" fmla="*/ 2147483647 h 389"/>
              <a:gd name="T74" fmla="*/ 2147483647 w 335"/>
              <a:gd name="T75" fmla="*/ 2147483647 h 389"/>
              <a:gd name="T76" fmla="*/ 2147483647 w 335"/>
              <a:gd name="T77" fmla="*/ 2147483647 h 389"/>
              <a:gd name="T78" fmla="*/ 2147483647 w 335"/>
              <a:gd name="T79" fmla="*/ 2147483647 h 389"/>
              <a:gd name="T80" fmla="*/ 2147483647 w 335"/>
              <a:gd name="T81" fmla="*/ 2147483647 h 389"/>
              <a:gd name="T82" fmla="*/ 2147483647 w 335"/>
              <a:gd name="T83" fmla="*/ 2147483647 h 389"/>
              <a:gd name="T84" fmla="*/ 2147483647 w 335"/>
              <a:gd name="T85" fmla="*/ 2147483647 h 389"/>
              <a:gd name="T86" fmla="*/ 2147483647 w 335"/>
              <a:gd name="T87" fmla="*/ 2147483647 h 389"/>
              <a:gd name="T88" fmla="*/ 2147483647 w 335"/>
              <a:gd name="T89" fmla="*/ 2147483647 h 389"/>
              <a:gd name="T90" fmla="*/ 2147483647 w 335"/>
              <a:gd name="T91" fmla="*/ 2147483647 h 389"/>
              <a:gd name="T92" fmla="*/ 2147483647 w 335"/>
              <a:gd name="T93" fmla="*/ 2147483647 h 389"/>
              <a:gd name="T94" fmla="*/ 2147483647 w 335"/>
              <a:gd name="T95" fmla="*/ 2147483647 h 389"/>
              <a:gd name="T96" fmla="*/ 2147483647 w 335"/>
              <a:gd name="T97" fmla="*/ 2147483647 h 389"/>
              <a:gd name="T98" fmla="*/ 2147483647 w 335"/>
              <a:gd name="T99" fmla="*/ 2147483647 h 389"/>
              <a:gd name="T100" fmla="*/ 2147483647 w 335"/>
              <a:gd name="T101" fmla="*/ 2147483647 h 389"/>
              <a:gd name="T102" fmla="*/ 2147483647 w 335"/>
              <a:gd name="T103" fmla="*/ 2147483647 h 389"/>
              <a:gd name="T104" fmla="*/ 2147483647 w 335"/>
              <a:gd name="T105" fmla="*/ 2147483647 h 389"/>
              <a:gd name="T106" fmla="*/ 2147483647 w 335"/>
              <a:gd name="T107" fmla="*/ 2147483647 h 38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5" h="389">
                <a:moveTo>
                  <a:pt x="112" y="55"/>
                </a:moveTo>
                <a:cubicBezTo>
                  <a:pt x="113" y="58"/>
                  <a:pt x="116" y="60"/>
                  <a:pt x="119" y="60"/>
                </a:cubicBezTo>
                <a:cubicBezTo>
                  <a:pt x="120" y="60"/>
                  <a:pt x="121" y="60"/>
                  <a:pt x="122" y="60"/>
                </a:cubicBezTo>
                <a:cubicBezTo>
                  <a:pt x="126" y="58"/>
                  <a:pt x="128" y="53"/>
                  <a:pt x="127" y="49"/>
                </a:cubicBezTo>
                <a:cubicBezTo>
                  <a:pt x="113" y="17"/>
                  <a:pt x="113" y="17"/>
                  <a:pt x="113" y="17"/>
                </a:cubicBezTo>
                <a:cubicBezTo>
                  <a:pt x="112" y="13"/>
                  <a:pt x="107" y="11"/>
                  <a:pt x="103" y="13"/>
                </a:cubicBezTo>
                <a:cubicBezTo>
                  <a:pt x="99" y="15"/>
                  <a:pt x="97" y="19"/>
                  <a:pt x="99" y="24"/>
                </a:cubicBezTo>
                <a:lnTo>
                  <a:pt x="112" y="55"/>
                </a:lnTo>
                <a:close/>
                <a:moveTo>
                  <a:pt x="17" y="114"/>
                </a:moveTo>
                <a:cubicBezTo>
                  <a:pt x="50" y="128"/>
                  <a:pt x="50" y="128"/>
                  <a:pt x="50" y="128"/>
                </a:cubicBezTo>
                <a:cubicBezTo>
                  <a:pt x="51" y="128"/>
                  <a:pt x="52" y="129"/>
                  <a:pt x="53" y="129"/>
                </a:cubicBezTo>
                <a:cubicBezTo>
                  <a:pt x="56" y="129"/>
                  <a:pt x="59" y="127"/>
                  <a:pt x="60" y="124"/>
                </a:cubicBezTo>
                <a:cubicBezTo>
                  <a:pt x="62" y="120"/>
                  <a:pt x="60" y="115"/>
                  <a:pt x="56" y="113"/>
                </a:cubicBezTo>
                <a:cubicBezTo>
                  <a:pt x="23" y="100"/>
                  <a:pt x="23" y="100"/>
                  <a:pt x="23" y="100"/>
                </a:cubicBezTo>
                <a:cubicBezTo>
                  <a:pt x="19" y="98"/>
                  <a:pt x="14" y="100"/>
                  <a:pt x="12" y="104"/>
                </a:cubicBezTo>
                <a:cubicBezTo>
                  <a:pt x="11" y="108"/>
                  <a:pt x="13" y="113"/>
                  <a:pt x="17" y="114"/>
                </a:cubicBezTo>
                <a:close/>
                <a:moveTo>
                  <a:pt x="274" y="124"/>
                </a:moveTo>
                <a:cubicBezTo>
                  <a:pt x="276" y="127"/>
                  <a:pt x="279" y="129"/>
                  <a:pt x="282" y="129"/>
                </a:cubicBezTo>
                <a:cubicBezTo>
                  <a:pt x="283" y="129"/>
                  <a:pt x="284" y="128"/>
                  <a:pt x="285" y="128"/>
                </a:cubicBezTo>
                <a:cubicBezTo>
                  <a:pt x="318" y="114"/>
                  <a:pt x="318" y="114"/>
                  <a:pt x="318" y="114"/>
                </a:cubicBezTo>
                <a:cubicBezTo>
                  <a:pt x="322" y="113"/>
                  <a:pt x="324" y="108"/>
                  <a:pt x="322" y="104"/>
                </a:cubicBezTo>
                <a:cubicBezTo>
                  <a:pt x="320" y="100"/>
                  <a:pt x="316" y="98"/>
                  <a:pt x="312" y="100"/>
                </a:cubicBezTo>
                <a:cubicBezTo>
                  <a:pt x="279" y="113"/>
                  <a:pt x="279" y="113"/>
                  <a:pt x="279" y="113"/>
                </a:cubicBezTo>
                <a:cubicBezTo>
                  <a:pt x="275" y="115"/>
                  <a:pt x="273" y="120"/>
                  <a:pt x="274" y="124"/>
                </a:cubicBezTo>
                <a:close/>
                <a:moveTo>
                  <a:pt x="255" y="88"/>
                </a:moveTo>
                <a:cubicBezTo>
                  <a:pt x="258" y="88"/>
                  <a:pt x="260" y="87"/>
                  <a:pt x="261" y="85"/>
                </a:cubicBezTo>
                <a:cubicBezTo>
                  <a:pt x="286" y="61"/>
                  <a:pt x="286" y="61"/>
                  <a:pt x="286" y="61"/>
                </a:cubicBezTo>
                <a:cubicBezTo>
                  <a:pt x="289" y="58"/>
                  <a:pt x="289" y="53"/>
                  <a:pt x="286" y="49"/>
                </a:cubicBezTo>
                <a:cubicBezTo>
                  <a:pt x="283" y="46"/>
                  <a:pt x="278" y="46"/>
                  <a:pt x="274" y="49"/>
                </a:cubicBezTo>
                <a:cubicBezTo>
                  <a:pt x="250" y="74"/>
                  <a:pt x="250" y="74"/>
                  <a:pt x="250" y="74"/>
                </a:cubicBezTo>
                <a:cubicBezTo>
                  <a:pt x="247" y="77"/>
                  <a:pt x="247" y="82"/>
                  <a:pt x="250" y="85"/>
                </a:cubicBezTo>
                <a:cubicBezTo>
                  <a:pt x="251" y="87"/>
                  <a:pt x="253" y="88"/>
                  <a:pt x="255" y="88"/>
                </a:cubicBezTo>
                <a:close/>
                <a:moveTo>
                  <a:pt x="212" y="60"/>
                </a:moveTo>
                <a:cubicBezTo>
                  <a:pt x="213" y="60"/>
                  <a:pt x="214" y="60"/>
                  <a:pt x="215" y="60"/>
                </a:cubicBezTo>
                <a:cubicBezTo>
                  <a:pt x="218" y="60"/>
                  <a:pt x="221" y="58"/>
                  <a:pt x="223" y="55"/>
                </a:cubicBezTo>
                <a:cubicBezTo>
                  <a:pt x="236" y="24"/>
                  <a:pt x="236" y="24"/>
                  <a:pt x="236" y="24"/>
                </a:cubicBezTo>
                <a:cubicBezTo>
                  <a:pt x="237" y="19"/>
                  <a:pt x="235" y="15"/>
                  <a:pt x="231" y="13"/>
                </a:cubicBezTo>
                <a:cubicBezTo>
                  <a:pt x="227" y="11"/>
                  <a:pt x="223" y="13"/>
                  <a:pt x="221" y="17"/>
                </a:cubicBezTo>
                <a:cubicBezTo>
                  <a:pt x="208" y="49"/>
                  <a:pt x="208" y="49"/>
                  <a:pt x="208" y="49"/>
                </a:cubicBezTo>
                <a:cubicBezTo>
                  <a:pt x="206" y="53"/>
                  <a:pt x="208" y="58"/>
                  <a:pt x="212" y="60"/>
                </a:cubicBezTo>
                <a:close/>
                <a:moveTo>
                  <a:pt x="167" y="50"/>
                </a:moveTo>
                <a:cubicBezTo>
                  <a:pt x="172" y="50"/>
                  <a:pt x="175" y="47"/>
                  <a:pt x="175" y="42"/>
                </a:cubicBezTo>
                <a:cubicBezTo>
                  <a:pt x="175" y="8"/>
                  <a:pt x="175" y="8"/>
                  <a:pt x="175" y="8"/>
                </a:cubicBezTo>
                <a:cubicBezTo>
                  <a:pt x="175" y="4"/>
                  <a:pt x="172" y="0"/>
                  <a:pt x="167" y="0"/>
                </a:cubicBezTo>
                <a:cubicBezTo>
                  <a:pt x="163" y="0"/>
                  <a:pt x="159" y="4"/>
                  <a:pt x="159" y="8"/>
                </a:cubicBezTo>
                <a:cubicBezTo>
                  <a:pt x="159" y="42"/>
                  <a:pt x="159" y="42"/>
                  <a:pt x="159" y="42"/>
                </a:cubicBezTo>
                <a:cubicBezTo>
                  <a:pt x="159" y="47"/>
                  <a:pt x="163" y="50"/>
                  <a:pt x="167" y="50"/>
                </a:cubicBezTo>
                <a:close/>
                <a:moveTo>
                  <a:pt x="73" y="85"/>
                </a:moveTo>
                <a:cubicBezTo>
                  <a:pt x="75" y="87"/>
                  <a:pt x="77" y="88"/>
                  <a:pt x="79" y="88"/>
                </a:cubicBezTo>
                <a:cubicBezTo>
                  <a:pt x="81" y="88"/>
                  <a:pt x="83" y="87"/>
                  <a:pt x="85" y="85"/>
                </a:cubicBezTo>
                <a:cubicBezTo>
                  <a:pt x="88" y="82"/>
                  <a:pt x="88" y="77"/>
                  <a:pt x="85" y="74"/>
                </a:cubicBezTo>
                <a:cubicBezTo>
                  <a:pt x="60" y="49"/>
                  <a:pt x="60" y="49"/>
                  <a:pt x="60" y="49"/>
                </a:cubicBezTo>
                <a:cubicBezTo>
                  <a:pt x="57" y="46"/>
                  <a:pt x="52" y="46"/>
                  <a:pt x="49" y="49"/>
                </a:cubicBezTo>
                <a:cubicBezTo>
                  <a:pt x="45" y="53"/>
                  <a:pt x="45" y="58"/>
                  <a:pt x="49" y="61"/>
                </a:cubicBezTo>
                <a:lnTo>
                  <a:pt x="73" y="85"/>
                </a:lnTo>
                <a:close/>
                <a:moveTo>
                  <a:pt x="318" y="222"/>
                </a:moveTo>
                <a:cubicBezTo>
                  <a:pt x="285" y="208"/>
                  <a:pt x="285" y="208"/>
                  <a:pt x="285" y="208"/>
                </a:cubicBezTo>
                <a:cubicBezTo>
                  <a:pt x="281" y="206"/>
                  <a:pt x="276" y="208"/>
                  <a:pt x="274" y="212"/>
                </a:cubicBezTo>
                <a:cubicBezTo>
                  <a:pt x="273" y="217"/>
                  <a:pt x="275" y="221"/>
                  <a:pt x="279" y="223"/>
                </a:cubicBezTo>
                <a:cubicBezTo>
                  <a:pt x="312" y="237"/>
                  <a:pt x="312" y="237"/>
                  <a:pt x="312" y="237"/>
                </a:cubicBezTo>
                <a:cubicBezTo>
                  <a:pt x="313" y="237"/>
                  <a:pt x="314" y="237"/>
                  <a:pt x="315" y="237"/>
                </a:cubicBezTo>
                <a:cubicBezTo>
                  <a:pt x="318" y="237"/>
                  <a:pt x="321" y="235"/>
                  <a:pt x="322" y="232"/>
                </a:cubicBezTo>
                <a:cubicBezTo>
                  <a:pt x="324" y="228"/>
                  <a:pt x="322" y="223"/>
                  <a:pt x="318" y="222"/>
                </a:cubicBezTo>
                <a:close/>
                <a:moveTo>
                  <a:pt x="327" y="160"/>
                </a:moveTo>
                <a:cubicBezTo>
                  <a:pt x="290" y="160"/>
                  <a:pt x="290" y="160"/>
                  <a:pt x="290" y="160"/>
                </a:cubicBezTo>
                <a:cubicBezTo>
                  <a:pt x="286" y="160"/>
                  <a:pt x="282" y="164"/>
                  <a:pt x="282" y="168"/>
                </a:cubicBezTo>
                <a:cubicBezTo>
                  <a:pt x="282" y="172"/>
                  <a:pt x="286" y="176"/>
                  <a:pt x="290" y="176"/>
                </a:cubicBezTo>
                <a:cubicBezTo>
                  <a:pt x="327" y="176"/>
                  <a:pt x="327" y="176"/>
                  <a:pt x="327" y="176"/>
                </a:cubicBezTo>
                <a:cubicBezTo>
                  <a:pt x="331" y="176"/>
                  <a:pt x="335" y="172"/>
                  <a:pt x="335" y="168"/>
                </a:cubicBezTo>
                <a:cubicBezTo>
                  <a:pt x="335" y="164"/>
                  <a:pt x="331" y="160"/>
                  <a:pt x="327" y="160"/>
                </a:cubicBezTo>
                <a:close/>
                <a:moveTo>
                  <a:pt x="167" y="240"/>
                </a:moveTo>
                <a:cubicBezTo>
                  <a:pt x="172" y="240"/>
                  <a:pt x="175" y="236"/>
                  <a:pt x="175" y="231"/>
                </a:cubicBezTo>
                <a:cubicBezTo>
                  <a:pt x="175" y="225"/>
                  <a:pt x="175" y="225"/>
                  <a:pt x="175" y="225"/>
                </a:cubicBezTo>
                <a:cubicBezTo>
                  <a:pt x="178" y="224"/>
                  <a:pt x="182" y="223"/>
                  <a:pt x="186" y="222"/>
                </a:cubicBezTo>
                <a:cubicBezTo>
                  <a:pt x="190" y="220"/>
                  <a:pt x="195" y="218"/>
                  <a:pt x="198" y="214"/>
                </a:cubicBezTo>
                <a:cubicBezTo>
                  <a:pt x="202" y="210"/>
                  <a:pt x="205" y="203"/>
                  <a:pt x="205" y="197"/>
                </a:cubicBezTo>
                <a:cubicBezTo>
                  <a:pt x="205" y="193"/>
                  <a:pt x="204" y="189"/>
                  <a:pt x="203" y="186"/>
                </a:cubicBezTo>
                <a:cubicBezTo>
                  <a:pt x="199" y="177"/>
                  <a:pt x="192" y="173"/>
                  <a:pt x="186" y="170"/>
                </a:cubicBezTo>
                <a:cubicBezTo>
                  <a:pt x="180" y="167"/>
                  <a:pt x="173" y="166"/>
                  <a:pt x="170" y="165"/>
                </a:cubicBezTo>
                <a:cubicBezTo>
                  <a:pt x="164" y="164"/>
                  <a:pt x="158" y="163"/>
                  <a:pt x="154" y="161"/>
                </a:cubicBezTo>
                <a:cubicBezTo>
                  <a:pt x="152" y="160"/>
                  <a:pt x="151" y="159"/>
                  <a:pt x="150" y="157"/>
                </a:cubicBezTo>
                <a:cubicBezTo>
                  <a:pt x="149" y="156"/>
                  <a:pt x="148" y="154"/>
                  <a:pt x="148" y="151"/>
                </a:cubicBezTo>
                <a:cubicBezTo>
                  <a:pt x="148" y="148"/>
                  <a:pt x="149" y="147"/>
                  <a:pt x="150" y="145"/>
                </a:cubicBezTo>
                <a:cubicBezTo>
                  <a:pt x="152" y="143"/>
                  <a:pt x="156" y="141"/>
                  <a:pt x="160" y="141"/>
                </a:cubicBezTo>
                <a:cubicBezTo>
                  <a:pt x="162" y="140"/>
                  <a:pt x="164" y="140"/>
                  <a:pt x="165" y="140"/>
                </a:cubicBezTo>
                <a:cubicBezTo>
                  <a:pt x="165" y="140"/>
                  <a:pt x="166" y="140"/>
                  <a:pt x="166" y="140"/>
                </a:cubicBezTo>
                <a:cubicBezTo>
                  <a:pt x="167" y="140"/>
                  <a:pt x="167" y="140"/>
                  <a:pt x="167" y="140"/>
                </a:cubicBezTo>
                <a:cubicBezTo>
                  <a:pt x="173" y="140"/>
                  <a:pt x="178" y="141"/>
                  <a:pt x="181" y="142"/>
                </a:cubicBezTo>
                <a:cubicBezTo>
                  <a:pt x="182" y="143"/>
                  <a:pt x="183" y="143"/>
                  <a:pt x="184" y="144"/>
                </a:cubicBezTo>
                <a:cubicBezTo>
                  <a:pt x="184" y="144"/>
                  <a:pt x="184" y="144"/>
                  <a:pt x="184" y="144"/>
                </a:cubicBezTo>
                <a:cubicBezTo>
                  <a:pt x="184" y="144"/>
                  <a:pt x="184" y="144"/>
                  <a:pt x="184" y="144"/>
                </a:cubicBezTo>
                <a:cubicBezTo>
                  <a:pt x="187" y="147"/>
                  <a:pt x="193" y="147"/>
                  <a:pt x="196" y="143"/>
                </a:cubicBezTo>
                <a:cubicBezTo>
                  <a:pt x="199" y="140"/>
                  <a:pt x="198" y="135"/>
                  <a:pt x="195" y="132"/>
                </a:cubicBezTo>
                <a:cubicBezTo>
                  <a:pt x="194" y="131"/>
                  <a:pt x="188" y="126"/>
                  <a:pt x="175" y="124"/>
                </a:cubicBezTo>
                <a:cubicBezTo>
                  <a:pt x="175" y="117"/>
                  <a:pt x="175" y="117"/>
                  <a:pt x="175" y="117"/>
                </a:cubicBezTo>
                <a:cubicBezTo>
                  <a:pt x="175" y="113"/>
                  <a:pt x="172" y="109"/>
                  <a:pt x="167" y="109"/>
                </a:cubicBezTo>
                <a:cubicBezTo>
                  <a:pt x="162" y="109"/>
                  <a:pt x="159" y="113"/>
                  <a:pt x="159" y="117"/>
                </a:cubicBezTo>
                <a:cubicBezTo>
                  <a:pt x="159" y="124"/>
                  <a:pt x="159" y="124"/>
                  <a:pt x="159" y="124"/>
                </a:cubicBezTo>
                <a:cubicBezTo>
                  <a:pt x="156" y="124"/>
                  <a:pt x="153" y="125"/>
                  <a:pt x="150" y="126"/>
                </a:cubicBezTo>
                <a:cubicBezTo>
                  <a:pt x="146" y="128"/>
                  <a:pt x="142" y="130"/>
                  <a:pt x="138" y="134"/>
                </a:cubicBezTo>
                <a:cubicBezTo>
                  <a:pt x="134" y="138"/>
                  <a:pt x="132" y="144"/>
                  <a:pt x="132" y="151"/>
                </a:cubicBezTo>
                <a:cubicBezTo>
                  <a:pt x="132" y="157"/>
                  <a:pt x="133" y="162"/>
                  <a:pt x="136" y="166"/>
                </a:cubicBezTo>
                <a:cubicBezTo>
                  <a:pt x="140" y="173"/>
                  <a:pt x="147" y="176"/>
                  <a:pt x="152" y="178"/>
                </a:cubicBezTo>
                <a:cubicBezTo>
                  <a:pt x="157" y="180"/>
                  <a:pt x="163" y="180"/>
                  <a:pt x="166" y="181"/>
                </a:cubicBezTo>
                <a:cubicBezTo>
                  <a:pt x="170" y="182"/>
                  <a:pt x="175" y="183"/>
                  <a:pt x="179" y="185"/>
                </a:cubicBezTo>
                <a:cubicBezTo>
                  <a:pt x="183" y="187"/>
                  <a:pt x="186" y="189"/>
                  <a:pt x="187" y="192"/>
                </a:cubicBezTo>
                <a:cubicBezTo>
                  <a:pt x="188" y="193"/>
                  <a:pt x="188" y="195"/>
                  <a:pt x="188" y="197"/>
                </a:cubicBezTo>
                <a:cubicBezTo>
                  <a:pt x="188" y="200"/>
                  <a:pt x="187" y="201"/>
                  <a:pt x="186" y="203"/>
                </a:cubicBezTo>
                <a:cubicBezTo>
                  <a:pt x="184" y="205"/>
                  <a:pt x="180" y="207"/>
                  <a:pt x="176" y="208"/>
                </a:cubicBezTo>
                <a:cubicBezTo>
                  <a:pt x="172" y="209"/>
                  <a:pt x="168" y="209"/>
                  <a:pt x="167" y="209"/>
                </a:cubicBezTo>
                <a:cubicBezTo>
                  <a:pt x="167" y="209"/>
                  <a:pt x="167" y="209"/>
                  <a:pt x="167" y="209"/>
                </a:cubicBezTo>
                <a:cubicBezTo>
                  <a:pt x="162" y="209"/>
                  <a:pt x="155" y="207"/>
                  <a:pt x="151" y="204"/>
                </a:cubicBezTo>
                <a:cubicBezTo>
                  <a:pt x="148" y="203"/>
                  <a:pt x="146" y="202"/>
                  <a:pt x="145" y="201"/>
                </a:cubicBezTo>
                <a:cubicBezTo>
                  <a:pt x="145" y="200"/>
                  <a:pt x="144" y="200"/>
                  <a:pt x="144" y="200"/>
                </a:cubicBezTo>
                <a:cubicBezTo>
                  <a:pt x="143" y="199"/>
                  <a:pt x="143" y="199"/>
                  <a:pt x="143" y="199"/>
                </a:cubicBezTo>
                <a:cubicBezTo>
                  <a:pt x="140" y="197"/>
                  <a:pt x="135" y="197"/>
                  <a:pt x="132" y="201"/>
                </a:cubicBezTo>
                <a:cubicBezTo>
                  <a:pt x="129" y="204"/>
                  <a:pt x="129" y="209"/>
                  <a:pt x="133" y="212"/>
                </a:cubicBezTo>
                <a:cubicBezTo>
                  <a:pt x="133" y="213"/>
                  <a:pt x="144" y="222"/>
                  <a:pt x="159" y="224"/>
                </a:cubicBezTo>
                <a:cubicBezTo>
                  <a:pt x="159" y="231"/>
                  <a:pt x="159" y="231"/>
                  <a:pt x="159" y="231"/>
                </a:cubicBezTo>
                <a:cubicBezTo>
                  <a:pt x="159" y="236"/>
                  <a:pt x="162" y="240"/>
                  <a:pt x="167" y="240"/>
                </a:cubicBezTo>
                <a:close/>
                <a:moveTo>
                  <a:pt x="52" y="168"/>
                </a:moveTo>
                <a:cubicBezTo>
                  <a:pt x="52" y="164"/>
                  <a:pt x="49" y="160"/>
                  <a:pt x="44" y="160"/>
                </a:cubicBezTo>
                <a:cubicBezTo>
                  <a:pt x="8" y="160"/>
                  <a:pt x="8" y="160"/>
                  <a:pt x="8" y="160"/>
                </a:cubicBezTo>
                <a:cubicBezTo>
                  <a:pt x="3" y="160"/>
                  <a:pt x="0" y="164"/>
                  <a:pt x="0" y="168"/>
                </a:cubicBezTo>
                <a:cubicBezTo>
                  <a:pt x="0" y="172"/>
                  <a:pt x="3" y="176"/>
                  <a:pt x="8" y="176"/>
                </a:cubicBezTo>
                <a:cubicBezTo>
                  <a:pt x="44" y="176"/>
                  <a:pt x="44" y="176"/>
                  <a:pt x="44" y="176"/>
                </a:cubicBezTo>
                <a:cubicBezTo>
                  <a:pt x="49" y="176"/>
                  <a:pt x="52" y="172"/>
                  <a:pt x="52" y="168"/>
                </a:cubicBezTo>
                <a:close/>
                <a:moveTo>
                  <a:pt x="50" y="208"/>
                </a:moveTo>
                <a:cubicBezTo>
                  <a:pt x="17" y="222"/>
                  <a:pt x="17" y="222"/>
                  <a:pt x="17" y="222"/>
                </a:cubicBezTo>
                <a:cubicBezTo>
                  <a:pt x="13" y="223"/>
                  <a:pt x="11" y="228"/>
                  <a:pt x="12" y="232"/>
                </a:cubicBezTo>
                <a:cubicBezTo>
                  <a:pt x="14" y="235"/>
                  <a:pt x="17" y="237"/>
                  <a:pt x="20" y="237"/>
                </a:cubicBezTo>
                <a:cubicBezTo>
                  <a:pt x="21" y="237"/>
                  <a:pt x="22" y="237"/>
                  <a:pt x="23" y="237"/>
                </a:cubicBezTo>
                <a:cubicBezTo>
                  <a:pt x="56" y="223"/>
                  <a:pt x="56" y="223"/>
                  <a:pt x="56" y="223"/>
                </a:cubicBezTo>
                <a:cubicBezTo>
                  <a:pt x="60" y="221"/>
                  <a:pt x="62" y="217"/>
                  <a:pt x="60" y="212"/>
                </a:cubicBezTo>
                <a:cubicBezTo>
                  <a:pt x="58" y="208"/>
                  <a:pt x="54" y="206"/>
                  <a:pt x="50" y="208"/>
                </a:cubicBezTo>
                <a:close/>
                <a:moveTo>
                  <a:pt x="243" y="103"/>
                </a:moveTo>
                <a:cubicBezTo>
                  <a:pt x="239" y="106"/>
                  <a:pt x="239" y="111"/>
                  <a:pt x="241" y="114"/>
                </a:cubicBezTo>
                <a:cubicBezTo>
                  <a:pt x="241" y="114"/>
                  <a:pt x="241" y="114"/>
                  <a:pt x="241" y="114"/>
                </a:cubicBezTo>
                <a:cubicBezTo>
                  <a:pt x="251" y="129"/>
                  <a:pt x="257" y="147"/>
                  <a:pt x="257" y="166"/>
                </a:cubicBezTo>
                <a:cubicBezTo>
                  <a:pt x="257" y="191"/>
                  <a:pt x="248" y="208"/>
                  <a:pt x="237" y="223"/>
                </a:cubicBezTo>
                <a:cubicBezTo>
                  <a:pt x="227" y="238"/>
                  <a:pt x="214" y="250"/>
                  <a:pt x="213" y="267"/>
                </a:cubicBezTo>
                <a:cubicBezTo>
                  <a:pt x="213" y="287"/>
                  <a:pt x="213" y="287"/>
                  <a:pt x="213" y="287"/>
                </a:cubicBezTo>
                <a:cubicBezTo>
                  <a:pt x="205" y="287"/>
                  <a:pt x="190" y="287"/>
                  <a:pt x="167" y="287"/>
                </a:cubicBezTo>
                <a:cubicBezTo>
                  <a:pt x="145" y="287"/>
                  <a:pt x="129" y="287"/>
                  <a:pt x="120" y="287"/>
                </a:cubicBezTo>
                <a:cubicBezTo>
                  <a:pt x="120" y="267"/>
                  <a:pt x="120" y="267"/>
                  <a:pt x="120" y="267"/>
                </a:cubicBezTo>
                <a:cubicBezTo>
                  <a:pt x="119" y="250"/>
                  <a:pt x="107" y="238"/>
                  <a:pt x="96" y="223"/>
                </a:cubicBezTo>
                <a:cubicBezTo>
                  <a:pt x="86" y="208"/>
                  <a:pt x="76" y="191"/>
                  <a:pt x="76" y="166"/>
                </a:cubicBezTo>
                <a:cubicBezTo>
                  <a:pt x="76" y="118"/>
                  <a:pt x="115" y="75"/>
                  <a:pt x="167" y="75"/>
                </a:cubicBezTo>
                <a:cubicBezTo>
                  <a:pt x="187" y="75"/>
                  <a:pt x="205" y="82"/>
                  <a:pt x="220" y="93"/>
                </a:cubicBezTo>
                <a:cubicBezTo>
                  <a:pt x="220" y="93"/>
                  <a:pt x="221" y="93"/>
                  <a:pt x="221" y="93"/>
                </a:cubicBezTo>
                <a:cubicBezTo>
                  <a:pt x="222" y="94"/>
                  <a:pt x="224" y="95"/>
                  <a:pt x="225" y="95"/>
                </a:cubicBezTo>
                <a:cubicBezTo>
                  <a:pt x="228" y="95"/>
                  <a:pt x="230" y="94"/>
                  <a:pt x="232" y="92"/>
                </a:cubicBezTo>
                <a:cubicBezTo>
                  <a:pt x="234" y="88"/>
                  <a:pt x="234" y="83"/>
                  <a:pt x="230" y="80"/>
                </a:cubicBezTo>
                <a:cubicBezTo>
                  <a:pt x="213" y="67"/>
                  <a:pt x="191" y="59"/>
                  <a:pt x="167" y="59"/>
                </a:cubicBezTo>
                <a:cubicBezTo>
                  <a:pt x="106" y="59"/>
                  <a:pt x="60" y="109"/>
                  <a:pt x="60" y="166"/>
                </a:cubicBezTo>
                <a:cubicBezTo>
                  <a:pt x="60" y="196"/>
                  <a:pt x="72" y="217"/>
                  <a:pt x="83" y="233"/>
                </a:cubicBezTo>
                <a:cubicBezTo>
                  <a:pt x="95" y="248"/>
                  <a:pt x="105" y="260"/>
                  <a:pt x="104" y="267"/>
                </a:cubicBezTo>
                <a:cubicBezTo>
                  <a:pt x="104" y="291"/>
                  <a:pt x="104" y="291"/>
                  <a:pt x="104" y="291"/>
                </a:cubicBezTo>
                <a:cubicBezTo>
                  <a:pt x="104" y="298"/>
                  <a:pt x="108" y="302"/>
                  <a:pt x="110" y="305"/>
                </a:cubicBezTo>
                <a:cubicBezTo>
                  <a:pt x="111" y="306"/>
                  <a:pt x="112" y="307"/>
                  <a:pt x="112" y="308"/>
                </a:cubicBezTo>
                <a:cubicBezTo>
                  <a:pt x="112" y="316"/>
                  <a:pt x="112" y="316"/>
                  <a:pt x="112" y="316"/>
                </a:cubicBezTo>
                <a:cubicBezTo>
                  <a:pt x="112" y="320"/>
                  <a:pt x="113" y="323"/>
                  <a:pt x="114" y="325"/>
                </a:cubicBezTo>
                <a:cubicBezTo>
                  <a:pt x="115" y="327"/>
                  <a:pt x="116" y="329"/>
                  <a:pt x="116" y="330"/>
                </a:cubicBezTo>
                <a:cubicBezTo>
                  <a:pt x="109" y="330"/>
                  <a:pt x="109" y="330"/>
                  <a:pt x="109" y="330"/>
                </a:cubicBezTo>
                <a:cubicBezTo>
                  <a:pt x="104" y="330"/>
                  <a:pt x="101" y="333"/>
                  <a:pt x="101" y="338"/>
                </a:cubicBezTo>
                <a:cubicBezTo>
                  <a:pt x="101" y="342"/>
                  <a:pt x="104" y="346"/>
                  <a:pt x="109" y="346"/>
                </a:cubicBezTo>
                <a:cubicBezTo>
                  <a:pt x="116" y="346"/>
                  <a:pt x="116" y="346"/>
                  <a:pt x="116" y="346"/>
                </a:cubicBezTo>
                <a:cubicBezTo>
                  <a:pt x="116" y="349"/>
                  <a:pt x="116" y="349"/>
                  <a:pt x="116" y="349"/>
                </a:cubicBezTo>
                <a:cubicBezTo>
                  <a:pt x="116" y="354"/>
                  <a:pt x="118" y="357"/>
                  <a:pt x="120" y="361"/>
                </a:cubicBezTo>
                <a:cubicBezTo>
                  <a:pt x="124" y="367"/>
                  <a:pt x="129" y="373"/>
                  <a:pt x="134" y="378"/>
                </a:cubicBezTo>
                <a:cubicBezTo>
                  <a:pt x="136" y="381"/>
                  <a:pt x="139" y="383"/>
                  <a:pt x="141" y="385"/>
                </a:cubicBezTo>
                <a:cubicBezTo>
                  <a:pt x="142" y="386"/>
                  <a:pt x="143" y="387"/>
                  <a:pt x="144" y="387"/>
                </a:cubicBezTo>
                <a:cubicBezTo>
                  <a:pt x="145" y="388"/>
                  <a:pt x="146" y="389"/>
                  <a:pt x="150" y="389"/>
                </a:cubicBezTo>
                <a:cubicBezTo>
                  <a:pt x="183" y="389"/>
                  <a:pt x="183" y="389"/>
                  <a:pt x="183" y="389"/>
                </a:cubicBezTo>
                <a:cubicBezTo>
                  <a:pt x="187" y="389"/>
                  <a:pt x="189" y="388"/>
                  <a:pt x="191" y="387"/>
                </a:cubicBezTo>
                <a:cubicBezTo>
                  <a:pt x="196" y="383"/>
                  <a:pt x="202" y="376"/>
                  <a:pt x="207" y="369"/>
                </a:cubicBezTo>
                <a:cubicBezTo>
                  <a:pt x="210" y="366"/>
                  <a:pt x="212" y="362"/>
                  <a:pt x="214" y="359"/>
                </a:cubicBezTo>
                <a:cubicBezTo>
                  <a:pt x="216" y="356"/>
                  <a:pt x="217" y="353"/>
                  <a:pt x="218" y="349"/>
                </a:cubicBezTo>
                <a:cubicBezTo>
                  <a:pt x="218" y="346"/>
                  <a:pt x="218" y="346"/>
                  <a:pt x="218" y="346"/>
                </a:cubicBezTo>
                <a:cubicBezTo>
                  <a:pt x="224" y="346"/>
                  <a:pt x="224" y="346"/>
                  <a:pt x="224" y="346"/>
                </a:cubicBezTo>
                <a:cubicBezTo>
                  <a:pt x="229" y="346"/>
                  <a:pt x="232" y="342"/>
                  <a:pt x="232" y="338"/>
                </a:cubicBezTo>
                <a:cubicBezTo>
                  <a:pt x="232" y="333"/>
                  <a:pt x="229" y="330"/>
                  <a:pt x="224" y="330"/>
                </a:cubicBezTo>
                <a:cubicBezTo>
                  <a:pt x="218" y="330"/>
                  <a:pt x="218" y="330"/>
                  <a:pt x="218" y="330"/>
                </a:cubicBezTo>
                <a:cubicBezTo>
                  <a:pt x="218" y="329"/>
                  <a:pt x="218" y="328"/>
                  <a:pt x="219" y="326"/>
                </a:cubicBezTo>
                <a:cubicBezTo>
                  <a:pt x="220" y="323"/>
                  <a:pt x="221" y="320"/>
                  <a:pt x="221" y="316"/>
                </a:cubicBezTo>
                <a:cubicBezTo>
                  <a:pt x="221" y="308"/>
                  <a:pt x="221" y="308"/>
                  <a:pt x="221" y="308"/>
                </a:cubicBezTo>
                <a:cubicBezTo>
                  <a:pt x="221" y="308"/>
                  <a:pt x="222" y="308"/>
                  <a:pt x="222" y="308"/>
                </a:cubicBezTo>
                <a:cubicBezTo>
                  <a:pt x="224" y="305"/>
                  <a:pt x="229" y="300"/>
                  <a:pt x="229" y="291"/>
                </a:cubicBezTo>
                <a:cubicBezTo>
                  <a:pt x="229" y="267"/>
                  <a:pt x="229" y="267"/>
                  <a:pt x="229" y="267"/>
                </a:cubicBezTo>
                <a:cubicBezTo>
                  <a:pt x="229" y="260"/>
                  <a:pt x="238" y="248"/>
                  <a:pt x="250" y="233"/>
                </a:cubicBezTo>
                <a:cubicBezTo>
                  <a:pt x="261" y="217"/>
                  <a:pt x="273" y="196"/>
                  <a:pt x="273" y="166"/>
                </a:cubicBezTo>
                <a:cubicBezTo>
                  <a:pt x="273" y="144"/>
                  <a:pt x="266" y="122"/>
                  <a:pt x="254" y="105"/>
                </a:cubicBezTo>
                <a:cubicBezTo>
                  <a:pt x="251" y="101"/>
                  <a:pt x="247" y="101"/>
                  <a:pt x="243" y="103"/>
                </a:cubicBezTo>
                <a:close/>
                <a:moveTo>
                  <a:pt x="205" y="307"/>
                </a:moveTo>
                <a:cubicBezTo>
                  <a:pt x="205" y="316"/>
                  <a:pt x="205" y="316"/>
                  <a:pt x="205" y="316"/>
                </a:cubicBezTo>
                <a:cubicBezTo>
                  <a:pt x="205" y="316"/>
                  <a:pt x="205" y="318"/>
                  <a:pt x="204" y="320"/>
                </a:cubicBezTo>
                <a:cubicBezTo>
                  <a:pt x="203" y="322"/>
                  <a:pt x="202" y="325"/>
                  <a:pt x="202" y="330"/>
                </a:cubicBezTo>
                <a:cubicBezTo>
                  <a:pt x="202" y="348"/>
                  <a:pt x="202" y="348"/>
                  <a:pt x="202" y="348"/>
                </a:cubicBezTo>
                <a:cubicBezTo>
                  <a:pt x="201" y="350"/>
                  <a:pt x="196" y="358"/>
                  <a:pt x="191" y="364"/>
                </a:cubicBezTo>
                <a:cubicBezTo>
                  <a:pt x="189" y="367"/>
                  <a:pt x="186" y="370"/>
                  <a:pt x="184" y="372"/>
                </a:cubicBezTo>
                <a:cubicBezTo>
                  <a:pt x="183" y="372"/>
                  <a:pt x="183" y="373"/>
                  <a:pt x="182" y="373"/>
                </a:cubicBezTo>
                <a:cubicBezTo>
                  <a:pt x="152" y="373"/>
                  <a:pt x="152" y="373"/>
                  <a:pt x="152" y="373"/>
                </a:cubicBezTo>
                <a:cubicBezTo>
                  <a:pt x="150" y="371"/>
                  <a:pt x="144" y="366"/>
                  <a:pt x="140" y="361"/>
                </a:cubicBezTo>
                <a:cubicBezTo>
                  <a:pt x="137" y="357"/>
                  <a:pt x="135" y="354"/>
                  <a:pt x="133" y="352"/>
                </a:cubicBezTo>
                <a:cubicBezTo>
                  <a:pt x="133" y="350"/>
                  <a:pt x="132" y="349"/>
                  <a:pt x="132" y="349"/>
                </a:cubicBezTo>
                <a:cubicBezTo>
                  <a:pt x="132" y="348"/>
                  <a:pt x="132" y="348"/>
                  <a:pt x="132" y="348"/>
                </a:cubicBezTo>
                <a:cubicBezTo>
                  <a:pt x="132" y="330"/>
                  <a:pt x="132" y="330"/>
                  <a:pt x="132" y="330"/>
                </a:cubicBezTo>
                <a:cubicBezTo>
                  <a:pt x="132" y="325"/>
                  <a:pt x="130" y="322"/>
                  <a:pt x="129" y="320"/>
                </a:cubicBezTo>
                <a:cubicBezTo>
                  <a:pt x="129" y="318"/>
                  <a:pt x="128" y="317"/>
                  <a:pt x="128" y="317"/>
                </a:cubicBezTo>
                <a:cubicBezTo>
                  <a:pt x="128" y="316"/>
                  <a:pt x="128" y="316"/>
                  <a:pt x="128" y="316"/>
                </a:cubicBezTo>
                <a:cubicBezTo>
                  <a:pt x="128" y="316"/>
                  <a:pt x="128" y="316"/>
                  <a:pt x="128" y="316"/>
                </a:cubicBezTo>
                <a:cubicBezTo>
                  <a:pt x="128" y="307"/>
                  <a:pt x="128" y="307"/>
                  <a:pt x="128" y="307"/>
                </a:cubicBezTo>
                <a:cubicBezTo>
                  <a:pt x="128" y="305"/>
                  <a:pt x="128" y="304"/>
                  <a:pt x="127" y="303"/>
                </a:cubicBezTo>
                <a:cubicBezTo>
                  <a:pt x="137" y="303"/>
                  <a:pt x="150" y="303"/>
                  <a:pt x="167" y="303"/>
                </a:cubicBezTo>
                <a:cubicBezTo>
                  <a:pt x="184" y="303"/>
                  <a:pt x="197" y="303"/>
                  <a:pt x="206" y="303"/>
                </a:cubicBezTo>
                <a:cubicBezTo>
                  <a:pt x="206" y="304"/>
                  <a:pt x="205" y="305"/>
                  <a:pt x="205" y="307"/>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ounded Rectangle 73"/>
          <p:cNvSpPr/>
          <p:nvPr/>
        </p:nvSpPr>
        <p:spPr bwMode="auto">
          <a:xfrm>
            <a:off x="6657814" y="1627838"/>
            <a:ext cx="4384347" cy="1840962"/>
          </a:xfrm>
          <a:prstGeom prst="roundRect">
            <a:avLst>
              <a:gd name="adj" fmla="val 7446"/>
            </a:avLst>
          </a:prstGeom>
          <a:solidFill>
            <a:srgbClr val="575A5B"/>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FFFFFF"/>
                </a:solidFill>
                <a:effectLst/>
                <a:uLnTx/>
                <a:uFillTx/>
              </a:rPr>
              <a:t>NaaS</a:t>
            </a:r>
            <a:r>
              <a:rPr kumimoji="0" lang="en-US" sz="1800" b="0" i="0" u="none" strike="noStrike" kern="0" cap="none" spc="0" normalizeH="0" baseline="0" noProof="0" dirty="0">
                <a:ln>
                  <a:noFill/>
                </a:ln>
                <a:solidFill>
                  <a:srgbClr val="FFFFFF"/>
                </a:solidFill>
                <a:effectLst/>
                <a:uLnTx/>
                <a:uFillTx/>
              </a:rPr>
              <a:t> Customer Service Offerings:</a:t>
            </a:r>
            <a:endParaRPr kumimoji="0" lang="en-US" sz="2400" b="0" i="0" u="none" strike="noStrike" kern="0" cap="none" spc="0" normalizeH="0" baseline="0" noProof="0" dirty="0">
              <a:ln>
                <a:noFill/>
              </a:ln>
              <a:solidFill>
                <a:srgbClr val="FFFFFF"/>
              </a:solidFill>
              <a:effectLst/>
              <a:uLnTx/>
              <a:uFillTx/>
            </a:endParaRPr>
          </a:p>
        </p:txBody>
      </p:sp>
      <p:sp>
        <p:nvSpPr>
          <p:cNvPr id="26" name="Freeform 3"/>
          <p:cNvSpPr>
            <a:spLocks noChangeAspect="1" noEditPoints="1"/>
          </p:cNvSpPr>
          <p:nvPr/>
        </p:nvSpPr>
        <p:spPr bwMode="auto">
          <a:xfrm>
            <a:off x="5780164" y="5197805"/>
            <a:ext cx="328756" cy="428953"/>
          </a:xfrm>
          <a:custGeom>
            <a:avLst/>
            <a:gdLst>
              <a:gd name="T0" fmla="*/ 2147483647 w 257"/>
              <a:gd name="T1" fmla="*/ 2147483647 h 335"/>
              <a:gd name="T2" fmla="*/ 2147483647 w 257"/>
              <a:gd name="T3" fmla="*/ 2147483647 h 335"/>
              <a:gd name="T4" fmla="*/ 2147483647 w 257"/>
              <a:gd name="T5" fmla="*/ 2147483647 h 335"/>
              <a:gd name="T6" fmla="*/ 2147483647 w 257"/>
              <a:gd name="T7" fmla="*/ 2147483647 h 335"/>
              <a:gd name="T8" fmla="*/ 2147483647 w 257"/>
              <a:gd name="T9" fmla="*/ 2147483647 h 335"/>
              <a:gd name="T10" fmla="*/ 2147483647 w 257"/>
              <a:gd name="T11" fmla="*/ 2147483647 h 335"/>
              <a:gd name="T12" fmla="*/ 2147483647 w 257"/>
              <a:gd name="T13" fmla="*/ 2147483647 h 335"/>
              <a:gd name="T14" fmla="*/ 2147483647 w 257"/>
              <a:gd name="T15" fmla="*/ 2147483647 h 335"/>
              <a:gd name="T16" fmla="*/ 2147483647 w 257"/>
              <a:gd name="T17" fmla="*/ 2147483647 h 335"/>
              <a:gd name="T18" fmla="*/ 2147483647 w 257"/>
              <a:gd name="T19" fmla="*/ 2147483647 h 335"/>
              <a:gd name="T20" fmla="*/ 2147483647 w 257"/>
              <a:gd name="T21" fmla="*/ 2147483647 h 335"/>
              <a:gd name="T22" fmla="*/ 2147483647 w 257"/>
              <a:gd name="T23" fmla="*/ 2147483647 h 335"/>
              <a:gd name="T24" fmla="*/ 2147483647 w 257"/>
              <a:gd name="T25" fmla="*/ 2147483647 h 335"/>
              <a:gd name="T26" fmla="*/ 2147483647 w 257"/>
              <a:gd name="T27" fmla="*/ 2147483647 h 335"/>
              <a:gd name="T28" fmla="*/ 2147483647 w 257"/>
              <a:gd name="T29" fmla="*/ 2147483647 h 335"/>
              <a:gd name="T30" fmla="*/ 2147483647 w 257"/>
              <a:gd name="T31" fmla="*/ 2147483647 h 335"/>
              <a:gd name="T32" fmla="*/ 2147483647 w 257"/>
              <a:gd name="T33" fmla="*/ 2147483647 h 335"/>
              <a:gd name="T34" fmla="*/ 2147483647 w 257"/>
              <a:gd name="T35" fmla="*/ 2147483647 h 335"/>
              <a:gd name="T36" fmla="*/ 2147483647 w 257"/>
              <a:gd name="T37" fmla="*/ 0 h 335"/>
              <a:gd name="T38" fmla="*/ 2147483647 w 257"/>
              <a:gd name="T39" fmla="*/ 0 h 335"/>
              <a:gd name="T40" fmla="*/ 0 w 257"/>
              <a:gd name="T41" fmla="*/ 2147483647 h 335"/>
              <a:gd name="T42" fmla="*/ 2147483647 w 257"/>
              <a:gd name="T43" fmla="*/ 2147483647 h 335"/>
              <a:gd name="T44" fmla="*/ 2147483647 w 257"/>
              <a:gd name="T45" fmla="*/ 2147483647 h 335"/>
              <a:gd name="T46" fmla="*/ 2147483647 w 257"/>
              <a:gd name="T47" fmla="*/ 2147483647 h 335"/>
              <a:gd name="T48" fmla="*/ 2147483647 w 257"/>
              <a:gd name="T49" fmla="*/ 2147483647 h 335"/>
              <a:gd name="T50" fmla="*/ 2147483647 w 257"/>
              <a:gd name="T51" fmla="*/ 2147483647 h 335"/>
              <a:gd name="T52" fmla="*/ 2147483647 w 257"/>
              <a:gd name="T53" fmla="*/ 2147483647 h 335"/>
              <a:gd name="T54" fmla="*/ 2147483647 w 257"/>
              <a:gd name="T55" fmla="*/ 2147483647 h 335"/>
              <a:gd name="T56" fmla="*/ 0 w 257"/>
              <a:gd name="T57" fmla="*/ 2147483647 h 335"/>
              <a:gd name="T58" fmla="*/ 2147483647 w 257"/>
              <a:gd name="T59" fmla="*/ 2147483647 h 335"/>
              <a:gd name="T60" fmla="*/ 2147483647 w 257"/>
              <a:gd name="T61" fmla="*/ 2147483647 h 335"/>
              <a:gd name="T62" fmla="*/ 2147483647 w 257"/>
              <a:gd name="T63" fmla="*/ 2147483647 h 335"/>
              <a:gd name="T64" fmla="*/ 2147483647 w 257"/>
              <a:gd name="T65" fmla="*/ 2147483647 h 335"/>
              <a:gd name="T66" fmla="*/ 2147483647 w 257"/>
              <a:gd name="T67" fmla="*/ 2147483647 h 335"/>
              <a:gd name="T68" fmla="*/ 2147483647 w 257"/>
              <a:gd name="T69" fmla="*/ 2147483647 h 335"/>
              <a:gd name="T70" fmla="*/ 2147483647 w 257"/>
              <a:gd name="T71" fmla="*/ 2147483647 h 335"/>
              <a:gd name="T72" fmla="*/ 2147483647 w 257"/>
              <a:gd name="T73" fmla="*/ 2147483647 h 335"/>
              <a:gd name="T74" fmla="*/ 2147483647 w 257"/>
              <a:gd name="T75" fmla="*/ 2147483647 h 335"/>
              <a:gd name="T76" fmla="*/ 2147483647 w 257"/>
              <a:gd name="T77" fmla="*/ 2147483647 h 335"/>
              <a:gd name="T78" fmla="*/ 2147483647 w 257"/>
              <a:gd name="T79" fmla="*/ 2147483647 h 335"/>
              <a:gd name="T80" fmla="*/ 2147483647 w 257"/>
              <a:gd name="T81" fmla="*/ 2147483647 h 335"/>
              <a:gd name="T82" fmla="*/ 2147483647 w 257"/>
              <a:gd name="T83" fmla="*/ 2147483647 h 335"/>
              <a:gd name="T84" fmla="*/ 2147483647 w 257"/>
              <a:gd name="T85" fmla="*/ 2147483647 h 335"/>
              <a:gd name="T86" fmla="*/ 2147483647 w 257"/>
              <a:gd name="T87" fmla="*/ 2147483647 h 335"/>
              <a:gd name="T88" fmla="*/ 2147483647 w 257"/>
              <a:gd name="T89" fmla="*/ 2147483647 h 335"/>
              <a:gd name="T90" fmla="*/ 2147483647 w 257"/>
              <a:gd name="T91" fmla="*/ 2147483647 h 335"/>
              <a:gd name="T92" fmla="*/ 2147483647 w 257"/>
              <a:gd name="T93" fmla="*/ 2147483647 h 335"/>
              <a:gd name="T94" fmla="*/ 2147483647 w 257"/>
              <a:gd name="T95" fmla="*/ 2147483647 h 335"/>
              <a:gd name="T96" fmla="*/ 2147483647 w 257"/>
              <a:gd name="T97" fmla="*/ 2147483647 h 335"/>
              <a:gd name="T98" fmla="*/ 2147483647 w 257"/>
              <a:gd name="T99" fmla="*/ 2147483647 h 3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57" h="335">
                <a:moveTo>
                  <a:pt x="249" y="319"/>
                </a:moveTo>
                <a:cubicBezTo>
                  <a:pt x="230" y="319"/>
                  <a:pt x="230" y="319"/>
                  <a:pt x="230" y="319"/>
                </a:cubicBezTo>
                <a:cubicBezTo>
                  <a:pt x="227" y="281"/>
                  <a:pt x="204" y="217"/>
                  <a:pt x="164" y="187"/>
                </a:cubicBezTo>
                <a:cubicBezTo>
                  <a:pt x="158" y="181"/>
                  <a:pt x="155" y="174"/>
                  <a:pt x="155" y="167"/>
                </a:cubicBezTo>
                <a:cubicBezTo>
                  <a:pt x="155" y="160"/>
                  <a:pt x="158" y="153"/>
                  <a:pt x="165" y="147"/>
                </a:cubicBezTo>
                <a:cubicBezTo>
                  <a:pt x="184" y="131"/>
                  <a:pt x="201" y="105"/>
                  <a:pt x="214" y="74"/>
                </a:cubicBezTo>
                <a:cubicBezTo>
                  <a:pt x="215" y="70"/>
                  <a:pt x="213" y="65"/>
                  <a:pt x="209" y="64"/>
                </a:cubicBezTo>
                <a:cubicBezTo>
                  <a:pt x="205" y="62"/>
                  <a:pt x="200" y="64"/>
                  <a:pt x="199" y="68"/>
                </a:cubicBezTo>
                <a:cubicBezTo>
                  <a:pt x="195" y="79"/>
                  <a:pt x="190" y="88"/>
                  <a:pt x="185" y="97"/>
                </a:cubicBezTo>
                <a:cubicBezTo>
                  <a:pt x="72" y="97"/>
                  <a:pt x="72" y="97"/>
                  <a:pt x="72" y="97"/>
                </a:cubicBezTo>
                <a:cubicBezTo>
                  <a:pt x="56" y="70"/>
                  <a:pt x="47" y="39"/>
                  <a:pt x="45" y="16"/>
                </a:cubicBezTo>
                <a:cubicBezTo>
                  <a:pt x="212" y="16"/>
                  <a:pt x="212" y="16"/>
                  <a:pt x="212" y="16"/>
                </a:cubicBezTo>
                <a:cubicBezTo>
                  <a:pt x="211" y="23"/>
                  <a:pt x="210" y="30"/>
                  <a:pt x="208" y="38"/>
                </a:cubicBezTo>
                <a:cubicBezTo>
                  <a:pt x="207" y="42"/>
                  <a:pt x="210" y="47"/>
                  <a:pt x="214" y="48"/>
                </a:cubicBezTo>
                <a:cubicBezTo>
                  <a:pt x="219" y="49"/>
                  <a:pt x="223" y="46"/>
                  <a:pt x="224" y="42"/>
                </a:cubicBezTo>
                <a:cubicBezTo>
                  <a:pt x="226" y="33"/>
                  <a:pt x="227" y="24"/>
                  <a:pt x="228" y="16"/>
                </a:cubicBezTo>
                <a:cubicBezTo>
                  <a:pt x="249" y="16"/>
                  <a:pt x="249" y="16"/>
                  <a:pt x="249" y="16"/>
                </a:cubicBezTo>
                <a:cubicBezTo>
                  <a:pt x="253" y="16"/>
                  <a:pt x="257" y="13"/>
                  <a:pt x="257" y="8"/>
                </a:cubicBezTo>
                <a:cubicBezTo>
                  <a:pt x="257" y="4"/>
                  <a:pt x="253" y="0"/>
                  <a:pt x="249" y="0"/>
                </a:cubicBezTo>
                <a:cubicBezTo>
                  <a:pt x="8" y="0"/>
                  <a:pt x="8" y="0"/>
                  <a:pt x="8" y="0"/>
                </a:cubicBezTo>
                <a:cubicBezTo>
                  <a:pt x="3" y="0"/>
                  <a:pt x="0" y="4"/>
                  <a:pt x="0" y="8"/>
                </a:cubicBezTo>
                <a:cubicBezTo>
                  <a:pt x="0" y="13"/>
                  <a:pt x="3" y="16"/>
                  <a:pt x="8" y="16"/>
                </a:cubicBezTo>
                <a:cubicBezTo>
                  <a:pt x="29" y="16"/>
                  <a:pt x="29" y="16"/>
                  <a:pt x="29" y="16"/>
                </a:cubicBezTo>
                <a:cubicBezTo>
                  <a:pt x="31" y="53"/>
                  <a:pt x="54" y="116"/>
                  <a:pt x="92" y="147"/>
                </a:cubicBezTo>
                <a:cubicBezTo>
                  <a:pt x="99" y="154"/>
                  <a:pt x="102" y="160"/>
                  <a:pt x="102" y="167"/>
                </a:cubicBezTo>
                <a:cubicBezTo>
                  <a:pt x="102" y="174"/>
                  <a:pt x="99" y="180"/>
                  <a:pt x="92" y="187"/>
                </a:cubicBezTo>
                <a:cubicBezTo>
                  <a:pt x="53" y="217"/>
                  <a:pt x="30" y="281"/>
                  <a:pt x="27" y="319"/>
                </a:cubicBezTo>
                <a:cubicBezTo>
                  <a:pt x="8" y="319"/>
                  <a:pt x="8" y="319"/>
                  <a:pt x="8" y="319"/>
                </a:cubicBezTo>
                <a:cubicBezTo>
                  <a:pt x="3" y="319"/>
                  <a:pt x="0" y="323"/>
                  <a:pt x="0" y="327"/>
                </a:cubicBezTo>
                <a:cubicBezTo>
                  <a:pt x="0" y="332"/>
                  <a:pt x="3" y="335"/>
                  <a:pt x="8" y="335"/>
                </a:cubicBezTo>
                <a:cubicBezTo>
                  <a:pt x="249" y="335"/>
                  <a:pt x="249" y="335"/>
                  <a:pt x="249" y="335"/>
                </a:cubicBezTo>
                <a:cubicBezTo>
                  <a:pt x="253" y="335"/>
                  <a:pt x="257" y="332"/>
                  <a:pt x="257" y="327"/>
                </a:cubicBezTo>
                <a:cubicBezTo>
                  <a:pt x="257" y="323"/>
                  <a:pt x="253" y="319"/>
                  <a:pt x="249" y="319"/>
                </a:cubicBezTo>
                <a:close/>
                <a:moveTo>
                  <a:pt x="182" y="319"/>
                </a:moveTo>
                <a:cubicBezTo>
                  <a:pt x="179" y="298"/>
                  <a:pt x="168" y="266"/>
                  <a:pt x="149" y="252"/>
                </a:cubicBezTo>
                <a:cubicBezTo>
                  <a:pt x="147" y="250"/>
                  <a:pt x="138" y="243"/>
                  <a:pt x="128" y="243"/>
                </a:cubicBezTo>
                <a:cubicBezTo>
                  <a:pt x="118" y="243"/>
                  <a:pt x="110" y="250"/>
                  <a:pt x="108" y="252"/>
                </a:cubicBezTo>
                <a:cubicBezTo>
                  <a:pt x="89" y="266"/>
                  <a:pt x="77" y="298"/>
                  <a:pt x="75" y="319"/>
                </a:cubicBezTo>
                <a:cubicBezTo>
                  <a:pt x="43" y="319"/>
                  <a:pt x="43" y="319"/>
                  <a:pt x="43" y="319"/>
                </a:cubicBezTo>
                <a:cubicBezTo>
                  <a:pt x="46" y="283"/>
                  <a:pt x="68" y="225"/>
                  <a:pt x="102" y="199"/>
                </a:cubicBezTo>
                <a:cubicBezTo>
                  <a:pt x="102" y="199"/>
                  <a:pt x="102" y="199"/>
                  <a:pt x="103" y="199"/>
                </a:cubicBezTo>
                <a:cubicBezTo>
                  <a:pt x="113" y="189"/>
                  <a:pt x="118" y="179"/>
                  <a:pt x="118" y="167"/>
                </a:cubicBezTo>
                <a:cubicBezTo>
                  <a:pt x="118" y="160"/>
                  <a:pt x="116" y="153"/>
                  <a:pt x="112" y="147"/>
                </a:cubicBezTo>
                <a:cubicBezTo>
                  <a:pt x="117" y="149"/>
                  <a:pt x="123" y="151"/>
                  <a:pt x="128" y="151"/>
                </a:cubicBezTo>
                <a:cubicBezTo>
                  <a:pt x="133" y="151"/>
                  <a:pt x="139" y="149"/>
                  <a:pt x="144" y="147"/>
                </a:cubicBezTo>
                <a:cubicBezTo>
                  <a:pt x="140" y="153"/>
                  <a:pt x="139" y="160"/>
                  <a:pt x="139" y="167"/>
                </a:cubicBezTo>
                <a:cubicBezTo>
                  <a:pt x="139" y="179"/>
                  <a:pt x="144" y="190"/>
                  <a:pt x="154" y="199"/>
                </a:cubicBezTo>
                <a:cubicBezTo>
                  <a:pt x="154" y="199"/>
                  <a:pt x="154" y="199"/>
                  <a:pt x="154" y="199"/>
                </a:cubicBezTo>
                <a:cubicBezTo>
                  <a:pt x="189" y="225"/>
                  <a:pt x="210" y="283"/>
                  <a:pt x="214" y="319"/>
                </a:cubicBezTo>
                <a:lnTo>
                  <a:pt x="182" y="319"/>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3"/>
          <p:cNvSpPr>
            <a:spLocks noChangeAspect="1" noEditPoints="1"/>
          </p:cNvSpPr>
          <p:nvPr/>
        </p:nvSpPr>
        <p:spPr bwMode="auto">
          <a:xfrm>
            <a:off x="2365249" y="4626905"/>
            <a:ext cx="654977" cy="466796"/>
          </a:xfrm>
          <a:custGeom>
            <a:avLst/>
            <a:gdLst>
              <a:gd name="T0" fmla="*/ 2147483647 w 417"/>
              <a:gd name="T1" fmla="*/ 2147483647 h 297"/>
              <a:gd name="T2" fmla="*/ 2147483647 w 417"/>
              <a:gd name="T3" fmla="*/ 2147483647 h 297"/>
              <a:gd name="T4" fmla="*/ 2147483647 w 417"/>
              <a:gd name="T5" fmla="*/ 2147483647 h 297"/>
              <a:gd name="T6" fmla="*/ 2147483647 w 417"/>
              <a:gd name="T7" fmla="*/ 2147483647 h 297"/>
              <a:gd name="T8" fmla="*/ 2147483647 w 417"/>
              <a:gd name="T9" fmla="*/ 2147483647 h 297"/>
              <a:gd name="T10" fmla="*/ 2147483647 w 417"/>
              <a:gd name="T11" fmla="*/ 2147483647 h 297"/>
              <a:gd name="T12" fmla="*/ 2147483647 w 417"/>
              <a:gd name="T13" fmla="*/ 2147483647 h 297"/>
              <a:gd name="T14" fmla="*/ 2147483647 w 417"/>
              <a:gd name="T15" fmla="*/ 2147483647 h 297"/>
              <a:gd name="T16" fmla="*/ 2147483647 w 417"/>
              <a:gd name="T17" fmla="*/ 2147483647 h 297"/>
              <a:gd name="T18" fmla="*/ 2147483647 w 417"/>
              <a:gd name="T19" fmla="*/ 2147483647 h 297"/>
              <a:gd name="T20" fmla="*/ 2147483647 w 417"/>
              <a:gd name="T21" fmla="*/ 2147483647 h 297"/>
              <a:gd name="T22" fmla="*/ 2147483647 w 417"/>
              <a:gd name="T23" fmla="*/ 2147483647 h 297"/>
              <a:gd name="T24" fmla="*/ 2147483647 w 417"/>
              <a:gd name="T25" fmla="*/ 2147483647 h 297"/>
              <a:gd name="T26" fmla="*/ 2147483647 w 417"/>
              <a:gd name="T27" fmla="*/ 2147483647 h 297"/>
              <a:gd name="T28" fmla="*/ 2147483647 w 417"/>
              <a:gd name="T29" fmla="*/ 2147483647 h 297"/>
              <a:gd name="T30" fmla="*/ 2147483647 w 417"/>
              <a:gd name="T31" fmla="*/ 2147483647 h 297"/>
              <a:gd name="T32" fmla="*/ 2147483647 w 417"/>
              <a:gd name="T33" fmla="*/ 0 h 297"/>
              <a:gd name="T34" fmla="*/ 0 w 417"/>
              <a:gd name="T35" fmla="*/ 2147483647 h 297"/>
              <a:gd name="T36" fmla="*/ 2147483647 w 417"/>
              <a:gd name="T37" fmla="*/ 2147483647 h 297"/>
              <a:gd name="T38" fmla="*/ 2147483647 w 417"/>
              <a:gd name="T39" fmla="*/ 2147483647 h 297"/>
              <a:gd name="T40" fmla="*/ 2147483647 w 417"/>
              <a:gd name="T41" fmla="*/ 2147483647 h 297"/>
              <a:gd name="T42" fmla="*/ 2147483647 w 417"/>
              <a:gd name="T43" fmla="*/ 2147483647 h 297"/>
              <a:gd name="T44" fmla="*/ 2147483647 w 417"/>
              <a:gd name="T45" fmla="*/ 2147483647 h 297"/>
              <a:gd name="T46" fmla="*/ 2147483647 w 417"/>
              <a:gd name="T47" fmla="*/ 2147483647 h 297"/>
              <a:gd name="T48" fmla="*/ 2147483647 w 417"/>
              <a:gd name="T49" fmla="*/ 2147483647 h 297"/>
              <a:gd name="T50" fmla="*/ 2147483647 w 417"/>
              <a:gd name="T51" fmla="*/ 2147483647 h 297"/>
              <a:gd name="T52" fmla="*/ 2147483647 w 417"/>
              <a:gd name="T53" fmla="*/ 2147483647 h 297"/>
              <a:gd name="T54" fmla="*/ 2147483647 w 417"/>
              <a:gd name="T55" fmla="*/ 2147483647 h 297"/>
              <a:gd name="T56" fmla="*/ 2147483647 w 417"/>
              <a:gd name="T57" fmla="*/ 2147483647 h 297"/>
              <a:gd name="T58" fmla="*/ 2147483647 w 417"/>
              <a:gd name="T59" fmla="*/ 2147483647 h 297"/>
              <a:gd name="T60" fmla="*/ 2147483647 w 417"/>
              <a:gd name="T61" fmla="*/ 2147483647 h 297"/>
              <a:gd name="T62" fmla="*/ 2147483647 w 417"/>
              <a:gd name="T63" fmla="*/ 2147483647 h 297"/>
              <a:gd name="T64" fmla="*/ 2147483647 w 417"/>
              <a:gd name="T65" fmla="*/ 2147483647 h 297"/>
              <a:gd name="T66" fmla="*/ 2147483647 w 417"/>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17" h="297">
                <a:moveTo>
                  <a:pt x="409" y="63"/>
                </a:moveTo>
                <a:cubicBezTo>
                  <a:pt x="404" y="63"/>
                  <a:pt x="401" y="67"/>
                  <a:pt x="401" y="71"/>
                </a:cubicBezTo>
                <a:cubicBezTo>
                  <a:pt x="401" y="71"/>
                  <a:pt x="401" y="71"/>
                  <a:pt x="401" y="71"/>
                </a:cubicBezTo>
                <a:cubicBezTo>
                  <a:pt x="401" y="138"/>
                  <a:pt x="401" y="138"/>
                  <a:pt x="401" y="138"/>
                </a:cubicBezTo>
                <a:cubicBezTo>
                  <a:pt x="344" y="138"/>
                  <a:pt x="344" y="138"/>
                  <a:pt x="344" y="138"/>
                </a:cubicBezTo>
                <a:cubicBezTo>
                  <a:pt x="323" y="64"/>
                  <a:pt x="323" y="64"/>
                  <a:pt x="323" y="64"/>
                </a:cubicBezTo>
                <a:cubicBezTo>
                  <a:pt x="322" y="61"/>
                  <a:pt x="318" y="58"/>
                  <a:pt x="315" y="58"/>
                </a:cubicBezTo>
                <a:cubicBezTo>
                  <a:pt x="315" y="58"/>
                  <a:pt x="315" y="58"/>
                  <a:pt x="315" y="58"/>
                </a:cubicBezTo>
                <a:cubicBezTo>
                  <a:pt x="311" y="58"/>
                  <a:pt x="308" y="61"/>
                  <a:pt x="307" y="64"/>
                </a:cubicBezTo>
                <a:cubicBezTo>
                  <a:pt x="272" y="193"/>
                  <a:pt x="272" y="193"/>
                  <a:pt x="272" y="193"/>
                </a:cubicBezTo>
                <a:cubicBezTo>
                  <a:pt x="252" y="111"/>
                  <a:pt x="252" y="111"/>
                  <a:pt x="252" y="111"/>
                </a:cubicBezTo>
                <a:cubicBezTo>
                  <a:pt x="251" y="108"/>
                  <a:pt x="248" y="105"/>
                  <a:pt x="245" y="105"/>
                </a:cubicBezTo>
                <a:cubicBezTo>
                  <a:pt x="242" y="105"/>
                  <a:pt x="238" y="107"/>
                  <a:pt x="237" y="110"/>
                </a:cubicBezTo>
                <a:cubicBezTo>
                  <a:pt x="225" y="138"/>
                  <a:pt x="225" y="138"/>
                  <a:pt x="225" y="138"/>
                </a:cubicBezTo>
                <a:cubicBezTo>
                  <a:pt x="194" y="138"/>
                  <a:pt x="194" y="138"/>
                  <a:pt x="194" y="138"/>
                </a:cubicBezTo>
                <a:cubicBezTo>
                  <a:pt x="173" y="64"/>
                  <a:pt x="173" y="64"/>
                  <a:pt x="173" y="64"/>
                </a:cubicBezTo>
                <a:cubicBezTo>
                  <a:pt x="172" y="60"/>
                  <a:pt x="169" y="58"/>
                  <a:pt x="165" y="58"/>
                </a:cubicBezTo>
                <a:cubicBezTo>
                  <a:pt x="165" y="58"/>
                  <a:pt x="165" y="58"/>
                  <a:pt x="165" y="58"/>
                </a:cubicBezTo>
                <a:cubicBezTo>
                  <a:pt x="161" y="58"/>
                  <a:pt x="158" y="61"/>
                  <a:pt x="157" y="64"/>
                </a:cubicBezTo>
                <a:cubicBezTo>
                  <a:pt x="122" y="194"/>
                  <a:pt x="122" y="194"/>
                  <a:pt x="122" y="194"/>
                </a:cubicBezTo>
                <a:cubicBezTo>
                  <a:pt x="99" y="110"/>
                  <a:pt x="99" y="110"/>
                  <a:pt x="99" y="110"/>
                </a:cubicBezTo>
                <a:cubicBezTo>
                  <a:pt x="98" y="107"/>
                  <a:pt x="95" y="104"/>
                  <a:pt x="92" y="104"/>
                </a:cubicBezTo>
                <a:cubicBezTo>
                  <a:pt x="88" y="104"/>
                  <a:pt x="85" y="106"/>
                  <a:pt x="84" y="109"/>
                </a:cubicBezTo>
                <a:cubicBezTo>
                  <a:pt x="73" y="138"/>
                  <a:pt x="73" y="138"/>
                  <a:pt x="73" y="138"/>
                </a:cubicBezTo>
                <a:cubicBezTo>
                  <a:pt x="16" y="138"/>
                  <a:pt x="16" y="138"/>
                  <a:pt x="16" y="138"/>
                </a:cubicBezTo>
                <a:cubicBezTo>
                  <a:pt x="16" y="25"/>
                  <a:pt x="16" y="25"/>
                  <a:pt x="16" y="25"/>
                </a:cubicBezTo>
                <a:cubicBezTo>
                  <a:pt x="16" y="20"/>
                  <a:pt x="20" y="16"/>
                  <a:pt x="25" y="16"/>
                </a:cubicBezTo>
                <a:cubicBezTo>
                  <a:pt x="392" y="16"/>
                  <a:pt x="392" y="16"/>
                  <a:pt x="392" y="16"/>
                </a:cubicBezTo>
                <a:cubicBezTo>
                  <a:pt x="397" y="16"/>
                  <a:pt x="401" y="20"/>
                  <a:pt x="401" y="25"/>
                </a:cubicBezTo>
                <a:cubicBezTo>
                  <a:pt x="401" y="39"/>
                  <a:pt x="401" y="39"/>
                  <a:pt x="401" y="39"/>
                </a:cubicBezTo>
                <a:cubicBezTo>
                  <a:pt x="401" y="43"/>
                  <a:pt x="404" y="47"/>
                  <a:pt x="409" y="47"/>
                </a:cubicBezTo>
                <a:cubicBezTo>
                  <a:pt x="413" y="47"/>
                  <a:pt x="417" y="43"/>
                  <a:pt x="417" y="39"/>
                </a:cubicBezTo>
                <a:cubicBezTo>
                  <a:pt x="417" y="25"/>
                  <a:pt x="417" y="25"/>
                  <a:pt x="417" y="25"/>
                </a:cubicBezTo>
                <a:cubicBezTo>
                  <a:pt x="417" y="11"/>
                  <a:pt x="406" y="0"/>
                  <a:pt x="392" y="0"/>
                </a:cubicBezTo>
                <a:cubicBezTo>
                  <a:pt x="25" y="0"/>
                  <a:pt x="25" y="0"/>
                  <a:pt x="25" y="0"/>
                </a:cubicBezTo>
                <a:cubicBezTo>
                  <a:pt x="11" y="0"/>
                  <a:pt x="0" y="11"/>
                  <a:pt x="0" y="25"/>
                </a:cubicBezTo>
                <a:cubicBezTo>
                  <a:pt x="0" y="272"/>
                  <a:pt x="0" y="272"/>
                  <a:pt x="0" y="272"/>
                </a:cubicBezTo>
                <a:cubicBezTo>
                  <a:pt x="0" y="286"/>
                  <a:pt x="11" y="297"/>
                  <a:pt x="25" y="297"/>
                </a:cubicBezTo>
                <a:cubicBezTo>
                  <a:pt x="392" y="297"/>
                  <a:pt x="392" y="297"/>
                  <a:pt x="392" y="297"/>
                </a:cubicBezTo>
                <a:cubicBezTo>
                  <a:pt x="406" y="297"/>
                  <a:pt x="417" y="286"/>
                  <a:pt x="417" y="272"/>
                </a:cubicBezTo>
                <a:cubicBezTo>
                  <a:pt x="417" y="71"/>
                  <a:pt x="417" y="71"/>
                  <a:pt x="417" y="71"/>
                </a:cubicBezTo>
                <a:cubicBezTo>
                  <a:pt x="417" y="67"/>
                  <a:pt x="413" y="63"/>
                  <a:pt x="409" y="63"/>
                </a:cubicBezTo>
                <a:close/>
                <a:moveTo>
                  <a:pt x="401" y="272"/>
                </a:moveTo>
                <a:cubicBezTo>
                  <a:pt x="401" y="277"/>
                  <a:pt x="397" y="281"/>
                  <a:pt x="392" y="281"/>
                </a:cubicBezTo>
                <a:cubicBezTo>
                  <a:pt x="25" y="281"/>
                  <a:pt x="25" y="281"/>
                  <a:pt x="25" y="281"/>
                </a:cubicBezTo>
                <a:cubicBezTo>
                  <a:pt x="20" y="281"/>
                  <a:pt x="16" y="277"/>
                  <a:pt x="16" y="272"/>
                </a:cubicBezTo>
                <a:cubicBezTo>
                  <a:pt x="16" y="154"/>
                  <a:pt x="16" y="154"/>
                  <a:pt x="16" y="154"/>
                </a:cubicBezTo>
                <a:cubicBezTo>
                  <a:pt x="78" y="154"/>
                  <a:pt x="78" y="154"/>
                  <a:pt x="78" y="154"/>
                </a:cubicBezTo>
                <a:cubicBezTo>
                  <a:pt x="81" y="154"/>
                  <a:pt x="84" y="152"/>
                  <a:pt x="85" y="149"/>
                </a:cubicBezTo>
                <a:cubicBezTo>
                  <a:pt x="90" y="138"/>
                  <a:pt x="90" y="138"/>
                  <a:pt x="90" y="138"/>
                </a:cubicBezTo>
                <a:cubicBezTo>
                  <a:pt x="115" y="227"/>
                  <a:pt x="115" y="227"/>
                  <a:pt x="115" y="227"/>
                </a:cubicBezTo>
                <a:cubicBezTo>
                  <a:pt x="116" y="230"/>
                  <a:pt x="119" y="232"/>
                  <a:pt x="122" y="232"/>
                </a:cubicBezTo>
                <a:cubicBezTo>
                  <a:pt x="122" y="232"/>
                  <a:pt x="122" y="232"/>
                  <a:pt x="122" y="232"/>
                </a:cubicBezTo>
                <a:cubicBezTo>
                  <a:pt x="126" y="232"/>
                  <a:pt x="129" y="230"/>
                  <a:pt x="130" y="227"/>
                </a:cubicBezTo>
                <a:cubicBezTo>
                  <a:pt x="165" y="96"/>
                  <a:pt x="165" y="96"/>
                  <a:pt x="165" y="96"/>
                </a:cubicBezTo>
                <a:cubicBezTo>
                  <a:pt x="180" y="148"/>
                  <a:pt x="180" y="148"/>
                  <a:pt x="180" y="148"/>
                </a:cubicBezTo>
                <a:cubicBezTo>
                  <a:pt x="181" y="151"/>
                  <a:pt x="185" y="154"/>
                  <a:pt x="188" y="154"/>
                </a:cubicBezTo>
                <a:cubicBezTo>
                  <a:pt x="230" y="154"/>
                  <a:pt x="230" y="154"/>
                  <a:pt x="230" y="154"/>
                </a:cubicBezTo>
                <a:cubicBezTo>
                  <a:pt x="233" y="154"/>
                  <a:pt x="236" y="152"/>
                  <a:pt x="237" y="149"/>
                </a:cubicBezTo>
                <a:cubicBezTo>
                  <a:pt x="242" y="138"/>
                  <a:pt x="242" y="138"/>
                  <a:pt x="242" y="138"/>
                </a:cubicBezTo>
                <a:cubicBezTo>
                  <a:pt x="264" y="226"/>
                  <a:pt x="264" y="226"/>
                  <a:pt x="264" y="226"/>
                </a:cubicBezTo>
                <a:cubicBezTo>
                  <a:pt x="265" y="230"/>
                  <a:pt x="268" y="232"/>
                  <a:pt x="272" y="232"/>
                </a:cubicBezTo>
                <a:cubicBezTo>
                  <a:pt x="272" y="232"/>
                  <a:pt x="272" y="232"/>
                  <a:pt x="272" y="232"/>
                </a:cubicBezTo>
                <a:cubicBezTo>
                  <a:pt x="275" y="232"/>
                  <a:pt x="278" y="230"/>
                  <a:pt x="279" y="227"/>
                </a:cubicBezTo>
                <a:cubicBezTo>
                  <a:pt x="315" y="96"/>
                  <a:pt x="315" y="96"/>
                  <a:pt x="315" y="96"/>
                </a:cubicBezTo>
                <a:cubicBezTo>
                  <a:pt x="330" y="149"/>
                  <a:pt x="330" y="149"/>
                  <a:pt x="330" y="149"/>
                </a:cubicBezTo>
                <a:cubicBezTo>
                  <a:pt x="331" y="152"/>
                  <a:pt x="334" y="154"/>
                  <a:pt x="338" y="154"/>
                </a:cubicBezTo>
                <a:cubicBezTo>
                  <a:pt x="401" y="154"/>
                  <a:pt x="401" y="154"/>
                  <a:pt x="401" y="154"/>
                </a:cubicBezTo>
                <a:lnTo>
                  <a:pt x="401" y="272"/>
                </a:ln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28" name="Freeform 3"/>
          <p:cNvSpPr>
            <a:spLocks noChangeAspect="1"/>
          </p:cNvSpPr>
          <p:nvPr/>
        </p:nvSpPr>
        <p:spPr bwMode="auto">
          <a:xfrm>
            <a:off x="5069575" y="1995402"/>
            <a:ext cx="1312862" cy="1125537"/>
          </a:xfrm>
          <a:custGeom>
            <a:avLst/>
            <a:gdLst>
              <a:gd name="T0" fmla="*/ 2147483647 w 350"/>
              <a:gd name="T1" fmla="*/ 2147483647 h 300"/>
              <a:gd name="T2" fmla="*/ 2147483647 w 350"/>
              <a:gd name="T3" fmla="*/ 2147483647 h 300"/>
              <a:gd name="T4" fmla="*/ 2147483647 w 350"/>
              <a:gd name="T5" fmla="*/ 2147483647 h 300"/>
              <a:gd name="T6" fmla="*/ 2147483647 w 350"/>
              <a:gd name="T7" fmla="*/ 2147483647 h 300"/>
              <a:gd name="T8" fmla="*/ 2147483647 w 350"/>
              <a:gd name="T9" fmla="*/ 2147483647 h 300"/>
              <a:gd name="T10" fmla="*/ 2147483647 w 350"/>
              <a:gd name="T11" fmla="*/ 2147483647 h 300"/>
              <a:gd name="T12" fmla="*/ 2147483647 w 350"/>
              <a:gd name="T13" fmla="*/ 2147483647 h 300"/>
              <a:gd name="T14" fmla="*/ 2147483647 w 350"/>
              <a:gd name="T15" fmla="*/ 2147483647 h 300"/>
              <a:gd name="T16" fmla="*/ 2147483647 w 350"/>
              <a:gd name="T17" fmla="*/ 2147483647 h 300"/>
              <a:gd name="T18" fmla="*/ 2147483647 w 350"/>
              <a:gd name="T19" fmla="*/ 2147483647 h 300"/>
              <a:gd name="T20" fmla="*/ 2147483647 w 350"/>
              <a:gd name="T21" fmla="*/ 2147483647 h 300"/>
              <a:gd name="T22" fmla="*/ 2147483647 w 350"/>
              <a:gd name="T23" fmla="*/ 2147483647 h 300"/>
              <a:gd name="T24" fmla="*/ 2147483647 w 350"/>
              <a:gd name="T25" fmla="*/ 2147483647 h 300"/>
              <a:gd name="T26" fmla="*/ 2147483647 w 350"/>
              <a:gd name="T27" fmla="*/ 2147483647 h 300"/>
              <a:gd name="T28" fmla="*/ 2147483647 w 350"/>
              <a:gd name="T29" fmla="*/ 2147483647 h 300"/>
              <a:gd name="T30" fmla="*/ 2147483647 w 350"/>
              <a:gd name="T31" fmla="*/ 2147483647 h 300"/>
              <a:gd name="T32" fmla="*/ 2147483647 w 350"/>
              <a:gd name="T33" fmla="*/ 2147483647 h 300"/>
              <a:gd name="T34" fmla="*/ 2147483647 w 350"/>
              <a:gd name="T35" fmla="*/ 2147483647 h 300"/>
              <a:gd name="T36" fmla="*/ 2147483647 w 350"/>
              <a:gd name="T37" fmla="*/ 2147483647 h 300"/>
              <a:gd name="T38" fmla="*/ 2147483647 w 350"/>
              <a:gd name="T39" fmla="*/ 2147483647 h 300"/>
              <a:gd name="T40" fmla="*/ 2147483647 w 350"/>
              <a:gd name="T41" fmla="*/ 2147483647 h 300"/>
              <a:gd name="T42" fmla="*/ 2147483647 w 350"/>
              <a:gd name="T43" fmla="*/ 2147483647 h 300"/>
              <a:gd name="T44" fmla="*/ 2147483647 w 350"/>
              <a:gd name="T45" fmla="*/ 2147483647 h 300"/>
              <a:gd name="T46" fmla="*/ 2147483647 w 350"/>
              <a:gd name="T47" fmla="*/ 2147483647 h 300"/>
              <a:gd name="T48" fmla="*/ 2147483647 w 350"/>
              <a:gd name="T49" fmla="*/ 2147483647 h 300"/>
              <a:gd name="T50" fmla="*/ 2147483647 w 350"/>
              <a:gd name="T51" fmla="*/ 2147483647 h 300"/>
              <a:gd name="T52" fmla="*/ 2147483647 w 350"/>
              <a:gd name="T53" fmla="*/ 2147483647 h 300"/>
              <a:gd name="T54" fmla="*/ 2147483647 w 350"/>
              <a:gd name="T55" fmla="*/ 2147483647 h 300"/>
              <a:gd name="T56" fmla="*/ 2147483647 w 350"/>
              <a:gd name="T57" fmla="*/ 2147483647 h 300"/>
              <a:gd name="T58" fmla="*/ 2147483647 w 350"/>
              <a:gd name="T59" fmla="*/ 0 h 300"/>
              <a:gd name="T60" fmla="*/ 2147483647 w 350"/>
              <a:gd name="T61" fmla="*/ 2147483647 h 300"/>
              <a:gd name="T62" fmla="*/ 2147483647 w 350"/>
              <a:gd name="T63" fmla="*/ 2147483647 h 300"/>
              <a:gd name="T64" fmla="*/ 2147483647 w 350"/>
              <a:gd name="T65" fmla="*/ 2147483647 h 300"/>
              <a:gd name="T66" fmla="*/ 2147483647 w 350"/>
              <a:gd name="T67" fmla="*/ 2147483647 h 300"/>
              <a:gd name="T68" fmla="*/ 0 w 350"/>
              <a:gd name="T69" fmla="*/ 2147483647 h 300"/>
              <a:gd name="T70" fmla="*/ 0 w 350"/>
              <a:gd name="T71" fmla="*/ 2147483647 h 300"/>
              <a:gd name="T72" fmla="*/ 2147483647 w 350"/>
              <a:gd name="T73" fmla="*/ 2147483647 h 300"/>
              <a:gd name="T74" fmla="*/ 2147483647 w 350"/>
              <a:gd name="T75" fmla="*/ 2147483647 h 300"/>
              <a:gd name="T76" fmla="*/ 2147483647 w 350"/>
              <a:gd name="T77" fmla="*/ 2147483647 h 300"/>
              <a:gd name="T78" fmla="*/ 2147483647 w 350"/>
              <a:gd name="T79" fmla="*/ 2147483647 h 300"/>
              <a:gd name="T80" fmla="*/ 2147483647 w 350"/>
              <a:gd name="T81" fmla="*/ 2147483647 h 300"/>
              <a:gd name="T82" fmla="*/ 2147483647 w 350"/>
              <a:gd name="T83" fmla="*/ 2147483647 h 300"/>
              <a:gd name="T84" fmla="*/ 2147483647 w 350"/>
              <a:gd name="T85" fmla="*/ 2147483647 h 300"/>
              <a:gd name="T86" fmla="*/ 2147483647 w 350"/>
              <a:gd name="T87" fmla="*/ 2147483647 h 300"/>
              <a:gd name="T88" fmla="*/ 2147483647 w 350"/>
              <a:gd name="T89" fmla="*/ 2147483647 h 300"/>
              <a:gd name="T90" fmla="*/ 2147483647 w 350"/>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0" h="300">
                <a:moveTo>
                  <a:pt x="335" y="121"/>
                </a:moveTo>
                <a:cubicBezTo>
                  <a:pt x="331" y="118"/>
                  <a:pt x="296" y="90"/>
                  <a:pt x="258" y="60"/>
                </a:cubicBezTo>
                <a:cubicBezTo>
                  <a:pt x="255" y="58"/>
                  <a:pt x="250" y="58"/>
                  <a:pt x="247" y="62"/>
                </a:cubicBezTo>
                <a:cubicBezTo>
                  <a:pt x="244" y="65"/>
                  <a:pt x="245" y="70"/>
                  <a:pt x="249" y="73"/>
                </a:cubicBezTo>
                <a:cubicBezTo>
                  <a:pt x="286" y="103"/>
                  <a:pt x="321" y="131"/>
                  <a:pt x="325" y="134"/>
                </a:cubicBezTo>
                <a:cubicBezTo>
                  <a:pt x="332" y="139"/>
                  <a:pt x="334" y="143"/>
                  <a:pt x="334" y="150"/>
                </a:cubicBezTo>
                <a:cubicBezTo>
                  <a:pt x="334" y="157"/>
                  <a:pt x="332" y="161"/>
                  <a:pt x="325" y="166"/>
                </a:cubicBezTo>
                <a:cubicBezTo>
                  <a:pt x="310" y="179"/>
                  <a:pt x="201" y="265"/>
                  <a:pt x="184" y="278"/>
                </a:cubicBezTo>
                <a:cubicBezTo>
                  <a:pt x="179" y="282"/>
                  <a:pt x="175" y="284"/>
                  <a:pt x="172" y="284"/>
                </a:cubicBezTo>
                <a:cubicBezTo>
                  <a:pt x="170" y="284"/>
                  <a:pt x="168" y="283"/>
                  <a:pt x="167" y="281"/>
                </a:cubicBezTo>
                <a:cubicBezTo>
                  <a:pt x="165" y="279"/>
                  <a:pt x="163" y="274"/>
                  <a:pt x="163" y="267"/>
                </a:cubicBezTo>
                <a:cubicBezTo>
                  <a:pt x="163" y="261"/>
                  <a:pt x="163" y="253"/>
                  <a:pt x="163" y="244"/>
                </a:cubicBezTo>
                <a:cubicBezTo>
                  <a:pt x="163" y="242"/>
                  <a:pt x="162" y="240"/>
                  <a:pt x="161" y="238"/>
                </a:cubicBezTo>
                <a:cubicBezTo>
                  <a:pt x="160" y="237"/>
                  <a:pt x="157" y="236"/>
                  <a:pt x="155" y="236"/>
                </a:cubicBezTo>
                <a:cubicBezTo>
                  <a:pt x="19" y="236"/>
                  <a:pt x="19" y="236"/>
                  <a:pt x="19" y="236"/>
                </a:cubicBezTo>
                <a:cubicBezTo>
                  <a:pt x="18" y="236"/>
                  <a:pt x="16" y="235"/>
                  <a:pt x="16" y="233"/>
                </a:cubicBezTo>
                <a:cubicBezTo>
                  <a:pt x="16" y="67"/>
                  <a:pt x="16" y="67"/>
                  <a:pt x="16" y="67"/>
                </a:cubicBezTo>
                <a:cubicBezTo>
                  <a:pt x="16" y="65"/>
                  <a:pt x="18" y="63"/>
                  <a:pt x="19" y="63"/>
                </a:cubicBezTo>
                <a:cubicBezTo>
                  <a:pt x="155" y="63"/>
                  <a:pt x="155" y="63"/>
                  <a:pt x="155" y="63"/>
                </a:cubicBezTo>
                <a:cubicBezTo>
                  <a:pt x="160" y="63"/>
                  <a:pt x="163" y="60"/>
                  <a:pt x="163" y="56"/>
                </a:cubicBezTo>
                <a:cubicBezTo>
                  <a:pt x="163" y="46"/>
                  <a:pt x="163" y="39"/>
                  <a:pt x="163" y="33"/>
                </a:cubicBezTo>
                <a:cubicBezTo>
                  <a:pt x="163" y="26"/>
                  <a:pt x="165" y="21"/>
                  <a:pt x="167" y="19"/>
                </a:cubicBezTo>
                <a:cubicBezTo>
                  <a:pt x="168" y="16"/>
                  <a:pt x="169" y="16"/>
                  <a:pt x="172" y="16"/>
                </a:cubicBezTo>
                <a:cubicBezTo>
                  <a:pt x="174" y="16"/>
                  <a:pt x="179" y="17"/>
                  <a:pt x="184" y="22"/>
                </a:cubicBezTo>
                <a:cubicBezTo>
                  <a:pt x="185" y="23"/>
                  <a:pt x="206" y="39"/>
                  <a:pt x="224" y="53"/>
                </a:cubicBezTo>
                <a:cubicBezTo>
                  <a:pt x="227" y="56"/>
                  <a:pt x="232" y="55"/>
                  <a:pt x="235" y="52"/>
                </a:cubicBezTo>
                <a:cubicBezTo>
                  <a:pt x="238" y="48"/>
                  <a:pt x="237" y="43"/>
                  <a:pt x="234" y="41"/>
                </a:cubicBezTo>
                <a:cubicBezTo>
                  <a:pt x="234" y="41"/>
                  <a:pt x="234" y="41"/>
                  <a:pt x="234" y="41"/>
                </a:cubicBezTo>
                <a:cubicBezTo>
                  <a:pt x="216" y="27"/>
                  <a:pt x="195" y="10"/>
                  <a:pt x="195" y="10"/>
                </a:cubicBezTo>
                <a:cubicBezTo>
                  <a:pt x="187" y="4"/>
                  <a:pt x="180" y="0"/>
                  <a:pt x="172" y="0"/>
                </a:cubicBezTo>
                <a:cubicBezTo>
                  <a:pt x="165" y="0"/>
                  <a:pt x="158" y="3"/>
                  <a:pt x="153" y="10"/>
                </a:cubicBezTo>
                <a:cubicBezTo>
                  <a:pt x="149" y="16"/>
                  <a:pt x="148" y="24"/>
                  <a:pt x="147" y="33"/>
                </a:cubicBezTo>
                <a:cubicBezTo>
                  <a:pt x="147" y="37"/>
                  <a:pt x="147" y="42"/>
                  <a:pt x="147" y="47"/>
                </a:cubicBezTo>
                <a:cubicBezTo>
                  <a:pt x="19" y="47"/>
                  <a:pt x="19" y="47"/>
                  <a:pt x="19" y="47"/>
                </a:cubicBezTo>
                <a:cubicBezTo>
                  <a:pt x="9" y="47"/>
                  <a:pt x="0" y="56"/>
                  <a:pt x="0" y="67"/>
                </a:cubicBezTo>
                <a:cubicBezTo>
                  <a:pt x="0" y="233"/>
                  <a:pt x="0" y="233"/>
                  <a:pt x="0" y="233"/>
                </a:cubicBezTo>
                <a:cubicBezTo>
                  <a:pt x="0" y="243"/>
                  <a:pt x="9" y="252"/>
                  <a:pt x="19" y="252"/>
                </a:cubicBezTo>
                <a:cubicBezTo>
                  <a:pt x="147" y="252"/>
                  <a:pt x="147" y="252"/>
                  <a:pt x="147" y="252"/>
                </a:cubicBezTo>
                <a:cubicBezTo>
                  <a:pt x="147" y="258"/>
                  <a:pt x="147" y="263"/>
                  <a:pt x="147" y="267"/>
                </a:cubicBezTo>
                <a:cubicBezTo>
                  <a:pt x="148" y="276"/>
                  <a:pt x="149" y="284"/>
                  <a:pt x="154" y="290"/>
                </a:cubicBezTo>
                <a:cubicBezTo>
                  <a:pt x="158" y="296"/>
                  <a:pt x="165" y="300"/>
                  <a:pt x="172" y="300"/>
                </a:cubicBezTo>
                <a:cubicBezTo>
                  <a:pt x="172" y="300"/>
                  <a:pt x="172" y="300"/>
                  <a:pt x="172" y="300"/>
                </a:cubicBezTo>
                <a:cubicBezTo>
                  <a:pt x="180" y="300"/>
                  <a:pt x="187" y="296"/>
                  <a:pt x="194" y="290"/>
                </a:cubicBezTo>
                <a:cubicBezTo>
                  <a:pt x="211" y="277"/>
                  <a:pt x="320" y="191"/>
                  <a:pt x="335" y="179"/>
                </a:cubicBezTo>
                <a:cubicBezTo>
                  <a:pt x="344" y="172"/>
                  <a:pt x="350" y="162"/>
                  <a:pt x="350" y="150"/>
                </a:cubicBezTo>
                <a:cubicBezTo>
                  <a:pt x="350" y="138"/>
                  <a:pt x="344" y="128"/>
                  <a:pt x="335" y="121"/>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82"/>
          <p:cNvSpPr>
            <a:spLocks noChangeAspect="1" noEditPoints="1"/>
          </p:cNvSpPr>
          <p:nvPr/>
        </p:nvSpPr>
        <p:spPr bwMode="auto">
          <a:xfrm rot="5400000">
            <a:off x="2573423" y="3542857"/>
            <a:ext cx="562142" cy="561142"/>
          </a:xfrm>
          <a:custGeom>
            <a:avLst/>
            <a:gdLst>
              <a:gd name="T0" fmla="*/ 2147483647 w 1020"/>
              <a:gd name="T1" fmla="*/ 2147483647 h 1018"/>
              <a:gd name="T2" fmla="*/ 2147483647 w 1020"/>
              <a:gd name="T3" fmla="*/ 0 h 1018"/>
              <a:gd name="T4" fmla="*/ 2147483647 w 1020"/>
              <a:gd name="T5" fmla="*/ 2147483647 h 1018"/>
              <a:gd name="T6" fmla="*/ 2147483647 w 1020"/>
              <a:gd name="T7" fmla="*/ 2147483647 h 1018"/>
              <a:gd name="T8" fmla="*/ 2147483647 w 1020"/>
              <a:gd name="T9" fmla="*/ 2147483647 h 1018"/>
              <a:gd name="T10" fmla="*/ 2147483647 w 1020"/>
              <a:gd name="T11" fmla="*/ 2147483647 h 1018"/>
              <a:gd name="T12" fmla="*/ 2147483647 w 1020"/>
              <a:gd name="T13" fmla="*/ 2147483647 h 1018"/>
              <a:gd name="T14" fmla="*/ 2147483647 w 1020"/>
              <a:gd name="T15" fmla="*/ 2147483647 h 1018"/>
              <a:gd name="T16" fmla="*/ 2147483647 w 1020"/>
              <a:gd name="T17" fmla="*/ 2147483647 h 1018"/>
              <a:gd name="T18" fmla="*/ 2147483647 w 1020"/>
              <a:gd name="T19" fmla="*/ 2147483647 h 1018"/>
              <a:gd name="T20" fmla="*/ 2147483647 w 1020"/>
              <a:gd name="T21" fmla="*/ 2147483647 h 1018"/>
              <a:gd name="T22" fmla="*/ 2147483647 w 1020"/>
              <a:gd name="T23" fmla="*/ 2147483647 h 1018"/>
              <a:gd name="T24" fmla="*/ 2147483647 w 1020"/>
              <a:gd name="T25" fmla="*/ 2147483647 h 1018"/>
              <a:gd name="T26" fmla="*/ 2147483647 w 1020"/>
              <a:gd name="T27" fmla="*/ 2147483647 h 1018"/>
              <a:gd name="T28" fmla="*/ 2147483647 w 1020"/>
              <a:gd name="T29" fmla="*/ 2147483647 h 1018"/>
              <a:gd name="T30" fmla="*/ 2147483647 w 1020"/>
              <a:gd name="T31" fmla="*/ 2147483647 h 1018"/>
              <a:gd name="T32" fmla="*/ 2147483647 w 1020"/>
              <a:gd name="T33" fmla="*/ 2147483647 h 1018"/>
              <a:gd name="T34" fmla="*/ 2147483647 w 1020"/>
              <a:gd name="T35" fmla="*/ 2147483647 h 1018"/>
              <a:gd name="T36" fmla="*/ 2147483647 w 1020"/>
              <a:gd name="T37" fmla="*/ 2147483647 h 1018"/>
              <a:gd name="T38" fmla="*/ 2147483647 w 1020"/>
              <a:gd name="T39" fmla="*/ 2147483647 h 1018"/>
              <a:gd name="T40" fmla="*/ 2147483647 w 1020"/>
              <a:gd name="T41" fmla="*/ 2147483647 h 1018"/>
              <a:gd name="T42" fmla="*/ 2147483647 w 1020"/>
              <a:gd name="T43" fmla="*/ 2147483647 h 1018"/>
              <a:gd name="T44" fmla="*/ 2147483647 w 1020"/>
              <a:gd name="T45" fmla="*/ 2147483647 h 1018"/>
              <a:gd name="T46" fmla="*/ 2147483647 w 1020"/>
              <a:gd name="T47" fmla="*/ 2147483647 h 1018"/>
              <a:gd name="T48" fmla="*/ 2147483647 w 1020"/>
              <a:gd name="T49" fmla="*/ 2147483647 h 1018"/>
              <a:gd name="T50" fmla="*/ 2147483647 w 1020"/>
              <a:gd name="T51" fmla="*/ 2147483647 h 1018"/>
              <a:gd name="T52" fmla="*/ 2147483647 w 1020"/>
              <a:gd name="T53" fmla="*/ 2147483647 h 1018"/>
              <a:gd name="T54" fmla="*/ 2147483647 w 1020"/>
              <a:gd name="T55" fmla="*/ 0 h 1018"/>
              <a:gd name="T56" fmla="*/ 0 w 1020"/>
              <a:gd name="T57" fmla="*/ 2147483647 h 1018"/>
              <a:gd name="T58" fmla="*/ 2147483647 w 1020"/>
              <a:gd name="T59" fmla="*/ 2147483647 h 1018"/>
              <a:gd name="T60" fmla="*/ 2147483647 w 1020"/>
              <a:gd name="T61" fmla="*/ 2147483647 h 1018"/>
              <a:gd name="T62" fmla="*/ 2147483647 w 1020"/>
              <a:gd name="T63" fmla="*/ 2147483647 h 10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0"/>
              <a:gd name="T97" fmla="*/ 0 h 1018"/>
              <a:gd name="T98" fmla="*/ 1020 w 1020"/>
              <a:gd name="T99" fmla="*/ 1018 h 10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0" h="1018">
                <a:moveTo>
                  <a:pt x="944" y="241"/>
                </a:moveTo>
                <a:cubicBezTo>
                  <a:pt x="856" y="100"/>
                  <a:pt x="700" y="5"/>
                  <a:pt x="522" y="0"/>
                </a:cubicBezTo>
                <a:cubicBezTo>
                  <a:pt x="553" y="25"/>
                  <a:pt x="586" y="52"/>
                  <a:pt x="593" y="57"/>
                </a:cubicBezTo>
                <a:cubicBezTo>
                  <a:pt x="604" y="66"/>
                  <a:pt x="609" y="77"/>
                  <a:pt x="609" y="89"/>
                </a:cubicBezTo>
                <a:cubicBezTo>
                  <a:pt x="609" y="102"/>
                  <a:pt x="604" y="112"/>
                  <a:pt x="593" y="121"/>
                </a:cubicBezTo>
                <a:cubicBezTo>
                  <a:pt x="587" y="126"/>
                  <a:pt x="564" y="144"/>
                  <a:pt x="539" y="164"/>
                </a:cubicBezTo>
                <a:cubicBezTo>
                  <a:pt x="717" y="179"/>
                  <a:pt x="857" y="327"/>
                  <a:pt x="857" y="509"/>
                </a:cubicBezTo>
                <a:cubicBezTo>
                  <a:pt x="857" y="700"/>
                  <a:pt x="702" y="855"/>
                  <a:pt x="510" y="855"/>
                </a:cubicBezTo>
                <a:cubicBezTo>
                  <a:pt x="508" y="855"/>
                  <a:pt x="506" y="855"/>
                  <a:pt x="504" y="855"/>
                </a:cubicBezTo>
                <a:cubicBezTo>
                  <a:pt x="474" y="878"/>
                  <a:pt x="442" y="903"/>
                  <a:pt x="435" y="909"/>
                </a:cubicBezTo>
                <a:cubicBezTo>
                  <a:pt x="428" y="915"/>
                  <a:pt x="425" y="921"/>
                  <a:pt x="425" y="929"/>
                </a:cubicBezTo>
                <a:cubicBezTo>
                  <a:pt x="425" y="937"/>
                  <a:pt x="428" y="943"/>
                  <a:pt x="435" y="948"/>
                </a:cubicBezTo>
                <a:cubicBezTo>
                  <a:pt x="444" y="956"/>
                  <a:pt x="488" y="991"/>
                  <a:pt x="521" y="1018"/>
                </a:cubicBezTo>
                <a:cubicBezTo>
                  <a:pt x="697" y="1014"/>
                  <a:pt x="850" y="922"/>
                  <a:pt x="939" y="784"/>
                </a:cubicBezTo>
                <a:cubicBezTo>
                  <a:pt x="940" y="783"/>
                  <a:pt x="940" y="783"/>
                  <a:pt x="940" y="782"/>
                </a:cubicBezTo>
                <a:cubicBezTo>
                  <a:pt x="941" y="781"/>
                  <a:pt x="942" y="779"/>
                  <a:pt x="944" y="777"/>
                </a:cubicBezTo>
                <a:cubicBezTo>
                  <a:pt x="992" y="699"/>
                  <a:pt x="1020" y="607"/>
                  <a:pt x="1020" y="509"/>
                </a:cubicBezTo>
                <a:cubicBezTo>
                  <a:pt x="1020" y="411"/>
                  <a:pt x="992" y="319"/>
                  <a:pt x="944" y="241"/>
                </a:cubicBezTo>
                <a:close/>
                <a:moveTo>
                  <a:pt x="409" y="929"/>
                </a:moveTo>
                <a:cubicBezTo>
                  <a:pt x="409" y="916"/>
                  <a:pt x="414" y="906"/>
                  <a:pt x="425" y="897"/>
                </a:cubicBezTo>
                <a:cubicBezTo>
                  <a:pt x="431" y="892"/>
                  <a:pt x="454" y="874"/>
                  <a:pt x="479" y="854"/>
                </a:cubicBezTo>
                <a:cubicBezTo>
                  <a:pt x="302" y="838"/>
                  <a:pt x="163" y="690"/>
                  <a:pt x="163" y="509"/>
                </a:cubicBezTo>
                <a:cubicBezTo>
                  <a:pt x="163" y="318"/>
                  <a:pt x="318" y="163"/>
                  <a:pt x="510" y="163"/>
                </a:cubicBezTo>
                <a:cubicBezTo>
                  <a:pt x="511" y="163"/>
                  <a:pt x="513" y="163"/>
                  <a:pt x="514" y="163"/>
                </a:cubicBezTo>
                <a:cubicBezTo>
                  <a:pt x="544" y="140"/>
                  <a:pt x="576" y="115"/>
                  <a:pt x="583" y="109"/>
                </a:cubicBezTo>
                <a:cubicBezTo>
                  <a:pt x="590" y="103"/>
                  <a:pt x="593" y="97"/>
                  <a:pt x="593" y="89"/>
                </a:cubicBezTo>
                <a:cubicBezTo>
                  <a:pt x="593" y="81"/>
                  <a:pt x="590" y="75"/>
                  <a:pt x="583" y="70"/>
                </a:cubicBezTo>
                <a:cubicBezTo>
                  <a:pt x="574" y="62"/>
                  <a:pt x="530" y="27"/>
                  <a:pt x="497" y="0"/>
                </a:cubicBezTo>
                <a:cubicBezTo>
                  <a:pt x="221" y="8"/>
                  <a:pt x="0" y="233"/>
                  <a:pt x="0" y="509"/>
                </a:cubicBezTo>
                <a:cubicBezTo>
                  <a:pt x="0" y="785"/>
                  <a:pt x="220" y="1010"/>
                  <a:pt x="496" y="1017"/>
                </a:cubicBezTo>
                <a:cubicBezTo>
                  <a:pt x="465" y="993"/>
                  <a:pt x="432" y="966"/>
                  <a:pt x="425" y="961"/>
                </a:cubicBezTo>
                <a:cubicBezTo>
                  <a:pt x="414" y="952"/>
                  <a:pt x="409" y="941"/>
                  <a:pt x="409" y="929"/>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30" name="Freeform 84"/>
          <p:cNvSpPr>
            <a:spLocks noChangeAspect="1" noEditPoints="1"/>
          </p:cNvSpPr>
          <p:nvPr/>
        </p:nvSpPr>
        <p:spPr bwMode="auto">
          <a:xfrm>
            <a:off x="2101222" y="2095418"/>
            <a:ext cx="791463" cy="63882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2147483647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2147483647 w 509"/>
              <a:gd name="T87" fmla="*/ 2147483647 h 411"/>
              <a:gd name="T88" fmla="*/ 2147483647 w 509"/>
              <a:gd name="T89" fmla="*/ 2147483647 h 4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moveTo>
                  <a:pt x="267" y="254"/>
                </a:moveTo>
                <a:cubicBezTo>
                  <a:pt x="261" y="256"/>
                  <a:pt x="255" y="256"/>
                  <a:pt x="254" y="256"/>
                </a:cubicBezTo>
                <a:cubicBezTo>
                  <a:pt x="254" y="256"/>
                  <a:pt x="254" y="256"/>
                  <a:pt x="254" y="256"/>
                </a:cubicBezTo>
                <a:cubicBezTo>
                  <a:pt x="246" y="256"/>
                  <a:pt x="237" y="253"/>
                  <a:pt x="230" y="249"/>
                </a:cubicBezTo>
                <a:cubicBezTo>
                  <a:pt x="227" y="247"/>
                  <a:pt x="224" y="245"/>
                  <a:pt x="222" y="244"/>
                </a:cubicBezTo>
                <a:cubicBezTo>
                  <a:pt x="221" y="243"/>
                  <a:pt x="220" y="243"/>
                  <a:pt x="220" y="243"/>
                </a:cubicBezTo>
                <a:cubicBezTo>
                  <a:pt x="219" y="242"/>
                  <a:pt x="219" y="242"/>
                  <a:pt x="219" y="242"/>
                </a:cubicBezTo>
                <a:cubicBezTo>
                  <a:pt x="214" y="238"/>
                  <a:pt x="207" y="239"/>
                  <a:pt x="202" y="244"/>
                </a:cubicBezTo>
                <a:cubicBezTo>
                  <a:pt x="198" y="249"/>
                  <a:pt x="199" y="257"/>
                  <a:pt x="204" y="261"/>
                </a:cubicBezTo>
                <a:cubicBezTo>
                  <a:pt x="205" y="261"/>
                  <a:pt x="220" y="274"/>
                  <a:pt x="242" y="278"/>
                </a:cubicBezTo>
                <a:cubicBezTo>
                  <a:pt x="242" y="288"/>
                  <a:pt x="242" y="288"/>
                  <a:pt x="242" y="288"/>
                </a:cubicBezTo>
                <a:cubicBezTo>
                  <a:pt x="242" y="295"/>
                  <a:pt x="247" y="300"/>
                  <a:pt x="254" y="300"/>
                </a:cubicBezTo>
                <a:cubicBezTo>
                  <a:pt x="260" y="300"/>
                  <a:pt x="266" y="295"/>
                  <a:pt x="266" y="288"/>
                </a:cubicBezTo>
                <a:cubicBezTo>
                  <a:pt x="266" y="279"/>
                  <a:pt x="266" y="279"/>
                  <a:pt x="266" y="279"/>
                </a:cubicBezTo>
                <a:cubicBezTo>
                  <a:pt x="270" y="278"/>
                  <a:pt x="276" y="277"/>
                  <a:pt x="281" y="275"/>
                </a:cubicBezTo>
                <a:cubicBezTo>
                  <a:pt x="287" y="273"/>
                  <a:pt x="294" y="269"/>
                  <a:pt x="299" y="263"/>
                </a:cubicBezTo>
                <a:cubicBezTo>
                  <a:pt x="305" y="257"/>
                  <a:pt x="308" y="248"/>
                  <a:pt x="308" y="238"/>
                </a:cubicBezTo>
                <a:cubicBezTo>
                  <a:pt x="308" y="232"/>
                  <a:pt x="307" y="227"/>
                  <a:pt x="305" y="222"/>
                </a:cubicBezTo>
                <a:cubicBezTo>
                  <a:pt x="300" y="210"/>
                  <a:pt x="290" y="203"/>
                  <a:pt x="281" y="199"/>
                </a:cubicBezTo>
                <a:cubicBezTo>
                  <a:pt x="272" y="195"/>
                  <a:pt x="263" y="193"/>
                  <a:pt x="257" y="192"/>
                </a:cubicBezTo>
                <a:cubicBezTo>
                  <a:pt x="249" y="190"/>
                  <a:pt x="240" y="189"/>
                  <a:pt x="235" y="186"/>
                </a:cubicBezTo>
                <a:cubicBezTo>
                  <a:pt x="232" y="185"/>
                  <a:pt x="230" y="183"/>
                  <a:pt x="229" y="181"/>
                </a:cubicBezTo>
                <a:cubicBezTo>
                  <a:pt x="227" y="179"/>
                  <a:pt x="226" y="176"/>
                  <a:pt x="226" y="171"/>
                </a:cubicBezTo>
                <a:cubicBezTo>
                  <a:pt x="226" y="167"/>
                  <a:pt x="227" y="166"/>
                  <a:pt x="229" y="164"/>
                </a:cubicBezTo>
                <a:cubicBezTo>
                  <a:pt x="232" y="161"/>
                  <a:pt x="238" y="158"/>
                  <a:pt x="243" y="157"/>
                </a:cubicBezTo>
                <a:cubicBezTo>
                  <a:pt x="246" y="156"/>
                  <a:pt x="249" y="156"/>
                  <a:pt x="250" y="156"/>
                </a:cubicBezTo>
                <a:cubicBezTo>
                  <a:pt x="251" y="156"/>
                  <a:pt x="252" y="156"/>
                  <a:pt x="252" y="156"/>
                </a:cubicBezTo>
                <a:cubicBezTo>
                  <a:pt x="253" y="155"/>
                  <a:pt x="253" y="155"/>
                  <a:pt x="253" y="155"/>
                </a:cubicBezTo>
                <a:cubicBezTo>
                  <a:pt x="263" y="155"/>
                  <a:pt x="269" y="157"/>
                  <a:pt x="273" y="159"/>
                </a:cubicBezTo>
                <a:cubicBezTo>
                  <a:pt x="275" y="160"/>
                  <a:pt x="277" y="161"/>
                  <a:pt x="278" y="161"/>
                </a:cubicBezTo>
                <a:cubicBezTo>
                  <a:pt x="278" y="162"/>
                  <a:pt x="278" y="162"/>
                  <a:pt x="278" y="162"/>
                </a:cubicBezTo>
                <a:cubicBezTo>
                  <a:pt x="278" y="162"/>
                  <a:pt x="278" y="162"/>
                  <a:pt x="278" y="162"/>
                </a:cubicBezTo>
                <a:cubicBezTo>
                  <a:pt x="283" y="166"/>
                  <a:pt x="291" y="166"/>
                  <a:pt x="295" y="161"/>
                </a:cubicBezTo>
                <a:cubicBezTo>
                  <a:pt x="300" y="156"/>
                  <a:pt x="299" y="148"/>
                  <a:pt x="294" y="144"/>
                </a:cubicBezTo>
                <a:cubicBezTo>
                  <a:pt x="293" y="143"/>
                  <a:pt x="284" y="135"/>
                  <a:pt x="266" y="132"/>
                </a:cubicBezTo>
                <a:cubicBezTo>
                  <a:pt x="266" y="123"/>
                  <a:pt x="266" y="123"/>
                  <a:pt x="266" y="123"/>
                </a:cubicBezTo>
                <a:cubicBezTo>
                  <a:pt x="266" y="117"/>
                  <a:pt x="260" y="111"/>
                  <a:pt x="254" y="111"/>
                </a:cubicBezTo>
                <a:cubicBezTo>
                  <a:pt x="247" y="111"/>
                  <a:pt x="242" y="117"/>
                  <a:pt x="242" y="123"/>
                </a:cubicBezTo>
                <a:cubicBezTo>
                  <a:pt x="242" y="133"/>
                  <a:pt x="242" y="133"/>
                  <a:pt x="242" y="133"/>
                </a:cubicBezTo>
                <a:cubicBezTo>
                  <a:pt x="238" y="133"/>
                  <a:pt x="234" y="134"/>
                  <a:pt x="229" y="136"/>
                </a:cubicBezTo>
                <a:cubicBezTo>
                  <a:pt x="223" y="138"/>
                  <a:pt x="217" y="141"/>
                  <a:pt x="211" y="147"/>
                </a:cubicBezTo>
                <a:cubicBezTo>
                  <a:pt x="206" y="153"/>
                  <a:pt x="202" y="162"/>
                  <a:pt x="202" y="171"/>
                </a:cubicBezTo>
                <a:cubicBezTo>
                  <a:pt x="202" y="180"/>
                  <a:pt x="204" y="188"/>
                  <a:pt x="209" y="194"/>
                </a:cubicBezTo>
                <a:cubicBezTo>
                  <a:pt x="215" y="203"/>
                  <a:pt x="224" y="208"/>
                  <a:pt x="232" y="211"/>
                </a:cubicBezTo>
                <a:cubicBezTo>
                  <a:pt x="240" y="213"/>
                  <a:pt x="247" y="215"/>
                  <a:pt x="252" y="216"/>
                </a:cubicBezTo>
                <a:cubicBezTo>
                  <a:pt x="258" y="217"/>
                  <a:pt x="265" y="218"/>
                  <a:pt x="271" y="221"/>
                </a:cubicBezTo>
                <a:cubicBezTo>
                  <a:pt x="277" y="224"/>
                  <a:pt x="281" y="227"/>
                  <a:pt x="283" y="231"/>
                </a:cubicBezTo>
                <a:cubicBezTo>
                  <a:pt x="284" y="233"/>
                  <a:pt x="284" y="235"/>
                  <a:pt x="284" y="238"/>
                </a:cubicBezTo>
                <a:cubicBezTo>
                  <a:pt x="284" y="243"/>
                  <a:pt x="283" y="245"/>
                  <a:pt x="281" y="247"/>
                </a:cubicBezTo>
                <a:cubicBezTo>
                  <a:pt x="279" y="250"/>
                  <a:pt x="273" y="253"/>
                  <a:pt x="267" y="254"/>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31" name="Rectangle 98"/>
          <p:cNvSpPr/>
          <p:nvPr/>
        </p:nvSpPr>
        <p:spPr>
          <a:xfrm>
            <a:off x="892079" y="2734912"/>
            <a:ext cx="1121725" cy="2462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SLA</a:t>
            </a:r>
          </a:p>
        </p:txBody>
      </p:sp>
      <p:sp>
        <p:nvSpPr>
          <p:cNvPr id="32" name="Rectangle 98"/>
          <p:cNvSpPr/>
          <p:nvPr/>
        </p:nvSpPr>
        <p:spPr>
          <a:xfrm>
            <a:off x="1910604" y="2766164"/>
            <a:ext cx="1121725" cy="2462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BILLING</a:t>
            </a:r>
          </a:p>
        </p:txBody>
      </p:sp>
      <p:sp>
        <p:nvSpPr>
          <p:cNvPr id="33" name="Freeform 3"/>
          <p:cNvSpPr>
            <a:spLocks noChangeAspect="1" noEditPoints="1"/>
          </p:cNvSpPr>
          <p:nvPr/>
        </p:nvSpPr>
        <p:spPr bwMode="auto">
          <a:xfrm>
            <a:off x="3316663" y="2116816"/>
            <a:ext cx="654050" cy="65405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0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2147483647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2147483647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2147483647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1"/>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moveTo>
                  <a:pt x="219" y="232"/>
                </a:moveTo>
                <a:cubicBezTo>
                  <a:pt x="225" y="226"/>
                  <a:pt x="228" y="217"/>
                  <a:pt x="228" y="207"/>
                </a:cubicBezTo>
                <a:cubicBezTo>
                  <a:pt x="228" y="201"/>
                  <a:pt x="227" y="196"/>
                  <a:pt x="225" y="191"/>
                </a:cubicBezTo>
                <a:cubicBezTo>
                  <a:pt x="220" y="179"/>
                  <a:pt x="210" y="172"/>
                  <a:pt x="201" y="168"/>
                </a:cubicBezTo>
                <a:cubicBezTo>
                  <a:pt x="192" y="164"/>
                  <a:pt x="183" y="162"/>
                  <a:pt x="177" y="161"/>
                </a:cubicBezTo>
                <a:cubicBezTo>
                  <a:pt x="170" y="159"/>
                  <a:pt x="161" y="158"/>
                  <a:pt x="155" y="155"/>
                </a:cubicBezTo>
                <a:cubicBezTo>
                  <a:pt x="152" y="154"/>
                  <a:pt x="150" y="152"/>
                  <a:pt x="149" y="150"/>
                </a:cubicBezTo>
                <a:cubicBezTo>
                  <a:pt x="148" y="148"/>
                  <a:pt x="146" y="145"/>
                  <a:pt x="146" y="140"/>
                </a:cubicBezTo>
                <a:cubicBezTo>
                  <a:pt x="147" y="136"/>
                  <a:pt x="148" y="135"/>
                  <a:pt x="149" y="133"/>
                </a:cubicBezTo>
                <a:cubicBezTo>
                  <a:pt x="152" y="130"/>
                  <a:pt x="158" y="127"/>
                  <a:pt x="163" y="126"/>
                </a:cubicBezTo>
                <a:cubicBezTo>
                  <a:pt x="166" y="125"/>
                  <a:pt x="169" y="125"/>
                  <a:pt x="171" y="125"/>
                </a:cubicBezTo>
                <a:cubicBezTo>
                  <a:pt x="171" y="125"/>
                  <a:pt x="172" y="125"/>
                  <a:pt x="173" y="124"/>
                </a:cubicBezTo>
                <a:cubicBezTo>
                  <a:pt x="173" y="124"/>
                  <a:pt x="173" y="124"/>
                  <a:pt x="173" y="124"/>
                </a:cubicBezTo>
                <a:cubicBezTo>
                  <a:pt x="183" y="124"/>
                  <a:pt x="190" y="126"/>
                  <a:pt x="194" y="128"/>
                </a:cubicBezTo>
                <a:cubicBezTo>
                  <a:pt x="196" y="129"/>
                  <a:pt x="197" y="130"/>
                  <a:pt x="198" y="130"/>
                </a:cubicBezTo>
                <a:cubicBezTo>
                  <a:pt x="198" y="131"/>
                  <a:pt x="198" y="131"/>
                  <a:pt x="198" y="131"/>
                </a:cubicBezTo>
                <a:cubicBezTo>
                  <a:pt x="198" y="131"/>
                  <a:pt x="198" y="131"/>
                  <a:pt x="198" y="131"/>
                </a:cubicBezTo>
                <a:cubicBezTo>
                  <a:pt x="203" y="135"/>
                  <a:pt x="211" y="135"/>
                  <a:pt x="215" y="130"/>
                </a:cubicBezTo>
                <a:cubicBezTo>
                  <a:pt x="220" y="125"/>
                  <a:pt x="219" y="117"/>
                  <a:pt x="214" y="113"/>
                </a:cubicBezTo>
                <a:cubicBezTo>
                  <a:pt x="213" y="112"/>
                  <a:pt x="204" y="104"/>
                  <a:pt x="186" y="101"/>
                </a:cubicBezTo>
                <a:cubicBezTo>
                  <a:pt x="186" y="92"/>
                  <a:pt x="186" y="92"/>
                  <a:pt x="186" y="92"/>
                </a:cubicBezTo>
                <a:cubicBezTo>
                  <a:pt x="186" y="86"/>
                  <a:pt x="180" y="80"/>
                  <a:pt x="174" y="80"/>
                </a:cubicBezTo>
                <a:cubicBezTo>
                  <a:pt x="167" y="80"/>
                  <a:pt x="162" y="86"/>
                  <a:pt x="162" y="92"/>
                </a:cubicBezTo>
                <a:cubicBezTo>
                  <a:pt x="162" y="102"/>
                  <a:pt x="162" y="102"/>
                  <a:pt x="162" y="102"/>
                </a:cubicBezTo>
                <a:cubicBezTo>
                  <a:pt x="158" y="102"/>
                  <a:pt x="154" y="103"/>
                  <a:pt x="150" y="105"/>
                </a:cubicBezTo>
                <a:cubicBezTo>
                  <a:pt x="144" y="107"/>
                  <a:pt x="137" y="110"/>
                  <a:pt x="132" y="116"/>
                </a:cubicBezTo>
                <a:cubicBezTo>
                  <a:pt x="126" y="122"/>
                  <a:pt x="122" y="131"/>
                  <a:pt x="122" y="140"/>
                </a:cubicBezTo>
                <a:cubicBezTo>
                  <a:pt x="122" y="149"/>
                  <a:pt x="125" y="157"/>
                  <a:pt x="129" y="163"/>
                </a:cubicBezTo>
                <a:cubicBezTo>
                  <a:pt x="135" y="172"/>
                  <a:pt x="144" y="177"/>
                  <a:pt x="152" y="180"/>
                </a:cubicBezTo>
                <a:cubicBezTo>
                  <a:pt x="160" y="182"/>
                  <a:pt x="168" y="184"/>
                  <a:pt x="172" y="185"/>
                </a:cubicBezTo>
                <a:cubicBezTo>
                  <a:pt x="178" y="186"/>
                  <a:pt x="186" y="187"/>
                  <a:pt x="192" y="190"/>
                </a:cubicBezTo>
                <a:cubicBezTo>
                  <a:pt x="198" y="193"/>
                  <a:pt x="202" y="196"/>
                  <a:pt x="203" y="200"/>
                </a:cubicBezTo>
                <a:cubicBezTo>
                  <a:pt x="204" y="202"/>
                  <a:pt x="204" y="204"/>
                  <a:pt x="204" y="207"/>
                </a:cubicBezTo>
                <a:cubicBezTo>
                  <a:pt x="204" y="212"/>
                  <a:pt x="203" y="214"/>
                  <a:pt x="201" y="216"/>
                </a:cubicBezTo>
                <a:cubicBezTo>
                  <a:pt x="199" y="219"/>
                  <a:pt x="193" y="222"/>
                  <a:pt x="187" y="223"/>
                </a:cubicBezTo>
                <a:cubicBezTo>
                  <a:pt x="181" y="225"/>
                  <a:pt x="175" y="225"/>
                  <a:pt x="174" y="225"/>
                </a:cubicBezTo>
                <a:cubicBezTo>
                  <a:pt x="174" y="225"/>
                  <a:pt x="174" y="225"/>
                  <a:pt x="174" y="225"/>
                </a:cubicBezTo>
                <a:cubicBezTo>
                  <a:pt x="166" y="225"/>
                  <a:pt x="157" y="222"/>
                  <a:pt x="150" y="218"/>
                </a:cubicBezTo>
                <a:cubicBezTo>
                  <a:pt x="147" y="216"/>
                  <a:pt x="144" y="214"/>
                  <a:pt x="142" y="213"/>
                </a:cubicBezTo>
                <a:cubicBezTo>
                  <a:pt x="141" y="212"/>
                  <a:pt x="141" y="212"/>
                  <a:pt x="140" y="212"/>
                </a:cubicBezTo>
                <a:cubicBezTo>
                  <a:pt x="140" y="211"/>
                  <a:pt x="140" y="211"/>
                  <a:pt x="140" y="211"/>
                </a:cubicBezTo>
                <a:cubicBezTo>
                  <a:pt x="134" y="207"/>
                  <a:pt x="127" y="208"/>
                  <a:pt x="123" y="213"/>
                </a:cubicBezTo>
                <a:cubicBezTo>
                  <a:pt x="119" y="218"/>
                  <a:pt x="119" y="226"/>
                  <a:pt x="124" y="230"/>
                </a:cubicBezTo>
                <a:cubicBezTo>
                  <a:pt x="125" y="230"/>
                  <a:pt x="141" y="243"/>
                  <a:pt x="162" y="247"/>
                </a:cubicBezTo>
                <a:cubicBezTo>
                  <a:pt x="162" y="257"/>
                  <a:pt x="162" y="257"/>
                  <a:pt x="162" y="257"/>
                </a:cubicBezTo>
                <a:cubicBezTo>
                  <a:pt x="162" y="264"/>
                  <a:pt x="167" y="269"/>
                  <a:pt x="174" y="269"/>
                </a:cubicBezTo>
                <a:cubicBezTo>
                  <a:pt x="181" y="269"/>
                  <a:pt x="186" y="264"/>
                  <a:pt x="186" y="257"/>
                </a:cubicBezTo>
                <a:cubicBezTo>
                  <a:pt x="186" y="248"/>
                  <a:pt x="186" y="248"/>
                  <a:pt x="186" y="248"/>
                </a:cubicBezTo>
                <a:cubicBezTo>
                  <a:pt x="190" y="247"/>
                  <a:pt x="196" y="246"/>
                  <a:pt x="201" y="244"/>
                </a:cubicBezTo>
                <a:cubicBezTo>
                  <a:pt x="207" y="242"/>
                  <a:pt x="214" y="238"/>
                  <a:pt x="219" y="232"/>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endParaRPr>
          </a:p>
        </p:txBody>
      </p:sp>
      <p:sp>
        <p:nvSpPr>
          <p:cNvPr id="34" name="Rectangle 98"/>
          <p:cNvSpPr/>
          <p:nvPr/>
        </p:nvSpPr>
        <p:spPr>
          <a:xfrm>
            <a:off x="3191427" y="2795453"/>
            <a:ext cx="1121725" cy="40011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rPr>
              <a:t>BUSINESS</a:t>
            </a:r>
            <a:br>
              <a:rPr kumimoji="0" lang="en-US" sz="1000" b="1" i="0" u="none" strike="noStrike" kern="0" cap="none" spc="0" normalizeH="0" baseline="0" noProof="0" dirty="0">
                <a:ln>
                  <a:noFill/>
                </a:ln>
                <a:solidFill>
                  <a:schemeClr val="bg1"/>
                </a:solidFill>
                <a:effectLst/>
                <a:uLnTx/>
                <a:uFillTx/>
              </a:rPr>
            </a:br>
            <a:r>
              <a:rPr kumimoji="0" lang="en-US" sz="1000" b="1" i="0" u="none" strike="noStrike" kern="0" cap="none" spc="0" normalizeH="0" baseline="0" noProof="0" dirty="0">
                <a:ln>
                  <a:noFill/>
                </a:ln>
                <a:solidFill>
                  <a:schemeClr val="bg1"/>
                </a:solidFill>
                <a:effectLst/>
                <a:uLnTx/>
                <a:uFillTx/>
              </a:rPr>
              <a:t>MODELS</a:t>
            </a:r>
          </a:p>
        </p:txBody>
      </p:sp>
      <p:sp>
        <p:nvSpPr>
          <p:cNvPr id="35" name="Rounded Rectangle 119"/>
          <p:cNvSpPr>
            <a:spLocks noChangeArrowheads="1"/>
          </p:cNvSpPr>
          <p:nvPr/>
        </p:nvSpPr>
        <p:spPr bwMode="auto">
          <a:xfrm>
            <a:off x="6908521" y="2039121"/>
            <a:ext cx="1512802" cy="519049"/>
          </a:xfrm>
          <a:prstGeom prst="roundRect">
            <a:avLst>
              <a:gd name="adj" fmla="val 16667"/>
            </a:avLst>
          </a:prstGeom>
          <a:solidFill>
            <a:srgbClr val="89BA17"/>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36" name="Rounded Rectangle 119"/>
          <p:cNvSpPr>
            <a:spLocks noChangeArrowheads="1"/>
          </p:cNvSpPr>
          <p:nvPr/>
        </p:nvSpPr>
        <p:spPr bwMode="auto">
          <a:xfrm>
            <a:off x="6913441" y="2692953"/>
            <a:ext cx="1512802" cy="519049"/>
          </a:xfrm>
          <a:prstGeom prst="roundRect">
            <a:avLst>
              <a:gd name="adj" fmla="val 16667"/>
            </a:avLst>
          </a:prstGeom>
          <a:solidFill>
            <a:srgbClr val="89BA17"/>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37" name="Rounded Rectangle 119"/>
          <p:cNvSpPr>
            <a:spLocks noChangeArrowheads="1"/>
          </p:cNvSpPr>
          <p:nvPr/>
        </p:nvSpPr>
        <p:spPr bwMode="auto">
          <a:xfrm>
            <a:off x="8638957" y="2029293"/>
            <a:ext cx="1878762" cy="519049"/>
          </a:xfrm>
          <a:prstGeom prst="roundRect">
            <a:avLst>
              <a:gd name="adj" fmla="val 16667"/>
            </a:avLst>
          </a:prstGeom>
          <a:solidFill>
            <a:srgbClr val="89BA17"/>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38" name="Rounded Rectangle 119"/>
          <p:cNvSpPr>
            <a:spLocks noChangeArrowheads="1"/>
          </p:cNvSpPr>
          <p:nvPr/>
        </p:nvSpPr>
        <p:spPr bwMode="auto">
          <a:xfrm>
            <a:off x="8643877" y="2683125"/>
            <a:ext cx="2048556" cy="519049"/>
          </a:xfrm>
          <a:prstGeom prst="roundRect">
            <a:avLst>
              <a:gd name="adj" fmla="val 16667"/>
            </a:avLst>
          </a:prstGeom>
          <a:solidFill>
            <a:srgbClr val="89BA17"/>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39" name="Freeform 3"/>
          <p:cNvSpPr>
            <a:spLocks noChangeAspect="1" noEditPoints="1"/>
          </p:cNvSpPr>
          <p:nvPr/>
        </p:nvSpPr>
        <p:spPr bwMode="auto">
          <a:xfrm>
            <a:off x="5223056" y="2242861"/>
            <a:ext cx="463626" cy="537970"/>
          </a:xfrm>
          <a:custGeom>
            <a:avLst/>
            <a:gdLst>
              <a:gd name="T0" fmla="*/ 2147483647 w 335"/>
              <a:gd name="T1" fmla="*/ 2147483647 h 389"/>
              <a:gd name="T2" fmla="*/ 2147483647 w 335"/>
              <a:gd name="T3" fmla="*/ 2147483647 h 389"/>
              <a:gd name="T4" fmla="*/ 2147483647 w 335"/>
              <a:gd name="T5" fmla="*/ 2147483647 h 389"/>
              <a:gd name="T6" fmla="*/ 2147483647 w 335"/>
              <a:gd name="T7" fmla="*/ 2147483647 h 389"/>
              <a:gd name="T8" fmla="*/ 2147483647 w 335"/>
              <a:gd name="T9" fmla="*/ 2147483647 h 389"/>
              <a:gd name="T10" fmla="*/ 2147483647 w 335"/>
              <a:gd name="T11" fmla="*/ 2147483647 h 389"/>
              <a:gd name="T12" fmla="*/ 2147483647 w 335"/>
              <a:gd name="T13" fmla="*/ 2147483647 h 389"/>
              <a:gd name="T14" fmla="*/ 2147483647 w 335"/>
              <a:gd name="T15" fmla="*/ 2147483647 h 389"/>
              <a:gd name="T16" fmla="*/ 2147483647 w 335"/>
              <a:gd name="T17" fmla="*/ 2147483647 h 389"/>
              <a:gd name="T18" fmla="*/ 2147483647 w 335"/>
              <a:gd name="T19" fmla="*/ 2147483647 h 389"/>
              <a:gd name="T20" fmla="*/ 2147483647 w 335"/>
              <a:gd name="T21" fmla="*/ 0 h 389"/>
              <a:gd name="T22" fmla="*/ 2147483647 w 335"/>
              <a:gd name="T23" fmla="*/ 2147483647 h 389"/>
              <a:gd name="T24" fmla="*/ 2147483647 w 335"/>
              <a:gd name="T25" fmla="*/ 2147483647 h 389"/>
              <a:gd name="T26" fmla="*/ 2147483647 w 335"/>
              <a:gd name="T27" fmla="*/ 2147483647 h 389"/>
              <a:gd name="T28" fmla="*/ 2147483647 w 335"/>
              <a:gd name="T29" fmla="*/ 2147483647 h 389"/>
              <a:gd name="T30" fmla="*/ 2147483647 w 335"/>
              <a:gd name="T31" fmla="*/ 2147483647 h 389"/>
              <a:gd name="T32" fmla="*/ 2147483647 w 335"/>
              <a:gd name="T33" fmla="*/ 2147483647 h 389"/>
              <a:gd name="T34" fmla="*/ 2147483647 w 335"/>
              <a:gd name="T35" fmla="*/ 2147483647 h 389"/>
              <a:gd name="T36" fmla="*/ 2147483647 w 335"/>
              <a:gd name="T37" fmla="*/ 2147483647 h 389"/>
              <a:gd name="T38" fmla="*/ 2147483647 w 335"/>
              <a:gd name="T39" fmla="*/ 2147483647 h 389"/>
              <a:gd name="T40" fmla="*/ 2147483647 w 335"/>
              <a:gd name="T41" fmla="*/ 2147483647 h 389"/>
              <a:gd name="T42" fmla="*/ 2147483647 w 335"/>
              <a:gd name="T43" fmla="*/ 2147483647 h 389"/>
              <a:gd name="T44" fmla="*/ 2147483647 w 335"/>
              <a:gd name="T45" fmla="*/ 2147483647 h 389"/>
              <a:gd name="T46" fmla="*/ 2147483647 w 335"/>
              <a:gd name="T47" fmla="*/ 2147483647 h 389"/>
              <a:gd name="T48" fmla="*/ 2147483647 w 335"/>
              <a:gd name="T49" fmla="*/ 2147483647 h 389"/>
              <a:gd name="T50" fmla="*/ 2147483647 w 335"/>
              <a:gd name="T51" fmla="*/ 2147483647 h 389"/>
              <a:gd name="T52" fmla="*/ 2147483647 w 335"/>
              <a:gd name="T53" fmla="*/ 2147483647 h 389"/>
              <a:gd name="T54" fmla="*/ 2147483647 w 335"/>
              <a:gd name="T55" fmla="*/ 2147483647 h 389"/>
              <a:gd name="T56" fmla="*/ 2147483647 w 335"/>
              <a:gd name="T57" fmla="*/ 2147483647 h 389"/>
              <a:gd name="T58" fmla="*/ 2147483647 w 335"/>
              <a:gd name="T59" fmla="*/ 2147483647 h 389"/>
              <a:gd name="T60" fmla="*/ 0 w 335"/>
              <a:gd name="T61" fmla="*/ 2147483647 h 389"/>
              <a:gd name="T62" fmla="*/ 2147483647 w 335"/>
              <a:gd name="T63" fmla="*/ 2147483647 h 389"/>
              <a:gd name="T64" fmla="*/ 2147483647 w 335"/>
              <a:gd name="T65" fmla="*/ 2147483647 h 389"/>
              <a:gd name="T66" fmla="*/ 2147483647 w 335"/>
              <a:gd name="T67" fmla="*/ 2147483647 h 389"/>
              <a:gd name="T68" fmla="*/ 2147483647 w 335"/>
              <a:gd name="T69" fmla="*/ 2147483647 h 389"/>
              <a:gd name="T70" fmla="*/ 2147483647 w 335"/>
              <a:gd name="T71" fmla="*/ 2147483647 h 389"/>
              <a:gd name="T72" fmla="*/ 2147483647 w 335"/>
              <a:gd name="T73" fmla="*/ 2147483647 h 389"/>
              <a:gd name="T74" fmla="*/ 2147483647 w 335"/>
              <a:gd name="T75" fmla="*/ 2147483647 h 389"/>
              <a:gd name="T76" fmla="*/ 2147483647 w 335"/>
              <a:gd name="T77" fmla="*/ 2147483647 h 389"/>
              <a:gd name="T78" fmla="*/ 2147483647 w 335"/>
              <a:gd name="T79" fmla="*/ 2147483647 h 389"/>
              <a:gd name="T80" fmla="*/ 2147483647 w 335"/>
              <a:gd name="T81" fmla="*/ 2147483647 h 389"/>
              <a:gd name="T82" fmla="*/ 2147483647 w 335"/>
              <a:gd name="T83" fmla="*/ 2147483647 h 389"/>
              <a:gd name="T84" fmla="*/ 2147483647 w 335"/>
              <a:gd name="T85" fmla="*/ 2147483647 h 389"/>
              <a:gd name="T86" fmla="*/ 2147483647 w 335"/>
              <a:gd name="T87" fmla="*/ 2147483647 h 389"/>
              <a:gd name="T88" fmla="*/ 2147483647 w 335"/>
              <a:gd name="T89" fmla="*/ 2147483647 h 389"/>
              <a:gd name="T90" fmla="*/ 2147483647 w 335"/>
              <a:gd name="T91" fmla="*/ 2147483647 h 389"/>
              <a:gd name="T92" fmla="*/ 2147483647 w 335"/>
              <a:gd name="T93" fmla="*/ 2147483647 h 389"/>
              <a:gd name="T94" fmla="*/ 2147483647 w 335"/>
              <a:gd name="T95" fmla="*/ 2147483647 h 389"/>
              <a:gd name="T96" fmla="*/ 2147483647 w 335"/>
              <a:gd name="T97" fmla="*/ 2147483647 h 389"/>
              <a:gd name="T98" fmla="*/ 2147483647 w 335"/>
              <a:gd name="T99" fmla="*/ 2147483647 h 389"/>
              <a:gd name="T100" fmla="*/ 2147483647 w 335"/>
              <a:gd name="T101" fmla="*/ 2147483647 h 389"/>
              <a:gd name="T102" fmla="*/ 2147483647 w 335"/>
              <a:gd name="T103" fmla="*/ 2147483647 h 389"/>
              <a:gd name="T104" fmla="*/ 2147483647 w 335"/>
              <a:gd name="T105" fmla="*/ 2147483647 h 389"/>
              <a:gd name="T106" fmla="*/ 2147483647 w 335"/>
              <a:gd name="T107" fmla="*/ 2147483647 h 38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5" h="389">
                <a:moveTo>
                  <a:pt x="112" y="55"/>
                </a:moveTo>
                <a:cubicBezTo>
                  <a:pt x="113" y="58"/>
                  <a:pt x="116" y="60"/>
                  <a:pt x="119" y="60"/>
                </a:cubicBezTo>
                <a:cubicBezTo>
                  <a:pt x="120" y="60"/>
                  <a:pt x="121" y="60"/>
                  <a:pt x="122" y="60"/>
                </a:cubicBezTo>
                <a:cubicBezTo>
                  <a:pt x="126" y="58"/>
                  <a:pt x="128" y="53"/>
                  <a:pt x="127" y="49"/>
                </a:cubicBezTo>
                <a:cubicBezTo>
                  <a:pt x="113" y="17"/>
                  <a:pt x="113" y="17"/>
                  <a:pt x="113" y="17"/>
                </a:cubicBezTo>
                <a:cubicBezTo>
                  <a:pt x="112" y="13"/>
                  <a:pt x="107" y="11"/>
                  <a:pt x="103" y="13"/>
                </a:cubicBezTo>
                <a:cubicBezTo>
                  <a:pt x="99" y="15"/>
                  <a:pt x="97" y="19"/>
                  <a:pt x="99" y="24"/>
                </a:cubicBezTo>
                <a:lnTo>
                  <a:pt x="112" y="55"/>
                </a:lnTo>
                <a:close/>
                <a:moveTo>
                  <a:pt x="17" y="114"/>
                </a:moveTo>
                <a:cubicBezTo>
                  <a:pt x="50" y="128"/>
                  <a:pt x="50" y="128"/>
                  <a:pt x="50" y="128"/>
                </a:cubicBezTo>
                <a:cubicBezTo>
                  <a:pt x="51" y="128"/>
                  <a:pt x="52" y="129"/>
                  <a:pt x="53" y="129"/>
                </a:cubicBezTo>
                <a:cubicBezTo>
                  <a:pt x="56" y="129"/>
                  <a:pt x="59" y="127"/>
                  <a:pt x="60" y="124"/>
                </a:cubicBezTo>
                <a:cubicBezTo>
                  <a:pt x="62" y="120"/>
                  <a:pt x="60" y="115"/>
                  <a:pt x="56" y="113"/>
                </a:cubicBezTo>
                <a:cubicBezTo>
                  <a:pt x="23" y="100"/>
                  <a:pt x="23" y="100"/>
                  <a:pt x="23" y="100"/>
                </a:cubicBezTo>
                <a:cubicBezTo>
                  <a:pt x="19" y="98"/>
                  <a:pt x="14" y="100"/>
                  <a:pt x="12" y="104"/>
                </a:cubicBezTo>
                <a:cubicBezTo>
                  <a:pt x="11" y="108"/>
                  <a:pt x="13" y="113"/>
                  <a:pt x="17" y="114"/>
                </a:cubicBezTo>
                <a:close/>
                <a:moveTo>
                  <a:pt x="274" y="124"/>
                </a:moveTo>
                <a:cubicBezTo>
                  <a:pt x="276" y="127"/>
                  <a:pt x="279" y="129"/>
                  <a:pt x="282" y="129"/>
                </a:cubicBezTo>
                <a:cubicBezTo>
                  <a:pt x="283" y="129"/>
                  <a:pt x="284" y="128"/>
                  <a:pt x="285" y="128"/>
                </a:cubicBezTo>
                <a:cubicBezTo>
                  <a:pt x="318" y="114"/>
                  <a:pt x="318" y="114"/>
                  <a:pt x="318" y="114"/>
                </a:cubicBezTo>
                <a:cubicBezTo>
                  <a:pt x="322" y="113"/>
                  <a:pt x="324" y="108"/>
                  <a:pt x="322" y="104"/>
                </a:cubicBezTo>
                <a:cubicBezTo>
                  <a:pt x="320" y="100"/>
                  <a:pt x="316" y="98"/>
                  <a:pt x="312" y="100"/>
                </a:cubicBezTo>
                <a:cubicBezTo>
                  <a:pt x="279" y="113"/>
                  <a:pt x="279" y="113"/>
                  <a:pt x="279" y="113"/>
                </a:cubicBezTo>
                <a:cubicBezTo>
                  <a:pt x="275" y="115"/>
                  <a:pt x="273" y="120"/>
                  <a:pt x="274" y="124"/>
                </a:cubicBezTo>
                <a:close/>
                <a:moveTo>
                  <a:pt x="255" y="88"/>
                </a:moveTo>
                <a:cubicBezTo>
                  <a:pt x="258" y="88"/>
                  <a:pt x="260" y="87"/>
                  <a:pt x="261" y="85"/>
                </a:cubicBezTo>
                <a:cubicBezTo>
                  <a:pt x="286" y="61"/>
                  <a:pt x="286" y="61"/>
                  <a:pt x="286" y="61"/>
                </a:cubicBezTo>
                <a:cubicBezTo>
                  <a:pt x="289" y="58"/>
                  <a:pt x="289" y="53"/>
                  <a:pt x="286" y="49"/>
                </a:cubicBezTo>
                <a:cubicBezTo>
                  <a:pt x="283" y="46"/>
                  <a:pt x="278" y="46"/>
                  <a:pt x="274" y="49"/>
                </a:cubicBezTo>
                <a:cubicBezTo>
                  <a:pt x="250" y="74"/>
                  <a:pt x="250" y="74"/>
                  <a:pt x="250" y="74"/>
                </a:cubicBezTo>
                <a:cubicBezTo>
                  <a:pt x="247" y="77"/>
                  <a:pt x="247" y="82"/>
                  <a:pt x="250" y="85"/>
                </a:cubicBezTo>
                <a:cubicBezTo>
                  <a:pt x="251" y="87"/>
                  <a:pt x="253" y="88"/>
                  <a:pt x="255" y="88"/>
                </a:cubicBezTo>
                <a:close/>
                <a:moveTo>
                  <a:pt x="212" y="60"/>
                </a:moveTo>
                <a:cubicBezTo>
                  <a:pt x="213" y="60"/>
                  <a:pt x="214" y="60"/>
                  <a:pt x="215" y="60"/>
                </a:cubicBezTo>
                <a:cubicBezTo>
                  <a:pt x="218" y="60"/>
                  <a:pt x="221" y="58"/>
                  <a:pt x="223" y="55"/>
                </a:cubicBezTo>
                <a:cubicBezTo>
                  <a:pt x="236" y="24"/>
                  <a:pt x="236" y="24"/>
                  <a:pt x="236" y="24"/>
                </a:cubicBezTo>
                <a:cubicBezTo>
                  <a:pt x="237" y="19"/>
                  <a:pt x="235" y="15"/>
                  <a:pt x="231" y="13"/>
                </a:cubicBezTo>
                <a:cubicBezTo>
                  <a:pt x="227" y="11"/>
                  <a:pt x="223" y="13"/>
                  <a:pt x="221" y="17"/>
                </a:cubicBezTo>
                <a:cubicBezTo>
                  <a:pt x="208" y="49"/>
                  <a:pt x="208" y="49"/>
                  <a:pt x="208" y="49"/>
                </a:cubicBezTo>
                <a:cubicBezTo>
                  <a:pt x="206" y="53"/>
                  <a:pt x="208" y="58"/>
                  <a:pt x="212" y="60"/>
                </a:cubicBezTo>
                <a:close/>
                <a:moveTo>
                  <a:pt x="167" y="50"/>
                </a:moveTo>
                <a:cubicBezTo>
                  <a:pt x="172" y="50"/>
                  <a:pt x="175" y="47"/>
                  <a:pt x="175" y="42"/>
                </a:cubicBezTo>
                <a:cubicBezTo>
                  <a:pt x="175" y="8"/>
                  <a:pt x="175" y="8"/>
                  <a:pt x="175" y="8"/>
                </a:cubicBezTo>
                <a:cubicBezTo>
                  <a:pt x="175" y="4"/>
                  <a:pt x="172" y="0"/>
                  <a:pt x="167" y="0"/>
                </a:cubicBezTo>
                <a:cubicBezTo>
                  <a:pt x="163" y="0"/>
                  <a:pt x="159" y="4"/>
                  <a:pt x="159" y="8"/>
                </a:cubicBezTo>
                <a:cubicBezTo>
                  <a:pt x="159" y="42"/>
                  <a:pt x="159" y="42"/>
                  <a:pt x="159" y="42"/>
                </a:cubicBezTo>
                <a:cubicBezTo>
                  <a:pt x="159" y="47"/>
                  <a:pt x="163" y="50"/>
                  <a:pt x="167" y="50"/>
                </a:cubicBezTo>
                <a:close/>
                <a:moveTo>
                  <a:pt x="73" y="85"/>
                </a:moveTo>
                <a:cubicBezTo>
                  <a:pt x="75" y="87"/>
                  <a:pt x="77" y="88"/>
                  <a:pt x="79" y="88"/>
                </a:cubicBezTo>
                <a:cubicBezTo>
                  <a:pt x="81" y="88"/>
                  <a:pt x="83" y="87"/>
                  <a:pt x="85" y="85"/>
                </a:cubicBezTo>
                <a:cubicBezTo>
                  <a:pt x="88" y="82"/>
                  <a:pt x="88" y="77"/>
                  <a:pt x="85" y="74"/>
                </a:cubicBezTo>
                <a:cubicBezTo>
                  <a:pt x="60" y="49"/>
                  <a:pt x="60" y="49"/>
                  <a:pt x="60" y="49"/>
                </a:cubicBezTo>
                <a:cubicBezTo>
                  <a:pt x="57" y="46"/>
                  <a:pt x="52" y="46"/>
                  <a:pt x="49" y="49"/>
                </a:cubicBezTo>
                <a:cubicBezTo>
                  <a:pt x="45" y="53"/>
                  <a:pt x="45" y="58"/>
                  <a:pt x="49" y="61"/>
                </a:cubicBezTo>
                <a:lnTo>
                  <a:pt x="73" y="85"/>
                </a:lnTo>
                <a:close/>
                <a:moveTo>
                  <a:pt x="318" y="222"/>
                </a:moveTo>
                <a:cubicBezTo>
                  <a:pt x="285" y="208"/>
                  <a:pt x="285" y="208"/>
                  <a:pt x="285" y="208"/>
                </a:cubicBezTo>
                <a:cubicBezTo>
                  <a:pt x="281" y="206"/>
                  <a:pt x="276" y="208"/>
                  <a:pt x="274" y="212"/>
                </a:cubicBezTo>
                <a:cubicBezTo>
                  <a:pt x="273" y="217"/>
                  <a:pt x="275" y="221"/>
                  <a:pt x="279" y="223"/>
                </a:cubicBezTo>
                <a:cubicBezTo>
                  <a:pt x="312" y="237"/>
                  <a:pt x="312" y="237"/>
                  <a:pt x="312" y="237"/>
                </a:cubicBezTo>
                <a:cubicBezTo>
                  <a:pt x="313" y="237"/>
                  <a:pt x="314" y="237"/>
                  <a:pt x="315" y="237"/>
                </a:cubicBezTo>
                <a:cubicBezTo>
                  <a:pt x="318" y="237"/>
                  <a:pt x="321" y="235"/>
                  <a:pt x="322" y="232"/>
                </a:cubicBezTo>
                <a:cubicBezTo>
                  <a:pt x="324" y="228"/>
                  <a:pt x="322" y="223"/>
                  <a:pt x="318" y="222"/>
                </a:cubicBezTo>
                <a:close/>
                <a:moveTo>
                  <a:pt x="327" y="160"/>
                </a:moveTo>
                <a:cubicBezTo>
                  <a:pt x="290" y="160"/>
                  <a:pt x="290" y="160"/>
                  <a:pt x="290" y="160"/>
                </a:cubicBezTo>
                <a:cubicBezTo>
                  <a:pt x="286" y="160"/>
                  <a:pt x="282" y="164"/>
                  <a:pt x="282" y="168"/>
                </a:cubicBezTo>
                <a:cubicBezTo>
                  <a:pt x="282" y="172"/>
                  <a:pt x="286" y="176"/>
                  <a:pt x="290" y="176"/>
                </a:cubicBezTo>
                <a:cubicBezTo>
                  <a:pt x="327" y="176"/>
                  <a:pt x="327" y="176"/>
                  <a:pt x="327" y="176"/>
                </a:cubicBezTo>
                <a:cubicBezTo>
                  <a:pt x="331" y="176"/>
                  <a:pt x="335" y="172"/>
                  <a:pt x="335" y="168"/>
                </a:cubicBezTo>
                <a:cubicBezTo>
                  <a:pt x="335" y="164"/>
                  <a:pt x="331" y="160"/>
                  <a:pt x="327" y="160"/>
                </a:cubicBezTo>
                <a:close/>
                <a:moveTo>
                  <a:pt x="167" y="240"/>
                </a:moveTo>
                <a:cubicBezTo>
                  <a:pt x="172" y="240"/>
                  <a:pt x="175" y="236"/>
                  <a:pt x="175" y="231"/>
                </a:cubicBezTo>
                <a:cubicBezTo>
                  <a:pt x="175" y="225"/>
                  <a:pt x="175" y="225"/>
                  <a:pt x="175" y="225"/>
                </a:cubicBezTo>
                <a:cubicBezTo>
                  <a:pt x="178" y="224"/>
                  <a:pt x="182" y="223"/>
                  <a:pt x="186" y="222"/>
                </a:cubicBezTo>
                <a:cubicBezTo>
                  <a:pt x="190" y="220"/>
                  <a:pt x="195" y="218"/>
                  <a:pt x="198" y="214"/>
                </a:cubicBezTo>
                <a:cubicBezTo>
                  <a:pt x="202" y="210"/>
                  <a:pt x="205" y="203"/>
                  <a:pt x="205" y="197"/>
                </a:cubicBezTo>
                <a:cubicBezTo>
                  <a:pt x="205" y="193"/>
                  <a:pt x="204" y="189"/>
                  <a:pt x="203" y="186"/>
                </a:cubicBezTo>
                <a:cubicBezTo>
                  <a:pt x="199" y="177"/>
                  <a:pt x="192" y="173"/>
                  <a:pt x="186" y="170"/>
                </a:cubicBezTo>
                <a:cubicBezTo>
                  <a:pt x="180" y="167"/>
                  <a:pt x="173" y="166"/>
                  <a:pt x="170" y="165"/>
                </a:cubicBezTo>
                <a:cubicBezTo>
                  <a:pt x="164" y="164"/>
                  <a:pt x="158" y="163"/>
                  <a:pt x="154" y="161"/>
                </a:cubicBezTo>
                <a:cubicBezTo>
                  <a:pt x="152" y="160"/>
                  <a:pt x="151" y="159"/>
                  <a:pt x="150" y="157"/>
                </a:cubicBezTo>
                <a:cubicBezTo>
                  <a:pt x="149" y="156"/>
                  <a:pt x="148" y="154"/>
                  <a:pt x="148" y="151"/>
                </a:cubicBezTo>
                <a:cubicBezTo>
                  <a:pt x="148" y="148"/>
                  <a:pt x="149" y="147"/>
                  <a:pt x="150" y="145"/>
                </a:cubicBezTo>
                <a:cubicBezTo>
                  <a:pt x="152" y="143"/>
                  <a:pt x="156" y="141"/>
                  <a:pt x="160" y="141"/>
                </a:cubicBezTo>
                <a:cubicBezTo>
                  <a:pt x="162" y="140"/>
                  <a:pt x="164" y="140"/>
                  <a:pt x="165" y="140"/>
                </a:cubicBezTo>
                <a:cubicBezTo>
                  <a:pt x="165" y="140"/>
                  <a:pt x="166" y="140"/>
                  <a:pt x="166" y="140"/>
                </a:cubicBezTo>
                <a:cubicBezTo>
                  <a:pt x="167" y="140"/>
                  <a:pt x="167" y="140"/>
                  <a:pt x="167" y="140"/>
                </a:cubicBezTo>
                <a:cubicBezTo>
                  <a:pt x="173" y="140"/>
                  <a:pt x="178" y="141"/>
                  <a:pt x="181" y="142"/>
                </a:cubicBezTo>
                <a:cubicBezTo>
                  <a:pt x="182" y="143"/>
                  <a:pt x="183" y="143"/>
                  <a:pt x="184" y="144"/>
                </a:cubicBezTo>
                <a:cubicBezTo>
                  <a:pt x="184" y="144"/>
                  <a:pt x="184" y="144"/>
                  <a:pt x="184" y="144"/>
                </a:cubicBezTo>
                <a:cubicBezTo>
                  <a:pt x="184" y="144"/>
                  <a:pt x="184" y="144"/>
                  <a:pt x="184" y="144"/>
                </a:cubicBezTo>
                <a:cubicBezTo>
                  <a:pt x="187" y="147"/>
                  <a:pt x="193" y="147"/>
                  <a:pt x="196" y="143"/>
                </a:cubicBezTo>
                <a:cubicBezTo>
                  <a:pt x="199" y="140"/>
                  <a:pt x="198" y="135"/>
                  <a:pt x="195" y="132"/>
                </a:cubicBezTo>
                <a:cubicBezTo>
                  <a:pt x="194" y="131"/>
                  <a:pt x="188" y="126"/>
                  <a:pt x="175" y="124"/>
                </a:cubicBezTo>
                <a:cubicBezTo>
                  <a:pt x="175" y="117"/>
                  <a:pt x="175" y="117"/>
                  <a:pt x="175" y="117"/>
                </a:cubicBezTo>
                <a:cubicBezTo>
                  <a:pt x="175" y="113"/>
                  <a:pt x="172" y="109"/>
                  <a:pt x="167" y="109"/>
                </a:cubicBezTo>
                <a:cubicBezTo>
                  <a:pt x="162" y="109"/>
                  <a:pt x="159" y="113"/>
                  <a:pt x="159" y="117"/>
                </a:cubicBezTo>
                <a:cubicBezTo>
                  <a:pt x="159" y="124"/>
                  <a:pt x="159" y="124"/>
                  <a:pt x="159" y="124"/>
                </a:cubicBezTo>
                <a:cubicBezTo>
                  <a:pt x="156" y="124"/>
                  <a:pt x="153" y="125"/>
                  <a:pt x="150" y="126"/>
                </a:cubicBezTo>
                <a:cubicBezTo>
                  <a:pt x="146" y="128"/>
                  <a:pt x="142" y="130"/>
                  <a:pt x="138" y="134"/>
                </a:cubicBezTo>
                <a:cubicBezTo>
                  <a:pt x="134" y="138"/>
                  <a:pt x="132" y="144"/>
                  <a:pt x="132" y="151"/>
                </a:cubicBezTo>
                <a:cubicBezTo>
                  <a:pt x="132" y="157"/>
                  <a:pt x="133" y="162"/>
                  <a:pt x="136" y="166"/>
                </a:cubicBezTo>
                <a:cubicBezTo>
                  <a:pt x="140" y="173"/>
                  <a:pt x="147" y="176"/>
                  <a:pt x="152" y="178"/>
                </a:cubicBezTo>
                <a:cubicBezTo>
                  <a:pt x="157" y="180"/>
                  <a:pt x="163" y="180"/>
                  <a:pt x="166" y="181"/>
                </a:cubicBezTo>
                <a:cubicBezTo>
                  <a:pt x="170" y="182"/>
                  <a:pt x="175" y="183"/>
                  <a:pt x="179" y="185"/>
                </a:cubicBezTo>
                <a:cubicBezTo>
                  <a:pt x="183" y="187"/>
                  <a:pt x="186" y="189"/>
                  <a:pt x="187" y="192"/>
                </a:cubicBezTo>
                <a:cubicBezTo>
                  <a:pt x="188" y="193"/>
                  <a:pt x="188" y="195"/>
                  <a:pt x="188" y="197"/>
                </a:cubicBezTo>
                <a:cubicBezTo>
                  <a:pt x="188" y="200"/>
                  <a:pt x="187" y="201"/>
                  <a:pt x="186" y="203"/>
                </a:cubicBezTo>
                <a:cubicBezTo>
                  <a:pt x="184" y="205"/>
                  <a:pt x="180" y="207"/>
                  <a:pt x="176" y="208"/>
                </a:cubicBezTo>
                <a:cubicBezTo>
                  <a:pt x="172" y="209"/>
                  <a:pt x="168" y="209"/>
                  <a:pt x="167" y="209"/>
                </a:cubicBezTo>
                <a:cubicBezTo>
                  <a:pt x="167" y="209"/>
                  <a:pt x="167" y="209"/>
                  <a:pt x="167" y="209"/>
                </a:cubicBezTo>
                <a:cubicBezTo>
                  <a:pt x="162" y="209"/>
                  <a:pt x="155" y="207"/>
                  <a:pt x="151" y="204"/>
                </a:cubicBezTo>
                <a:cubicBezTo>
                  <a:pt x="148" y="203"/>
                  <a:pt x="146" y="202"/>
                  <a:pt x="145" y="201"/>
                </a:cubicBezTo>
                <a:cubicBezTo>
                  <a:pt x="145" y="200"/>
                  <a:pt x="144" y="200"/>
                  <a:pt x="144" y="200"/>
                </a:cubicBezTo>
                <a:cubicBezTo>
                  <a:pt x="143" y="199"/>
                  <a:pt x="143" y="199"/>
                  <a:pt x="143" y="199"/>
                </a:cubicBezTo>
                <a:cubicBezTo>
                  <a:pt x="140" y="197"/>
                  <a:pt x="135" y="197"/>
                  <a:pt x="132" y="201"/>
                </a:cubicBezTo>
                <a:cubicBezTo>
                  <a:pt x="129" y="204"/>
                  <a:pt x="129" y="209"/>
                  <a:pt x="133" y="212"/>
                </a:cubicBezTo>
                <a:cubicBezTo>
                  <a:pt x="133" y="213"/>
                  <a:pt x="144" y="222"/>
                  <a:pt x="159" y="224"/>
                </a:cubicBezTo>
                <a:cubicBezTo>
                  <a:pt x="159" y="231"/>
                  <a:pt x="159" y="231"/>
                  <a:pt x="159" y="231"/>
                </a:cubicBezTo>
                <a:cubicBezTo>
                  <a:pt x="159" y="236"/>
                  <a:pt x="162" y="240"/>
                  <a:pt x="167" y="240"/>
                </a:cubicBezTo>
                <a:close/>
                <a:moveTo>
                  <a:pt x="52" y="168"/>
                </a:moveTo>
                <a:cubicBezTo>
                  <a:pt x="52" y="164"/>
                  <a:pt x="49" y="160"/>
                  <a:pt x="44" y="160"/>
                </a:cubicBezTo>
                <a:cubicBezTo>
                  <a:pt x="8" y="160"/>
                  <a:pt x="8" y="160"/>
                  <a:pt x="8" y="160"/>
                </a:cubicBezTo>
                <a:cubicBezTo>
                  <a:pt x="3" y="160"/>
                  <a:pt x="0" y="164"/>
                  <a:pt x="0" y="168"/>
                </a:cubicBezTo>
                <a:cubicBezTo>
                  <a:pt x="0" y="172"/>
                  <a:pt x="3" y="176"/>
                  <a:pt x="8" y="176"/>
                </a:cubicBezTo>
                <a:cubicBezTo>
                  <a:pt x="44" y="176"/>
                  <a:pt x="44" y="176"/>
                  <a:pt x="44" y="176"/>
                </a:cubicBezTo>
                <a:cubicBezTo>
                  <a:pt x="49" y="176"/>
                  <a:pt x="52" y="172"/>
                  <a:pt x="52" y="168"/>
                </a:cubicBezTo>
                <a:close/>
                <a:moveTo>
                  <a:pt x="50" y="208"/>
                </a:moveTo>
                <a:cubicBezTo>
                  <a:pt x="17" y="222"/>
                  <a:pt x="17" y="222"/>
                  <a:pt x="17" y="222"/>
                </a:cubicBezTo>
                <a:cubicBezTo>
                  <a:pt x="13" y="223"/>
                  <a:pt x="11" y="228"/>
                  <a:pt x="12" y="232"/>
                </a:cubicBezTo>
                <a:cubicBezTo>
                  <a:pt x="14" y="235"/>
                  <a:pt x="17" y="237"/>
                  <a:pt x="20" y="237"/>
                </a:cubicBezTo>
                <a:cubicBezTo>
                  <a:pt x="21" y="237"/>
                  <a:pt x="22" y="237"/>
                  <a:pt x="23" y="237"/>
                </a:cubicBezTo>
                <a:cubicBezTo>
                  <a:pt x="56" y="223"/>
                  <a:pt x="56" y="223"/>
                  <a:pt x="56" y="223"/>
                </a:cubicBezTo>
                <a:cubicBezTo>
                  <a:pt x="60" y="221"/>
                  <a:pt x="62" y="217"/>
                  <a:pt x="60" y="212"/>
                </a:cubicBezTo>
                <a:cubicBezTo>
                  <a:pt x="58" y="208"/>
                  <a:pt x="54" y="206"/>
                  <a:pt x="50" y="208"/>
                </a:cubicBezTo>
                <a:close/>
                <a:moveTo>
                  <a:pt x="243" y="103"/>
                </a:moveTo>
                <a:cubicBezTo>
                  <a:pt x="239" y="106"/>
                  <a:pt x="239" y="111"/>
                  <a:pt x="241" y="114"/>
                </a:cubicBezTo>
                <a:cubicBezTo>
                  <a:pt x="241" y="114"/>
                  <a:pt x="241" y="114"/>
                  <a:pt x="241" y="114"/>
                </a:cubicBezTo>
                <a:cubicBezTo>
                  <a:pt x="251" y="129"/>
                  <a:pt x="257" y="147"/>
                  <a:pt x="257" y="166"/>
                </a:cubicBezTo>
                <a:cubicBezTo>
                  <a:pt x="257" y="191"/>
                  <a:pt x="248" y="208"/>
                  <a:pt x="237" y="223"/>
                </a:cubicBezTo>
                <a:cubicBezTo>
                  <a:pt x="227" y="238"/>
                  <a:pt x="214" y="250"/>
                  <a:pt x="213" y="267"/>
                </a:cubicBezTo>
                <a:cubicBezTo>
                  <a:pt x="213" y="287"/>
                  <a:pt x="213" y="287"/>
                  <a:pt x="213" y="287"/>
                </a:cubicBezTo>
                <a:cubicBezTo>
                  <a:pt x="205" y="287"/>
                  <a:pt x="190" y="287"/>
                  <a:pt x="167" y="287"/>
                </a:cubicBezTo>
                <a:cubicBezTo>
                  <a:pt x="145" y="287"/>
                  <a:pt x="129" y="287"/>
                  <a:pt x="120" y="287"/>
                </a:cubicBezTo>
                <a:cubicBezTo>
                  <a:pt x="120" y="267"/>
                  <a:pt x="120" y="267"/>
                  <a:pt x="120" y="267"/>
                </a:cubicBezTo>
                <a:cubicBezTo>
                  <a:pt x="119" y="250"/>
                  <a:pt x="107" y="238"/>
                  <a:pt x="96" y="223"/>
                </a:cubicBezTo>
                <a:cubicBezTo>
                  <a:pt x="86" y="208"/>
                  <a:pt x="76" y="191"/>
                  <a:pt x="76" y="166"/>
                </a:cubicBezTo>
                <a:cubicBezTo>
                  <a:pt x="76" y="118"/>
                  <a:pt x="115" y="75"/>
                  <a:pt x="167" y="75"/>
                </a:cubicBezTo>
                <a:cubicBezTo>
                  <a:pt x="187" y="75"/>
                  <a:pt x="205" y="82"/>
                  <a:pt x="220" y="93"/>
                </a:cubicBezTo>
                <a:cubicBezTo>
                  <a:pt x="220" y="93"/>
                  <a:pt x="221" y="93"/>
                  <a:pt x="221" y="93"/>
                </a:cubicBezTo>
                <a:cubicBezTo>
                  <a:pt x="222" y="94"/>
                  <a:pt x="224" y="95"/>
                  <a:pt x="225" y="95"/>
                </a:cubicBezTo>
                <a:cubicBezTo>
                  <a:pt x="228" y="95"/>
                  <a:pt x="230" y="94"/>
                  <a:pt x="232" y="92"/>
                </a:cubicBezTo>
                <a:cubicBezTo>
                  <a:pt x="234" y="88"/>
                  <a:pt x="234" y="83"/>
                  <a:pt x="230" y="80"/>
                </a:cubicBezTo>
                <a:cubicBezTo>
                  <a:pt x="213" y="67"/>
                  <a:pt x="191" y="59"/>
                  <a:pt x="167" y="59"/>
                </a:cubicBezTo>
                <a:cubicBezTo>
                  <a:pt x="106" y="59"/>
                  <a:pt x="60" y="109"/>
                  <a:pt x="60" y="166"/>
                </a:cubicBezTo>
                <a:cubicBezTo>
                  <a:pt x="60" y="196"/>
                  <a:pt x="72" y="217"/>
                  <a:pt x="83" y="233"/>
                </a:cubicBezTo>
                <a:cubicBezTo>
                  <a:pt x="95" y="248"/>
                  <a:pt x="105" y="260"/>
                  <a:pt x="104" y="267"/>
                </a:cubicBezTo>
                <a:cubicBezTo>
                  <a:pt x="104" y="291"/>
                  <a:pt x="104" y="291"/>
                  <a:pt x="104" y="291"/>
                </a:cubicBezTo>
                <a:cubicBezTo>
                  <a:pt x="104" y="298"/>
                  <a:pt x="108" y="302"/>
                  <a:pt x="110" y="305"/>
                </a:cubicBezTo>
                <a:cubicBezTo>
                  <a:pt x="111" y="306"/>
                  <a:pt x="112" y="307"/>
                  <a:pt x="112" y="308"/>
                </a:cubicBezTo>
                <a:cubicBezTo>
                  <a:pt x="112" y="316"/>
                  <a:pt x="112" y="316"/>
                  <a:pt x="112" y="316"/>
                </a:cubicBezTo>
                <a:cubicBezTo>
                  <a:pt x="112" y="320"/>
                  <a:pt x="113" y="323"/>
                  <a:pt x="114" y="325"/>
                </a:cubicBezTo>
                <a:cubicBezTo>
                  <a:pt x="115" y="327"/>
                  <a:pt x="116" y="329"/>
                  <a:pt x="116" y="330"/>
                </a:cubicBezTo>
                <a:cubicBezTo>
                  <a:pt x="109" y="330"/>
                  <a:pt x="109" y="330"/>
                  <a:pt x="109" y="330"/>
                </a:cubicBezTo>
                <a:cubicBezTo>
                  <a:pt x="104" y="330"/>
                  <a:pt x="101" y="333"/>
                  <a:pt x="101" y="338"/>
                </a:cubicBezTo>
                <a:cubicBezTo>
                  <a:pt x="101" y="342"/>
                  <a:pt x="104" y="346"/>
                  <a:pt x="109" y="346"/>
                </a:cubicBezTo>
                <a:cubicBezTo>
                  <a:pt x="116" y="346"/>
                  <a:pt x="116" y="346"/>
                  <a:pt x="116" y="346"/>
                </a:cubicBezTo>
                <a:cubicBezTo>
                  <a:pt x="116" y="349"/>
                  <a:pt x="116" y="349"/>
                  <a:pt x="116" y="349"/>
                </a:cubicBezTo>
                <a:cubicBezTo>
                  <a:pt x="116" y="354"/>
                  <a:pt x="118" y="357"/>
                  <a:pt x="120" y="361"/>
                </a:cubicBezTo>
                <a:cubicBezTo>
                  <a:pt x="124" y="367"/>
                  <a:pt x="129" y="373"/>
                  <a:pt x="134" y="378"/>
                </a:cubicBezTo>
                <a:cubicBezTo>
                  <a:pt x="136" y="381"/>
                  <a:pt x="139" y="383"/>
                  <a:pt x="141" y="385"/>
                </a:cubicBezTo>
                <a:cubicBezTo>
                  <a:pt x="142" y="386"/>
                  <a:pt x="143" y="387"/>
                  <a:pt x="144" y="387"/>
                </a:cubicBezTo>
                <a:cubicBezTo>
                  <a:pt x="145" y="388"/>
                  <a:pt x="146" y="389"/>
                  <a:pt x="150" y="389"/>
                </a:cubicBezTo>
                <a:cubicBezTo>
                  <a:pt x="183" y="389"/>
                  <a:pt x="183" y="389"/>
                  <a:pt x="183" y="389"/>
                </a:cubicBezTo>
                <a:cubicBezTo>
                  <a:pt x="187" y="389"/>
                  <a:pt x="189" y="388"/>
                  <a:pt x="191" y="387"/>
                </a:cubicBezTo>
                <a:cubicBezTo>
                  <a:pt x="196" y="383"/>
                  <a:pt x="202" y="376"/>
                  <a:pt x="207" y="369"/>
                </a:cubicBezTo>
                <a:cubicBezTo>
                  <a:pt x="210" y="366"/>
                  <a:pt x="212" y="362"/>
                  <a:pt x="214" y="359"/>
                </a:cubicBezTo>
                <a:cubicBezTo>
                  <a:pt x="216" y="356"/>
                  <a:pt x="217" y="353"/>
                  <a:pt x="218" y="349"/>
                </a:cubicBezTo>
                <a:cubicBezTo>
                  <a:pt x="218" y="346"/>
                  <a:pt x="218" y="346"/>
                  <a:pt x="218" y="346"/>
                </a:cubicBezTo>
                <a:cubicBezTo>
                  <a:pt x="224" y="346"/>
                  <a:pt x="224" y="346"/>
                  <a:pt x="224" y="346"/>
                </a:cubicBezTo>
                <a:cubicBezTo>
                  <a:pt x="229" y="346"/>
                  <a:pt x="232" y="342"/>
                  <a:pt x="232" y="338"/>
                </a:cubicBezTo>
                <a:cubicBezTo>
                  <a:pt x="232" y="333"/>
                  <a:pt x="229" y="330"/>
                  <a:pt x="224" y="330"/>
                </a:cubicBezTo>
                <a:cubicBezTo>
                  <a:pt x="218" y="330"/>
                  <a:pt x="218" y="330"/>
                  <a:pt x="218" y="330"/>
                </a:cubicBezTo>
                <a:cubicBezTo>
                  <a:pt x="218" y="329"/>
                  <a:pt x="218" y="328"/>
                  <a:pt x="219" y="326"/>
                </a:cubicBezTo>
                <a:cubicBezTo>
                  <a:pt x="220" y="323"/>
                  <a:pt x="221" y="320"/>
                  <a:pt x="221" y="316"/>
                </a:cubicBezTo>
                <a:cubicBezTo>
                  <a:pt x="221" y="308"/>
                  <a:pt x="221" y="308"/>
                  <a:pt x="221" y="308"/>
                </a:cubicBezTo>
                <a:cubicBezTo>
                  <a:pt x="221" y="308"/>
                  <a:pt x="222" y="308"/>
                  <a:pt x="222" y="308"/>
                </a:cubicBezTo>
                <a:cubicBezTo>
                  <a:pt x="224" y="305"/>
                  <a:pt x="229" y="300"/>
                  <a:pt x="229" y="291"/>
                </a:cubicBezTo>
                <a:cubicBezTo>
                  <a:pt x="229" y="267"/>
                  <a:pt x="229" y="267"/>
                  <a:pt x="229" y="267"/>
                </a:cubicBezTo>
                <a:cubicBezTo>
                  <a:pt x="229" y="260"/>
                  <a:pt x="238" y="248"/>
                  <a:pt x="250" y="233"/>
                </a:cubicBezTo>
                <a:cubicBezTo>
                  <a:pt x="261" y="217"/>
                  <a:pt x="273" y="196"/>
                  <a:pt x="273" y="166"/>
                </a:cubicBezTo>
                <a:cubicBezTo>
                  <a:pt x="273" y="144"/>
                  <a:pt x="266" y="122"/>
                  <a:pt x="254" y="105"/>
                </a:cubicBezTo>
                <a:cubicBezTo>
                  <a:pt x="251" y="101"/>
                  <a:pt x="247" y="101"/>
                  <a:pt x="243" y="103"/>
                </a:cubicBezTo>
                <a:close/>
                <a:moveTo>
                  <a:pt x="205" y="307"/>
                </a:moveTo>
                <a:cubicBezTo>
                  <a:pt x="205" y="316"/>
                  <a:pt x="205" y="316"/>
                  <a:pt x="205" y="316"/>
                </a:cubicBezTo>
                <a:cubicBezTo>
                  <a:pt x="205" y="316"/>
                  <a:pt x="205" y="318"/>
                  <a:pt x="204" y="320"/>
                </a:cubicBezTo>
                <a:cubicBezTo>
                  <a:pt x="203" y="322"/>
                  <a:pt x="202" y="325"/>
                  <a:pt x="202" y="330"/>
                </a:cubicBezTo>
                <a:cubicBezTo>
                  <a:pt x="202" y="348"/>
                  <a:pt x="202" y="348"/>
                  <a:pt x="202" y="348"/>
                </a:cubicBezTo>
                <a:cubicBezTo>
                  <a:pt x="201" y="350"/>
                  <a:pt x="196" y="358"/>
                  <a:pt x="191" y="364"/>
                </a:cubicBezTo>
                <a:cubicBezTo>
                  <a:pt x="189" y="367"/>
                  <a:pt x="186" y="370"/>
                  <a:pt x="184" y="372"/>
                </a:cubicBezTo>
                <a:cubicBezTo>
                  <a:pt x="183" y="372"/>
                  <a:pt x="183" y="373"/>
                  <a:pt x="182" y="373"/>
                </a:cubicBezTo>
                <a:cubicBezTo>
                  <a:pt x="152" y="373"/>
                  <a:pt x="152" y="373"/>
                  <a:pt x="152" y="373"/>
                </a:cubicBezTo>
                <a:cubicBezTo>
                  <a:pt x="150" y="371"/>
                  <a:pt x="144" y="366"/>
                  <a:pt x="140" y="361"/>
                </a:cubicBezTo>
                <a:cubicBezTo>
                  <a:pt x="137" y="357"/>
                  <a:pt x="135" y="354"/>
                  <a:pt x="133" y="352"/>
                </a:cubicBezTo>
                <a:cubicBezTo>
                  <a:pt x="133" y="350"/>
                  <a:pt x="132" y="349"/>
                  <a:pt x="132" y="349"/>
                </a:cubicBezTo>
                <a:cubicBezTo>
                  <a:pt x="132" y="348"/>
                  <a:pt x="132" y="348"/>
                  <a:pt x="132" y="348"/>
                </a:cubicBezTo>
                <a:cubicBezTo>
                  <a:pt x="132" y="330"/>
                  <a:pt x="132" y="330"/>
                  <a:pt x="132" y="330"/>
                </a:cubicBezTo>
                <a:cubicBezTo>
                  <a:pt x="132" y="325"/>
                  <a:pt x="130" y="322"/>
                  <a:pt x="129" y="320"/>
                </a:cubicBezTo>
                <a:cubicBezTo>
                  <a:pt x="129" y="318"/>
                  <a:pt x="128" y="317"/>
                  <a:pt x="128" y="317"/>
                </a:cubicBezTo>
                <a:cubicBezTo>
                  <a:pt x="128" y="316"/>
                  <a:pt x="128" y="316"/>
                  <a:pt x="128" y="316"/>
                </a:cubicBezTo>
                <a:cubicBezTo>
                  <a:pt x="128" y="316"/>
                  <a:pt x="128" y="316"/>
                  <a:pt x="128" y="316"/>
                </a:cubicBezTo>
                <a:cubicBezTo>
                  <a:pt x="128" y="307"/>
                  <a:pt x="128" y="307"/>
                  <a:pt x="128" y="307"/>
                </a:cubicBezTo>
                <a:cubicBezTo>
                  <a:pt x="128" y="305"/>
                  <a:pt x="128" y="304"/>
                  <a:pt x="127" y="303"/>
                </a:cubicBezTo>
                <a:cubicBezTo>
                  <a:pt x="137" y="303"/>
                  <a:pt x="150" y="303"/>
                  <a:pt x="167" y="303"/>
                </a:cubicBezTo>
                <a:cubicBezTo>
                  <a:pt x="184" y="303"/>
                  <a:pt x="197" y="303"/>
                  <a:pt x="206" y="303"/>
                </a:cubicBezTo>
                <a:cubicBezTo>
                  <a:pt x="206" y="304"/>
                  <a:pt x="205" y="305"/>
                  <a:pt x="205" y="307"/>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
          <p:cNvSpPr>
            <a:spLocks noChangeAspect="1" noEditPoints="1"/>
          </p:cNvSpPr>
          <p:nvPr/>
        </p:nvSpPr>
        <p:spPr bwMode="auto">
          <a:xfrm>
            <a:off x="5740840" y="2297369"/>
            <a:ext cx="328756" cy="428953"/>
          </a:xfrm>
          <a:custGeom>
            <a:avLst/>
            <a:gdLst>
              <a:gd name="T0" fmla="*/ 2147483647 w 257"/>
              <a:gd name="T1" fmla="*/ 2147483647 h 335"/>
              <a:gd name="T2" fmla="*/ 2147483647 w 257"/>
              <a:gd name="T3" fmla="*/ 2147483647 h 335"/>
              <a:gd name="T4" fmla="*/ 2147483647 w 257"/>
              <a:gd name="T5" fmla="*/ 2147483647 h 335"/>
              <a:gd name="T6" fmla="*/ 2147483647 w 257"/>
              <a:gd name="T7" fmla="*/ 2147483647 h 335"/>
              <a:gd name="T8" fmla="*/ 2147483647 w 257"/>
              <a:gd name="T9" fmla="*/ 2147483647 h 335"/>
              <a:gd name="T10" fmla="*/ 2147483647 w 257"/>
              <a:gd name="T11" fmla="*/ 2147483647 h 335"/>
              <a:gd name="T12" fmla="*/ 2147483647 w 257"/>
              <a:gd name="T13" fmla="*/ 2147483647 h 335"/>
              <a:gd name="T14" fmla="*/ 2147483647 w 257"/>
              <a:gd name="T15" fmla="*/ 2147483647 h 335"/>
              <a:gd name="T16" fmla="*/ 2147483647 w 257"/>
              <a:gd name="T17" fmla="*/ 2147483647 h 335"/>
              <a:gd name="T18" fmla="*/ 2147483647 w 257"/>
              <a:gd name="T19" fmla="*/ 2147483647 h 335"/>
              <a:gd name="T20" fmla="*/ 2147483647 w 257"/>
              <a:gd name="T21" fmla="*/ 2147483647 h 335"/>
              <a:gd name="T22" fmla="*/ 2147483647 w 257"/>
              <a:gd name="T23" fmla="*/ 2147483647 h 335"/>
              <a:gd name="T24" fmla="*/ 2147483647 w 257"/>
              <a:gd name="T25" fmla="*/ 2147483647 h 335"/>
              <a:gd name="T26" fmla="*/ 2147483647 w 257"/>
              <a:gd name="T27" fmla="*/ 2147483647 h 335"/>
              <a:gd name="T28" fmla="*/ 2147483647 w 257"/>
              <a:gd name="T29" fmla="*/ 2147483647 h 335"/>
              <a:gd name="T30" fmla="*/ 2147483647 w 257"/>
              <a:gd name="T31" fmla="*/ 2147483647 h 335"/>
              <a:gd name="T32" fmla="*/ 2147483647 w 257"/>
              <a:gd name="T33" fmla="*/ 2147483647 h 335"/>
              <a:gd name="T34" fmla="*/ 2147483647 w 257"/>
              <a:gd name="T35" fmla="*/ 2147483647 h 335"/>
              <a:gd name="T36" fmla="*/ 2147483647 w 257"/>
              <a:gd name="T37" fmla="*/ 0 h 335"/>
              <a:gd name="T38" fmla="*/ 2147483647 w 257"/>
              <a:gd name="T39" fmla="*/ 0 h 335"/>
              <a:gd name="T40" fmla="*/ 0 w 257"/>
              <a:gd name="T41" fmla="*/ 2147483647 h 335"/>
              <a:gd name="T42" fmla="*/ 2147483647 w 257"/>
              <a:gd name="T43" fmla="*/ 2147483647 h 335"/>
              <a:gd name="T44" fmla="*/ 2147483647 w 257"/>
              <a:gd name="T45" fmla="*/ 2147483647 h 335"/>
              <a:gd name="T46" fmla="*/ 2147483647 w 257"/>
              <a:gd name="T47" fmla="*/ 2147483647 h 335"/>
              <a:gd name="T48" fmla="*/ 2147483647 w 257"/>
              <a:gd name="T49" fmla="*/ 2147483647 h 335"/>
              <a:gd name="T50" fmla="*/ 2147483647 w 257"/>
              <a:gd name="T51" fmla="*/ 2147483647 h 335"/>
              <a:gd name="T52" fmla="*/ 2147483647 w 257"/>
              <a:gd name="T53" fmla="*/ 2147483647 h 335"/>
              <a:gd name="T54" fmla="*/ 2147483647 w 257"/>
              <a:gd name="T55" fmla="*/ 2147483647 h 335"/>
              <a:gd name="T56" fmla="*/ 0 w 257"/>
              <a:gd name="T57" fmla="*/ 2147483647 h 335"/>
              <a:gd name="T58" fmla="*/ 2147483647 w 257"/>
              <a:gd name="T59" fmla="*/ 2147483647 h 335"/>
              <a:gd name="T60" fmla="*/ 2147483647 w 257"/>
              <a:gd name="T61" fmla="*/ 2147483647 h 335"/>
              <a:gd name="T62" fmla="*/ 2147483647 w 257"/>
              <a:gd name="T63" fmla="*/ 2147483647 h 335"/>
              <a:gd name="T64" fmla="*/ 2147483647 w 257"/>
              <a:gd name="T65" fmla="*/ 2147483647 h 335"/>
              <a:gd name="T66" fmla="*/ 2147483647 w 257"/>
              <a:gd name="T67" fmla="*/ 2147483647 h 335"/>
              <a:gd name="T68" fmla="*/ 2147483647 w 257"/>
              <a:gd name="T69" fmla="*/ 2147483647 h 335"/>
              <a:gd name="T70" fmla="*/ 2147483647 w 257"/>
              <a:gd name="T71" fmla="*/ 2147483647 h 335"/>
              <a:gd name="T72" fmla="*/ 2147483647 w 257"/>
              <a:gd name="T73" fmla="*/ 2147483647 h 335"/>
              <a:gd name="T74" fmla="*/ 2147483647 w 257"/>
              <a:gd name="T75" fmla="*/ 2147483647 h 335"/>
              <a:gd name="T76" fmla="*/ 2147483647 w 257"/>
              <a:gd name="T77" fmla="*/ 2147483647 h 335"/>
              <a:gd name="T78" fmla="*/ 2147483647 w 257"/>
              <a:gd name="T79" fmla="*/ 2147483647 h 335"/>
              <a:gd name="T80" fmla="*/ 2147483647 w 257"/>
              <a:gd name="T81" fmla="*/ 2147483647 h 335"/>
              <a:gd name="T82" fmla="*/ 2147483647 w 257"/>
              <a:gd name="T83" fmla="*/ 2147483647 h 335"/>
              <a:gd name="T84" fmla="*/ 2147483647 w 257"/>
              <a:gd name="T85" fmla="*/ 2147483647 h 335"/>
              <a:gd name="T86" fmla="*/ 2147483647 w 257"/>
              <a:gd name="T87" fmla="*/ 2147483647 h 335"/>
              <a:gd name="T88" fmla="*/ 2147483647 w 257"/>
              <a:gd name="T89" fmla="*/ 2147483647 h 335"/>
              <a:gd name="T90" fmla="*/ 2147483647 w 257"/>
              <a:gd name="T91" fmla="*/ 2147483647 h 335"/>
              <a:gd name="T92" fmla="*/ 2147483647 w 257"/>
              <a:gd name="T93" fmla="*/ 2147483647 h 335"/>
              <a:gd name="T94" fmla="*/ 2147483647 w 257"/>
              <a:gd name="T95" fmla="*/ 2147483647 h 335"/>
              <a:gd name="T96" fmla="*/ 2147483647 w 257"/>
              <a:gd name="T97" fmla="*/ 2147483647 h 335"/>
              <a:gd name="T98" fmla="*/ 2147483647 w 257"/>
              <a:gd name="T99" fmla="*/ 2147483647 h 3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57" h="335">
                <a:moveTo>
                  <a:pt x="249" y="319"/>
                </a:moveTo>
                <a:cubicBezTo>
                  <a:pt x="230" y="319"/>
                  <a:pt x="230" y="319"/>
                  <a:pt x="230" y="319"/>
                </a:cubicBezTo>
                <a:cubicBezTo>
                  <a:pt x="227" y="281"/>
                  <a:pt x="204" y="217"/>
                  <a:pt x="164" y="187"/>
                </a:cubicBezTo>
                <a:cubicBezTo>
                  <a:pt x="158" y="181"/>
                  <a:pt x="155" y="174"/>
                  <a:pt x="155" y="167"/>
                </a:cubicBezTo>
                <a:cubicBezTo>
                  <a:pt x="155" y="160"/>
                  <a:pt x="158" y="153"/>
                  <a:pt x="165" y="147"/>
                </a:cubicBezTo>
                <a:cubicBezTo>
                  <a:pt x="184" y="131"/>
                  <a:pt x="201" y="105"/>
                  <a:pt x="214" y="74"/>
                </a:cubicBezTo>
                <a:cubicBezTo>
                  <a:pt x="215" y="70"/>
                  <a:pt x="213" y="65"/>
                  <a:pt x="209" y="64"/>
                </a:cubicBezTo>
                <a:cubicBezTo>
                  <a:pt x="205" y="62"/>
                  <a:pt x="200" y="64"/>
                  <a:pt x="199" y="68"/>
                </a:cubicBezTo>
                <a:cubicBezTo>
                  <a:pt x="195" y="79"/>
                  <a:pt x="190" y="88"/>
                  <a:pt x="185" y="97"/>
                </a:cubicBezTo>
                <a:cubicBezTo>
                  <a:pt x="72" y="97"/>
                  <a:pt x="72" y="97"/>
                  <a:pt x="72" y="97"/>
                </a:cubicBezTo>
                <a:cubicBezTo>
                  <a:pt x="56" y="70"/>
                  <a:pt x="47" y="39"/>
                  <a:pt x="45" y="16"/>
                </a:cubicBezTo>
                <a:cubicBezTo>
                  <a:pt x="212" y="16"/>
                  <a:pt x="212" y="16"/>
                  <a:pt x="212" y="16"/>
                </a:cubicBezTo>
                <a:cubicBezTo>
                  <a:pt x="211" y="23"/>
                  <a:pt x="210" y="30"/>
                  <a:pt x="208" y="38"/>
                </a:cubicBezTo>
                <a:cubicBezTo>
                  <a:pt x="207" y="42"/>
                  <a:pt x="210" y="47"/>
                  <a:pt x="214" y="48"/>
                </a:cubicBezTo>
                <a:cubicBezTo>
                  <a:pt x="219" y="49"/>
                  <a:pt x="223" y="46"/>
                  <a:pt x="224" y="42"/>
                </a:cubicBezTo>
                <a:cubicBezTo>
                  <a:pt x="226" y="33"/>
                  <a:pt x="227" y="24"/>
                  <a:pt x="228" y="16"/>
                </a:cubicBezTo>
                <a:cubicBezTo>
                  <a:pt x="249" y="16"/>
                  <a:pt x="249" y="16"/>
                  <a:pt x="249" y="16"/>
                </a:cubicBezTo>
                <a:cubicBezTo>
                  <a:pt x="253" y="16"/>
                  <a:pt x="257" y="13"/>
                  <a:pt x="257" y="8"/>
                </a:cubicBezTo>
                <a:cubicBezTo>
                  <a:pt x="257" y="4"/>
                  <a:pt x="253" y="0"/>
                  <a:pt x="249" y="0"/>
                </a:cubicBezTo>
                <a:cubicBezTo>
                  <a:pt x="8" y="0"/>
                  <a:pt x="8" y="0"/>
                  <a:pt x="8" y="0"/>
                </a:cubicBezTo>
                <a:cubicBezTo>
                  <a:pt x="3" y="0"/>
                  <a:pt x="0" y="4"/>
                  <a:pt x="0" y="8"/>
                </a:cubicBezTo>
                <a:cubicBezTo>
                  <a:pt x="0" y="13"/>
                  <a:pt x="3" y="16"/>
                  <a:pt x="8" y="16"/>
                </a:cubicBezTo>
                <a:cubicBezTo>
                  <a:pt x="29" y="16"/>
                  <a:pt x="29" y="16"/>
                  <a:pt x="29" y="16"/>
                </a:cubicBezTo>
                <a:cubicBezTo>
                  <a:pt x="31" y="53"/>
                  <a:pt x="54" y="116"/>
                  <a:pt x="92" y="147"/>
                </a:cubicBezTo>
                <a:cubicBezTo>
                  <a:pt x="99" y="154"/>
                  <a:pt x="102" y="160"/>
                  <a:pt x="102" y="167"/>
                </a:cubicBezTo>
                <a:cubicBezTo>
                  <a:pt x="102" y="174"/>
                  <a:pt x="99" y="180"/>
                  <a:pt x="92" y="187"/>
                </a:cubicBezTo>
                <a:cubicBezTo>
                  <a:pt x="53" y="217"/>
                  <a:pt x="30" y="281"/>
                  <a:pt x="27" y="319"/>
                </a:cubicBezTo>
                <a:cubicBezTo>
                  <a:pt x="8" y="319"/>
                  <a:pt x="8" y="319"/>
                  <a:pt x="8" y="319"/>
                </a:cubicBezTo>
                <a:cubicBezTo>
                  <a:pt x="3" y="319"/>
                  <a:pt x="0" y="323"/>
                  <a:pt x="0" y="327"/>
                </a:cubicBezTo>
                <a:cubicBezTo>
                  <a:pt x="0" y="332"/>
                  <a:pt x="3" y="335"/>
                  <a:pt x="8" y="335"/>
                </a:cubicBezTo>
                <a:cubicBezTo>
                  <a:pt x="249" y="335"/>
                  <a:pt x="249" y="335"/>
                  <a:pt x="249" y="335"/>
                </a:cubicBezTo>
                <a:cubicBezTo>
                  <a:pt x="253" y="335"/>
                  <a:pt x="257" y="332"/>
                  <a:pt x="257" y="327"/>
                </a:cubicBezTo>
                <a:cubicBezTo>
                  <a:pt x="257" y="323"/>
                  <a:pt x="253" y="319"/>
                  <a:pt x="249" y="319"/>
                </a:cubicBezTo>
                <a:close/>
                <a:moveTo>
                  <a:pt x="182" y="319"/>
                </a:moveTo>
                <a:cubicBezTo>
                  <a:pt x="179" y="298"/>
                  <a:pt x="168" y="266"/>
                  <a:pt x="149" y="252"/>
                </a:cubicBezTo>
                <a:cubicBezTo>
                  <a:pt x="147" y="250"/>
                  <a:pt x="138" y="243"/>
                  <a:pt x="128" y="243"/>
                </a:cubicBezTo>
                <a:cubicBezTo>
                  <a:pt x="118" y="243"/>
                  <a:pt x="110" y="250"/>
                  <a:pt x="108" y="252"/>
                </a:cubicBezTo>
                <a:cubicBezTo>
                  <a:pt x="89" y="266"/>
                  <a:pt x="77" y="298"/>
                  <a:pt x="75" y="319"/>
                </a:cubicBezTo>
                <a:cubicBezTo>
                  <a:pt x="43" y="319"/>
                  <a:pt x="43" y="319"/>
                  <a:pt x="43" y="319"/>
                </a:cubicBezTo>
                <a:cubicBezTo>
                  <a:pt x="46" y="283"/>
                  <a:pt x="68" y="225"/>
                  <a:pt x="102" y="199"/>
                </a:cubicBezTo>
                <a:cubicBezTo>
                  <a:pt x="102" y="199"/>
                  <a:pt x="102" y="199"/>
                  <a:pt x="103" y="199"/>
                </a:cubicBezTo>
                <a:cubicBezTo>
                  <a:pt x="113" y="189"/>
                  <a:pt x="118" y="179"/>
                  <a:pt x="118" y="167"/>
                </a:cubicBezTo>
                <a:cubicBezTo>
                  <a:pt x="118" y="160"/>
                  <a:pt x="116" y="153"/>
                  <a:pt x="112" y="147"/>
                </a:cubicBezTo>
                <a:cubicBezTo>
                  <a:pt x="117" y="149"/>
                  <a:pt x="123" y="151"/>
                  <a:pt x="128" y="151"/>
                </a:cubicBezTo>
                <a:cubicBezTo>
                  <a:pt x="133" y="151"/>
                  <a:pt x="139" y="149"/>
                  <a:pt x="144" y="147"/>
                </a:cubicBezTo>
                <a:cubicBezTo>
                  <a:pt x="140" y="153"/>
                  <a:pt x="139" y="160"/>
                  <a:pt x="139" y="167"/>
                </a:cubicBezTo>
                <a:cubicBezTo>
                  <a:pt x="139" y="179"/>
                  <a:pt x="144" y="190"/>
                  <a:pt x="154" y="199"/>
                </a:cubicBezTo>
                <a:cubicBezTo>
                  <a:pt x="154" y="199"/>
                  <a:pt x="154" y="199"/>
                  <a:pt x="154" y="199"/>
                </a:cubicBezTo>
                <a:cubicBezTo>
                  <a:pt x="189" y="225"/>
                  <a:pt x="210" y="283"/>
                  <a:pt x="214" y="319"/>
                </a:cubicBezTo>
                <a:lnTo>
                  <a:pt x="182" y="319"/>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96"/>
          <p:cNvSpPr>
            <a:spLocks noChangeAspect="1" noEditPoints="1"/>
          </p:cNvSpPr>
          <p:nvPr/>
        </p:nvSpPr>
        <p:spPr bwMode="auto">
          <a:xfrm rot="5400000">
            <a:off x="8575964" y="3596700"/>
            <a:ext cx="562142" cy="561142"/>
          </a:xfrm>
          <a:custGeom>
            <a:avLst/>
            <a:gdLst>
              <a:gd name="T0" fmla="*/ 2147483647 w 1020"/>
              <a:gd name="T1" fmla="*/ 2147483647 h 1018"/>
              <a:gd name="T2" fmla="*/ 2147483647 w 1020"/>
              <a:gd name="T3" fmla="*/ 0 h 1018"/>
              <a:gd name="T4" fmla="*/ 2147483647 w 1020"/>
              <a:gd name="T5" fmla="*/ 2147483647 h 1018"/>
              <a:gd name="T6" fmla="*/ 2147483647 w 1020"/>
              <a:gd name="T7" fmla="*/ 2147483647 h 1018"/>
              <a:gd name="T8" fmla="*/ 2147483647 w 1020"/>
              <a:gd name="T9" fmla="*/ 2147483647 h 1018"/>
              <a:gd name="T10" fmla="*/ 2147483647 w 1020"/>
              <a:gd name="T11" fmla="*/ 2147483647 h 1018"/>
              <a:gd name="T12" fmla="*/ 2147483647 w 1020"/>
              <a:gd name="T13" fmla="*/ 2147483647 h 1018"/>
              <a:gd name="T14" fmla="*/ 2147483647 w 1020"/>
              <a:gd name="T15" fmla="*/ 2147483647 h 1018"/>
              <a:gd name="T16" fmla="*/ 2147483647 w 1020"/>
              <a:gd name="T17" fmla="*/ 2147483647 h 1018"/>
              <a:gd name="T18" fmla="*/ 2147483647 w 1020"/>
              <a:gd name="T19" fmla="*/ 2147483647 h 1018"/>
              <a:gd name="T20" fmla="*/ 2147483647 w 1020"/>
              <a:gd name="T21" fmla="*/ 2147483647 h 1018"/>
              <a:gd name="T22" fmla="*/ 2147483647 w 1020"/>
              <a:gd name="T23" fmla="*/ 2147483647 h 1018"/>
              <a:gd name="T24" fmla="*/ 2147483647 w 1020"/>
              <a:gd name="T25" fmla="*/ 2147483647 h 1018"/>
              <a:gd name="T26" fmla="*/ 2147483647 w 1020"/>
              <a:gd name="T27" fmla="*/ 2147483647 h 1018"/>
              <a:gd name="T28" fmla="*/ 2147483647 w 1020"/>
              <a:gd name="T29" fmla="*/ 2147483647 h 1018"/>
              <a:gd name="T30" fmla="*/ 2147483647 w 1020"/>
              <a:gd name="T31" fmla="*/ 2147483647 h 1018"/>
              <a:gd name="T32" fmla="*/ 2147483647 w 1020"/>
              <a:gd name="T33" fmla="*/ 2147483647 h 1018"/>
              <a:gd name="T34" fmla="*/ 2147483647 w 1020"/>
              <a:gd name="T35" fmla="*/ 2147483647 h 1018"/>
              <a:gd name="T36" fmla="*/ 2147483647 w 1020"/>
              <a:gd name="T37" fmla="*/ 2147483647 h 1018"/>
              <a:gd name="T38" fmla="*/ 2147483647 w 1020"/>
              <a:gd name="T39" fmla="*/ 2147483647 h 1018"/>
              <a:gd name="T40" fmla="*/ 2147483647 w 1020"/>
              <a:gd name="T41" fmla="*/ 2147483647 h 1018"/>
              <a:gd name="T42" fmla="*/ 2147483647 w 1020"/>
              <a:gd name="T43" fmla="*/ 2147483647 h 1018"/>
              <a:gd name="T44" fmla="*/ 2147483647 w 1020"/>
              <a:gd name="T45" fmla="*/ 2147483647 h 1018"/>
              <a:gd name="T46" fmla="*/ 2147483647 w 1020"/>
              <a:gd name="T47" fmla="*/ 2147483647 h 1018"/>
              <a:gd name="T48" fmla="*/ 2147483647 w 1020"/>
              <a:gd name="T49" fmla="*/ 2147483647 h 1018"/>
              <a:gd name="T50" fmla="*/ 2147483647 w 1020"/>
              <a:gd name="T51" fmla="*/ 2147483647 h 1018"/>
              <a:gd name="T52" fmla="*/ 2147483647 w 1020"/>
              <a:gd name="T53" fmla="*/ 2147483647 h 1018"/>
              <a:gd name="T54" fmla="*/ 2147483647 w 1020"/>
              <a:gd name="T55" fmla="*/ 0 h 1018"/>
              <a:gd name="T56" fmla="*/ 0 w 1020"/>
              <a:gd name="T57" fmla="*/ 2147483647 h 1018"/>
              <a:gd name="T58" fmla="*/ 2147483647 w 1020"/>
              <a:gd name="T59" fmla="*/ 2147483647 h 1018"/>
              <a:gd name="T60" fmla="*/ 2147483647 w 1020"/>
              <a:gd name="T61" fmla="*/ 2147483647 h 1018"/>
              <a:gd name="T62" fmla="*/ 2147483647 w 1020"/>
              <a:gd name="T63" fmla="*/ 2147483647 h 10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0"/>
              <a:gd name="T97" fmla="*/ 0 h 1018"/>
              <a:gd name="T98" fmla="*/ 1020 w 1020"/>
              <a:gd name="T99" fmla="*/ 1018 h 10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0" h="1018">
                <a:moveTo>
                  <a:pt x="944" y="241"/>
                </a:moveTo>
                <a:cubicBezTo>
                  <a:pt x="856" y="100"/>
                  <a:pt x="700" y="5"/>
                  <a:pt x="522" y="0"/>
                </a:cubicBezTo>
                <a:cubicBezTo>
                  <a:pt x="553" y="25"/>
                  <a:pt x="586" y="52"/>
                  <a:pt x="593" y="57"/>
                </a:cubicBezTo>
                <a:cubicBezTo>
                  <a:pt x="604" y="66"/>
                  <a:pt x="609" y="77"/>
                  <a:pt x="609" y="89"/>
                </a:cubicBezTo>
                <a:cubicBezTo>
                  <a:pt x="609" y="102"/>
                  <a:pt x="604" y="112"/>
                  <a:pt x="593" y="121"/>
                </a:cubicBezTo>
                <a:cubicBezTo>
                  <a:pt x="587" y="126"/>
                  <a:pt x="564" y="144"/>
                  <a:pt x="539" y="164"/>
                </a:cubicBezTo>
                <a:cubicBezTo>
                  <a:pt x="717" y="179"/>
                  <a:pt x="857" y="327"/>
                  <a:pt x="857" y="509"/>
                </a:cubicBezTo>
                <a:cubicBezTo>
                  <a:pt x="857" y="700"/>
                  <a:pt x="702" y="855"/>
                  <a:pt x="510" y="855"/>
                </a:cubicBezTo>
                <a:cubicBezTo>
                  <a:pt x="508" y="855"/>
                  <a:pt x="506" y="855"/>
                  <a:pt x="504" y="855"/>
                </a:cubicBezTo>
                <a:cubicBezTo>
                  <a:pt x="474" y="878"/>
                  <a:pt x="442" y="903"/>
                  <a:pt x="435" y="909"/>
                </a:cubicBezTo>
                <a:cubicBezTo>
                  <a:pt x="428" y="915"/>
                  <a:pt x="425" y="921"/>
                  <a:pt x="425" y="929"/>
                </a:cubicBezTo>
                <a:cubicBezTo>
                  <a:pt x="425" y="937"/>
                  <a:pt x="428" y="943"/>
                  <a:pt x="435" y="948"/>
                </a:cubicBezTo>
                <a:cubicBezTo>
                  <a:pt x="444" y="956"/>
                  <a:pt x="488" y="991"/>
                  <a:pt x="521" y="1018"/>
                </a:cubicBezTo>
                <a:cubicBezTo>
                  <a:pt x="697" y="1014"/>
                  <a:pt x="850" y="922"/>
                  <a:pt x="939" y="784"/>
                </a:cubicBezTo>
                <a:cubicBezTo>
                  <a:pt x="940" y="783"/>
                  <a:pt x="940" y="783"/>
                  <a:pt x="940" y="782"/>
                </a:cubicBezTo>
                <a:cubicBezTo>
                  <a:pt x="941" y="781"/>
                  <a:pt x="942" y="779"/>
                  <a:pt x="944" y="777"/>
                </a:cubicBezTo>
                <a:cubicBezTo>
                  <a:pt x="992" y="699"/>
                  <a:pt x="1020" y="607"/>
                  <a:pt x="1020" y="509"/>
                </a:cubicBezTo>
                <a:cubicBezTo>
                  <a:pt x="1020" y="411"/>
                  <a:pt x="992" y="319"/>
                  <a:pt x="944" y="241"/>
                </a:cubicBezTo>
                <a:close/>
                <a:moveTo>
                  <a:pt x="409" y="929"/>
                </a:moveTo>
                <a:cubicBezTo>
                  <a:pt x="409" y="916"/>
                  <a:pt x="414" y="906"/>
                  <a:pt x="425" y="897"/>
                </a:cubicBezTo>
                <a:cubicBezTo>
                  <a:pt x="431" y="892"/>
                  <a:pt x="454" y="874"/>
                  <a:pt x="479" y="854"/>
                </a:cubicBezTo>
                <a:cubicBezTo>
                  <a:pt x="302" y="838"/>
                  <a:pt x="163" y="690"/>
                  <a:pt x="163" y="509"/>
                </a:cubicBezTo>
                <a:cubicBezTo>
                  <a:pt x="163" y="318"/>
                  <a:pt x="318" y="163"/>
                  <a:pt x="510" y="163"/>
                </a:cubicBezTo>
                <a:cubicBezTo>
                  <a:pt x="511" y="163"/>
                  <a:pt x="513" y="163"/>
                  <a:pt x="514" y="163"/>
                </a:cubicBezTo>
                <a:cubicBezTo>
                  <a:pt x="544" y="140"/>
                  <a:pt x="576" y="115"/>
                  <a:pt x="583" y="109"/>
                </a:cubicBezTo>
                <a:cubicBezTo>
                  <a:pt x="590" y="103"/>
                  <a:pt x="593" y="97"/>
                  <a:pt x="593" y="89"/>
                </a:cubicBezTo>
                <a:cubicBezTo>
                  <a:pt x="593" y="81"/>
                  <a:pt x="590" y="75"/>
                  <a:pt x="583" y="70"/>
                </a:cubicBezTo>
                <a:cubicBezTo>
                  <a:pt x="574" y="62"/>
                  <a:pt x="530" y="27"/>
                  <a:pt x="497" y="0"/>
                </a:cubicBezTo>
                <a:cubicBezTo>
                  <a:pt x="221" y="8"/>
                  <a:pt x="0" y="233"/>
                  <a:pt x="0" y="509"/>
                </a:cubicBezTo>
                <a:cubicBezTo>
                  <a:pt x="0" y="785"/>
                  <a:pt x="220" y="1010"/>
                  <a:pt x="496" y="1017"/>
                </a:cubicBezTo>
                <a:cubicBezTo>
                  <a:pt x="465" y="993"/>
                  <a:pt x="432" y="966"/>
                  <a:pt x="425" y="961"/>
                </a:cubicBezTo>
                <a:cubicBezTo>
                  <a:pt x="414" y="952"/>
                  <a:pt x="409" y="941"/>
                  <a:pt x="409" y="929"/>
                </a:cubicBezTo>
                <a:close/>
              </a:path>
            </a:pathLst>
          </a:custGeom>
          <a:solidFill>
            <a:schemeClr val="bg1"/>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3"/>
          <p:cNvSpPr>
            <a:spLocks noChangeAspect="1" noEditPoints="1"/>
          </p:cNvSpPr>
          <p:nvPr/>
        </p:nvSpPr>
        <p:spPr bwMode="auto">
          <a:xfrm>
            <a:off x="8789087" y="2089056"/>
            <a:ext cx="295595" cy="402821"/>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43" name="Freeform 3"/>
          <p:cNvSpPr>
            <a:spLocks noChangeAspect="1" noEditPoints="1"/>
          </p:cNvSpPr>
          <p:nvPr/>
        </p:nvSpPr>
        <p:spPr bwMode="auto">
          <a:xfrm>
            <a:off x="7050414" y="2770866"/>
            <a:ext cx="436639" cy="351258"/>
          </a:xfrm>
          <a:custGeom>
            <a:avLst/>
            <a:gdLst>
              <a:gd name="T0" fmla="*/ 1447259450 w 418"/>
              <a:gd name="T1" fmla="*/ 2147483647 h 336"/>
              <a:gd name="T2" fmla="*/ 2147483647 w 418"/>
              <a:gd name="T3" fmla="*/ 2147483647 h 336"/>
              <a:gd name="T4" fmla="*/ 2147483647 w 418"/>
              <a:gd name="T5" fmla="*/ 2147483647 h 336"/>
              <a:gd name="T6" fmla="*/ 2147483647 w 418"/>
              <a:gd name="T7" fmla="*/ 1153994874 h 336"/>
              <a:gd name="T8" fmla="*/ 1447259450 w 418"/>
              <a:gd name="T9" fmla="*/ 2147483647 h 336"/>
              <a:gd name="T10" fmla="*/ 2147483647 w 418"/>
              <a:gd name="T11" fmla="*/ 1829504434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35760354 w 418"/>
              <a:gd name="T35" fmla="*/ 2147483647 h 336"/>
              <a:gd name="T36" fmla="*/ 1910941896 w 418"/>
              <a:gd name="T37" fmla="*/ 2147483647 h 336"/>
              <a:gd name="T38" fmla="*/ 1910941896 w 418"/>
              <a:gd name="T39" fmla="*/ 2147483647 h 336"/>
              <a:gd name="T40" fmla="*/ 2135760354 w 418"/>
              <a:gd name="T41" fmla="*/ 2147483647 h 336"/>
              <a:gd name="T42" fmla="*/ 2147483647 w 418"/>
              <a:gd name="T43" fmla="*/ 2147483647 h 336"/>
              <a:gd name="T44" fmla="*/ 2147483647 w 418"/>
              <a:gd name="T45" fmla="*/ 1829504434 h 336"/>
              <a:gd name="T46" fmla="*/ 2147483647 w 418"/>
              <a:gd name="T47" fmla="*/ 1604333330 h 336"/>
              <a:gd name="T48" fmla="*/ 2147483647 w 418"/>
              <a:gd name="T49" fmla="*/ 1604333330 h 336"/>
              <a:gd name="T50" fmla="*/ 2147483647 w 418"/>
              <a:gd name="T51" fmla="*/ 1829504434 h 336"/>
              <a:gd name="T52" fmla="*/ 2147483647 w 418"/>
              <a:gd name="T53" fmla="*/ 1435455940 h 336"/>
              <a:gd name="T54" fmla="*/ 2147483647 w 418"/>
              <a:gd name="T55" fmla="*/ 1548043368 h 336"/>
              <a:gd name="T56" fmla="*/ 2147483647 w 418"/>
              <a:gd name="T57" fmla="*/ 1548043368 h 336"/>
              <a:gd name="T58" fmla="*/ 2147483647 w 418"/>
              <a:gd name="T59" fmla="*/ 2147483647 h 336"/>
              <a:gd name="T60" fmla="*/ 2147483647 w 418"/>
              <a:gd name="T61" fmla="*/ 2147483647 h 336"/>
              <a:gd name="T62" fmla="*/ 351276966 w 418"/>
              <a:gd name="T63" fmla="*/ 2147483647 h 336"/>
              <a:gd name="T64" fmla="*/ 224818458 w 418"/>
              <a:gd name="T65" fmla="*/ 2147483647 h 336"/>
              <a:gd name="T66" fmla="*/ 224818458 w 418"/>
              <a:gd name="T67" fmla="*/ 900676913 h 336"/>
              <a:gd name="T68" fmla="*/ 351276966 w 418"/>
              <a:gd name="T69" fmla="*/ 774021684 h 336"/>
              <a:gd name="T70" fmla="*/ 2147483647 w 418"/>
              <a:gd name="T71" fmla="*/ 774021684 h 336"/>
              <a:gd name="T72" fmla="*/ 2147483647 w 418"/>
              <a:gd name="T73" fmla="*/ 900676913 h 336"/>
              <a:gd name="T74" fmla="*/ 2147483647 w 418"/>
              <a:gd name="T75" fmla="*/ 1097701160 h 336"/>
              <a:gd name="T76" fmla="*/ 2147483647 w 418"/>
              <a:gd name="T77" fmla="*/ 1210288588 h 336"/>
              <a:gd name="T78" fmla="*/ 2147483647 w 418"/>
              <a:gd name="T79" fmla="*/ 1097701160 h 336"/>
              <a:gd name="T80" fmla="*/ 2147483647 w 418"/>
              <a:gd name="T81" fmla="*/ 900676913 h 336"/>
              <a:gd name="T82" fmla="*/ 2147483647 w 418"/>
              <a:gd name="T83" fmla="*/ 548850580 h 336"/>
              <a:gd name="T84" fmla="*/ 2147483647 w 418"/>
              <a:gd name="T85" fmla="*/ 548850580 h 336"/>
              <a:gd name="T86" fmla="*/ 2147483647 w 418"/>
              <a:gd name="T87" fmla="*/ 337754780 h 336"/>
              <a:gd name="T88" fmla="*/ 2147483647 w 418"/>
              <a:gd name="T89" fmla="*/ 0 h 336"/>
              <a:gd name="T90" fmla="*/ 2147483647 w 418"/>
              <a:gd name="T91" fmla="*/ 0 h 336"/>
              <a:gd name="T92" fmla="*/ 1854741030 w 418"/>
              <a:gd name="T93" fmla="*/ 337754780 h 336"/>
              <a:gd name="T94" fmla="*/ 1854741030 w 418"/>
              <a:gd name="T95" fmla="*/ 548850580 h 336"/>
              <a:gd name="T96" fmla="*/ 351276966 w 418"/>
              <a:gd name="T97" fmla="*/ 548850580 h 336"/>
              <a:gd name="T98" fmla="*/ 0 w 418"/>
              <a:gd name="T99" fmla="*/ 900676913 h 336"/>
              <a:gd name="T100" fmla="*/ 0 w 418"/>
              <a:gd name="T101" fmla="*/ 2147483647 h 336"/>
              <a:gd name="T102" fmla="*/ 351276966 w 418"/>
              <a:gd name="T103" fmla="*/ 2147483647 h 336"/>
              <a:gd name="T104" fmla="*/ 2147483647 w 418"/>
              <a:gd name="T105" fmla="*/ 2147483647 h 336"/>
              <a:gd name="T106" fmla="*/ 2147483647 w 418"/>
              <a:gd name="T107" fmla="*/ 2147483647 h 336"/>
              <a:gd name="T108" fmla="*/ 2147483647 w 418"/>
              <a:gd name="T109" fmla="*/ 1548043368 h 336"/>
              <a:gd name="T110" fmla="*/ 2147483647 w 418"/>
              <a:gd name="T111" fmla="*/ 1435455940 h 336"/>
              <a:gd name="T112" fmla="*/ 2147483647 w 418"/>
              <a:gd name="T113" fmla="*/ 225171104 h 336"/>
              <a:gd name="T114" fmla="*/ 2147483647 w 418"/>
              <a:gd name="T115" fmla="*/ 225171104 h 336"/>
              <a:gd name="T116" fmla="*/ 2147483647 w 418"/>
              <a:gd name="T117" fmla="*/ 337754780 h 336"/>
              <a:gd name="T118" fmla="*/ 2147483647 w 418"/>
              <a:gd name="T119" fmla="*/ 548850580 h 336"/>
              <a:gd name="T120" fmla="*/ 2079555740 w 418"/>
              <a:gd name="T121" fmla="*/ 548850580 h 336"/>
              <a:gd name="T122" fmla="*/ 2079555740 w 418"/>
              <a:gd name="T123" fmla="*/ 337754780 h 336"/>
              <a:gd name="T124" fmla="*/ 2147483647 w 418"/>
              <a:gd name="T125" fmla="*/ 225171104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chemeClr val="bg1"/>
          </a:solidFill>
          <a:ln>
            <a:noFill/>
          </a:ln>
        </p:spPr>
        <p:txBody>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20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44" name="Freeform 3"/>
          <p:cNvSpPr>
            <a:spLocks noChangeAspect="1" noEditPoints="1"/>
          </p:cNvSpPr>
          <p:nvPr/>
        </p:nvSpPr>
        <p:spPr bwMode="auto">
          <a:xfrm>
            <a:off x="7100962" y="2147475"/>
            <a:ext cx="335545" cy="344402"/>
          </a:xfrm>
          <a:custGeom>
            <a:avLst/>
            <a:gdLst>
              <a:gd name="T0" fmla="*/ 417 w 417"/>
              <a:gd name="T1" fmla="*/ 66 h 428"/>
              <a:gd name="T2" fmla="*/ 396 w 417"/>
              <a:gd name="T3" fmla="*/ 29 h 428"/>
              <a:gd name="T4" fmla="*/ 393 w 417"/>
              <a:gd name="T5" fmla="*/ 40 h 428"/>
              <a:gd name="T6" fmla="*/ 335 w 417"/>
              <a:gd name="T7" fmla="*/ 114 h 428"/>
              <a:gd name="T8" fmla="*/ 366 w 417"/>
              <a:gd name="T9" fmla="*/ 19 h 428"/>
              <a:gd name="T10" fmla="*/ 374 w 417"/>
              <a:gd name="T11" fmla="*/ 22 h 428"/>
              <a:gd name="T12" fmla="*/ 381 w 417"/>
              <a:gd name="T13" fmla="*/ 8 h 428"/>
              <a:gd name="T14" fmla="*/ 351 w 417"/>
              <a:gd name="T15" fmla="*/ 0 h 428"/>
              <a:gd name="T16" fmla="*/ 286 w 417"/>
              <a:gd name="T17" fmla="*/ 55 h 428"/>
              <a:gd name="T18" fmla="*/ 159 w 417"/>
              <a:gd name="T19" fmla="*/ 70 h 428"/>
              <a:gd name="T20" fmla="*/ 139 w 417"/>
              <a:gd name="T21" fmla="*/ 75 h 428"/>
              <a:gd name="T22" fmla="*/ 110 w 417"/>
              <a:gd name="T23" fmla="*/ 58 h 428"/>
              <a:gd name="T24" fmla="*/ 41 w 417"/>
              <a:gd name="T25" fmla="*/ 60 h 428"/>
              <a:gd name="T26" fmla="*/ 0 w 417"/>
              <a:gd name="T27" fmla="*/ 105 h 428"/>
              <a:gd name="T28" fmla="*/ 22 w 417"/>
              <a:gd name="T29" fmla="*/ 127 h 428"/>
              <a:gd name="T30" fmla="*/ 53 w 417"/>
              <a:gd name="T31" fmla="*/ 107 h 428"/>
              <a:gd name="T32" fmla="*/ 111 w 417"/>
              <a:gd name="T33" fmla="*/ 131 h 428"/>
              <a:gd name="T34" fmla="*/ 73 w 417"/>
              <a:gd name="T35" fmla="*/ 182 h 428"/>
              <a:gd name="T36" fmla="*/ 37 w 417"/>
              <a:gd name="T37" fmla="*/ 180 h 428"/>
              <a:gd name="T38" fmla="*/ 29 w 417"/>
              <a:gd name="T39" fmla="*/ 211 h 428"/>
              <a:gd name="T40" fmla="*/ 87 w 417"/>
              <a:gd name="T41" fmla="*/ 228 h 428"/>
              <a:gd name="T42" fmla="*/ 93 w 417"/>
              <a:gd name="T43" fmla="*/ 227 h 428"/>
              <a:gd name="T44" fmla="*/ 151 w 417"/>
              <a:gd name="T45" fmla="*/ 192 h 428"/>
              <a:gd name="T46" fmla="*/ 171 w 417"/>
              <a:gd name="T47" fmla="*/ 165 h 428"/>
              <a:gd name="T48" fmla="*/ 295 w 417"/>
              <a:gd name="T49" fmla="*/ 110 h 428"/>
              <a:gd name="T50" fmla="*/ 212 w 417"/>
              <a:gd name="T51" fmla="*/ 286 h 428"/>
              <a:gd name="T52" fmla="*/ 151 w 417"/>
              <a:gd name="T53" fmla="*/ 415 h 428"/>
              <a:gd name="T54" fmla="*/ 158 w 417"/>
              <a:gd name="T55" fmla="*/ 428 h 428"/>
              <a:gd name="T56" fmla="*/ 409 w 417"/>
              <a:gd name="T57" fmla="*/ 423 h 428"/>
              <a:gd name="T58" fmla="*/ 341 w 417"/>
              <a:gd name="T59" fmla="*/ 304 h 428"/>
              <a:gd name="T60" fmla="*/ 331 w 417"/>
              <a:gd name="T61" fmla="*/ 248 h 428"/>
              <a:gd name="T62" fmla="*/ 413 w 417"/>
              <a:gd name="T63" fmla="*/ 87 h 428"/>
              <a:gd name="T64" fmla="*/ 88 w 417"/>
              <a:gd name="T65" fmla="*/ 93 h 428"/>
              <a:gd name="T66" fmla="*/ 49 w 417"/>
              <a:gd name="T67" fmla="*/ 91 h 428"/>
              <a:gd name="T68" fmla="*/ 27 w 417"/>
              <a:gd name="T69" fmla="*/ 110 h 428"/>
              <a:gd name="T70" fmla="*/ 50 w 417"/>
              <a:gd name="T71" fmla="*/ 74 h 428"/>
              <a:gd name="T72" fmla="*/ 125 w 417"/>
              <a:gd name="T73" fmla="*/ 84 h 428"/>
              <a:gd name="T74" fmla="*/ 93 w 417"/>
              <a:gd name="T75" fmla="*/ 95 h 428"/>
              <a:gd name="T76" fmla="*/ 88 w 417"/>
              <a:gd name="T77" fmla="*/ 212 h 428"/>
              <a:gd name="T78" fmla="*/ 49 w 417"/>
              <a:gd name="T79" fmla="*/ 192 h 428"/>
              <a:gd name="T80" fmla="*/ 79 w 417"/>
              <a:gd name="T81" fmla="*/ 197 h 428"/>
              <a:gd name="T82" fmla="*/ 114 w 417"/>
              <a:gd name="T83" fmla="*/ 173 h 428"/>
              <a:gd name="T84" fmla="*/ 147 w 417"/>
              <a:gd name="T85" fmla="*/ 165 h 428"/>
              <a:gd name="T86" fmla="*/ 167 w 417"/>
              <a:gd name="T87" fmla="*/ 149 h 428"/>
              <a:gd name="T88" fmla="*/ 150 w 417"/>
              <a:gd name="T89" fmla="*/ 88 h 428"/>
              <a:gd name="T90" fmla="*/ 167 w 417"/>
              <a:gd name="T91" fmla="*/ 149 h 428"/>
              <a:gd name="T92" fmla="*/ 205 w 417"/>
              <a:gd name="T93" fmla="*/ 106 h 428"/>
              <a:gd name="T94" fmla="*/ 200 w 417"/>
              <a:gd name="T95" fmla="*/ 95 h 428"/>
              <a:gd name="T96" fmla="*/ 291 w 417"/>
              <a:gd name="T97" fmla="*/ 95 h 428"/>
              <a:gd name="T98" fmla="*/ 278 w 417"/>
              <a:gd name="T99" fmla="*/ 236 h 428"/>
              <a:gd name="T100" fmla="*/ 278 w 417"/>
              <a:gd name="T101" fmla="*/ 337 h 428"/>
              <a:gd name="T102" fmla="*/ 278 w 417"/>
              <a:gd name="T103" fmla="*/ 236 h 428"/>
              <a:gd name="T104" fmla="*/ 388 w 417"/>
              <a:gd name="T105" fmla="*/ 412 h 428"/>
              <a:gd name="T106" fmla="*/ 225 w 417"/>
              <a:gd name="T107" fmla="*/ 326 h 428"/>
              <a:gd name="T108" fmla="*/ 333 w 417"/>
              <a:gd name="T109" fmla="*/ 322 h 428"/>
              <a:gd name="T110" fmla="*/ 278 w 417"/>
              <a:gd name="T111" fmla="*/ 220 h 428"/>
              <a:gd name="T112" fmla="*/ 309 w 417"/>
              <a:gd name="T113" fmla="*/ 118 h 428"/>
              <a:gd name="T114" fmla="*/ 351 w 417"/>
              <a:gd name="T115" fmla="*/ 132 h 428"/>
              <a:gd name="T116" fmla="*/ 353 w 417"/>
              <a:gd name="T117" fmla="*/ 132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chemeClr val="bg1"/>
          </a:solidFill>
          <a:ln>
            <a:noFill/>
          </a:ln>
        </p:spPr>
        <p:txBody>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20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45" name="Freeform 3"/>
          <p:cNvSpPr>
            <a:spLocks noChangeAspect="1" noEditPoints="1"/>
          </p:cNvSpPr>
          <p:nvPr/>
        </p:nvSpPr>
        <p:spPr bwMode="auto">
          <a:xfrm>
            <a:off x="8789087" y="2817898"/>
            <a:ext cx="442939" cy="269158"/>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chemeClr val="bg1"/>
          </a:solidFill>
          <a:ln>
            <a:noFill/>
          </a:ln>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1" i="0" u="none" strike="noStrike" kern="0" cap="none" spc="0" normalizeH="0" baseline="0" noProof="0" dirty="0">
              <a:ln>
                <a:noFill/>
              </a:ln>
              <a:solidFill>
                <a:schemeClr val="bg1"/>
              </a:solidFill>
              <a:effectLst/>
              <a:uLnTx/>
              <a:uFillTx/>
            </a:endParaRPr>
          </a:p>
        </p:txBody>
      </p:sp>
      <p:sp>
        <p:nvSpPr>
          <p:cNvPr id="46" name="TextBox 118"/>
          <p:cNvSpPr txBox="1">
            <a:spLocks noChangeArrowheads="1"/>
          </p:cNvSpPr>
          <p:nvPr/>
        </p:nvSpPr>
        <p:spPr bwMode="auto">
          <a:xfrm>
            <a:off x="7506607" y="2157812"/>
            <a:ext cx="15039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charset="0"/>
              </a:rPr>
              <a:t>Robotics</a:t>
            </a:r>
            <a:endParaRPr kumimoji="0" lang="en-US" altLang="en-US" sz="1800" b="0" i="0" u="none" strike="noStrike" kern="0" cap="none" spc="0" normalizeH="0" baseline="0" noProof="0" dirty="0">
              <a:ln>
                <a:noFill/>
              </a:ln>
              <a:solidFill>
                <a:srgbClr val="58585A"/>
              </a:solidFill>
              <a:effectLst/>
              <a:uLnTx/>
              <a:uFillTx/>
              <a:latin typeface="Arial" charset="0"/>
            </a:endParaRPr>
          </a:p>
        </p:txBody>
      </p:sp>
      <p:sp>
        <p:nvSpPr>
          <p:cNvPr id="47" name="TextBox 118"/>
          <p:cNvSpPr txBox="1">
            <a:spLocks noChangeArrowheads="1"/>
          </p:cNvSpPr>
          <p:nvPr/>
        </p:nvSpPr>
        <p:spPr bwMode="auto">
          <a:xfrm>
            <a:off x="7580733" y="2823384"/>
            <a:ext cx="15039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charset="0"/>
              </a:rPr>
              <a:t>eHealth</a:t>
            </a:r>
            <a:endParaRPr kumimoji="0" lang="en-US" altLang="en-US" sz="1800" b="0" i="0" u="none" strike="noStrike" kern="0" cap="none" spc="0" normalizeH="0" baseline="0" noProof="0" dirty="0">
              <a:ln>
                <a:noFill/>
              </a:ln>
              <a:solidFill>
                <a:srgbClr val="58585A"/>
              </a:solidFill>
              <a:effectLst/>
              <a:uLnTx/>
              <a:uFillTx/>
              <a:latin typeface="Arial" charset="0"/>
            </a:endParaRPr>
          </a:p>
        </p:txBody>
      </p:sp>
      <p:sp>
        <p:nvSpPr>
          <p:cNvPr id="48" name="TextBox 118"/>
          <p:cNvSpPr txBox="1">
            <a:spLocks noChangeArrowheads="1"/>
          </p:cNvSpPr>
          <p:nvPr/>
        </p:nvSpPr>
        <p:spPr bwMode="auto">
          <a:xfrm>
            <a:off x="9188484" y="2139564"/>
            <a:ext cx="150394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charset="0"/>
              </a:rPr>
              <a:t>Enterprise</a:t>
            </a:r>
            <a:br>
              <a:rPr kumimoji="0" lang="en-US" altLang="en-US" sz="1600" b="0" i="0" u="none" strike="noStrike" kern="0" cap="none" spc="0" normalizeH="0" baseline="0" noProof="0" dirty="0">
                <a:ln>
                  <a:noFill/>
                </a:ln>
                <a:solidFill>
                  <a:srgbClr val="FFFFFF"/>
                </a:solidFill>
                <a:effectLst/>
                <a:uLnTx/>
                <a:uFillTx/>
                <a:latin typeface="Arial" charset="0"/>
              </a:rPr>
            </a:br>
            <a:endParaRPr kumimoji="0" lang="en-US" altLang="en-US" sz="1800" b="0" i="0" u="none" strike="noStrike" kern="0" cap="none" spc="0" normalizeH="0" baseline="0" noProof="0" dirty="0">
              <a:ln>
                <a:noFill/>
              </a:ln>
              <a:solidFill>
                <a:srgbClr val="58585A"/>
              </a:solidFill>
              <a:effectLst/>
              <a:uLnTx/>
              <a:uFillTx/>
              <a:latin typeface="Arial" charset="0"/>
            </a:endParaRPr>
          </a:p>
        </p:txBody>
      </p:sp>
      <p:sp>
        <p:nvSpPr>
          <p:cNvPr id="49" name="TextBox 118"/>
          <p:cNvSpPr txBox="1">
            <a:spLocks noChangeArrowheads="1"/>
          </p:cNvSpPr>
          <p:nvPr/>
        </p:nvSpPr>
        <p:spPr bwMode="auto">
          <a:xfrm>
            <a:off x="9251156" y="2780037"/>
            <a:ext cx="15039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charset="0"/>
              </a:rPr>
              <a:t>Transportation</a:t>
            </a:r>
            <a:endParaRPr kumimoji="0" lang="en-US" altLang="en-US" sz="1800" b="0" i="0" u="none" strike="noStrike" kern="0" cap="none" spc="0" normalizeH="0" baseline="0" noProof="0" dirty="0">
              <a:ln>
                <a:noFill/>
              </a:ln>
              <a:solidFill>
                <a:srgbClr val="58585A"/>
              </a:solidFill>
              <a:effectLst/>
              <a:uLnTx/>
              <a:uFillTx/>
              <a:latin typeface="Arial" charset="0"/>
            </a:endParaRPr>
          </a:p>
        </p:txBody>
      </p:sp>
      <p:cxnSp>
        <p:nvCxnSpPr>
          <p:cNvPr id="50" name="Rak 101"/>
          <p:cNvCxnSpPr/>
          <p:nvPr/>
        </p:nvCxnSpPr>
        <p:spPr bwMode="auto">
          <a:xfrm>
            <a:off x="2013804" y="1965929"/>
            <a:ext cx="0" cy="1463071"/>
          </a:xfrm>
          <a:prstGeom prst="line">
            <a:avLst/>
          </a:prstGeom>
          <a:solidFill>
            <a:schemeClr val="accent1"/>
          </a:solidFill>
          <a:ln w="6350" cap="flat" cmpd="sng" algn="ctr">
            <a:solidFill>
              <a:schemeClr val="bg1"/>
            </a:solidFill>
            <a:prstDash val="dash"/>
            <a:round/>
            <a:headEnd type="none" w="med" len="med"/>
            <a:tailEnd type="none" w="med" len="med"/>
          </a:ln>
          <a:effectLst/>
        </p:spPr>
      </p:cxnSp>
      <p:cxnSp>
        <p:nvCxnSpPr>
          <p:cNvPr id="51" name="Rak 101"/>
          <p:cNvCxnSpPr/>
          <p:nvPr/>
        </p:nvCxnSpPr>
        <p:spPr bwMode="auto">
          <a:xfrm>
            <a:off x="3016544" y="1951307"/>
            <a:ext cx="0" cy="1477693"/>
          </a:xfrm>
          <a:prstGeom prst="line">
            <a:avLst/>
          </a:prstGeom>
          <a:solidFill>
            <a:schemeClr val="accent1"/>
          </a:solidFill>
          <a:ln w="6350" cap="flat" cmpd="sng" algn="ctr">
            <a:solidFill>
              <a:schemeClr val="bg1"/>
            </a:solidFill>
            <a:prstDash val="dash"/>
            <a:round/>
            <a:headEnd type="none" w="med" len="med"/>
            <a:tailEnd type="none" w="med" len="med"/>
          </a:ln>
          <a:effectLst/>
        </p:spPr>
      </p:cxnSp>
      <p:pic>
        <p:nvPicPr>
          <p:cNvPr id="52" name="Picture 6" descr="ECON_whit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60"/>
          <p:cNvSpPr/>
          <p:nvPr/>
        </p:nvSpPr>
        <p:spPr bwMode="auto">
          <a:xfrm>
            <a:off x="6657813" y="4270601"/>
            <a:ext cx="4384347" cy="2294667"/>
          </a:xfrm>
          <a:prstGeom prst="roundRect">
            <a:avLst>
              <a:gd name="adj" fmla="val 7446"/>
            </a:avLst>
          </a:prstGeom>
          <a:solidFill>
            <a:srgbClr val="575A5B"/>
          </a:solid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none" lIns="54000" tIns="0" rIns="54000" bIns="3429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Network Slice Blueprints:</a:t>
            </a:r>
            <a:endParaRPr kumimoji="0" lang="en-US" sz="2400" b="0" i="0" u="none" strike="noStrike" kern="0" cap="none" spc="0" normalizeH="0" baseline="0" noProof="0" dirty="0">
              <a:ln>
                <a:noFill/>
              </a:ln>
              <a:solidFill>
                <a:srgbClr val="FFFFFF"/>
              </a:solidFill>
              <a:effectLst/>
              <a:uLnTx/>
              <a:uFillTx/>
            </a:endParaRPr>
          </a:p>
        </p:txBody>
      </p:sp>
      <p:sp>
        <p:nvSpPr>
          <p:cNvPr id="54" name="Rounded Rectangle 119"/>
          <p:cNvSpPr>
            <a:spLocks noChangeArrowheads="1"/>
          </p:cNvSpPr>
          <p:nvPr/>
        </p:nvSpPr>
        <p:spPr bwMode="auto">
          <a:xfrm>
            <a:off x="6792688" y="4617988"/>
            <a:ext cx="1986181" cy="582620"/>
          </a:xfrm>
          <a:prstGeom prst="roundRect">
            <a:avLst>
              <a:gd name="adj" fmla="val 16667"/>
            </a:avLst>
          </a:prstGeom>
          <a:solidFill>
            <a:srgbClr val="00A9D4"/>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55" name="TextBox 118"/>
          <p:cNvSpPr txBox="1">
            <a:spLocks noChangeArrowheads="1"/>
          </p:cNvSpPr>
          <p:nvPr/>
        </p:nvSpPr>
        <p:spPr bwMode="auto">
          <a:xfrm>
            <a:off x="7707855" y="4724632"/>
            <a:ext cx="15039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200" b="0" i="0" u="none" strike="noStrike" kern="0" cap="none" spc="0" normalizeH="0" baseline="0" noProof="0" dirty="0">
                <a:ln>
                  <a:noFill/>
                </a:ln>
                <a:solidFill>
                  <a:srgbClr val="FFFFFF"/>
                </a:solidFill>
                <a:effectLst/>
                <a:uLnTx/>
                <a:uFillTx/>
                <a:latin typeface="Arial" charset="0"/>
              </a:rPr>
              <a:t>Mobile</a:t>
            </a:r>
            <a:br>
              <a:rPr kumimoji="0" lang="en-US" altLang="en-US" sz="1200" b="0" i="0" u="none" strike="noStrike" kern="0" cap="none" spc="0" normalizeH="0" baseline="0" noProof="0" dirty="0">
                <a:ln>
                  <a:noFill/>
                </a:ln>
                <a:solidFill>
                  <a:srgbClr val="FFFFFF"/>
                </a:solidFill>
                <a:effectLst/>
                <a:uLnTx/>
                <a:uFillTx/>
                <a:latin typeface="Arial" charset="0"/>
              </a:rPr>
            </a:br>
            <a:r>
              <a:rPr kumimoji="0" lang="en-US" altLang="en-US" sz="1200" b="0" i="0" u="none" strike="noStrike" kern="0" cap="none" spc="0" normalizeH="0" baseline="0" noProof="0" dirty="0">
                <a:ln>
                  <a:noFill/>
                </a:ln>
                <a:solidFill>
                  <a:srgbClr val="FFFFFF"/>
                </a:solidFill>
                <a:effectLst/>
                <a:uLnTx/>
                <a:uFillTx/>
                <a:latin typeface="Arial" charset="0"/>
              </a:rPr>
              <a:t>Broadband</a:t>
            </a:r>
            <a:endParaRPr kumimoji="0" lang="en-US" altLang="en-US" sz="1400" b="0" i="0" u="none" strike="noStrike" kern="0" cap="none" spc="0" normalizeH="0" baseline="0" noProof="0" dirty="0">
              <a:ln>
                <a:noFill/>
              </a:ln>
              <a:solidFill>
                <a:srgbClr val="58585A"/>
              </a:solidFill>
              <a:effectLst/>
              <a:uLnTx/>
              <a:uFillTx/>
              <a:latin typeface="Arial" charset="0"/>
            </a:endParaRPr>
          </a:p>
        </p:txBody>
      </p:sp>
      <p:sp>
        <p:nvSpPr>
          <p:cNvPr id="56" name="Rounded Rectangle 119"/>
          <p:cNvSpPr>
            <a:spLocks noChangeArrowheads="1"/>
          </p:cNvSpPr>
          <p:nvPr/>
        </p:nvSpPr>
        <p:spPr bwMode="auto">
          <a:xfrm>
            <a:off x="6792688" y="5237113"/>
            <a:ext cx="1986181" cy="582620"/>
          </a:xfrm>
          <a:prstGeom prst="roundRect">
            <a:avLst>
              <a:gd name="adj" fmla="val 16667"/>
            </a:avLst>
          </a:prstGeom>
          <a:solidFill>
            <a:srgbClr val="00A9D4"/>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57" name="TextBox 118"/>
          <p:cNvSpPr txBox="1">
            <a:spLocks noChangeArrowheads="1"/>
          </p:cNvSpPr>
          <p:nvPr/>
        </p:nvSpPr>
        <p:spPr bwMode="auto">
          <a:xfrm>
            <a:off x="7707855" y="5343757"/>
            <a:ext cx="15039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200" b="0" i="0" u="none" strike="noStrike" kern="0" cap="none" spc="0" normalizeH="0" baseline="0" noProof="0" dirty="0">
                <a:ln>
                  <a:noFill/>
                </a:ln>
                <a:solidFill>
                  <a:srgbClr val="FFFFFF"/>
                </a:solidFill>
                <a:effectLst/>
                <a:uLnTx/>
                <a:uFillTx/>
                <a:latin typeface="Arial" charset="0"/>
              </a:rPr>
              <a:t>Industry </a:t>
            </a:r>
            <a:br>
              <a:rPr kumimoji="0" lang="en-US" altLang="en-US" sz="1200" b="0" i="0" u="none" strike="noStrike" kern="0" cap="none" spc="0" normalizeH="0" baseline="0" noProof="0" dirty="0">
                <a:ln>
                  <a:noFill/>
                </a:ln>
                <a:solidFill>
                  <a:srgbClr val="FFFFFF"/>
                </a:solidFill>
                <a:effectLst/>
                <a:uLnTx/>
                <a:uFillTx/>
                <a:latin typeface="Arial" charset="0"/>
              </a:rPr>
            </a:br>
            <a:r>
              <a:rPr kumimoji="0" lang="en-US" altLang="en-US" sz="1200" b="0" i="0" u="none" strike="noStrike" kern="0" cap="none" spc="0" normalizeH="0" baseline="0" noProof="0" dirty="0">
                <a:ln>
                  <a:noFill/>
                </a:ln>
                <a:solidFill>
                  <a:srgbClr val="FFFFFF"/>
                </a:solidFill>
                <a:effectLst/>
                <a:uLnTx/>
                <a:uFillTx/>
                <a:latin typeface="Arial" charset="0"/>
              </a:rPr>
              <a:t>Automation</a:t>
            </a:r>
            <a:endParaRPr kumimoji="0" lang="en-US" altLang="en-US" sz="1400" b="0" i="0" u="none" strike="noStrike" kern="0" cap="none" spc="0" normalizeH="0" baseline="0" noProof="0" dirty="0">
              <a:ln>
                <a:noFill/>
              </a:ln>
              <a:solidFill>
                <a:srgbClr val="58585A"/>
              </a:solidFill>
              <a:effectLst/>
              <a:uLnTx/>
              <a:uFillTx/>
              <a:latin typeface="Arial" charset="0"/>
            </a:endParaRPr>
          </a:p>
        </p:txBody>
      </p:sp>
      <p:sp>
        <p:nvSpPr>
          <p:cNvPr id="58" name="Rounded Rectangle 119"/>
          <p:cNvSpPr>
            <a:spLocks noChangeArrowheads="1"/>
          </p:cNvSpPr>
          <p:nvPr/>
        </p:nvSpPr>
        <p:spPr bwMode="auto">
          <a:xfrm>
            <a:off x="6792688" y="5865763"/>
            <a:ext cx="1986181" cy="582620"/>
          </a:xfrm>
          <a:prstGeom prst="roundRect">
            <a:avLst>
              <a:gd name="adj" fmla="val 16667"/>
            </a:avLst>
          </a:prstGeom>
          <a:solidFill>
            <a:srgbClr val="00A9D4"/>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59" name="TextBox 118"/>
          <p:cNvSpPr txBox="1">
            <a:spLocks noChangeArrowheads="1"/>
          </p:cNvSpPr>
          <p:nvPr/>
        </p:nvSpPr>
        <p:spPr bwMode="auto">
          <a:xfrm>
            <a:off x="7707855" y="5972407"/>
            <a:ext cx="150394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200" b="0" i="0" u="none" strike="noStrike" kern="0" cap="none" spc="0" normalizeH="0" baseline="0" noProof="0" dirty="0">
                <a:ln>
                  <a:noFill/>
                </a:ln>
                <a:solidFill>
                  <a:srgbClr val="FFFFFF"/>
                </a:solidFill>
                <a:effectLst/>
                <a:uLnTx/>
                <a:uFillTx/>
                <a:latin typeface="Arial" charset="0"/>
              </a:rPr>
              <a:t>Media</a:t>
            </a:r>
            <a:endParaRPr kumimoji="0" lang="en-US" altLang="en-US" sz="1400" b="0" i="0" u="none" strike="noStrike" kern="0" cap="none" spc="0" normalizeH="0" baseline="0" noProof="0" dirty="0">
              <a:ln>
                <a:noFill/>
              </a:ln>
              <a:solidFill>
                <a:srgbClr val="58585A"/>
              </a:solidFill>
              <a:effectLst/>
              <a:uLnTx/>
              <a:uFillTx/>
              <a:latin typeface="Arial" charset="0"/>
            </a:endParaRPr>
          </a:p>
        </p:txBody>
      </p:sp>
      <p:sp>
        <p:nvSpPr>
          <p:cNvPr id="60" name="Rounded Rectangle 119"/>
          <p:cNvSpPr>
            <a:spLocks noChangeArrowheads="1"/>
          </p:cNvSpPr>
          <p:nvPr/>
        </p:nvSpPr>
        <p:spPr bwMode="auto">
          <a:xfrm>
            <a:off x="8888188" y="4627513"/>
            <a:ext cx="1986181" cy="582620"/>
          </a:xfrm>
          <a:prstGeom prst="roundRect">
            <a:avLst>
              <a:gd name="adj" fmla="val 16667"/>
            </a:avLst>
          </a:prstGeom>
          <a:solidFill>
            <a:srgbClr val="00A9D4"/>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61" name="TextBox 118"/>
          <p:cNvSpPr txBox="1">
            <a:spLocks noChangeArrowheads="1"/>
          </p:cNvSpPr>
          <p:nvPr/>
        </p:nvSpPr>
        <p:spPr bwMode="auto">
          <a:xfrm>
            <a:off x="9803355" y="4734157"/>
            <a:ext cx="15039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200" b="0" i="0" u="none" strike="noStrike" kern="0" cap="none" spc="0" normalizeH="0" baseline="0" noProof="0" dirty="0">
                <a:ln>
                  <a:noFill/>
                </a:ln>
                <a:solidFill>
                  <a:srgbClr val="FFFFFF"/>
                </a:solidFill>
                <a:effectLst/>
                <a:uLnTx/>
                <a:uFillTx/>
                <a:latin typeface="Arial" charset="0"/>
              </a:rPr>
              <a:t>Enterprise</a:t>
            </a:r>
            <a:br>
              <a:rPr kumimoji="0" lang="en-US" altLang="en-US" sz="1200" b="0" i="0" u="none" strike="noStrike" kern="0" cap="none" spc="0" normalizeH="0" baseline="0" noProof="0" dirty="0">
                <a:ln>
                  <a:noFill/>
                </a:ln>
                <a:solidFill>
                  <a:srgbClr val="FFFFFF"/>
                </a:solidFill>
                <a:effectLst/>
                <a:uLnTx/>
                <a:uFillTx/>
                <a:latin typeface="Arial" charset="0"/>
              </a:rPr>
            </a:br>
            <a:r>
              <a:rPr kumimoji="0" lang="en-US" altLang="en-US" sz="1200" b="0" i="0" u="none" strike="noStrike" kern="0" cap="none" spc="0" normalizeH="0" baseline="0" noProof="0" dirty="0">
                <a:ln>
                  <a:noFill/>
                </a:ln>
                <a:solidFill>
                  <a:srgbClr val="FFFFFF"/>
                </a:solidFill>
                <a:effectLst/>
                <a:uLnTx/>
                <a:uFillTx/>
                <a:latin typeface="Arial" charset="0"/>
              </a:rPr>
              <a:t>Comm.</a:t>
            </a:r>
            <a:endParaRPr kumimoji="0" lang="en-US" altLang="en-US" sz="1400" b="0" i="0" u="none" strike="noStrike" kern="0" cap="none" spc="0" normalizeH="0" baseline="0" noProof="0" dirty="0">
              <a:ln>
                <a:noFill/>
              </a:ln>
              <a:solidFill>
                <a:srgbClr val="58585A"/>
              </a:solidFill>
              <a:effectLst/>
              <a:uLnTx/>
              <a:uFillTx/>
              <a:latin typeface="Arial" charset="0"/>
            </a:endParaRPr>
          </a:p>
        </p:txBody>
      </p:sp>
      <p:sp>
        <p:nvSpPr>
          <p:cNvPr id="62" name="Rounded Rectangle 119"/>
          <p:cNvSpPr>
            <a:spLocks noChangeArrowheads="1"/>
          </p:cNvSpPr>
          <p:nvPr/>
        </p:nvSpPr>
        <p:spPr bwMode="auto">
          <a:xfrm>
            <a:off x="8888188" y="5246638"/>
            <a:ext cx="1986181" cy="582620"/>
          </a:xfrm>
          <a:prstGeom prst="roundRect">
            <a:avLst>
              <a:gd name="adj" fmla="val 16667"/>
            </a:avLst>
          </a:prstGeom>
          <a:solidFill>
            <a:srgbClr val="00A9D4"/>
          </a:solidFill>
          <a:ln w="15875" algn="ctr">
            <a:solidFill>
              <a:schemeClr val="bg1"/>
            </a:solidFill>
            <a:round/>
            <a:headEnd/>
            <a:tailEnd/>
          </a:ln>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noProof="0">
              <a:ln>
                <a:noFill/>
              </a:ln>
              <a:solidFill>
                <a:srgbClr val="58585A"/>
              </a:solidFill>
              <a:effectLst/>
              <a:uLnTx/>
              <a:uFillTx/>
              <a:latin typeface="Arial" charset="0"/>
            </a:endParaRPr>
          </a:p>
        </p:txBody>
      </p:sp>
      <p:sp>
        <p:nvSpPr>
          <p:cNvPr id="63" name="TextBox 118"/>
          <p:cNvSpPr txBox="1">
            <a:spLocks noChangeArrowheads="1"/>
          </p:cNvSpPr>
          <p:nvPr/>
        </p:nvSpPr>
        <p:spPr bwMode="auto">
          <a:xfrm>
            <a:off x="9803355" y="5353282"/>
            <a:ext cx="15039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1200" b="0" i="0" u="none" strike="noStrike" kern="0" cap="none" spc="0" normalizeH="0" baseline="0" noProof="0" dirty="0">
                <a:ln>
                  <a:noFill/>
                </a:ln>
                <a:solidFill>
                  <a:srgbClr val="FFFFFF"/>
                </a:solidFill>
                <a:effectLst/>
                <a:uLnTx/>
                <a:uFillTx/>
                <a:latin typeface="Arial" charset="0"/>
              </a:rPr>
              <a:t>Massive</a:t>
            </a:r>
            <a:br>
              <a:rPr kumimoji="0" lang="en-US" altLang="en-US" sz="1200" b="0" i="0" u="none" strike="noStrike" kern="0" cap="none" spc="0" normalizeH="0" baseline="0" noProof="0" dirty="0">
                <a:ln>
                  <a:noFill/>
                </a:ln>
                <a:solidFill>
                  <a:srgbClr val="FFFFFF"/>
                </a:solidFill>
                <a:effectLst/>
                <a:uLnTx/>
                <a:uFillTx/>
                <a:latin typeface="Arial" charset="0"/>
              </a:rPr>
            </a:br>
            <a:r>
              <a:rPr kumimoji="0" lang="en-US" altLang="en-US" sz="1200" b="0" i="0" u="none" strike="noStrike" kern="0" cap="none" spc="0" normalizeH="0" baseline="0" noProof="0" dirty="0">
                <a:ln>
                  <a:noFill/>
                </a:ln>
                <a:solidFill>
                  <a:srgbClr val="FFFFFF"/>
                </a:solidFill>
                <a:effectLst/>
                <a:uLnTx/>
                <a:uFillTx/>
                <a:latin typeface="Arial" charset="0"/>
              </a:rPr>
              <a:t>Sensors.</a:t>
            </a:r>
            <a:endParaRPr kumimoji="0" lang="en-US" altLang="en-US" sz="1400" b="0" i="0" u="none" strike="noStrike" kern="0" cap="none" spc="0" normalizeH="0" baseline="0" noProof="0" dirty="0">
              <a:ln>
                <a:noFill/>
              </a:ln>
              <a:solidFill>
                <a:srgbClr val="58585A"/>
              </a:solidFill>
              <a:effectLst/>
              <a:uLnTx/>
              <a:uFillTx/>
              <a:latin typeface="Arial" charset="0"/>
            </a:endParaRPr>
          </a:p>
        </p:txBody>
      </p:sp>
      <p:sp>
        <p:nvSpPr>
          <p:cNvPr id="64" name="TextBox 63"/>
          <p:cNvSpPr txBox="1"/>
          <p:nvPr/>
        </p:nvSpPr>
        <p:spPr>
          <a:xfrm>
            <a:off x="8952234" y="5930524"/>
            <a:ext cx="441146"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a:t>
            </a:r>
          </a:p>
        </p:txBody>
      </p:sp>
      <p:sp>
        <p:nvSpPr>
          <p:cNvPr id="65" name="Freeform 3"/>
          <p:cNvSpPr>
            <a:spLocks noChangeAspect="1" noEditPoints="1"/>
          </p:cNvSpPr>
          <p:nvPr/>
        </p:nvSpPr>
        <p:spPr bwMode="auto">
          <a:xfrm>
            <a:off x="6880107" y="4669501"/>
            <a:ext cx="724915" cy="479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3"/>
          <p:cNvSpPr>
            <a:spLocks noChangeAspect="1" noEditPoints="1"/>
          </p:cNvSpPr>
          <p:nvPr/>
        </p:nvSpPr>
        <p:spPr bwMode="auto">
          <a:xfrm>
            <a:off x="6880107" y="5288626"/>
            <a:ext cx="724915" cy="479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3"/>
          <p:cNvSpPr>
            <a:spLocks noChangeAspect="1" noEditPoints="1"/>
          </p:cNvSpPr>
          <p:nvPr/>
        </p:nvSpPr>
        <p:spPr bwMode="auto">
          <a:xfrm>
            <a:off x="6880107" y="5917276"/>
            <a:ext cx="724915" cy="479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3"/>
          <p:cNvSpPr>
            <a:spLocks noChangeAspect="1" noEditPoints="1"/>
          </p:cNvSpPr>
          <p:nvPr/>
        </p:nvSpPr>
        <p:spPr bwMode="auto">
          <a:xfrm>
            <a:off x="8975607" y="4679026"/>
            <a:ext cx="724915" cy="479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3"/>
          <p:cNvSpPr>
            <a:spLocks noChangeAspect="1" noEditPoints="1"/>
          </p:cNvSpPr>
          <p:nvPr/>
        </p:nvSpPr>
        <p:spPr bwMode="auto">
          <a:xfrm>
            <a:off x="8975607" y="5298151"/>
            <a:ext cx="724915" cy="479594"/>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TextBox 69"/>
          <p:cNvSpPr txBox="1"/>
          <p:nvPr/>
        </p:nvSpPr>
        <p:spPr>
          <a:xfrm>
            <a:off x="1288588" y="4186438"/>
            <a:ext cx="2916183"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Network</a:t>
            </a:r>
            <a:r>
              <a:rPr kumimoji="0" lang="en-US" sz="1800" b="0" i="0" u="none" strike="noStrike" kern="0" cap="none" spc="0" normalizeH="0" noProof="0" dirty="0">
                <a:ln>
                  <a:noFill/>
                </a:ln>
                <a:solidFill>
                  <a:schemeClr val="bg1"/>
                </a:solidFill>
                <a:effectLst/>
                <a:uLnTx/>
                <a:uFillTx/>
              </a:rPr>
              <a:t> Slice Governance</a:t>
            </a:r>
            <a:endParaRPr kumimoji="0" lang="en-US" sz="1800" b="0" i="0" u="none" strike="noStrike" kern="0" cap="none" spc="0" normalizeH="0" baseline="0" noProof="0" dirty="0">
              <a:ln>
                <a:noFill/>
              </a:ln>
              <a:solidFill>
                <a:schemeClr val="bg1"/>
              </a:solidFill>
              <a:effectLst/>
              <a:uLnTx/>
              <a:uFillTx/>
            </a:endParaRPr>
          </a:p>
        </p:txBody>
      </p:sp>
      <p:sp>
        <p:nvSpPr>
          <p:cNvPr id="71" name="TextBox 70"/>
          <p:cNvSpPr txBox="1"/>
          <p:nvPr/>
        </p:nvSpPr>
        <p:spPr>
          <a:xfrm>
            <a:off x="1613083" y="1542886"/>
            <a:ext cx="208262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dirty="0" err="1">
                <a:solidFill>
                  <a:schemeClr val="bg1"/>
                </a:solidFill>
              </a:rPr>
              <a:t>NaaS</a:t>
            </a:r>
            <a:r>
              <a:rPr lang="en-US" sz="1800" kern="0" dirty="0">
                <a:solidFill>
                  <a:schemeClr val="bg1"/>
                </a:solidFill>
              </a:rPr>
              <a:t> Governance</a:t>
            </a:r>
            <a:endParaRPr kumimoji="0" lang="en-US" sz="18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180961976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NF Lifecycle Management</a:t>
            </a:r>
            <a:br>
              <a:rPr lang="en-US" dirty="0"/>
            </a:br>
            <a:r>
              <a:rPr lang="en-US" sz="3000" dirty="0">
                <a:latin typeface="+mn-lt"/>
              </a:rPr>
              <a:t>VNF Packaging</a:t>
            </a:r>
            <a:endParaRPr lang="en-US" dirty="0">
              <a:latin typeface="+mn-lt"/>
            </a:endParaRPr>
          </a:p>
        </p:txBody>
      </p:sp>
      <p:sp>
        <p:nvSpPr>
          <p:cNvPr id="4" name="Content Placeholder 1"/>
          <p:cNvSpPr txBox="1">
            <a:spLocks/>
          </p:cNvSpPr>
          <p:nvPr/>
        </p:nvSpPr>
        <p:spPr bwMode="auto">
          <a:xfrm>
            <a:off x="529168"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dirty="0"/>
              <a:t>VNF package =</a:t>
            </a:r>
          </a:p>
          <a:p>
            <a:pPr lvl="1"/>
            <a:r>
              <a:rPr lang="en-US" kern="0" dirty="0"/>
              <a:t>Image		The VNF SW</a:t>
            </a:r>
          </a:p>
          <a:p>
            <a:pPr lvl="1"/>
            <a:r>
              <a:rPr lang="en-US" kern="0" dirty="0"/>
              <a:t>Template		Recipe to create VNF (what VMs, how they connect, etc.)</a:t>
            </a:r>
          </a:p>
          <a:p>
            <a:endParaRPr lang="en-US" kern="0" dirty="0"/>
          </a:p>
          <a:p>
            <a:r>
              <a:rPr lang="en-US" kern="0" dirty="0"/>
              <a:t>Main template formats:</a:t>
            </a:r>
          </a:p>
          <a:p>
            <a:pPr lvl="1"/>
            <a:r>
              <a:rPr lang="en-US" kern="0" dirty="0"/>
              <a:t>OVF		Open Source format standardized by DMTF </a:t>
            </a:r>
            <a:br>
              <a:rPr lang="en-US" kern="0" dirty="0"/>
            </a:br>
            <a:r>
              <a:rPr lang="en-US" kern="0" dirty="0"/>
              <a:t>			(Distributed Management Task Force)</a:t>
            </a:r>
          </a:p>
          <a:p>
            <a:pPr lvl="1"/>
            <a:r>
              <a:rPr lang="en-US" kern="0" dirty="0"/>
              <a:t>HOT		OpenStack native format</a:t>
            </a:r>
          </a:p>
          <a:p>
            <a:pPr lvl="1"/>
            <a:r>
              <a:rPr lang="en-US" kern="0" dirty="0"/>
              <a:t>ETSI VNFD	Ready 17H2. Based on the </a:t>
            </a:r>
            <a:r>
              <a:rPr lang="en-US" i="1" kern="0" dirty="0"/>
              <a:t>TOSCA modelling language</a:t>
            </a:r>
            <a:r>
              <a:rPr lang="en-US" kern="0" dirty="0"/>
              <a:t>.</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4990" y="3772203"/>
            <a:ext cx="1042663" cy="412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7367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2"/>
          <p:cNvSpPr>
            <a:spLocks noGrp="1"/>
          </p:cNvSpPr>
          <p:nvPr>
            <p:ph type="title"/>
          </p:nvPr>
        </p:nvSpPr>
        <p:spPr>
          <a:xfrm>
            <a:off x="524935" y="239714"/>
            <a:ext cx="9992784" cy="1085371"/>
          </a:xfrm>
        </p:spPr>
        <p:txBody>
          <a:bodyPr/>
          <a:lstStyle/>
          <a:p>
            <a:pPr>
              <a:defRPr/>
            </a:pPr>
            <a:r>
              <a:rPr lang="en-US" dirty="0">
                <a:solidFill>
                  <a:srgbClr val="FFFFFF"/>
                </a:solidFill>
              </a:rPr>
              <a:t>Life cycle Management</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9"/>
          <p:cNvSpPr>
            <a:spLocks noChangeAspect="1"/>
          </p:cNvSpPr>
          <p:nvPr/>
        </p:nvSpPr>
        <p:spPr bwMode="auto">
          <a:xfrm>
            <a:off x="6273137" y="1509486"/>
            <a:ext cx="3525838" cy="1701800"/>
          </a:xfrm>
          <a:custGeom>
            <a:avLst/>
            <a:gdLst>
              <a:gd name="T0" fmla="*/ 2147483647 w 940"/>
              <a:gd name="T1" fmla="*/ 2147483647 h 454"/>
              <a:gd name="T2" fmla="*/ 2147483647 w 940"/>
              <a:gd name="T3" fmla="*/ 2147483647 h 454"/>
              <a:gd name="T4" fmla="*/ 0 w 940"/>
              <a:gd name="T5" fmla="*/ 2147483647 h 454"/>
              <a:gd name="T6" fmla="*/ 2147483647 w 940"/>
              <a:gd name="T7" fmla="*/ 2147483647 h 454"/>
              <a:gd name="T8" fmla="*/ 2147483647 w 940"/>
              <a:gd name="T9" fmla="*/ 2147483647 h 454"/>
              <a:gd name="T10" fmla="*/ 2147483647 w 940"/>
              <a:gd name="T11" fmla="*/ 2147483647 h 454"/>
              <a:gd name="T12" fmla="*/ 2147483647 w 940"/>
              <a:gd name="T13" fmla="*/ 2147483647 h 454"/>
              <a:gd name="T14" fmla="*/ 2147483647 w 940"/>
              <a:gd name="T15" fmla="*/ 2147483647 h 454"/>
              <a:gd name="T16" fmla="*/ 2147483647 w 940"/>
              <a:gd name="T17" fmla="*/ 2147483647 h 454"/>
              <a:gd name="T18" fmla="*/ 0 w 940"/>
              <a:gd name="T19" fmla="*/ 2147483647 h 454"/>
              <a:gd name="T20" fmla="*/ 2147483647 w 940"/>
              <a:gd name="T21" fmla="*/ 2147483647 h 454"/>
              <a:gd name="T22" fmla="*/ 2147483647 w 940"/>
              <a:gd name="T23" fmla="*/ 2147483647 h 454"/>
              <a:gd name="T24" fmla="*/ 2147483647 w 940"/>
              <a:gd name="T25" fmla="*/ 2147483647 h 454"/>
              <a:gd name="T26" fmla="*/ 2147483647 w 940"/>
              <a:gd name="T27" fmla="*/ 2147483647 h 454"/>
              <a:gd name="T28" fmla="*/ 2147483647 w 940"/>
              <a:gd name="T29" fmla="*/ 2147483647 h 454"/>
              <a:gd name="T30" fmla="*/ 2147483647 w 940"/>
              <a:gd name="T31" fmla="*/ 2147483647 h 454"/>
              <a:gd name="T32" fmla="*/ 2147483647 w 940"/>
              <a:gd name="T33" fmla="*/ 2147483647 h 454"/>
              <a:gd name="T34" fmla="*/ 2147483647 w 940"/>
              <a:gd name="T35" fmla="*/ 2147483647 h 454"/>
              <a:gd name="T36" fmla="*/ 2147483647 w 940"/>
              <a:gd name="T37" fmla="*/ 2147483647 h 454"/>
              <a:gd name="T38" fmla="*/ 2147483647 w 940"/>
              <a:gd name="T39" fmla="*/ 2147483647 h 454"/>
              <a:gd name="T40" fmla="*/ 2147483647 w 940"/>
              <a:gd name="T41" fmla="*/ 2147483647 h 454"/>
              <a:gd name="T42" fmla="*/ 2147483647 w 940"/>
              <a:gd name="T43" fmla="*/ 2147483647 h 454"/>
              <a:gd name="T44" fmla="*/ 2147483647 w 940"/>
              <a:gd name="T45" fmla="*/ 2147483647 h 454"/>
              <a:gd name="T46" fmla="*/ 2147483647 w 940"/>
              <a:gd name="T47" fmla="*/ 2147483647 h 454"/>
              <a:gd name="T48" fmla="*/ 2147483647 w 940"/>
              <a:gd name="T49" fmla="*/ 2147483647 h 454"/>
              <a:gd name="T50" fmla="*/ 2147483647 w 940"/>
              <a:gd name="T51" fmla="*/ 2147483647 h 454"/>
              <a:gd name="T52" fmla="*/ 2147483647 w 940"/>
              <a:gd name="T53" fmla="*/ 2147483647 h 454"/>
              <a:gd name="T54" fmla="*/ 2147483647 w 940"/>
              <a:gd name="T55" fmla="*/ 2147483647 h 454"/>
              <a:gd name="T56" fmla="*/ 2147483647 w 940"/>
              <a:gd name="T57" fmla="*/ 2147483647 h 454"/>
              <a:gd name="T58" fmla="*/ 2147483647 w 940"/>
              <a:gd name="T59" fmla="*/ 2147483647 h 454"/>
              <a:gd name="T60" fmla="*/ 2147483647 w 940"/>
              <a:gd name="T61" fmla="*/ 2147483647 h 454"/>
              <a:gd name="T62" fmla="*/ 2147483647 w 940"/>
              <a:gd name="T63" fmla="*/ 2147483647 h 454"/>
              <a:gd name="T64" fmla="*/ 2147483647 w 940"/>
              <a:gd name="T65" fmla="*/ 2147483647 h 454"/>
              <a:gd name="T66" fmla="*/ 2147483647 w 940"/>
              <a:gd name="T67" fmla="*/ 2147483647 h 454"/>
              <a:gd name="T68" fmla="*/ 2147483647 w 940"/>
              <a:gd name="T69" fmla="*/ 2147483647 h 454"/>
              <a:gd name="T70" fmla="*/ 2147483647 w 940"/>
              <a:gd name="T71" fmla="*/ 2147483647 h 454"/>
              <a:gd name="T72" fmla="*/ 2147483647 w 940"/>
              <a:gd name="T73" fmla="*/ 2147483647 h 454"/>
              <a:gd name="T74" fmla="*/ 2147483647 w 940"/>
              <a:gd name="T75" fmla="*/ 2147483647 h 454"/>
              <a:gd name="T76" fmla="*/ 2147483647 w 940"/>
              <a:gd name="T77" fmla="*/ 2147483647 h 454"/>
              <a:gd name="T78" fmla="*/ 2147483647 w 940"/>
              <a:gd name="T79" fmla="*/ 2147483647 h 454"/>
              <a:gd name="T80" fmla="*/ 2147483647 w 940"/>
              <a:gd name="T81" fmla="*/ 2147483647 h 454"/>
              <a:gd name="T82" fmla="*/ 2147483647 w 940"/>
              <a:gd name="T83" fmla="*/ 2147483647 h 454"/>
              <a:gd name="T84" fmla="*/ 2147483647 w 940"/>
              <a:gd name="T85" fmla="*/ 2147483647 h 4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0"/>
              <a:gd name="T130" fmla="*/ 0 h 454"/>
              <a:gd name="T131" fmla="*/ 940 w 940"/>
              <a:gd name="T132" fmla="*/ 454 h 4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0" h="454">
                <a:moveTo>
                  <a:pt x="792" y="447"/>
                </a:moveTo>
                <a:cubicBezTo>
                  <a:pt x="788" y="442"/>
                  <a:pt x="785" y="436"/>
                  <a:pt x="785" y="428"/>
                </a:cubicBezTo>
                <a:cubicBezTo>
                  <a:pt x="785" y="428"/>
                  <a:pt x="785" y="428"/>
                  <a:pt x="785" y="428"/>
                </a:cubicBezTo>
                <a:cubicBezTo>
                  <a:pt x="785" y="426"/>
                  <a:pt x="785" y="423"/>
                  <a:pt x="785" y="420"/>
                </a:cubicBezTo>
                <a:cubicBezTo>
                  <a:pt x="785" y="420"/>
                  <a:pt x="785" y="420"/>
                  <a:pt x="785" y="420"/>
                </a:cubicBezTo>
                <a:cubicBezTo>
                  <a:pt x="22" y="420"/>
                  <a:pt x="22" y="420"/>
                  <a:pt x="22" y="420"/>
                </a:cubicBezTo>
                <a:cubicBezTo>
                  <a:pt x="16" y="420"/>
                  <a:pt x="11" y="418"/>
                  <a:pt x="6" y="414"/>
                </a:cubicBezTo>
                <a:cubicBezTo>
                  <a:pt x="6" y="414"/>
                  <a:pt x="6" y="414"/>
                  <a:pt x="6" y="414"/>
                </a:cubicBezTo>
                <a:cubicBezTo>
                  <a:pt x="2" y="410"/>
                  <a:pt x="0" y="404"/>
                  <a:pt x="0" y="398"/>
                </a:cubicBezTo>
                <a:cubicBezTo>
                  <a:pt x="0" y="398"/>
                  <a:pt x="0" y="398"/>
                  <a:pt x="0" y="398"/>
                </a:cubicBezTo>
                <a:cubicBezTo>
                  <a:pt x="0" y="393"/>
                  <a:pt x="1" y="389"/>
                  <a:pt x="3" y="386"/>
                </a:cubicBezTo>
                <a:cubicBezTo>
                  <a:pt x="3" y="386"/>
                  <a:pt x="3" y="386"/>
                  <a:pt x="3" y="386"/>
                </a:cubicBezTo>
                <a:cubicBezTo>
                  <a:pt x="3" y="386"/>
                  <a:pt x="22" y="351"/>
                  <a:pt x="41" y="316"/>
                </a:cubicBezTo>
                <a:cubicBezTo>
                  <a:pt x="41" y="316"/>
                  <a:pt x="41" y="316"/>
                  <a:pt x="41" y="316"/>
                </a:cubicBezTo>
                <a:cubicBezTo>
                  <a:pt x="61" y="280"/>
                  <a:pt x="81" y="243"/>
                  <a:pt x="82" y="240"/>
                </a:cubicBezTo>
                <a:cubicBezTo>
                  <a:pt x="82" y="240"/>
                  <a:pt x="82" y="240"/>
                  <a:pt x="82" y="240"/>
                </a:cubicBezTo>
                <a:cubicBezTo>
                  <a:pt x="85" y="235"/>
                  <a:pt x="86" y="233"/>
                  <a:pt x="86" y="232"/>
                </a:cubicBezTo>
                <a:cubicBezTo>
                  <a:pt x="86" y="232"/>
                  <a:pt x="86" y="232"/>
                  <a:pt x="86" y="232"/>
                </a:cubicBezTo>
                <a:cubicBezTo>
                  <a:pt x="87" y="231"/>
                  <a:pt x="87" y="231"/>
                  <a:pt x="87" y="227"/>
                </a:cubicBezTo>
                <a:cubicBezTo>
                  <a:pt x="87" y="227"/>
                  <a:pt x="87" y="227"/>
                  <a:pt x="87" y="227"/>
                </a:cubicBezTo>
                <a:cubicBezTo>
                  <a:pt x="87" y="224"/>
                  <a:pt x="87" y="223"/>
                  <a:pt x="86" y="222"/>
                </a:cubicBezTo>
                <a:cubicBezTo>
                  <a:pt x="86" y="222"/>
                  <a:pt x="86" y="222"/>
                  <a:pt x="86" y="222"/>
                </a:cubicBezTo>
                <a:cubicBezTo>
                  <a:pt x="86" y="221"/>
                  <a:pt x="85" y="219"/>
                  <a:pt x="82" y="214"/>
                </a:cubicBezTo>
                <a:cubicBezTo>
                  <a:pt x="82" y="214"/>
                  <a:pt x="82" y="214"/>
                  <a:pt x="82" y="214"/>
                </a:cubicBezTo>
                <a:cubicBezTo>
                  <a:pt x="81" y="211"/>
                  <a:pt x="61" y="174"/>
                  <a:pt x="41" y="139"/>
                </a:cubicBezTo>
                <a:cubicBezTo>
                  <a:pt x="41" y="139"/>
                  <a:pt x="41" y="139"/>
                  <a:pt x="41" y="139"/>
                </a:cubicBezTo>
                <a:cubicBezTo>
                  <a:pt x="22" y="103"/>
                  <a:pt x="3" y="68"/>
                  <a:pt x="2" y="68"/>
                </a:cubicBezTo>
                <a:cubicBezTo>
                  <a:pt x="2" y="68"/>
                  <a:pt x="2" y="68"/>
                  <a:pt x="2" y="68"/>
                </a:cubicBezTo>
                <a:cubicBezTo>
                  <a:pt x="1" y="65"/>
                  <a:pt x="0" y="61"/>
                  <a:pt x="0" y="56"/>
                </a:cubicBezTo>
                <a:cubicBezTo>
                  <a:pt x="0" y="56"/>
                  <a:pt x="0" y="56"/>
                  <a:pt x="0" y="56"/>
                </a:cubicBezTo>
                <a:cubicBezTo>
                  <a:pt x="0" y="50"/>
                  <a:pt x="2" y="44"/>
                  <a:pt x="6" y="40"/>
                </a:cubicBezTo>
                <a:cubicBezTo>
                  <a:pt x="6" y="40"/>
                  <a:pt x="6" y="40"/>
                  <a:pt x="6" y="40"/>
                </a:cubicBezTo>
                <a:cubicBezTo>
                  <a:pt x="11" y="36"/>
                  <a:pt x="16" y="34"/>
                  <a:pt x="22" y="34"/>
                </a:cubicBezTo>
                <a:cubicBezTo>
                  <a:pt x="22" y="34"/>
                  <a:pt x="22" y="34"/>
                  <a:pt x="22" y="34"/>
                </a:cubicBezTo>
                <a:cubicBezTo>
                  <a:pt x="785" y="34"/>
                  <a:pt x="785" y="34"/>
                  <a:pt x="785" y="34"/>
                </a:cubicBezTo>
                <a:cubicBezTo>
                  <a:pt x="785" y="31"/>
                  <a:pt x="785" y="28"/>
                  <a:pt x="785" y="26"/>
                </a:cubicBezTo>
                <a:cubicBezTo>
                  <a:pt x="785" y="26"/>
                  <a:pt x="785" y="26"/>
                  <a:pt x="785" y="26"/>
                </a:cubicBezTo>
                <a:cubicBezTo>
                  <a:pt x="785" y="19"/>
                  <a:pt x="788" y="12"/>
                  <a:pt x="792" y="7"/>
                </a:cubicBezTo>
                <a:cubicBezTo>
                  <a:pt x="792" y="7"/>
                  <a:pt x="792" y="7"/>
                  <a:pt x="792" y="7"/>
                </a:cubicBezTo>
                <a:cubicBezTo>
                  <a:pt x="796" y="3"/>
                  <a:pt x="801" y="0"/>
                  <a:pt x="807" y="0"/>
                </a:cubicBezTo>
                <a:cubicBezTo>
                  <a:pt x="807" y="0"/>
                  <a:pt x="807" y="0"/>
                  <a:pt x="807" y="0"/>
                </a:cubicBezTo>
                <a:cubicBezTo>
                  <a:pt x="815" y="0"/>
                  <a:pt x="823" y="5"/>
                  <a:pt x="828" y="13"/>
                </a:cubicBezTo>
                <a:cubicBezTo>
                  <a:pt x="828" y="13"/>
                  <a:pt x="828" y="13"/>
                  <a:pt x="828" y="13"/>
                </a:cubicBezTo>
                <a:cubicBezTo>
                  <a:pt x="829" y="15"/>
                  <a:pt x="832" y="21"/>
                  <a:pt x="837" y="30"/>
                </a:cubicBezTo>
                <a:cubicBezTo>
                  <a:pt x="837" y="30"/>
                  <a:pt x="837" y="30"/>
                  <a:pt x="837" y="30"/>
                </a:cubicBezTo>
                <a:cubicBezTo>
                  <a:pt x="837" y="30"/>
                  <a:pt x="837" y="30"/>
                  <a:pt x="837" y="30"/>
                </a:cubicBezTo>
                <a:cubicBezTo>
                  <a:pt x="839" y="34"/>
                  <a:pt x="838" y="39"/>
                  <a:pt x="834" y="41"/>
                </a:cubicBezTo>
                <a:cubicBezTo>
                  <a:pt x="834" y="41"/>
                  <a:pt x="834" y="41"/>
                  <a:pt x="834" y="41"/>
                </a:cubicBezTo>
                <a:cubicBezTo>
                  <a:pt x="830" y="43"/>
                  <a:pt x="825" y="41"/>
                  <a:pt x="823" y="38"/>
                </a:cubicBezTo>
                <a:cubicBezTo>
                  <a:pt x="823" y="38"/>
                  <a:pt x="823" y="38"/>
                  <a:pt x="823" y="38"/>
                </a:cubicBezTo>
                <a:cubicBezTo>
                  <a:pt x="818" y="29"/>
                  <a:pt x="815" y="22"/>
                  <a:pt x="814" y="21"/>
                </a:cubicBezTo>
                <a:cubicBezTo>
                  <a:pt x="814" y="21"/>
                  <a:pt x="814" y="21"/>
                  <a:pt x="814" y="21"/>
                </a:cubicBezTo>
                <a:cubicBezTo>
                  <a:pt x="811" y="17"/>
                  <a:pt x="809" y="16"/>
                  <a:pt x="807" y="16"/>
                </a:cubicBezTo>
                <a:cubicBezTo>
                  <a:pt x="807" y="16"/>
                  <a:pt x="807" y="16"/>
                  <a:pt x="807" y="16"/>
                </a:cubicBezTo>
                <a:cubicBezTo>
                  <a:pt x="805" y="16"/>
                  <a:pt x="802" y="17"/>
                  <a:pt x="801" y="26"/>
                </a:cubicBezTo>
                <a:cubicBezTo>
                  <a:pt x="801" y="26"/>
                  <a:pt x="801" y="26"/>
                  <a:pt x="801" y="26"/>
                </a:cubicBezTo>
                <a:cubicBezTo>
                  <a:pt x="801" y="30"/>
                  <a:pt x="801" y="36"/>
                  <a:pt x="801" y="42"/>
                </a:cubicBezTo>
                <a:cubicBezTo>
                  <a:pt x="801" y="42"/>
                  <a:pt x="801" y="42"/>
                  <a:pt x="801" y="42"/>
                </a:cubicBezTo>
                <a:cubicBezTo>
                  <a:pt x="801" y="47"/>
                  <a:pt x="798" y="50"/>
                  <a:pt x="793" y="50"/>
                </a:cubicBezTo>
                <a:cubicBezTo>
                  <a:pt x="793" y="50"/>
                  <a:pt x="793" y="50"/>
                  <a:pt x="793" y="50"/>
                </a:cubicBezTo>
                <a:cubicBezTo>
                  <a:pt x="22" y="50"/>
                  <a:pt x="22" y="50"/>
                  <a:pt x="22" y="50"/>
                </a:cubicBezTo>
                <a:cubicBezTo>
                  <a:pt x="19" y="50"/>
                  <a:pt x="18" y="51"/>
                  <a:pt x="17" y="52"/>
                </a:cubicBezTo>
                <a:cubicBezTo>
                  <a:pt x="17" y="52"/>
                  <a:pt x="17" y="52"/>
                  <a:pt x="17" y="52"/>
                </a:cubicBezTo>
                <a:cubicBezTo>
                  <a:pt x="17" y="53"/>
                  <a:pt x="16" y="53"/>
                  <a:pt x="16" y="56"/>
                </a:cubicBezTo>
                <a:cubicBezTo>
                  <a:pt x="16" y="56"/>
                  <a:pt x="16" y="56"/>
                  <a:pt x="16" y="56"/>
                </a:cubicBezTo>
                <a:cubicBezTo>
                  <a:pt x="16" y="58"/>
                  <a:pt x="16" y="60"/>
                  <a:pt x="17" y="60"/>
                </a:cubicBezTo>
                <a:cubicBezTo>
                  <a:pt x="17" y="60"/>
                  <a:pt x="17" y="60"/>
                  <a:pt x="17" y="60"/>
                </a:cubicBezTo>
                <a:cubicBezTo>
                  <a:pt x="17" y="60"/>
                  <a:pt x="93" y="199"/>
                  <a:pt x="96" y="207"/>
                </a:cubicBezTo>
                <a:cubicBezTo>
                  <a:pt x="96" y="207"/>
                  <a:pt x="96" y="207"/>
                  <a:pt x="96" y="207"/>
                </a:cubicBezTo>
                <a:cubicBezTo>
                  <a:pt x="99" y="211"/>
                  <a:pt x="100" y="214"/>
                  <a:pt x="102" y="217"/>
                </a:cubicBezTo>
                <a:cubicBezTo>
                  <a:pt x="102" y="217"/>
                  <a:pt x="102" y="217"/>
                  <a:pt x="102" y="217"/>
                </a:cubicBezTo>
                <a:cubicBezTo>
                  <a:pt x="103" y="221"/>
                  <a:pt x="103" y="224"/>
                  <a:pt x="103" y="227"/>
                </a:cubicBezTo>
                <a:cubicBezTo>
                  <a:pt x="103" y="227"/>
                  <a:pt x="103" y="227"/>
                  <a:pt x="103" y="227"/>
                </a:cubicBezTo>
                <a:cubicBezTo>
                  <a:pt x="103" y="231"/>
                  <a:pt x="103" y="234"/>
                  <a:pt x="102" y="237"/>
                </a:cubicBezTo>
                <a:cubicBezTo>
                  <a:pt x="102" y="237"/>
                  <a:pt x="102" y="237"/>
                  <a:pt x="102" y="237"/>
                </a:cubicBezTo>
                <a:cubicBezTo>
                  <a:pt x="100" y="240"/>
                  <a:pt x="99" y="243"/>
                  <a:pt x="96" y="248"/>
                </a:cubicBezTo>
                <a:cubicBezTo>
                  <a:pt x="96" y="248"/>
                  <a:pt x="96" y="248"/>
                  <a:pt x="96" y="248"/>
                </a:cubicBezTo>
                <a:cubicBezTo>
                  <a:pt x="93" y="255"/>
                  <a:pt x="17" y="394"/>
                  <a:pt x="17" y="394"/>
                </a:cubicBezTo>
                <a:cubicBezTo>
                  <a:pt x="17" y="394"/>
                  <a:pt x="17" y="394"/>
                  <a:pt x="17" y="394"/>
                </a:cubicBezTo>
                <a:cubicBezTo>
                  <a:pt x="16" y="395"/>
                  <a:pt x="16" y="396"/>
                  <a:pt x="16" y="398"/>
                </a:cubicBezTo>
                <a:cubicBezTo>
                  <a:pt x="16" y="398"/>
                  <a:pt x="16" y="398"/>
                  <a:pt x="16" y="398"/>
                </a:cubicBezTo>
                <a:cubicBezTo>
                  <a:pt x="16" y="401"/>
                  <a:pt x="17" y="402"/>
                  <a:pt x="17" y="402"/>
                </a:cubicBezTo>
                <a:cubicBezTo>
                  <a:pt x="17" y="402"/>
                  <a:pt x="17" y="402"/>
                  <a:pt x="17" y="402"/>
                </a:cubicBezTo>
                <a:cubicBezTo>
                  <a:pt x="18" y="403"/>
                  <a:pt x="19" y="404"/>
                  <a:pt x="22" y="404"/>
                </a:cubicBezTo>
                <a:cubicBezTo>
                  <a:pt x="22" y="404"/>
                  <a:pt x="22" y="404"/>
                  <a:pt x="22" y="404"/>
                </a:cubicBezTo>
                <a:cubicBezTo>
                  <a:pt x="793" y="404"/>
                  <a:pt x="793" y="404"/>
                  <a:pt x="793" y="404"/>
                </a:cubicBezTo>
                <a:cubicBezTo>
                  <a:pt x="798" y="404"/>
                  <a:pt x="801" y="407"/>
                  <a:pt x="801" y="412"/>
                </a:cubicBezTo>
                <a:cubicBezTo>
                  <a:pt x="801" y="412"/>
                  <a:pt x="801" y="412"/>
                  <a:pt x="801" y="412"/>
                </a:cubicBezTo>
                <a:cubicBezTo>
                  <a:pt x="801" y="419"/>
                  <a:pt x="801" y="424"/>
                  <a:pt x="801" y="428"/>
                </a:cubicBezTo>
                <a:cubicBezTo>
                  <a:pt x="801" y="428"/>
                  <a:pt x="801" y="428"/>
                  <a:pt x="801" y="428"/>
                </a:cubicBezTo>
                <a:cubicBezTo>
                  <a:pt x="802" y="437"/>
                  <a:pt x="805" y="438"/>
                  <a:pt x="807" y="438"/>
                </a:cubicBezTo>
                <a:cubicBezTo>
                  <a:pt x="807" y="438"/>
                  <a:pt x="807" y="438"/>
                  <a:pt x="807" y="438"/>
                </a:cubicBezTo>
                <a:cubicBezTo>
                  <a:pt x="809" y="438"/>
                  <a:pt x="811" y="437"/>
                  <a:pt x="814" y="434"/>
                </a:cubicBezTo>
                <a:cubicBezTo>
                  <a:pt x="814" y="434"/>
                  <a:pt x="814" y="434"/>
                  <a:pt x="814" y="434"/>
                </a:cubicBezTo>
                <a:cubicBezTo>
                  <a:pt x="815" y="432"/>
                  <a:pt x="818" y="426"/>
                  <a:pt x="823" y="417"/>
                </a:cubicBezTo>
                <a:cubicBezTo>
                  <a:pt x="823" y="417"/>
                  <a:pt x="823" y="417"/>
                  <a:pt x="823" y="417"/>
                </a:cubicBezTo>
                <a:cubicBezTo>
                  <a:pt x="919" y="240"/>
                  <a:pt x="919" y="240"/>
                  <a:pt x="919" y="240"/>
                </a:cubicBezTo>
                <a:cubicBezTo>
                  <a:pt x="921" y="236"/>
                  <a:pt x="923" y="233"/>
                  <a:pt x="923" y="232"/>
                </a:cubicBezTo>
                <a:cubicBezTo>
                  <a:pt x="923" y="232"/>
                  <a:pt x="923" y="232"/>
                  <a:pt x="923" y="232"/>
                </a:cubicBezTo>
                <a:cubicBezTo>
                  <a:pt x="924" y="230"/>
                  <a:pt x="924" y="230"/>
                  <a:pt x="924" y="227"/>
                </a:cubicBezTo>
                <a:cubicBezTo>
                  <a:pt x="924" y="227"/>
                  <a:pt x="924" y="227"/>
                  <a:pt x="924" y="227"/>
                </a:cubicBezTo>
                <a:cubicBezTo>
                  <a:pt x="924" y="224"/>
                  <a:pt x="924" y="223"/>
                  <a:pt x="923" y="222"/>
                </a:cubicBezTo>
                <a:cubicBezTo>
                  <a:pt x="923" y="222"/>
                  <a:pt x="923" y="222"/>
                  <a:pt x="923" y="222"/>
                </a:cubicBezTo>
                <a:cubicBezTo>
                  <a:pt x="923" y="221"/>
                  <a:pt x="922" y="219"/>
                  <a:pt x="919" y="214"/>
                </a:cubicBezTo>
                <a:cubicBezTo>
                  <a:pt x="919" y="214"/>
                  <a:pt x="919" y="214"/>
                  <a:pt x="919" y="214"/>
                </a:cubicBezTo>
                <a:cubicBezTo>
                  <a:pt x="916" y="207"/>
                  <a:pt x="867" y="118"/>
                  <a:pt x="838" y="64"/>
                </a:cubicBezTo>
                <a:cubicBezTo>
                  <a:pt x="838" y="64"/>
                  <a:pt x="838" y="64"/>
                  <a:pt x="838" y="64"/>
                </a:cubicBezTo>
                <a:cubicBezTo>
                  <a:pt x="836" y="61"/>
                  <a:pt x="837" y="56"/>
                  <a:pt x="841" y="54"/>
                </a:cubicBezTo>
                <a:cubicBezTo>
                  <a:pt x="841" y="54"/>
                  <a:pt x="841" y="54"/>
                  <a:pt x="841" y="54"/>
                </a:cubicBezTo>
                <a:cubicBezTo>
                  <a:pt x="845" y="51"/>
                  <a:pt x="850" y="53"/>
                  <a:pt x="852" y="57"/>
                </a:cubicBezTo>
                <a:cubicBezTo>
                  <a:pt x="852" y="57"/>
                  <a:pt x="852" y="57"/>
                  <a:pt x="852" y="57"/>
                </a:cubicBezTo>
                <a:cubicBezTo>
                  <a:pt x="882" y="111"/>
                  <a:pt x="930" y="199"/>
                  <a:pt x="934" y="207"/>
                </a:cubicBezTo>
                <a:cubicBezTo>
                  <a:pt x="934" y="207"/>
                  <a:pt x="934" y="207"/>
                  <a:pt x="934" y="207"/>
                </a:cubicBezTo>
                <a:cubicBezTo>
                  <a:pt x="936" y="211"/>
                  <a:pt x="937" y="214"/>
                  <a:pt x="939" y="217"/>
                </a:cubicBezTo>
                <a:cubicBezTo>
                  <a:pt x="939" y="217"/>
                  <a:pt x="939" y="217"/>
                  <a:pt x="939" y="217"/>
                </a:cubicBezTo>
                <a:cubicBezTo>
                  <a:pt x="940" y="221"/>
                  <a:pt x="940" y="224"/>
                  <a:pt x="940" y="227"/>
                </a:cubicBezTo>
                <a:cubicBezTo>
                  <a:pt x="940" y="227"/>
                  <a:pt x="940" y="227"/>
                  <a:pt x="940" y="227"/>
                </a:cubicBezTo>
                <a:cubicBezTo>
                  <a:pt x="940" y="231"/>
                  <a:pt x="939" y="234"/>
                  <a:pt x="938" y="237"/>
                </a:cubicBezTo>
                <a:cubicBezTo>
                  <a:pt x="938" y="237"/>
                  <a:pt x="938" y="237"/>
                  <a:pt x="938" y="237"/>
                </a:cubicBezTo>
                <a:cubicBezTo>
                  <a:pt x="937" y="240"/>
                  <a:pt x="936" y="243"/>
                  <a:pt x="934" y="247"/>
                </a:cubicBezTo>
                <a:cubicBezTo>
                  <a:pt x="934" y="247"/>
                  <a:pt x="934" y="247"/>
                  <a:pt x="934" y="247"/>
                </a:cubicBezTo>
                <a:cubicBezTo>
                  <a:pt x="933" y="248"/>
                  <a:pt x="933" y="248"/>
                  <a:pt x="933" y="248"/>
                </a:cubicBezTo>
                <a:cubicBezTo>
                  <a:pt x="837" y="424"/>
                  <a:pt x="837" y="424"/>
                  <a:pt x="837" y="424"/>
                </a:cubicBezTo>
                <a:cubicBezTo>
                  <a:pt x="832" y="433"/>
                  <a:pt x="829" y="439"/>
                  <a:pt x="828" y="442"/>
                </a:cubicBezTo>
                <a:cubicBezTo>
                  <a:pt x="828" y="442"/>
                  <a:pt x="828" y="442"/>
                  <a:pt x="828" y="442"/>
                </a:cubicBezTo>
                <a:cubicBezTo>
                  <a:pt x="823" y="450"/>
                  <a:pt x="815" y="454"/>
                  <a:pt x="807" y="454"/>
                </a:cubicBezTo>
                <a:cubicBezTo>
                  <a:pt x="807" y="454"/>
                  <a:pt x="807" y="454"/>
                  <a:pt x="807" y="454"/>
                </a:cubicBezTo>
                <a:cubicBezTo>
                  <a:pt x="807" y="454"/>
                  <a:pt x="807" y="454"/>
                  <a:pt x="807" y="454"/>
                </a:cubicBezTo>
                <a:cubicBezTo>
                  <a:pt x="807" y="454"/>
                  <a:pt x="807" y="454"/>
                  <a:pt x="807" y="454"/>
                </a:cubicBezTo>
                <a:cubicBezTo>
                  <a:pt x="801" y="454"/>
                  <a:pt x="796" y="452"/>
                  <a:pt x="792" y="447"/>
                </a:cubicBezTo>
                <a:close/>
              </a:path>
            </a:pathLst>
          </a:custGeom>
          <a:solidFill>
            <a:schemeClr val="bg1"/>
          </a:solidFill>
          <a:ln w="9525">
            <a:solidFill>
              <a:schemeClr val="bg1"/>
            </a:solidFill>
            <a:round/>
            <a:headEnd/>
            <a:tailEnd/>
          </a:ln>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 typeface="Arial" pitchFamily="34" charset="0"/>
              <a:buNone/>
              <a:tabLst/>
              <a:defRPr/>
            </a:pPr>
            <a:r>
              <a:rPr kumimoji="0" lang="en-US" altLang="en-US" sz="2000" b="0" i="0" u="none" strike="noStrike" kern="0" cap="none" spc="0" normalizeH="0" baseline="0" noProof="0" dirty="0">
                <a:ln>
                  <a:noFill/>
                </a:ln>
                <a:solidFill>
                  <a:schemeClr val="bg1"/>
                </a:solidFill>
                <a:effectLst/>
                <a:uLnTx/>
                <a:uFillTx/>
                <a:latin typeface="Arial" pitchFamily="34" charset="0"/>
              </a:rPr>
              <a:t> NW </a:t>
            </a:r>
            <a:r>
              <a:rPr kumimoji="0" lang="en-US" altLang="en-US" sz="2000" b="0" i="0" u="none" strike="noStrike" kern="0" cap="none" spc="0" normalizeH="0" baseline="0" noProof="0">
                <a:ln>
                  <a:noFill/>
                </a:ln>
                <a:solidFill>
                  <a:schemeClr val="bg1"/>
                </a:solidFill>
                <a:effectLst/>
                <a:uLnTx/>
                <a:uFillTx/>
                <a:latin typeface="Arial" pitchFamily="34" charset="0"/>
              </a:rPr>
              <a:t>Slice Operation</a:t>
            </a:r>
            <a:endParaRPr kumimoji="0" lang="en-US" altLang="en-US" sz="2000" b="0" i="0" u="none" strike="noStrike" kern="0" cap="none" spc="0" normalizeH="0" baseline="0" noProof="0" dirty="0">
              <a:ln>
                <a:noFill/>
              </a:ln>
              <a:solidFill>
                <a:schemeClr val="bg1"/>
              </a:solidFill>
              <a:effectLst/>
              <a:uLnTx/>
              <a:uFillTx/>
              <a:latin typeface="Arial" pitchFamily="34" charset="0"/>
            </a:endParaRPr>
          </a:p>
        </p:txBody>
      </p:sp>
      <p:sp>
        <p:nvSpPr>
          <p:cNvPr id="8" name="Freeform 26"/>
          <p:cNvSpPr>
            <a:spLocks noChangeAspect="1"/>
          </p:cNvSpPr>
          <p:nvPr/>
        </p:nvSpPr>
        <p:spPr bwMode="auto">
          <a:xfrm>
            <a:off x="10088563" y="1509486"/>
            <a:ext cx="1789112" cy="1701800"/>
          </a:xfrm>
          <a:custGeom>
            <a:avLst/>
            <a:gdLst>
              <a:gd name="T0" fmla="*/ 2147483647 w 477"/>
              <a:gd name="T1" fmla="*/ 2147483647 h 454"/>
              <a:gd name="T2" fmla="*/ 2147483647 w 477"/>
              <a:gd name="T3" fmla="*/ 2147483647 h 454"/>
              <a:gd name="T4" fmla="*/ 0 w 477"/>
              <a:gd name="T5" fmla="*/ 2147483647 h 454"/>
              <a:gd name="T6" fmla="*/ 2147483647 w 477"/>
              <a:gd name="T7" fmla="*/ 2147483647 h 454"/>
              <a:gd name="T8" fmla="*/ 2147483647 w 477"/>
              <a:gd name="T9" fmla="*/ 2147483647 h 454"/>
              <a:gd name="T10" fmla="*/ 2147483647 w 477"/>
              <a:gd name="T11" fmla="*/ 2147483647 h 454"/>
              <a:gd name="T12" fmla="*/ 2147483647 w 477"/>
              <a:gd name="T13" fmla="*/ 2147483647 h 454"/>
              <a:gd name="T14" fmla="*/ 2147483647 w 477"/>
              <a:gd name="T15" fmla="*/ 2147483647 h 454"/>
              <a:gd name="T16" fmla="*/ 2147483647 w 477"/>
              <a:gd name="T17" fmla="*/ 2147483647 h 454"/>
              <a:gd name="T18" fmla="*/ 0 w 477"/>
              <a:gd name="T19" fmla="*/ 2147483647 h 454"/>
              <a:gd name="T20" fmla="*/ 2147483647 w 477"/>
              <a:gd name="T21" fmla="*/ 2147483647 h 454"/>
              <a:gd name="T22" fmla="*/ 2147483647 w 477"/>
              <a:gd name="T23" fmla="*/ 2147483647 h 454"/>
              <a:gd name="T24" fmla="*/ 2147483647 w 477"/>
              <a:gd name="T25" fmla="*/ 2147483647 h 454"/>
              <a:gd name="T26" fmla="*/ 2147483647 w 477"/>
              <a:gd name="T27" fmla="*/ 2147483647 h 454"/>
              <a:gd name="T28" fmla="*/ 2147483647 w 477"/>
              <a:gd name="T29" fmla="*/ 2147483647 h 454"/>
              <a:gd name="T30" fmla="*/ 2147483647 w 477"/>
              <a:gd name="T31" fmla="*/ 2147483647 h 454"/>
              <a:gd name="T32" fmla="*/ 2147483647 w 477"/>
              <a:gd name="T33" fmla="*/ 2147483647 h 454"/>
              <a:gd name="T34" fmla="*/ 2147483647 w 477"/>
              <a:gd name="T35" fmla="*/ 2147483647 h 454"/>
              <a:gd name="T36" fmla="*/ 2147483647 w 477"/>
              <a:gd name="T37" fmla="*/ 2147483647 h 454"/>
              <a:gd name="T38" fmla="*/ 2147483647 w 477"/>
              <a:gd name="T39" fmla="*/ 2147483647 h 454"/>
              <a:gd name="T40" fmla="*/ 2147483647 w 477"/>
              <a:gd name="T41" fmla="*/ 2147483647 h 454"/>
              <a:gd name="T42" fmla="*/ 2147483647 w 477"/>
              <a:gd name="T43" fmla="*/ 2147483647 h 454"/>
              <a:gd name="T44" fmla="*/ 2147483647 w 477"/>
              <a:gd name="T45" fmla="*/ 2147483647 h 454"/>
              <a:gd name="T46" fmla="*/ 2147483647 w 477"/>
              <a:gd name="T47" fmla="*/ 2147483647 h 454"/>
              <a:gd name="T48" fmla="*/ 2147483647 w 477"/>
              <a:gd name="T49" fmla="*/ 2147483647 h 454"/>
              <a:gd name="T50" fmla="*/ 2147483647 w 477"/>
              <a:gd name="T51" fmla="*/ 2147483647 h 454"/>
              <a:gd name="T52" fmla="*/ 2147483647 w 477"/>
              <a:gd name="T53" fmla="*/ 2147483647 h 454"/>
              <a:gd name="T54" fmla="*/ 2147483647 w 477"/>
              <a:gd name="T55" fmla="*/ 2147483647 h 454"/>
              <a:gd name="T56" fmla="*/ 2147483647 w 477"/>
              <a:gd name="T57" fmla="*/ 2147483647 h 454"/>
              <a:gd name="T58" fmla="*/ 2147483647 w 477"/>
              <a:gd name="T59" fmla="*/ 2147483647 h 454"/>
              <a:gd name="T60" fmla="*/ 2147483647 w 477"/>
              <a:gd name="T61" fmla="*/ 2147483647 h 454"/>
              <a:gd name="T62" fmla="*/ 2147483647 w 477"/>
              <a:gd name="T63" fmla="*/ 2147483647 h 454"/>
              <a:gd name="T64" fmla="*/ 2147483647 w 477"/>
              <a:gd name="T65" fmla="*/ 2147483647 h 454"/>
              <a:gd name="T66" fmla="*/ 2147483647 w 477"/>
              <a:gd name="T67" fmla="*/ 2147483647 h 454"/>
              <a:gd name="T68" fmla="*/ 2147483647 w 477"/>
              <a:gd name="T69" fmla="*/ 2147483647 h 454"/>
              <a:gd name="T70" fmla="*/ 2147483647 w 477"/>
              <a:gd name="T71" fmla="*/ 2147483647 h 454"/>
              <a:gd name="T72" fmla="*/ 2147483647 w 477"/>
              <a:gd name="T73" fmla="*/ 2147483647 h 454"/>
              <a:gd name="T74" fmla="*/ 2147483647 w 477"/>
              <a:gd name="T75" fmla="*/ 2147483647 h 454"/>
              <a:gd name="T76" fmla="*/ 2147483647 w 477"/>
              <a:gd name="T77" fmla="*/ 2147483647 h 454"/>
              <a:gd name="T78" fmla="*/ 2147483647 w 477"/>
              <a:gd name="T79" fmla="*/ 2147483647 h 454"/>
              <a:gd name="T80" fmla="*/ 2147483647 w 477"/>
              <a:gd name="T81" fmla="*/ 2147483647 h 454"/>
              <a:gd name="T82" fmla="*/ 2147483647 w 477"/>
              <a:gd name="T83" fmla="*/ 2147483647 h 454"/>
              <a:gd name="T84" fmla="*/ 2147483647 w 477"/>
              <a:gd name="T85" fmla="*/ 2147483647 h 4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7"/>
              <a:gd name="T130" fmla="*/ 0 h 454"/>
              <a:gd name="T131" fmla="*/ 477 w 477"/>
              <a:gd name="T132" fmla="*/ 454 h 4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7" h="454">
                <a:moveTo>
                  <a:pt x="329" y="447"/>
                </a:moveTo>
                <a:cubicBezTo>
                  <a:pt x="325" y="442"/>
                  <a:pt x="323" y="436"/>
                  <a:pt x="323" y="428"/>
                </a:cubicBezTo>
                <a:cubicBezTo>
                  <a:pt x="323" y="428"/>
                  <a:pt x="323" y="428"/>
                  <a:pt x="323" y="428"/>
                </a:cubicBezTo>
                <a:cubicBezTo>
                  <a:pt x="323" y="426"/>
                  <a:pt x="323" y="423"/>
                  <a:pt x="323" y="420"/>
                </a:cubicBezTo>
                <a:cubicBezTo>
                  <a:pt x="323" y="420"/>
                  <a:pt x="323" y="420"/>
                  <a:pt x="323" y="420"/>
                </a:cubicBezTo>
                <a:cubicBezTo>
                  <a:pt x="22" y="420"/>
                  <a:pt x="22" y="420"/>
                  <a:pt x="22" y="420"/>
                </a:cubicBezTo>
                <a:cubicBezTo>
                  <a:pt x="16" y="420"/>
                  <a:pt x="11" y="418"/>
                  <a:pt x="6" y="414"/>
                </a:cubicBezTo>
                <a:cubicBezTo>
                  <a:pt x="6" y="414"/>
                  <a:pt x="6" y="414"/>
                  <a:pt x="6" y="414"/>
                </a:cubicBezTo>
                <a:cubicBezTo>
                  <a:pt x="2" y="410"/>
                  <a:pt x="0" y="404"/>
                  <a:pt x="0" y="398"/>
                </a:cubicBezTo>
                <a:cubicBezTo>
                  <a:pt x="0" y="398"/>
                  <a:pt x="0" y="398"/>
                  <a:pt x="0" y="398"/>
                </a:cubicBezTo>
                <a:cubicBezTo>
                  <a:pt x="0" y="393"/>
                  <a:pt x="1" y="389"/>
                  <a:pt x="3" y="386"/>
                </a:cubicBezTo>
                <a:cubicBezTo>
                  <a:pt x="3" y="386"/>
                  <a:pt x="3" y="386"/>
                  <a:pt x="3" y="386"/>
                </a:cubicBezTo>
                <a:cubicBezTo>
                  <a:pt x="3" y="386"/>
                  <a:pt x="22" y="351"/>
                  <a:pt x="41" y="316"/>
                </a:cubicBezTo>
                <a:cubicBezTo>
                  <a:pt x="41" y="316"/>
                  <a:pt x="41" y="316"/>
                  <a:pt x="41" y="316"/>
                </a:cubicBezTo>
                <a:cubicBezTo>
                  <a:pt x="61" y="280"/>
                  <a:pt x="81" y="243"/>
                  <a:pt x="82" y="240"/>
                </a:cubicBezTo>
                <a:cubicBezTo>
                  <a:pt x="82" y="240"/>
                  <a:pt x="82" y="240"/>
                  <a:pt x="82" y="240"/>
                </a:cubicBezTo>
                <a:cubicBezTo>
                  <a:pt x="85" y="235"/>
                  <a:pt x="86" y="233"/>
                  <a:pt x="86" y="232"/>
                </a:cubicBezTo>
                <a:cubicBezTo>
                  <a:pt x="86" y="232"/>
                  <a:pt x="86" y="232"/>
                  <a:pt x="86" y="232"/>
                </a:cubicBezTo>
                <a:cubicBezTo>
                  <a:pt x="87" y="231"/>
                  <a:pt x="87" y="231"/>
                  <a:pt x="87" y="227"/>
                </a:cubicBezTo>
                <a:cubicBezTo>
                  <a:pt x="87" y="227"/>
                  <a:pt x="87" y="227"/>
                  <a:pt x="87" y="227"/>
                </a:cubicBezTo>
                <a:cubicBezTo>
                  <a:pt x="87" y="224"/>
                  <a:pt x="87" y="223"/>
                  <a:pt x="86" y="222"/>
                </a:cubicBezTo>
                <a:cubicBezTo>
                  <a:pt x="86" y="222"/>
                  <a:pt x="86" y="222"/>
                  <a:pt x="86" y="222"/>
                </a:cubicBezTo>
                <a:cubicBezTo>
                  <a:pt x="86" y="221"/>
                  <a:pt x="85" y="219"/>
                  <a:pt x="82" y="214"/>
                </a:cubicBezTo>
                <a:cubicBezTo>
                  <a:pt x="82" y="214"/>
                  <a:pt x="82" y="214"/>
                  <a:pt x="82" y="214"/>
                </a:cubicBezTo>
                <a:cubicBezTo>
                  <a:pt x="81" y="211"/>
                  <a:pt x="61" y="174"/>
                  <a:pt x="41" y="139"/>
                </a:cubicBezTo>
                <a:cubicBezTo>
                  <a:pt x="41" y="139"/>
                  <a:pt x="41" y="139"/>
                  <a:pt x="41" y="139"/>
                </a:cubicBezTo>
                <a:cubicBezTo>
                  <a:pt x="22" y="103"/>
                  <a:pt x="3" y="68"/>
                  <a:pt x="2" y="68"/>
                </a:cubicBezTo>
                <a:cubicBezTo>
                  <a:pt x="2" y="68"/>
                  <a:pt x="2" y="68"/>
                  <a:pt x="2" y="68"/>
                </a:cubicBezTo>
                <a:cubicBezTo>
                  <a:pt x="1" y="65"/>
                  <a:pt x="0" y="61"/>
                  <a:pt x="0" y="56"/>
                </a:cubicBezTo>
                <a:cubicBezTo>
                  <a:pt x="0" y="56"/>
                  <a:pt x="0" y="56"/>
                  <a:pt x="0" y="56"/>
                </a:cubicBezTo>
                <a:cubicBezTo>
                  <a:pt x="0" y="50"/>
                  <a:pt x="2" y="44"/>
                  <a:pt x="6" y="40"/>
                </a:cubicBezTo>
                <a:cubicBezTo>
                  <a:pt x="6" y="40"/>
                  <a:pt x="6" y="40"/>
                  <a:pt x="6" y="40"/>
                </a:cubicBezTo>
                <a:cubicBezTo>
                  <a:pt x="11" y="36"/>
                  <a:pt x="16" y="34"/>
                  <a:pt x="22" y="34"/>
                </a:cubicBezTo>
                <a:cubicBezTo>
                  <a:pt x="22" y="34"/>
                  <a:pt x="22" y="34"/>
                  <a:pt x="22" y="34"/>
                </a:cubicBezTo>
                <a:cubicBezTo>
                  <a:pt x="323" y="34"/>
                  <a:pt x="323" y="34"/>
                  <a:pt x="323" y="34"/>
                </a:cubicBezTo>
                <a:cubicBezTo>
                  <a:pt x="323" y="31"/>
                  <a:pt x="323" y="28"/>
                  <a:pt x="323" y="26"/>
                </a:cubicBezTo>
                <a:cubicBezTo>
                  <a:pt x="323" y="26"/>
                  <a:pt x="323" y="26"/>
                  <a:pt x="323" y="26"/>
                </a:cubicBezTo>
                <a:cubicBezTo>
                  <a:pt x="323" y="19"/>
                  <a:pt x="325" y="12"/>
                  <a:pt x="329" y="7"/>
                </a:cubicBezTo>
                <a:cubicBezTo>
                  <a:pt x="329" y="7"/>
                  <a:pt x="329" y="7"/>
                  <a:pt x="329" y="7"/>
                </a:cubicBezTo>
                <a:cubicBezTo>
                  <a:pt x="333" y="3"/>
                  <a:pt x="339" y="0"/>
                  <a:pt x="345" y="0"/>
                </a:cubicBezTo>
                <a:cubicBezTo>
                  <a:pt x="345" y="0"/>
                  <a:pt x="345" y="0"/>
                  <a:pt x="345" y="0"/>
                </a:cubicBezTo>
                <a:cubicBezTo>
                  <a:pt x="353" y="0"/>
                  <a:pt x="360" y="5"/>
                  <a:pt x="365" y="13"/>
                </a:cubicBezTo>
                <a:cubicBezTo>
                  <a:pt x="365" y="13"/>
                  <a:pt x="365" y="13"/>
                  <a:pt x="365" y="13"/>
                </a:cubicBezTo>
                <a:cubicBezTo>
                  <a:pt x="366" y="15"/>
                  <a:pt x="370" y="21"/>
                  <a:pt x="374" y="30"/>
                </a:cubicBezTo>
                <a:cubicBezTo>
                  <a:pt x="374" y="30"/>
                  <a:pt x="374" y="30"/>
                  <a:pt x="374" y="30"/>
                </a:cubicBezTo>
                <a:cubicBezTo>
                  <a:pt x="374" y="30"/>
                  <a:pt x="374" y="30"/>
                  <a:pt x="374" y="30"/>
                </a:cubicBezTo>
                <a:cubicBezTo>
                  <a:pt x="377" y="34"/>
                  <a:pt x="375" y="39"/>
                  <a:pt x="371" y="41"/>
                </a:cubicBezTo>
                <a:cubicBezTo>
                  <a:pt x="371" y="41"/>
                  <a:pt x="371" y="41"/>
                  <a:pt x="371" y="41"/>
                </a:cubicBezTo>
                <a:cubicBezTo>
                  <a:pt x="367" y="43"/>
                  <a:pt x="363" y="41"/>
                  <a:pt x="360" y="38"/>
                </a:cubicBezTo>
                <a:cubicBezTo>
                  <a:pt x="360" y="38"/>
                  <a:pt x="360" y="38"/>
                  <a:pt x="360" y="38"/>
                </a:cubicBezTo>
                <a:cubicBezTo>
                  <a:pt x="356" y="29"/>
                  <a:pt x="352" y="22"/>
                  <a:pt x="351" y="21"/>
                </a:cubicBezTo>
                <a:cubicBezTo>
                  <a:pt x="351" y="21"/>
                  <a:pt x="351" y="21"/>
                  <a:pt x="351" y="21"/>
                </a:cubicBezTo>
                <a:cubicBezTo>
                  <a:pt x="349" y="17"/>
                  <a:pt x="346" y="16"/>
                  <a:pt x="345" y="16"/>
                </a:cubicBezTo>
                <a:cubicBezTo>
                  <a:pt x="345" y="16"/>
                  <a:pt x="345" y="16"/>
                  <a:pt x="345" y="16"/>
                </a:cubicBezTo>
                <a:cubicBezTo>
                  <a:pt x="342" y="16"/>
                  <a:pt x="339" y="17"/>
                  <a:pt x="339" y="26"/>
                </a:cubicBezTo>
                <a:cubicBezTo>
                  <a:pt x="339" y="26"/>
                  <a:pt x="339" y="26"/>
                  <a:pt x="339" y="26"/>
                </a:cubicBezTo>
                <a:cubicBezTo>
                  <a:pt x="339" y="30"/>
                  <a:pt x="339" y="36"/>
                  <a:pt x="339" y="42"/>
                </a:cubicBezTo>
                <a:cubicBezTo>
                  <a:pt x="339" y="42"/>
                  <a:pt x="339" y="42"/>
                  <a:pt x="339" y="42"/>
                </a:cubicBezTo>
                <a:cubicBezTo>
                  <a:pt x="338" y="47"/>
                  <a:pt x="335" y="50"/>
                  <a:pt x="331" y="50"/>
                </a:cubicBezTo>
                <a:cubicBezTo>
                  <a:pt x="331" y="50"/>
                  <a:pt x="331" y="50"/>
                  <a:pt x="331" y="50"/>
                </a:cubicBezTo>
                <a:cubicBezTo>
                  <a:pt x="22" y="50"/>
                  <a:pt x="22" y="50"/>
                  <a:pt x="22" y="50"/>
                </a:cubicBezTo>
                <a:cubicBezTo>
                  <a:pt x="19" y="50"/>
                  <a:pt x="18" y="51"/>
                  <a:pt x="17" y="52"/>
                </a:cubicBezTo>
                <a:cubicBezTo>
                  <a:pt x="17" y="52"/>
                  <a:pt x="17" y="52"/>
                  <a:pt x="17" y="52"/>
                </a:cubicBezTo>
                <a:cubicBezTo>
                  <a:pt x="17" y="53"/>
                  <a:pt x="16" y="53"/>
                  <a:pt x="16" y="56"/>
                </a:cubicBezTo>
                <a:cubicBezTo>
                  <a:pt x="16" y="56"/>
                  <a:pt x="16" y="56"/>
                  <a:pt x="16" y="56"/>
                </a:cubicBezTo>
                <a:cubicBezTo>
                  <a:pt x="16" y="58"/>
                  <a:pt x="16" y="60"/>
                  <a:pt x="17" y="60"/>
                </a:cubicBezTo>
                <a:cubicBezTo>
                  <a:pt x="17" y="60"/>
                  <a:pt x="17" y="60"/>
                  <a:pt x="17" y="60"/>
                </a:cubicBezTo>
                <a:cubicBezTo>
                  <a:pt x="17" y="60"/>
                  <a:pt x="93" y="199"/>
                  <a:pt x="96" y="207"/>
                </a:cubicBezTo>
                <a:cubicBezTo>
                  <a:pt x="96" y="207"/>
                  <a:pt x="96" y="207"/>
                  <a:pt x="96" y="207"/>
                </a:cubicBezTo>
                <a:cubicBezTo>
                  <a:pt x="99" y="211"/>
                  <a:pt x="100" y="214"/>
                  <a:pt x="102" y="217"/>
                </a:cubicBezTo>
                <a:cubicBezTo>
                  <a:pt x="102" y="217"/>
                  <a:pt x="102" y="217"/>
                  <a:pt x="102" y="217"/>
                </a:cubicBezTo>
                <a:cubicBezTo>
                  <a:pt x="103" y="221"/>
                  <a:pt x="103" y="224"/>
                  <a:pt x="103" y="227"/>
                </a:cubicBezTo>
                <a:cubicBezTo>
                  <a:pt x="103" y="227"/>
                  <a:pt x="103" y="227"/>
                  <a:pt x="103" y="227"/>
                </a:cubicBezTo>
                <a:cubicBezTo>
                  <a:pt x="103" y="231"/>
                  <a:pt x="103" y="234"/>
                  <a:pt x="102" y="237"/>
                </a:cubicBezTo>
                <a:cubicBezTo>
                  <a:pt x="102" y="237"/>
                  <a:pt x="102" y="237"/>
                  <a:pt x="102" y="237"/>
                </a:cubicBezTo>
                <a:cubicBezTo>
                  <a:pt x="100" y="240"/>
                  <a:pt x="99" y="243"/>
                  <a:pt x="96" y="247"/>
                </a:cubicBezTo>
                <a:cubicBezTo>
                  <a:pt x="96" y="247"/>
                  <a:pt x="96" y="247"/>
                  <a:pt x="96" y="247"/>
                </a:cubicBezTo>
                <a:cubicBezTo>
                  <a:pt x="93" y="255"/>
                  <a:pt x="17" y="394"/>
                  <a:pt x="17" y="394"/>
                </a:cubicBezTo>
                <a:cubicBezTo>
                  <a:pt x="17" y="394"/>
                  <a:pt x="17" y="394"/>
                  <a:pt x="17" y="394"/>
                </a:cubicBezTo>
                <a:cubicBezTo>
                  <a:pt x="16" y="395"/>
                  <a:pt x="16" y="396"/>
                  <a:pt x="16" y="398"/>
                </a:cubicBezTo>
                <a:cubicBezTo>
                  <a:pt x="16" y="398"/>
                  <a:pt x="16" y="398"/>
                  <a:pt x="16" y="398"/>
                </a:cubicBezTo>
                <a:cubicBezTo>
                  <a:pt x="16" y="401"/>
                  <a:pt x="17" y="402"/>
                  <a:pt x="17" y="402"/>
                </a:cubicBezTo>
                <a:cubicBezTo>
                  <a:pt x="17" y="402"/>
                  <a:pt x="17" y="402"/>
                  <a:pt x="17" y="402"/>
                </a:cubicBezTo>
                <a:cubicBezTo>
                  <a:pt x="18" y="403"/>
                  <a:pt x="19" y="404"/>
                  <a:pt x="22" y="404"/>
                </a:cubicBezTo>
                <a:cubicBezTo>
                  <a:pt x="22" y="404"/>
                  <a:pt x="22" y="404"/>
                  <a:pt x="22" y="404"/>
                </a:cubicBezTo>
                <a:cubicBezTo>
                  <a:pt x="331" y="404"/>
                  <a:pt x="331" y="404"/>
                  <a:pt x="331" y="404"/>
                </a:cubicBezTo>
                <a:cubicBezTo>
                  <a:pt x="335" y="404"/>
                  <a:pt x="338" y="407"/>
                  <a:pt x="339" y="412"/>
                </a:cubicBezTo>
                <a:cubicBezTo>
                  <a:pt x="339" y="412"/>
                  <a:pt x="339" y="412"/>
                  <a:pt x="339" y="412"/>
                </a:cubicBezTo>
                <a:cubicBezTo>
                  <a:pt x="339" y="419"/>
                  <a:pt x="339" y="424"/>
                  <a:pt x="339" y="428"/>
                </a:cubicBezTo>
                <a:cubicBezTo>
                  <a:pt x="339" y="428"/>
                  <a:pt x="339" y="428"/>
                  <a:pt x="339" y="428"/>
                </a:cubicBezTo>
                <a:cubicBezTo>
                  <a:pt x="339" y="437"/>
                  <a:pt x="342" y="438"/>
                  <a:pt x="345" y="438"/>
                </a:cubicBezTo>
                <a:cubicBezTo>
                  <a:pt x="345" y="438"/>
                  <a:pt x="345" y="438"/>
                  <a:pt x="345" y="438"/>
                </a:cubicBezTo>
                <a:cubicBezTo>
                  <a:pt x="346" y="438"/>
                  <a:pt x="349" y="437"/>
                  <a:pt x="351" y="434"/>
                </a:cubicBezTo>
                <a:cubicBezTo>
                  <a:pt x="351" y="434"/>
                  <a:pt x="351" y="434"/>
                  <a:pt x="351" y="434"/>
                </a:cubicBezTo>
                <a:cubicBezTo>
                  <a:pt x="352" y="432"/>
                  <a:pt x="356" y="426"/>
                  <a:pt x="360" y="417"/>
                </a:cubicBezTo>
                <a:cubicBezTo>
                  <a:pt x="360" y="417"/>
                  <a:pt x="360" y="417"/>
                  <a:pt x="360" y="417"/>
                </a:cubicBezTo>
                <a:cubicBezTo>
                  <a:pt x="457" y="240"/>
                  <a:pt x="457" y="240"/>
                  <a:pt x="457" y="240"/>
                </a:cubicBezTo>
                <a:cubicBezTo>
                  <a:pt x="459" y="236"/>
                  <a:pt x="460" y="233"/>
                  <a:pt x="461" y="232"/>
                </a:cubicBezTo>
                <a:cubicBezTo>
                  <a:pt x="461" y="232"/>
                  <a:pt x="461" y="232"/>
                  <a:pt x="461" y="232"/>
                </a:cubicBezTo>
                <a:cubicBezTo>
                  <a:pt x="461" y="230"/>
                  <a:pt x="461" y="230"/>
                  <a:pt x="461" y="227"/>
                </a:cubicBezTo>
                <a:cubicBezTo>
                  <a:pt x="461" y="227"/>
                  <a:pt x="461" y="227"/>
                  <a:pt x="461" y="227"/>
                </a:cubicBezTo>
                <a:cubicBezTo>
                  <a:pt x="461" y="224"/>
                  <a:pt x="461" y="223"/>
                  <a:pt x="461" y="222"/>
                </a:cubicBezTo>
                <a:cubicBezTo>
                  <a:pt x="461" y="222"/>
                  <a:pt x="461" y="222"/>
                  <a:pt x="461" y="222"/>
                </a:cubicBezTo>
                <a:cubicBezTo>
                  <a:pt x="460" y="221"/>
                  <a:pt x="459" y="219"/>
                  <a:pt x="457" y="214"/>
                </a:cubicBezTo>
                <a:cubicBezTo>
                  <a:pt x="457" y="214"/>
                  <a:pt x="457" y="214"/>
                  <a:pt x="457" y="214"/>
                </a:cubicBezTo>
                <a:cubicBezTo>
                  <a:pt x="453" y="207"/>
                  <a:pt x="405" y="118"/>
                  <a:pt x="375" y="64"/>
                </a:cubicBezTo>
                <a:cubicBezTo>
                  <a:pt x="375" y="64"/>
                  <a:pt x="375" y="64"/>
                  <a:pt x="375" y="64"/>
                </a:cubicBezTo>
                <a:cubicBezTo>
                  <a:pt x="373" y="61"/>
                  <a:pt x="374" y="56"/>
                  <a:pt x="378" y="54"/>
                </a:cubicBezTo>
                <a:cubicBezTo>
                  <a:pt x="378" y="54"/>
                  <a:pt x="378" y="54"/>
                  <a:pt x="378" y="54"/>
                </a:cubicBezTo>
                <a:cubicBezTo>
                  <a:pt x="382" y="51"/>
                  <a:pt x="387" y="53"/>
                  <a:pt x="389" y="57"/>
                </a:cubicBezTo>
                <a:cubicBezTo>
                  <a:pt x="389" y="57"/>
                  <a:pt x="389" y="57"/>
                  <a:pt x="389" y="57"/>
                </a:cubicBezTo>
                <a:cubicBezTo>
                  <a:pt x="419" y="111"/>
                  <a:pt x="467" y="199"/>
                  <a:pt x="471" y="207"/>
                </a:cubicBezTo>
                <a:cubicBezTo>
                  <a:pt x="471" y="207"/>
                  <a:pt x="471" y="207"/>
                  <a:pt x="471" y="207"/>
                </a:cubicBezTo>
                <a:cubicBezTo>
                  <a:pt x="473" y="211"/>
                  <a:pt x="475" y="214"/>
                  <a:pt x="476" y="217"/>
                </a:cubicBezTo>
                <a:cubicBezTo>
                  <a:pt x="476" y="217"/>
                  <a:pt x="476" y="217"/>
                  <a:pt x="476" y="217"/>
                </a:cubicBezTo>
                <a:cubicBezTo>
                  <a:pt x="477" y="221"/>
                  <a:pt x="477" y="224"/>
                  <a:pt x="477" y="227"/>
                </a:cubicBezTo>
                <a:cubicBezTo>
                  <a:pt x="477" y="227"/>
                  <a:pt x="477" y="227"/>
                  <a:pt x="477" y="227"/>
                </a:cubicBezTo>
                <a:cubicBezTo>
                  <a:pt x="477" y="231"/>
                  <a:pt x="477" y="234"/>
                  <a:pt x="475" y="237"/>
                </a:cubicBezTo>
                <a:cubicBezTo>
                  <a:pt x="475" y="237"/>
                  <a:pt x="475" y="237"/>
                  <a:pt x="475" y="237"/>
                </a:cubicBezTo>
                <a:cubicBezTo>
                  <a:pt x="474" y="240"/>
                  <a:pt x="473" y="243"/>
                  <a:pt x="471" y="247"/>
                </a:cubicBezTo>
                <a:cubicBezTo>
                  <a:pt x="471" y="247"/>
                  <a:pt x="471" y="247"/>
                  <a:pt x="471" y="247"/>
                </a:cubicBezTo>
                <a:cubicBezTo>
                  <a:pt x="471" y="248"/>
                  <a:pt x="471" y="248"/>
                  <a:pt x="471" y="248"/>
                </a:cubicBezTo>
                <a:cubicBezTo>
                  <a:pt x="374" y="424"/>
                  <a:pt x="374" y="424"/>
                  <a:pt x="374" y="424"/>
                </a:cubicBezTo>
                <a:cubicBezTo>
                  <a:pt x="370" y="433"/>
                  <a:pt x="366" y="439"/>
                  <a:pt x="365" y="442"/>
                </a:cubicBezTo>
                <a:cubicBezTo>
                  <a:pt x="365" y="442"/>
                  <a:pt x="365" y="442"/>
                  <a:pt x="365" y="442"/>
                </a:cubicBezTo>
                <a:cubicBezTo>
                  <a:pt x="360" y="450"/>
                  <a:pt x="353" y="454"/>
                  <a:pt x="345" y="454"/>
                </a:cubicBezTo>
                <a:cubicBezTo>
                  <a:pt x="345" y="454"/>
                  <a:pt x="345" y="454"/>
                  <a:pt x="345" y="454"/>
                </a:cubicBezTo>
                <a:cubicBezTo>
                  <a:pt x="345" y="454"/>
                  <a:pt x="345" y="454"/>
                  <a:pt x="344" y="454"/>
                </a:cubicBezTo>
                <a:cubicBezTo>
                  <a:pt x="344" y="454"/>
                  <a:pt x="344" y="454"/>
                  <a:pt x="344" y="454"/>
                </a:cubicBezTo>
                <a:cubicBezTo>
                  <a:pt x="339" y="454"/>
                  <a:pt x="333" y="452"/>
                  <a:pt x="329" y="447"/>
                </a:cubicBezTo>
                <a:close/>
              </a:path>
            </a:pathLst>
          </a:custGeom>
          <a:solidFill>
            <a:schemeClr val="bg1"/>
          </a:solidFill>
          <a:ln w="9525">
            <a:solidFill>
              <a:schemeClr val="bg1"/>
            </a:solidFill>
            <a:round/>
            <a:headEnd/>
            <a:tailEnd/>
          </a:ln>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 typeface="Arial" pitchFamily="34" charset="0"/>
              <a:buNone/>
              <a:tabLst/>
              <a:defRPr/>
            </a:pPr>
            <a:r>
              <a:rPr kumimoji="0" lang="en-US" altLang="en-US" sz="1800" b="0" i="0" u="none" strike="noStrike" kern="0" cap="none" spc="0" normalizeH="0" baseline="0" noProof="0" dirty="0">
                <a:ln>
                  <a:noFill/>
                </a:ln>
                <a:solidFill>
                  <a:schemeClr val="bg1"/>
                </a:solidFill>
                <a:effectLst/>
                <a:uLnTx/>
                <a:uFillTx/>
                <a:latin typeface="Arial" pitchFamily="34" charset="0"/>
              </a:rPr>
              <a:t>NW Slice Termination</a:t>
            </a:r>
          </a:p>
        </p:txBody>
      </p:sp>
      <p:sp>
        <p:nvSpPr>
          <p:cNvPr id="9" name="Freeform 19"/>
          <p:cNvSpPr>
            <a:spLocks noChangeAspect="1"/>
          </p:cNvSpPr>
          <p:nvPr/>
        </p:nvSpPr>
        <p:spPr bwMode="auto">
          <a:xfrm>
            <a:off x="2657248" y="1509486"/>
            <a:ext cx="3525838" cy="1701800"/>
          </a:xfrm>
          <a:custGeom>
            <a:avLst/>
            <a:gdLst>
              <a:gd name="T0" fmla="*/ 2147483647 w 940"/>
              <a:gd name="T1" fmla="*/ 2147483647 h 454"/>
              <a:gd name="T2" fmla="*/ 2147483647 w 940"/>
              <a:gd name="T3" fmla="*/ 2147483647 h 454"/>
              <a:gd name="T4" fmla="*/ 0 w 940"/>
              <a:gd name="T5" fmla="*/ 2147483647 h 454"/>
              <a:gd name="T6" fmla="*/ 2147483647 w 940"/>
              <a:gd name="T7" fmla="*/ 2147483647 h 454"/>
              <a:gd name="T8" fmla="*/ 2147483647 w 940"/>
              <a:gd name="T9" fmla="*/ 2147483647 h 454"/>
              <a:gd name="T10" fmla="*/ 2147483647 w 940"/>
              <a:gd name="T11" fmla="*/ 2147483647 h 454"/>
              <a:gd name="T12" fmla="*/ 2147483647 w 940"/>
              <a:gd name="T13" fmla="*/ 2147483647 h 454"/>
              <a:gd name="T14" fmla="*/ 2147483647 w 940"/>
              <a:gd name="T15" fmla="*/ 2147483647 h 454"/>
              <a:gd name="T16" fmla="*/ 2147483647 w 940"/>
              <a:gd name="T17" fmla="*/ 2147483647 h 454"/>
              <a:gd name="T18" fmla="*/ 0 w 940"/>
              <a:gd name="T19" fmla="*/ 2147483647 h 454"/>
              <a:gd name="T20" fmla="*/ 2147483647 w 940"/>
              <a:gd name="T21" fmla="*/ 2147483647 h 454"/>
              <a:gd name="T22" fmla="*/ 2147483647 w 940"/>
              <a:gd name="T23" fmla="*/ 2147483647 h 454"/>
              <a:gd name="T24" fmla="*/ 2147483647 w 940"/>
              <a:gd name="T25" fmla="*/ 2147483647 h 454"/>
              <a:gd name="T26" fmla="*/ 2147483647 w 940"/>
              <a:gd name="T27" fmla="*/ 2147483647 h 454"/>
              <a:gd name="T28" fmla="*/ 2147483647 w 940"/>
              <a:gd name="T29" fmla="*/ 2147483647 h 454"/>
              <a:gd name="T30" fmla="*/ 2147483647 w 940"/>
              <a:gd name="T31" fmla="*/ 2147483647 h 454"/>
              <a:gd name="T32" fmla="*/ 2147483647 w 940"/>
              <a:gd name="T33" fmla="*/ 2147483647 h 454"/>
              <a:gd name="T34" fmla="*/ 2147483647 w 940"/>
              <a:gd name="T35" fmla="*/ 2147483647 h 454"/>
              <a:gd name="T36" fmla="*/ 2147483647 w 940"/>
              <a:gd name="T37" fmla="*/ 2147483647 h 454"/>
              <a:gd name="T38" fmla="*/ 2147483647 w 940"/>
              <a:gd name="T39" fmla="*/ 2147483647 h 454"/>
              <a:gd name="T40" fmla="*/ 2147483647 w 940"/>
              <a:gd name="T41" fmla="*/ 2147483647 h 454"/>
              <a:gd name="T42" fmla="*/ 2147483647 w 940"/>
              <a:gd name="T43" fmla="*/ 2147483647 h 454"/>
              <a:gd name="T44" fmla="*/ 2147483647 w 940"/>
              <a:gd name="T45" fmla="*/ 2147483647 h 454"/>
              <a:gd name="T46" fmla="*/ 2147483647 w 940"/>
              <a:gd name="T47" fmla="*/ 2147483647 h 454"/>
              <a:gd name="T48" fmla="*/ 2147483647 w 940"/>
              <a:gd name="T49" fmla="*/ 2147483647 h 454"/>
              <a:gd name="T50" fmla="*/ 2147483647 w 940"/>
              <a:gd name="T51" fmla="*/ 2147483647 h 454"/>
              <a:gd name="T52" fmla="*/ 2147483647 w 940"/>
              <a:gd name="T53" fmla="*/ 2147483647 h 454"/>
              <a:gd name="T54" fmla="*/ 2147483647 w 940"/>
              <a:gd name="T55" fmla="*/ 2147483647 h 454"/>
              <a:gd name="T56" fmla="*/ 2147483647 w 940"/>
              <a:gd name="T57" fmla="*/ 2147483647 h 454"/>
              <a:gd name="T58" fmla="*/ 2147483647 w 940"/>
              <a:gd name="T59" fmla="*/ 2147483647 h 454"/>
              <a:gd name="T60" fmla="*/ 2147483647 w 940"/>
              <a:gd name="T61" fmla="*/ 2147483647 h 454"/>
              <a:gd name="T62" fmla="*/ 2147483647 w 940"/>
              <a:gd name="T63" fmla="*/ 2147483647 h 454"/>
              <a:gd name="T64" fmla="*/ 2147483647 w 940"/>
              <a:gd name="T65" fmla="*/ 2147483647 h 454"/>
              <a:gd name="T66" fmla="*/ 2147483647 w 940"/>
              <a:gd name="T67" fmla="*/ 2147483647 h 454"/>
              <a:gd name="T68" fmla="*/ 2147483647 w 940"/>
              <a:gd name="T69" fmla="*/ 2147483647 h 454"/>
              <a:gd name="T70" fmla="*/ 2147483647 w 940"/>
              <a:gd name="T71" fmla="*/ 2147483647 h 454"/>
              <a:gd name="T72" fmla="*/ 2147483647 w 940"/>
              <a:gd name="T73" fmla="*/ 2147483647 h 454"/>
              <a:gd name="T74" fmla="*/ 2147483647 w 940"/>
              <a:gd name="T75" fmla="*/ 2147483647 h 454"/>
              <a:gd name="T76" fmla="*/ 2147483647 w 940"/>
              <a:gd name="T77" fmla="*/ 2147483647 h 454"/>
              <a:gd name="T78" fmla="*/ 2147483647 w 940"/>
              <a:gd name="T79" fmla="*/ 2147483647 h 454"/>
              <a:gd name="T80" fmla="*/ 2147483647 w 940"/>
              <a:gd name="T81" fmla="*/ 2147483647 h 454"/>
              <a:gd name="T82" fmla="*/ 2147483647 w 940"/>
              <a:gd name="T83" fmla="*/ 2147483647 h 454"/>
              <a:gd name="T84" fmla="*/ 2147483647 w 940"/>
              <a:gd name="T85" fmla="*/ 2147483647 h 4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0"/>
              <a:gd name="T130" fmla="*/ 0 h 454"/>
              <a:gd name="T131" fmla="*/ 940 w 940"/>
              <a:gd name="T132" fmla="*/ 454 h 4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0" h="454">
                <a:moveTo>
                  <a:pt x="792" y="447"/>
                </a:moveTo>
                <a:cubicBezTo>
                  <a:pt x="788" y="442"/>
                  <a:pt x="785" y="436"/>
                  <a:pt x="785" y="428"/>
                </a:cubicBezTo>
                <a:cubicBezTo>
                  <a:pt x="785" y="428"/>
                  <a:pt x="785" y="428"/>
                  <a:pt x="785" y="428"/>
                </a:cubicBezTo>
                <a:cubicBezTo>
                  <a:pt x="785" y="426"/>
                  <a:pt x="785" y="423"/>
                  <a:pt x="785" y="420"/>
                </a:cubicBezTo>
                <a:cubicBezTo>
                  <a:pt x="785" y="420"/>
                  <a:pt x="785" y="420"/>
                  <a:pt x="785" y="420"/>
                </a:cubicBezTo>
                <a:cubicBezTo>
                  <a:pt x="22" y="420"/>
                  <a:pt x="22" y="420"/>
                  <a:pt x="22" y="420"/>
                </a:cubicBezTo>
                <a:cubicBezTo>
                  <a:pt x="16" y="420"/>
                  <a:pt x="11" y="418"/>
                  <a:pt x="6" y="414"/>
                </a:cubicBezTo>
                <a:cubicBezTo>
                  <a:pt x="6" y="414"/>
                  <a:pt x="6" y="414"/>
                  <a:pt x="6" y="414"/>
                </a:cubicBezTo>
                <a:cubicBezTo>
                  <a:pt x="2" y="410"/>
                  <a:pt x="0" y="404"/>
                  <a:pt x="0" y="398"/>
                </a:cubicBezTo>
                <a:cubicBezTo>
                  <a:pt x="0" y="398"/>
                  <a:pt x="0" y="398"/>
                  <a:pt x="0" y="398"/>
                </a:cubicBezTo>
                <a:cubicBezTo>
                  <a:pt x="0" y="393"/>
                  <a:pt x="1" y="389"/>
                  <a:pt x="3" y="386"/>
                </a:cubicBezTo>
                <a:cubicBezTo>
                  <a:pt x="3" y="386"/>
                  <a:pt x="3" y="386"/>
                  <a:pt x="3" y="386"/>
                </a:cubicBezTo>
                <a:cubicBezTo>
                  <a:pt x="3" y="386"/>
                  <a:pt x="22" y="351"/>
                  <a:pt x="41" y="316"/>
                </a:cubicBezTo>
                <a:cubicBezTo>
                  <a:pt x="41" y="316"/>
                  <a:pt x="41" y="316"/>
                  <a:pt x="41" y="316"/>
                </a:cubicBezTo>
                <a:cubicBezTo>
                  <a:pt x="61" y="280"/>
                  <a:pt x="81" y="243"/>
                  <a:pt x="82" y="240"/>
                </a:cubicBezTo>
                <a:cubicBezTo>
                  <a:pt x="82" y="240"/>
                  <a:pt x="82" y="240"/>
                  <a:pt x="82" y="240"/>
                </a:cubicBezTo>
                <a:cubicBezTo>
                  <a:pt x="85" y="235"/>
                  <a:pt x="86" y="233"/>
                  <a:pt x="86" y="232"/>
                </a:cubicBezTo>
                <a:cubicBezTo>
                  <a:pt x="86" y="232"/>
                  <a:pt x="86" y="232"/>
                  <a:pt x="86" y="232"/>
                </a:cubicBezTo>
                <a:cubicBezTo>
                  <a:pt x="87" y="231"/>
                  <a:pt x="87" y="231"/>
                  <a:pt x="87" y="227"/>
                </a:cubicBezTo>
                <a:cubicBezTo>
                  <a:pt x="87" y="227"/>
                  <a:pt x="87" y="227"/>
                  <a:pt x="87" y="227"/>
                </a:cubicBezTo>
                <a:cubicBezTo>
                  <a:pt x="87" y="224"/>
                  <a:pt x="87" y="223"/>
                  <a:pt x="86" y="222"/>
                </a:cubicBezTo>
                <a:cubicBezTo>
                  <a:pt x="86" y="222"/>
                  <a:pt x="86" y="222"/>
                  <a:pt x="86" y="222"/>
                </a:cubicBezTo>
                <a:cubicBezTo>
                  <a:pt x="86" y="221"/>
                  <a:pt x="85" y="219"/>
                  <a:pt x="82" y="214"/>
                </a:cubicBezTo>
                <a:cubicBezTo>
                  <a:pt x="82" y="214"/>
                  <a:pt x="82" y="214"/>
                  <a:pt x="82" y="214"/>
                </a:cubicBezTo>
                <a:cubicBezTo>
                  <a:pt x="81" y="211"/>
                  <a:pt x="61" y="174"/>
                  <a:pt x="41" y="139"/>
                </a:cubicBezTo>
                <a:cubicBezTo>
                  <a:pt x="41" y="139"/>
                  <a:pt x="41" y="139"/>
                  <a:pt x="41" y="139"/>
                </a:cubicBezTo>
                <a:cubicBezTo>
                  <a:pt x="22" y="103"/>
                  <a:pt x="3" y="68"/>
                  <a:pt x="2" y="68"/>
                </a:cubicBezTo>
                <a:cubicBezTo>
                  <a:pt x="2" y="68"/>
                  <a:pt x="2" y="68"/>
                  <a:pt x="2" y="68"/>
                </a:cubicBezTo>
                <a:cubicBezTo>
                  <a:pt x="1" y="65"/>
                  <a:pt x="0" y="61"/>
                  <a:pt x="0" y="56"/>
                </a:cubicBezTo>
                <a:cubicBezTo>
                  <a:pt x="0" y="56"/>
                  <a:pt x="0" y="56"/>
                  <a:pt x="0" y="56"/>
                </a:cubicBezTo>
                <a:cubicBezTo>
                  <a:pt x="0" y="50"/>
                  <a:pt x="2" y="44"/>
                  <a:pt x="6" y="40"/>
                </a:cubicBezTo>
                <a:cubicBezTo>
                  <a:pt x="6" y="40"/>
                  <a:pt x="6" y="40"/>
                  <a:pt x="6" y="40"/>
                </a:cubicBezTo>
                <a:cubicBezTo>
                  <a:pt x="11" y="36"/>
                  <a:pt x="16" y="34"/>
                  <a:pt x="22" y="34"/>
                </a:cubicBezTo>
                <a:cubicBezTo>
                  <a:pt x="22" y="34"/>
                  <a:pt x="22" y="34"/>
                  <a:pt x="22" y="34"/>
                </a:cubicBezTo>
                <a:cubicBezTo>
                  <a:pt x="785" y="34"/>
                  <a:pt x="785" y="34"/>
                  <a:pt x="785" y="34"/>
                </a:cubicBezTo>
                <a:cubicBezTo>
                  <a:pt x="785" y="31"/>
                  <a:pt x="785" y="28"/>
                  <a:pt x="785" y="26"/>
                </a:cubicBezTo>
                <a:cubicBezTo>
                  <a:pt x="785" y="26"/>
                  <a:pt x="785" y="26"/>
                  <a:pt x="785" y="26"/>
                </a:cubicBezTo>
                <a:cubicBezTo>
                  <a:pt x="785" y="19"/>
                  <a:pt x="788" y="12"/>
                  <a:pt x="792" y="7"/>
                </a:cubicBezTo>
                <a:cubicBezTo>
                  <a:pt x="792" y="7"/>
                  <a:pt x="792" y="7"/>
                  <a:pt x="792" y="7"/>
                </a:cubicBezTo>
                <a:cubicBezTo>
                  <a:pt x="796" y="3"/>
                  <a:pt x="801" y="0"/>
                  <a:pt x="807" y="0"/>
                </a:cubicBezTo>
                <a:cubicBezTo>
                  <a:pt x="807" y="0"/>
                  <a:pt x="807" y="0"/>
                  <a:pt x="807" y="0"/>
                </a:cubicBezTo>
                <a:cubicBezTo>
                  <a:pt x="815" y="0"/>
                  <a:pt x="823" y="5"/>
                  <a:pt x="828" y="13"/>
                </a:cubicBezTo>
                <a:cubicBezTo>
                  <a:pt x="828" y="13"/>
                  <a:pt x="828" y="13"/>
                  <a:pt x="828" y="13"/>
                </a:cubicBezTo>
                <a:cubicBezTo>
                  <a:pt x="829" y="15"/>
                  <a:pt x="832" y="21"/>
                  <a:pt x="837" y="30"/>
                </a:cubicBezTo>
                <a:cubicBezTo>
                  <a:pt x="837" y="30"/>
                  <a:pt x="837" y="30"/>
                  <a:pt x="837" y="30"/>
                </a:cubicBezTo>
                <a:cubicBezTo>
                  <a:pt x="837" y="30"/>
                  <a:pt x="837" y="30"/>
                  <a:pt x="837" y="30"/>
                </a:cubicBezTo>
                <a:cubicBezTo>
                  <a:pt x="839" y="34"/>
                  <a:pt x="838" y="39"/>
                  <a:pt x="834" y="41"/>
                </a:cubicBezTo>
                <a:cubicBezTo>
                  <a:pt x="834" y="41"/>
                  <a:pt x="834" y="41"/>
                  <a:pt x="834" y="41"/>
                </a:cubicBezTo>
                <a:cubicBezTo>
                  <a:pt x="830" y="43"/>
                  <a:pt x="825" y="41"/>
                  <a:pt x="823" y="38"/>
                </a:cubicBezTo>
                <a:cubicBezTo>
                  <a:pt x="823" y="38"/>
                  <a:pt x="823" y="38"/>
                  <a:pt x="823" y="38"/>
                </a:cubicBezTo>
                <a:cubicBezTo>
                  <a:pt x="818" y="29"/>
                  <a:pt x="815" y="22"/>
                  <a:pt x="814" y="21"/>
                </a:cubicBezTo>
                <a:cubicBezTo>
                  <a:pt x="814" y="21"/>
                  <a:pt x="814" y="21"/>
                  <a:pt x="814" y="21"/>
                </a:cubicBezTo>
                <a:cubicBezTo>
                  <a:pt x="811" y="17"/>
                  <a:pt x="809" y="16"/>
                  <a:pt x="807" y="16"/>
                </a:cubicBezTo>
                <a:cubicBezTo>
                  <a:pt x="807" y="16"/>
                  <a:pt x="807" y="16"/>
                  <a:pt x="807" y="16"/>
                </a:cubicBezTo>
                <a:cubicBezTo>
                  <a:pt x="805" y="16"/>
                  <a:pt x="802" y="17"/>
                  <a:pt x="801" y="26"/>
                </a:cubicBezTo>
                <a:cubicBezTo>
                  <a:pt x="801" y="26"/>
                  <a:pt x="801" y="26"/>
                  <a:pt x="801" y="26"/>
                </a:cubicBezTo>
                <a:cubicBezTo>
                  <a:pt x="801" y="30"/>
                  <a:pt x="801" y="36"/>
                  <a:pt x="801" y="42"/>
                </a:cubicBezTo>
                <a:cubicBezTo>
                  <a:pt x="801" y="42"/>
                  <a:pt x="801" y="42"/>
                  <a:pt x="801" y="42"/>
                </a:cubicBezTo>
                <a:cubicBezTo>
                  <a:pt x="801" y="47"/>
                  <a:pt x="798" y="50"/>
                  <a:pt x="793" y="50"/>
                </a:cubicBezTo>
                <a:cubicBezTo>
                  <a:pt x="793" y="50"/>
                  <a:pt x="793" y="50"/>
                  <a:pt x="793" y="50"/>
                </a:cubicBezTo>
                <a:cubicBezTo>
                  <a:pt x="22" y="50"/>
                  <a:pt x="22" y="50"/>
                  <a:pt x="22" y="50"/>
                </a:cubicBezTo>
                <a:cubicBezTo>
                  <a:pt x="19" y="50"/>
                  <a:pt x="18" y="51"/>
                  <a:pt x="17" y="52"/>
                </a:cubicBezTo>
                <a:cubicBezTo>
                  <a:pt x="17" y="52"/>
                  <a:pt x="17" y="52"/>
                  <a:pt x="17" y="52"/>
                </a:cubicBezTo>
                <a:cubicBezTo>
                  <a:pt x="17" y="53"/>
                  <a:pt x="16" y="53"/>
                  <a:pt x="16" y="56"/>
                </a:cubicBezTo>
                <a:cubicBezTo>
                  <a:pt x="16" y="56"/>
                  <a:pt x="16" y="56"/>
                  <a:pt x="16" y="56"/>
                </a:cubicBezTo>
                <a:cubicBezTo>
                  <a:pt x="16" y="58"/>
                  <a:pt x="16" y="60"/>
                  <a:pt x="17" y="60"/>
                </a:cubicBezTo>
                <a:cubicBezTo>
                  <a:pt x="17" y="60"/>
                  <a:pt x="17" y="60"/>
                  <a:pt x="17" y="60"/>
                </a:cubicBezTo>
                <a:cubicBezTo>
                  <a:pt x="17" y="60"/>
                  <a:pt x="93" y="199"/>
                  <a:pt x="96" y="207"/>
                </a:cubicBezTo>
                <a:cubicBezTo>
                  <a:pt x="96" y="207"/>
                  <a:pt x="96" y="207"/>
                  <a:pt x="96" y="207"/>
                </a:cubicBezTo>
                <a:cubicBezTo>
                  <a:pt x="99" y="211"/>
                  <a:pt x="100" y="214"/>
                  <a:pt x="102" y="217"/>
                </a:cubicBezTo>
                <a:cubicBezTo>
                  <a:pt x="102" y="217"/>
                  <a:pt x="102" y="217"/>
                  <a:pt x="102" y="217"/>
                </a:cubicBezTo>
                <a:cubicBezTo>
                  <a:pt x="103" y="221"/>
                  <a:pt x="103" y="224"/>
                  <a:pt x="103" y="227"/>
                </a:cubicBezTo>
                <a:cubicBezTo>
                  <a:pt x="103" y="227"/>
                  <a:pt x="103" y="227"/>
                  <a:pt x="103" y="227"/>
                </a:cubicBezTo>
                <a:cubicBezTo>
                  <a:pt x="103" y="231"/>
                  <a:pt x="103" y="234"/>
                  <a:pt x="102" y="237"/>
                </a:cubicBezTo>
                <a:cubicBezTo>
                  <a:pt x="102" y="237"/>
                  <a:pt x="102" y="237"/>
                  <a:pt x="102" y="237"/>
                </a:cubicBezTo>
                <a:cubicBezTo>
                  <a:pt x="100" y="240"/>
                  <a:pt x="99" y="243"/>
                  <a:pt x="96" y="248"/>
                </a:cubicBezTo>
                <a:cubicBezTo>
                  <a:pt x="96" y="248"/>
                  <a:pt x="96" y="248"/>
                  <a:pt x="96" y="248"/>
                </a:cubicBezTo>
                <a:cubicBezTo>
                  <a:pt x="93" y="255"/>
                  <a:pt x="17" y="394"/>
                  <a:pt x="17" y="394"/>
                </a:cubicBezTo>
                <a:cubicBezTo>
                  <a:pt x="17" y="394"/>
                  <a:pt x="17" y="394"/>
                  <a:pt x="17" y="394"/>
                </a:cubicBezTo>
                <a:cubicBezTo>
                  <a:pt x="16" y="395"/>
                  <a:pt x="16" y="396"/>
                  <a:pt x="16" y="398"/>
                </a:cubicBezTo>
                <a:cubicBezTo>
                  <a:pt x="16" y="398"/>
                  <a:pt x="16" y="398"/>
                  <a:pt x="16" y="398"/>
                </a:cubicBezTo>
                <a:cubicBezTo>
                  <a:pt x="16" y="401"/>
                  <a:pt x="17" y="402"/>
                  <a:pt x="17" y="402"/>
                </a:cubicBezTo>
                <a:cubicBezTo>
                  <a:pt x="17" y="402"/>
                  <a:pt x="17" y="402"/>
                  <a:pt x="17" y="402"/>
                </a:cubicBezTo>
                <a:cubicBezTo>
                  <a:pt x="18" y="403"/>
                  <a:pt x="19" y="404"/>
                  <a:pt x="22" y="404"/>
                </a:cubicBezTo>
                <a:cubicBezTo>
                  <a:pt x="22" y="404"/>
                  <a:pt x="22" y="404"/>
                  <a:pt x="22" y="404"/>
                </a:cubicBezTo>
                <a:cubicBezTo>
                  <a:pt x="793" y="404"/>
                  <a:pt x="793" y="404"/>
                  <a:pt x="793" y="404"/>
                </a:cubicBezTo>
                <a:cubicBezTo>
                  <a:pt x="798" y="404"/>
                  <a:pt x="801" y="407"/>
                  <a:pt x="801" y="412"/>
                </a:cubicBezTo>
                <a:cubicBezTo>
                  <a:pt x="801" y="412"/>
                  <a:pt x="801" y="412"/>
                  <a:pt x="801" y="412"/>
                </a:cubicBezTo>
                <a:cubicBezTo>
                  <a:pt x="801" y="419"/>
                  <a:pt x="801" y="424"/>
                  <a:pt x="801" y="428"/>
                </a:cubicBezTo>
                <a:cubicBezTo>
                  <a:pt x="801" y="428"/>
                  <a:pt x="801" y="428"/>
                  <a:pt x="801" y="428"/>
                </a:cubicBezTo>
                <a:cubicBezTo>
                  <a:pt x="802" y="437"/>
                  <a:pt x="805" y="438"/>
                  <a:pt x="807" y="438"/>
                </a:cubicBezTo>
                <a:cubicBezTo>
                  <a:pt x="807" y="438"/>
                  <a:pt x="807" y="438"/>
                  <a:pt x="807" y="438"/>
                </a:cubicBezTo>
                <a:cubicBezTo>
                  <a:pt x="809" y="438"/>
                  <a:pt x="811" y="437"/>
                  <a:pt x="814" y="434"/>
                </a:cubicBezTo>
                <a:cubicBezTo>
                  <a:pt x="814" y="434"/>
                  <a:pt x="814" y="434"/>
                  <a:pt x="814" y="434"/>
                </a:cubicBezTo>
                <a:cubicBezTo>
                  <a:pt x="815" y="432"/>
                  <a:pt x="818" y="426"/>
                  <a:pt x="823" y="417"/>
                </a:cubicBezTo>
                <a:cubicBezTo>
                  <a:pt x="823" y="417"/>
                  <a:pt x="823" y="417"/>
                  <a:pt x="823" y="417"/>
                </a:cubicBezTo>
                <a:cubicBezTo>
                  <a:pt x="919" y="240"/>
                  <a:pt x="919" y="240"/>
                  <a:pt x="919" y="240"/>
                </a:cubicBezTo>
                <a:cubicBezTo>
                  <a:pt x="921" y="236"/>
                  <a:pt x="923" y="233"/>
                  <a:pt x="923" y="232"/>
                </a:cubicBezTo>
                <a:cubicBezTo>
                  <a:pt x="923" y="232"/>
                  <a:pt x="923" y="232"/>
                  <a:pt x="923" y="232"/>
                </a:cubicBezTo>
                <a:cubicBezTo>
                  <a:pt x="924" y="230"/>
                  <a:pt x="924" y="230"/>
                  <a:pt x="924" y="227"/>
                </a:cubicBezTo>
                <a:cubicBezTo>
                  <a:pt x="924" y="227"/>
                  <a:pt x="924" y="227"/>
                  <a:pt x="924" y="227"/>
                </a:cubicBezTo>
                <a:cubicBezTo>
                  <a:pt x="924" y="224"/>
                  <a:pt x="924" y="223"/>
                  <a:pt x="923" y="222"/>
                </a:cubicBezTo>
                <a:cubicBezTo>
                  <a:pt x="923" y="222"/>
                  <a:pt x="923" y="222"/>
                  <a:pt x="923" y="222"/>
                </a:cubicBezTo>
                <a:cubicBezTo>
                  <a:pt x="923" y="221"/>
                  <a:pt x="922" y="219"/>
                  <a:pt x="919" y="214"/>
                </a:cubicBezTo>
                <a:cubicBezTo>
                  <a:pt x="919" y="214"/>
                  <a:pt x="919" y="214"/>
                  <a:pt x="919" y="214"/>
                </a:cubicBezTo>
                <a:cubicBezTo>
                  <a:pt x="916" y="207"/>
                  <a:pt x="867" y="118"/>
                  <a:pt x="838" y="64"/>
                </a:cubicBezTo>
                <a:cubicBezTo>
                  <a:pt x="838" y="64"/>
                  <a:pt x="838" y="64"/>
                  <a:pt x="838" y="64"/>
                </a:cubicBezTo>
                <a:cubicBezTo>
                  <a:pt x="836" y="61"/>
                  <a:pt x="837" y="56"/>
                  <a:pt x="841" y="54"/>
                </a:cubicBezTo>
                <a:cubicBezTo>
                  <a:pt x="841" y="54"/>
                  <a:pt x="841" y="54"/>
                  <a:pt x="841" y="54"/>
                </a:cubicBezTo>
                <a:cubicBezTo>
                  <a:pt x="845" y="51"/>
                  <a:pt x="850" y="53"/>
                  <a:pt x="852" y="57"/>
                </a:cubicBezTo>
                <a:cubicBezTo>
                  <a:pt x="852" y="57"/>
                  <a:pt x="852" y="57"/>
                  <a:pt x="852" y="57"/>
                </a:cubicBezTo>
                <a:cubicBezTo>
                  <a:pt x="882" y="111"/>
                  <a:pt x="930" y="199"/>
                  <a:pt x="934" y="207"/>
                </a:cubicBezTo>
                <a:cubicBezTo>
                  <a:pt x="934" y="207"/>
                  <a:pt x="934" y="207"/>
                  <a:pt x="934" y="207"/>
                </a:cubicBezTo>
                <a:cubicBezTo>
                  <a:pt x="936" y="211"/>
                  <a:pt x="937" y="214"/>
                  <a:pt x="939" y="217"/>
                </a:cubicBezTo>
                <a:cubicBezTo>
                  <a:pt x="939" y="217"/>
                  <a:pt x="939" y="217"/>
                  <a:pt x="939" y="217"/>
                </a:cubicBezTo>
                <a:cubicBezTo>
                  <a:pt x="940" y="221"/>
                  <a:pt x="940" y="224"/>
                  <a:pt x="940" y="227"/>
                </a:cubicBezTo>
                <a:cubicBezTo>
                  <a:pt x="940" y="227"/>
                  <a:pt x="940" y="227"/>
                  <a:pt x="940" y="227"/>
                </a:cubicBezTo>
                <a:cubicBezTo>
                  <a:pt x="940" y="231"/>
                  <a:pt x="939" y="234"/>
                  <a:pt x="938" y="237"/>
                </a:cubicBezTo>
                <a:cubicBezTo>
                  <a:pt x="938" y="237"/>
                  <a:pt x="938" y="237"/>
                  <a:pt x="938" y="237"/>
                </a:cubicBezTo>
                <a:cubicBezTo>
                  <a:pt x="937" y="240"/>
                  <a:pt x="936" y="243"/>
                  <a:pt x="934" y="247"/>
                </a:cubicBezTo>
                <a:cubicBezTo>
                  <a:pt x="934" y="247"/>
                  <a:pt x="934" y="247"/>
                  <a:pt x="934" y="247"/>
                </a:cubicBezTo>
                <a:cubicBezTo>
                  <a:pt x="933" y="248"/>
                  <a:pt x="933" y="248"/>
                  <a:pt x="933" y="248"/>
                </a:cubicBezTo>
                <a:cubicBezTo>
                  <a:pt x="837" y="424"/>
                  <a:pt x="837" y="424"/>
                  <a:pt x="837" y="424"/>
                </a:cubicBezTo>
                <a:cubicBezTo>
                  <a:pt x="832" y="433"/>
                  <a:pt x="829" y="439"/>
                  <a:pt x="828" y="442"/>
                </a:cubicBezTo>
                <a:cubicBezTo>
                  <a:pt x="828" y="442"/>
                  <a:pt x="828" y="442"/>
                  <a:pt x="828" y="442"/>
                </a:cubicBezTo>
                <a:cubicBezTo>
                  <a:pt x="823" y="450"/>
                  <a:pt x="815" y="454"/>
                  <a:pt x="807" y="454"/>
                </a:cubicBezTo>
                <a:cubicBezTo>
                  <a:pt x="807" y="454"/>
                  <a:pt x="807" y="454"/>
                  <a:pt x="807" y="454"/>
                </a:cubicBezTo>
                <a:cubicBezTo>
                  <a:pt x="807" y="454"/>
                  <a:pt x="807" y="454"/>
                  <a:pt x="807" y="454"/>
                </a:cubicBezTo>
                <a:cubicBezTo>
                  <a:pt x="807" y="454"/>
                  <a:pt x="807" y="454"/>
                  <a:pt x="807" y="454"/>
                </a:cubicBezTo>
                <a:cubicBezTo>
                  <a:pt x="801" y="454"/>
                  <a:pt x="796" y="452"/>
                  <a:pt x="792" y="447"/>
                </a:cubicBezTo>
                <a:close/>
              </a:path>
            </a:pathLst>
          </a:custGeom>
          <a:solidFill>
            <a:schemeClr val="bg1"/>
          </a:solidFill>
          <a:ln w="9525">
            <a:solidFill>
              <a:schemeClr val="bg1"/>
            </a:solidFill>
            <a:round/>
            <a:headEnd/>
            <a:tailEnd/>
          </a:ln>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0" fontAlgn="auto" latinLnBrk="0" hangingPunct="0">
              <a:lnSpc>
                <a:spcPct val="100000"/>
              </a:lnSpc>
              <a:spcBef>
                <a:spcPct val="0"/>
              </a:spcBef>
              <a:spcAft>
                <a:spcPts val="0"/>
              </a:spcAft>
              <a:buClrTx/>
              <a:buSzTx/>
              <a:buFont typeface="Arial" pitchFamily="34" charset="0"/>
              <a:buNone/>
              <a:tabLst/>
              <a:defRPr/>
            </a:pPr>
            <a:r>
              <a:rPr kumimoji="0" lang="en-US" altLang="en-US" sz="2000" b="0" i="0" u="none" strike="noStrike" kern="0" cap="none" spc="0" normalizeH="0" baseline="0" noProof="0">
                <a:ln>
                  <a:noFill/>
                </a:ln>
                <a:solidFill>
                  <a:schemeClr val="bg1"/>
                </a:solidFill>
                <a:effectLst/>
                <a:uLnTx/>
                <a:uFillTx/>
                <a:latin typeface="Arial" pitchFamily="34" charset="0"/>
              </a:rPr>
              <a:t> NW Slice Commissioning</a:t>
            </a:r>
            <a:endParaRPr kumimoji="0" lang="en-US" altLang="en-US" sz="2000" b="0" i="0" u="none" strike="noStrike" kern="0" cap="none" spc="0" normalizeH="0" baseline="0" noProof="0" dirty="0">
              <a:ln>
                <a:noFill/>
              </a:ln>
              <a:solidFill>
                <a:schemeClr val="bg1"/>
              </a:solidFill>
              <a:effectLst/>
              <a:uLnTx/>
              <a:uFillTx/>
              <a:latin typeface="Arial" pitchFamily="34" charset="0"/>
            </a:endParaRPr>
          </a:p>
        </p:txBody>
      </p:sp>
      <p:sp>
        <p:nvSpPr>
          <p:cNvPr id="10" name="Freeform 26"/>
          <p:cNvSpPr>
            <a:spLocks noChangeAspect="1"/>
          </p:cNvSpPr>
          <p:nvPr/>
        </p:nvSpPr>
        <p:spPr bwMode="auto">
          <a:xfrm>
            <a:off x="267478" y="1509486"/>
            <a:ext cx="1789112" cy="1701800"/>
          </a:xfrm>
          <a:custGeom>
            <a:avLst/>
            <a:gdLst>
              <a:gd name="T0" fmla="*/ 2147483647 w 477"/>
              <a:gd name="T1" fmla="*/ 2147483647 h 454"/>
              <a:gd name="T2" fmla="*/ 2147483647 w 477"/>
              <a:gd name="T3" fmla="*/ 2147483647 h 454"/>
              <a:gd name="T4" fmla="*/ 0 w 477"/>
              <a:gd name="T5" fmla="*/ 2147483647 h 454"/>
              <a:gd name="T6" fmla="*/ 2147483647 w 477"/>
              <a:gd name="T7" fmla="*/ 2147483647 h 454"/>
              <a:gd name="T8" fmla="*/ 2147483647 w 477"/>
              <a:gd name="T9" fmla="*/ 2147483647 h 454"/>
              <a:gd name="T10" fmla="*/ 2147483647 w 477"/>
              <a:gd name="T11" fmla="*/ 2147483647 h 454"/>
              <a:gd name="T12" fmla="*/ 2147483647 w 477"/>
              <a:gd name="T13" fmla="*/ 2147483647 h 454"/>
              <a:gd name="T14" fmla="*/ 2147483647 w 477"/>
              <a:gd name="T15" fmla="*/ 2147483647 h 454"/>
              <a:gd name="T16" fmla="*/ 2147483647 w 477"/>
              <a:gd name="T17" fmla="*/ 2147483647 h 454"/>
              <a:gd name="T18" fmla="*/ 0 w 477"/>
              <a:gd name="T19" fmla="*/ 2147483647 h 454"/>
              <a:gd name="T20" fmla="*/ 2147483647 w 477"/>
              <a:gd name="T21" fmla="*/ 2147483647 h 454"/>
              <a:gd name="T22" fmla="*/ 2147483647 w 477"/>
              <a:gd name="T23" fmla="*/ 2147483647 h 454"/>
              <a:gd name="T24" fmla="*/ 2147483647 w 477"/>
              <a:gd name="T25" fmla="*/ 2147483647 h 454"/>
              <a:gd name="T26" fmla="*/ 2147483647 w 477"/>
              <a:gd name="T27" fmla="*/ 2147483647 h 454"/>
              <a:gd name="T28" fmla="*/ 2147483647 w 477"/>
              <a:gd name="T29" fmla="*/ 2147483647 h 454"/>
              <a:gd name="T30" fmla="*/ 2147483647 w 477"/>
              <a:gd name="T31" fmla="*/ 2147483647 h 454"/>
              <a:gd name="T32" fmla="*/ 2147483647 w 477"/>
              <a:gd name="T33" fmla="*/ 2147483647 h 454"/>
              <a:gd name="T34" fmla="*/ 2147483647 w 477"/>
              <a:gd name="T35" fmla="*/ 2147483647 h 454"/>
              <a:gd name="T36" fmla="*/ 2147483647 w 477"/>
              <a:gd name="T37" fmla="*/ 2147483647 h 454"/>
              <a:gd name="T38" fmla="*/ 2147483647 w 477"/>
              <a:gd name="T39" fmla="*/ 2147483647 h 454"/>
              <a:gd name="T40" fmla="*/ 2147483647 w 477"/>
              <a:gd name="T41" fmla="*/ 2147483647 h 454"/>
              <a:gd name="T42" fmla="*/ 2147483647 w 477"/>
              <a:gd name="T43" fmla="*/ 2147483647 h 454"/>
              <a:gd name="T44" fmla="*/ 2147483647 w 477"/>
              <a:gd name="T45" fmla="*/ 2147483647 h 454"/>
              <a:gd name="T46" fmla="*/ 2147483647 w 477"/>
              <a:gd name="T47" fmla="*/ 2147483647 h 454"/>
              <a:gd name="T48" fmla="*/ 2147483647 w 477"/>
              <a:gd name="T49" fmla="*/ 2147483647 h 454"/>
              <a:gd name="T50" fmla="*/ 2147483647 w 477"/>
              <a:gd name="T51" fmla="*/ 2147483647 h 454"/>
              <a:gd name="T52" fmla="*/ 2147483647 w 477"/>
              <a:gd name="T53" fmla="*/ 2147483647 h 454"/>
              <a:gd name="T54" fmla="*/ 2147483647 w 477"/>
              <a:gd name="T55" fmla="*/ 2147483647 h 454"/>
              <a:gd name="T56" fmla="*/ 2147483647 w 477"/>
              <a:gd name="T57" fmla="*/ 2147483647 h 454"/>
              <a:gd name="T58" fmla="*/ 2147483647 w 477"/>
              <a:gd name="T59" fmla="*/ 2147483647 h 454"/>
              <a:gd name="T60" fmla="*/ 2147483647 w 477"/>
              <a:gd name="T61" fmla="*/ 2147483647 h 454"/>
              <a:gd name="T62" fmla="*/ 2147483647 w 477"/>
              <a:gd name="T63" fmla="*/ 2147483647 h 454"/>
              <a:gd name="T64" fmla="*/ 2147483647 w 477"/>
              <a:gd name="T65" fmla="*/ 2147483647 h 454"/>
              <a:gd name="T66" fmla="*/ 2147483647 w 477"/>
              <a:gd name="T67" fmla="*/ 2147483647 h 454"/>
              <a:gd name="T68" fmla="*/ 2147483647 w 477"/>
              <a:gd name="T69" fmla="*/ 2147483647 h 454"/>
              <a:gd name="T70" fmla="*/ 2147483647 w 477"/>
              <a:gd name="T71" fmla="*/ 2147483647 h 454"/>
              <a:gd name="T72" fmla="*/ 2147483647 w 477"/>
              <a:gd name="T73" fmla="*/ 2147483647 h 454"/>
              <a:gd name="T74" fmla="*/ 2147483647 w 477"/>
              <a:gd name="T75" fmla="*/ 2147483647 h 454"/>
              <a:gd name="T76" fmla="*/ 2147483647 w 477"/>
              <a:gd name="T77" fmla="*/ 2147483647 h 454"/>
              <a:gd name="T78" fmla="*/ 2147483647 w 477"/>
              <a:gd name="T79" fmla="*/ 2147483647 h 454"/>
              <a:gd name="T80" fmla="*/ 2147483647 w 477"/>
              <a:gd name="T81" fmla="*/ 2147483647 h 454"/>
              <a:gd name="T82" fmla="*/ 2147483647 w 477"/>
              <a:gd name="T83" fmla="*/ 2147483647 h 454"/>
              <a:gd name="T84" fmla="*/ 2147483647 w 477"/>
              <a:gd name="T85" fmla="*/ 2147483647 h 4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7"/>
              <a:gd name="T130" fmla="*/ 0 h 454"/>
              <a:gd name="T131" fmla="*/ 477 w 477"/>
              <a:gd name="T132" fmla="*/ 454 h 4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7" h="454">
                <a:moveTo>
                  <a:pt x="329" y="447"/>
                </a:moveTo>
                <a:cubicBezTo>
                  <a:pt x="325" y="442"/>
                  <a:pt x="323" y="436"/>
                  <a:pt x="323" y="428"/>
                </a:cubicBezTo>
                <a:cubicBezTo>
                  <a:pt x="323" y="428"/>
                  <a:pt x="323" y="428"/>
                  <a:pt x="323" y="428"/>
                </a:cubicBezTo>
                <a:cubicBezTo>
                  <a:pt x="323" y="426"/>
                  <a:pt x="323" y="423"/>
                  <a:pt x="323" y="420"/>
                </a:cubicBezTo>
                <a:cubicBezTo>
                  <a:pt x="323" y="420"/>
                  <a:pt x="323" y="420"/>
                  <a:pt x="323" y="420"/>
                </a:cubicBezTo>
                <a:cubicBezTo>
                  <a:pt x="22" y="420"/>
                  <a:pt x="22" y="420"/>
                  <a:pt x="22" y="420"/>
                </a:cubicBezTo>
                <a:cubicBezTo>
                  <a:pt x="16" y="420"/>
                  <a:pt x="11" y="418"/>
                  <a:pt x="6" y="414"/>
                </a:cubicBezTo>
                <a:cubicBezTo>
                  <a:pt x="6" y="414"/>
                  <a:pt x="6" y="414"/>
                  <a:pt x="6" y="414"/>
                </a:cubicBezTo>
                <a:cubicBezTo>
                  <a:pt x="2" y="410"/>
                  <a:pt x="0" y="404"/>
                  <a:pt x="0" y="398"/>
                </a:cubicBezTo>
                <a:cubicBezTo>
                  <a:pt x="0" y="398"/>
                  <a:pt x="0" y="398"/>
                  <a:pt x="0" y="398"/>
                </a:cubicBezTo>
                <a:cubicBezTo>
                  <a:pt x="0" y="393"/>
                  <a:pt x="1" y="389"/>
                  <a:pt x="3" y="386"/>
                </a:cubicBezTo>
                <a:cubicBezTo>
                  <a:pt x="3" y="386"/>
                  <a:pt x="3" y="386"/>
                  <a:pt x="3" y="386"/>
                </a:cubicBezTo>
                <a:cubicBezTo>
                  <a:pt x="3" y="386"/>
                  <a:pt x="22" y="351"/>
                  <a:pt x="41" y="316"/>
                </a:cubicBezTo>
                <a:cubicBezTo>
                  <a:pt x="41" y="316"/>
                  <a:pt x="41" y="316"/>
                  <a:pt x="41" y="316"/>
                </a:cubicBezTo>
                <a:cubicBezTo>
                  <a:pt x="61" y="280"/>
                  <a:pt x="81" y="243"/>
                  <a:pt x="82" y="240"/>
                </a:cubicBezTo>
                <a:cubicBezTo>
                  <a:pt x="82" y="240"/>
                  <a:pt x="82" y="240"/>
                  <a:pt x="82" y="240"/>
                </a:cubicBezTo>
                <a:cubicBezTo>
                  <a:pt x="85" y="235"/>
                  <a:pt x="86" y="233"/>
                  <a:pt x="86" y="232"/>
                </a:cubicBezTo>
                <a:cubicBezTo>
                  <a:pt x="86" y="232"/>
                  <a:pt x="86" y="232"/>
                  <a:pt x="86" y="232"/>
                </a:cubicBezTo>
                <a:cubicBezTo>
                  <a:pt x="87" y="231"/>
                  <a:pt x="87" y="231"/>
                  <a:pt x="87" y="227"/>
                </a:cubicBezTo>
                <a:cubicBezTo>
                  <a:pt x="87" y="227"/>
                  <a:pt x="87" y="227"/>
                  <a:pt x="87" y="227"/>
                </a:cubicBezTo>
                <a:cubicBezTo>
                  <a:pt x="87" y="224"/>
                  <a:pt x="87" y="223"/>
                  <a:pt x="86" y="222"/>
                </a:cubicBezTo>
                <a:cubicBezTo>
                  <a:pt x="86" y="222"/>
                  <a:pt x="86" y="222"/>
                  <a:pt x="86" y="222"/>
                </a:cubicBezTo>
                <a:cubicBezTo>
                  <a:pt x="86" y="221"/>
                  <a:pt x="85" y="219"/>
                  <a:pt x="82" y="214"/>
                </a:cubicBezTo>
                <a:cubicBezTo>
                  <a:pt x="82" y="214"/>
                  <a:pt x="82" y="214"/>
                  <a:pt x="82" y="214"/>
                </a:cubicBezTo>
                <a:cubicBezTo>
                  <a:pt x="81" y="211"/>
                  <a:pt x="61" y="174"/>
                  <a:pt x="41" y="139"/>
                </a:cubicBezTo>
                <a:cubicBezTo>
                  <a:pt x="41" y="139"/>
                  <a:pt x="41" y="139"/>
                  <a:pt x="41" y="139"/>
                </a:cubicBezTo>
                <a:cubicBezTo>
                  <a:pt x="22" y="103"/>
                  <a:pt x="3" y="68"/>
                  <a:pt x="2" y="68"/>
                </a:cubicBezTo>
                <a:cubicBezTo>
                  <a:pt x="2" y="68"/>
                  <a:pt x="2" y="68"/>
                  <a:pt x="2" y="68"/>
                </a:cubicBezTo>
                <a:cubicBezTo>
                  <a:pt x="1" y="65"/>
                  <a:pt x="0" y="61"/>
                  <a:pt x="0" y="56"/>
                </a:cubicBezTo>
                <a:cubicBezTo>
                  <a:pt x="0" y="56"/>
                  <a:pt x="0" y="56"/>
                  <a:pt x="0" y="56"/>
                </a:cubicBezTo>
                <a:cubicBezTo>
                  <a:pt x="0" y="50"/>
                  <a:pt x="2" y="44"/>
                  <a:pt x="6" y="40"/>
                </a:cubicBezTo>
                <a:cubicBezTo>
                  <a:pt x="6" y="40"/>
                  <a:pt x="6" y="40"/>
                  <a:pt x="6" y="40"/>
                </a:cubicBezTo>
                <a:cubicBezTo>
                  <a:pt x="11" y="36"/>
                  <a:pt x="16" y="34"/>
                  <a:pt x="22" y="34"/>
                </a:cubicBezTo>
                <a:cubicBezTo>
                  <a:pt x="22" y="34"/>
                  <a:pt x="22" y="34"/>
                  <a:pt x="22" y="34"/>
                </a:cubicBezTo>
                <a:cubicBezTo>
                  <a:pt x="323" y="34"/>
                  <a:pt x="323" y="34"/>
                  <a:pt x="323" y="34"/>
                </a:cubicBezTo>
                <a:cubicBezTo>
                  <a:pt x="323" y="31"/>
                  <a:pt x="323" y="28"/>
                  <a:pt x="323" y="26"/>
                </a:cubicBezTo>
                <a:cubicBezTo>
                  <a:pt x="323" y="26"/>
                  <a:pt x="323" y="26"/>
                  <a:pt x="323" y="26"/>
                </a:cubicBezTo>
                <a:cubicBezTo>
                  <a:pt x="323" y="19"/>
                  <a:pt x="325" y="12"/>
                  <a:pt x="329" y="7"/>
                </a:cubicBezTo>
                <a:cubicBezTo>
                  <a:pt x="329" y="7"/>
                  <a:pt x="329" y="7"/>
                  <a:pt x="329" y="7"/>
                </a:cubicBezTo>
                <a:cubicBezTo>
                  <a:pt x="333" y="3"/>
                  <a:pt x="339" y="0"/>
                  <a:pt x="345" y="0"/>
                </a:cubicBezTo>
                <a:cubicBezTo>
                  <a:pt x="345" y="0"/>
                  <a:pt x="345" y="0"/>
                  <a:pt x="345" y="0"/>
                </a:cubicBezTo>
                <a:cubicBezTo>
                  <a:pt x="353" y="0"/>
                  <a:pt x="360" y="5"/>
                  <a:pt x="365" y="13"/>
                </a:cubicBezTo>
                <a:cubicBezTo>
                  <a:pt x="365" y="13"/>
                  <a:pt x="365" y="13"/>
                  <a:pt x="365" y="13"/>
                </a:cubicBezTo>
                <a:cubicBezTo>
                  <a:pt x="366" y="15"/>
                  <a:pt x="370" y="21"/>
                  <a:pt x="374" y="30"/>
                </a:cubicBezTo>
                <a:cubicBezTo>
                  <a:pt x="374" y="30"/>
                  <a:pt x="374" y="30"/>
                  <a:pt x="374" y="30"/>
                </a:cubicBezTo>
                <a:cubicBezTo>
                  <a:pt x="374" y="30"/>
                  <a:pt x="374" y="30"/>
                  <a:pt x="374" y="30"/>
                </a:cubicBezTo>
                <a:cubicBezTo>
                  <a:pt x="377" y="34"/>
                  <a:pt x="375" y="39"/>
                  <a:pt x="371" y="41"/>
                </a:cubicBezTo>
                <a:cubicBezTo>
                  <a:pt x="371" y="41"/>
                  <a:pt x="371" y="41"/>
                  <a:pt x="371" y="41"/>
                </a:cubicBezTo>
                <a:cubicBezTo>
                  <a:pt x="367" y="43"/>
                  <a:pt x="363" y="41"/>
                  <a:pt x="360" y="38"/>
                </a:cubicBezTo>
                <a:cubicBezTo>
                  <a:pt x="360" y="38"/>
                  <a:pt x="360" y="38"/>
                  <a:pt x="360" y="38"/>
                </a:cubicBezTo>
                <a:cubicBezTo>
                  <a:pt x="356" y="29"/>
                  <a:pt x="352" y="22"/>
                  <a:pt x="351" y="21"/>
                </a:cubicBezTo>
                <a:cubicBezTo>
                  <a:pt x="351" y="21"/>
                  <a:pt x="351" y="21"/>
                  <a:pt x="351" y="21"/>
                </a:cubicBezTo>
                <a:cubicBezTo>
                  <a:pt x="349" y="17"/>
                  <a:pt x="346" y="16"/>
                  <a:pt x="345" y="16"/>
                </a:cubicBezTo>
                <a:cubicBezTo>
                  <a:pt x="345" y="16"/>
                  <a:pt x="345" y="16"/>
                  <a:pt x="345" y="16"/>
                </a:cubicBezTo>
                <a:cubicBezTo>
                  <a:pt x="342" y="16"/>
                  <a:pt x="339" y="17"/>
                  <a:pt x="339" y="26"/>
                </a:cubicBezTo>
                <a:cubicBezTo>
                  <a:pt x="339" y="26"/>
                  <a:pt x="339" y="26"/>
                  <a:pt x="339" y="26"/>
                </a:cubicBezTo>
                <a:cubicBezTo>
                  <a:pt x="339" y="30"/>
                  <a:pt x="339" y="36"/>
                  <a:pt x="339" y="42"/>
                </a:cubicBezTo>
                <a:cubicBezTo>
                  <a:pt x="339" y="42"/>
                  <a:pt x="339" y="42"/>
                  <a:pt x="339" y="42"/>
                </a:cubicBezTo>
                <a:cubicBezTo>
                  <a:pt x="338" y="47"/>
                  <a:pt x="335" y="50"/>
                  <a:pt x="331" y="50"/>
                </a:cubicBezTo>
                <a:cubicBezTo>
                  <a:pt x="331" y="50"/>
                  <a:pt x="331" y="50"/>
                  <a:pt x="331" y="50"/>
                </a:cubicBezTo>
                <a:cubicBezTo>
                  <a:pt x="22" y="50"/>
                  <a:pt x="22" y="50"/>
                  <a:pt x="22" y="50"/>
                </a:cubicBezTo>
                <a:cubicBezTo>
                  <a:pt x="19" y="50"/>
                  <a:pt x="18" y="51"/>
                  <a:pt x="17" y="52"/>
                </a:cubicBezTo>
                <a:cubicBezTo>
                  <a:pt x="17" y="52"/>
                  <a:pt x="17" y="52"/>
                  <a:pt x="17" y="52"/>
                </a:cubicBezTo>
                <a:cubicBezTo>
                  <a:pt x="17" y="53"/>
                  <a:pt x="16" y="53"/>
                  <a:pt x="16" y="56"/>
                </a:cubicBezTo>
                <a:cubicBezTo>
                  <a:pt x="16" y="56"/>
                  <a:pt x="16" y="56"/>
                  <a:pt x="16" y="56"/>
                </a:cubicBezTo>
                <a:cubicBezTo>
                  <a:pt x="16" y="58"/>
                  <a:pt x="16" y="60"/>
                  <a:pt x="17" y="60"/>
                </a:cubicBezTo>
                <a:cubicBezTo>
                  <a:pt x="17" y="60"/>
                  <a:pt x="17" y="60"/>
                  <a:pt x="17" y="60"/>
                </a:cubicBezTo>
                <a:cubicBezTo>
                  <a:pt x="17" y="60"/>
                  <a:pt x="93" y="199"/>
                  <a:pt x="96" y="207"/>
                </a:cubicBezTo>
                <a:cubicBezTo>
                  <a:pt x="96" y="207"/>
                  <a:pt x="96" y="207"/>
                  <a:pt x="96" y="207"/>
                </a:cubicBezTo>
                <a:cubicBezTo>
                  <a:pt x="99" y="211"/>
                  <a:pt x="100" y="214"/>
                  <a:pt x="102" y="217"/>
                </a:cubicBezTo>
                <a:cubicBezTo>
                  <a:pt x="102" y="217"/>
                  <a:pt x="102" y="217"/>
                  <a:pt x="102" y="217"/>
                </a:cubicBezTo>
                <a:cubicBezTo>
                  <a:pt x="103" y="221"/>
                  <a:pt x="103" y="224"/>
                  <a:pt x="103" y="227"/>
                </a:cubicBezTo>
                <a:cubicBezTo>
                  <a:pt x="103" y="227"/>
                  <a:pt x="103" y="227"/>
                  <a:pt x="103" y="227"/>
                </a:cubicBezTo>
                <a:cubicBezTo>
                  <a:pt x="103" y="231"/>
                  <a:pt x="103" y="234"/>
                  <a:pt x="102" y="237"/>
                </a:cubicBezTo>
                <a:cubicBezTo>
                  <a:pt x="102" y="237"/>
                  <a:pt x="102" y="237"/>
                  <a:pt x="102" y="237"/>
                </a:cubicBezTo>
                <a:cubicBezTo>
                  <a:pt x="100" y="240"/>
                  <a:pt x="99" y="243"/>
                  <a:pt x="96" y="247"/>
                </a:cubicBezTo>
                <a:cubicBezTo>
                  <a:pt x="96" y="247"/>
                  <a:pt x="96" y="247"/>
                  <a:pt x="96" y="247"/>
                </a:cubicBezTo>
                <a:cubicBezTo>
                  <a:pt x="93" y="255"/>
                  <a:pt x="17" y="394"/>
                  <a:pt x="17" y="394"/>
                </a:cubicBezTo>
                <a:cubicBezTo>
                  <a:pt x="17" y="394"/>
                  <a:pt x="17" y="394"/>
                  <a:pt x="17" y="394"/>
                </a:cubicBezTo>
                <a:cubicBezTo>
                  <a:pt x="16" y="395"/>
                  <a:pt x="16" y="396"/>
                  <a:pt x="16" y="398"/>
                </a:cubicBezTo>
                <a:cubicBezTo>
                  <a:pt x="16" y="398"/>
                  <a:pt x="16" y="398"/>
                  <a:pt x="16" y="398"/>
                </a:cubicBezTo>
                <a:cubicBezTo>
                  <a:pt x="16" y="401"/>
                  <a:pt x="17" y="402"/>
                  <a:pt x="17" y="402"/>
                </a:cubicBezTo>
                <a:cubicBezTo>
                  <a:pt x="17" y="402"/>
                  <a:pt x="17" y="402"/>
                  <a:pt x="17" y="402"/>
                </a:cubicBezTo>
                <a:cubicBezTo>
                  <a:pt x="18" y="403"/>
                  <a:pt x="19" y="404"/>
                  <a:pt x="22" y="404"/>
                </a:cubicBezTo>
                <a:cubicBezTo>
                  <a:pt x="22" y="404"/>
                  <a:pt x="22" y="404"/>
                  <a:pt x="22" y="404"/>
                </a:cubicBezTo>
                <a:cubicBezTo>
                  <a:pt x="331" y="404"/>
                  <a:pt x="331" y="404"/>
                  <a:pt x="331" y="404"/>
                </a:cubicBezTo>
                <a:cubicBezTo>
                  <a:pt x="335" y="404"/>
                  <a:pt x="338" y="407"/>
                  <a:pt x="339" y="412"/>
                </a:cubicBezTo>
                <a:cubicBezTo>
                  <a:pt x="339" y="412"/>
                  <a:pt x="339" y="412"/>
                  <a:pt x="339" y="412"/>
                </a:cubicBezTo>
                <a:cubicBezTo>
                  <a:pt x="339" y="419"/>
                  <a:pt x="339" y="424"/>
                  <a:pt x="339" y="428"/>
                </a:cubicBezTo>
                <a:cubicBezTo>
                  <a:pt x="339" y="428"/>
                  <a:pt x="339" y="428"/>
                  <a:pt x="339" y="428"/>
                </a:cubicBezTo>
                <a:cubicBezTo>
                  <a:pt x="339" y="437"/>
                  <a:pt x="342" y="438"/>
                  <a:pt x="345" y="438"/>
                </a:cubicBezTo>
                <a:cubicBezTo>
                  <a:pt x="345" y="438"/>
                  <a:pt x="345" y="438"/>
                  <a:pt x="345" y="438"/>
                </a:cubicBezTo>
                <a:cubicBezTo>
                  <a:pt x="346" y="438"/>
                  <a:pt x="349" y="437"/>
                  <a:pt x="351" y="434"/>
                </a:cubicBezTo>
                <a:cubicBezTo>
                  <a:pt x="351" y="434"/>
                  <a:pt x="351" y="434"/>
                  <a:pt x="351" y="434"/>
                </a:cubicBezTo>
                <a:cubicBezTo>
                  <a:pt x="352" y="432"/>
                  <a:pt x="356" y="426"/>
                  <a:pt x="360" y="417"/>
                </a:cubicBezTo>
                <a:cubicBezTo>
                  <a:pt x="360" y="417"/>
                  <a:pt x="360" y="417"/>
                  <a:pt x="360" y="417"/>
                </a:cubicBezTo>
                <a:cubicBezTo>
                  <a:pt x="457" y="240"/>
                  <a:pt x="457" y="240"/>
                  <a:pt x="457" y="240"/>
                </a:cubicBezTo>
                <a:cubicBezTo>
                  <a:pt x="459" y="236"/>
                  <a:pt x="460" y="233"/>
                  <a:pt x="461" y="232"/>
                </a:cubicBezTo>
                <a:cubicBezTo>
                  <a:pt x="461" y="232"/>
                  <a:pt x="461" y="232"/>
                  <a:pt x="461" y="232"/>
                </a:cubicBezTo>
                <a:cubicBezTo>
                  <a:pt x="461" y="230"/>
                  <a:pt x="461" y="230"/>
                  <a:pt x="461" y="227"/>
                </a:cubicBezTo>
                <a:cubicBezTo>
                  <a:pt x="461" y="227"/>
                  <a:pt x="461" y="227"/>
                  <a:pt x="461" y="227"/>
                </a:cubicBezTo>
                <a:cubicBezTo>
                  <a:pt x="461" y="224"/>
                  <a:pt x="461" y="223"/>
                  <a:pt x="461" y="222"/>
                </a:cubicBezTo>
                <a:cubicBezTo>
                  <a:pt x="461" y="222"/>
                  <a:pt x="461" y="222"/>
                  <a:pt x="461" y="222"/>
                </a:cubicBezTo>
                <a:cubicBezTo>
                  <a:pt x="460" y="221"/>
                  <a:pt x="459" y="219"/>
                  <a:pt x="457" y="214"/>
                </a:cubicBezTo>
                <a:cubicBezTo>
                  <a:pt x="457" y="214"/>
                  <a:pt x="457" y="214"/>
                  <a:pt x="457" y="214"/>
                </a:cubicBezTo>
                <a:cubicBezTo>
                  <a:pt x="453" y="207"/>
                  <a:pt x="405" y="118"/>
                  <a:pt x="375" y="64"/>
                </a:cubicBezTo>
                <a:cubicBezTo>
                  <a:pt x="375" y="64"/>
                  <a:pt x="375" y="64"/>
                  <a:pt x="375" y="64"/>
                </a:cubicBezTo>
                <a:cubicBezTo>
                  <a:pt x="373" y="61"/>
                  <a:pt x="374" y="56"/>
                  <a:pt x="378" y="54"/>
                </a:cubicBezTo>
                <a:cubicBezTo>
                  <a:pt x="378" y="54"/>
                  <a:pt x="378" y="54"/>
                  <a:pt x="378" y="54"/>
                </a:cubicBezTo>
                <a:cubicBezTo>
                  <a:pt x="382" y="51"/>
                  <a:pt x="387" y="53"/>
                  <a:pt x="389" y="57"/>
                </a:cubicBezTo>
                <a:cubicBezTo>
                  <a:pt x="389" y="57"/>
                  <a:pt x="389" y="57"/>
                  <a:pt x="389" y="57"/>
                </a:cubicBezTo>
                <a:cubicBezTo>
                  <a:pt x="419" y="111"/>
                  <a:pt x="467" y="199"/>
                  <a:pt x="471" y="207"/>
                </a:cubicBezTo>
                <a:cubicBezTo>
                  <a:pt x="471" y="207"/>
                  <a:pt x="471" y="207"/>
                  <a:pt x="471" y="207"/>
                </a:cubicBezTo>
                <a:cubicBezTo>
                  <a:pt x="473" y="211"/>
                  <a:pt x="475" y="214"/>
                  <a:pt x="476" y="217"/>
                </a:cubicBezTo>
                <a:cubicBezTo>
                  <a:pt x="476" y="217"/>
                  <a:pt x="476" y="217"/>
                  <a:pt x="476" y="217"/>
                </a:cubicBezTo>
                <a:cubicBezTo>
                  <a:pt x="477" y="221"/>
                  <a:pt x="477" y="224"/>
                  <a:pt x="477" y="227"/>
                </a:cubicBezTo>
                <a:cubicBezTo>
                  <a:pt x="477" y="227"/>
                  <a:pt x="477" y="227"/>
                  <a:pt x="477" y="227"/>
                </a:cubicBezTo>
                <a:cubicBezTo>
                  <a:pt x="477" y="231"/>
                  <a:pt x="477" y="234"/>
                  <a:pt x="475" y="237"/>
                </a:cubicBezTo>
                <a:cubicBezTo>
                  <a:pt x="475" y="237"/>
                  <a:pt x="475" y="237"/>
                  <a:pt x="475" y="237"/>
                </a:cubicBezTo>
                <a:cubicBezTo>
                  <a:pt x="474" y="240"/>
                  <a:pt x="473" y="243"/>
                  <a:pt x="471" y="247"/>
                </a:cubicBezTo>
                <a:cubicBezTo>
                  <a:pt x="471" y="247"/>
                  <a:pt x="471" y="247"/>
                  <a:pt x="471" y="247"/>
                </a:cubicBezTo>
                <a:cubicBezTo>
                  <a:pt x="471" y="248"/>
                  <a:pt x="471" y="248"/>
                  <a:pt x="471" y="248"/>
                </a:cubicBezTo>
                <a:cubicBezTo>
                  <a:pt x="374" y="424"/>
                  <a:pt x="374" y="424"/>
                  <a:pt x="374" y="424"/>
                </a:cubicBezTo>
                <a:cubicBezTo>
                  <a:pt x="370" y="433"/>
                  <a:pt x="366" y="439"/>
                  <a:pt x="365" y="442"/>
                </a:cubicBezTo>
                <a:cubicBezTo>
                  <a:pt x="365" y="442"/>
                  <a:pt x="365" y="442"/>
                  <a:pt x="365" y="442"/>
                </a:cubicBezTo>
                <a:cubicBezTo>
                  <a:pt x="360" y="450"/>
                  <a:pt x="353" y="454"/>
                  <a:pt x="345" y="454"/>
                </a:cubicBezTo>
                <a:cubicBezTo>
                  <a:pt x="345" y="454"/>
                  <a:pt x="345" y="454"/>
                  <a:pt x="345" y="454"/>
                </a:cubicBezTo>
                <a:cubicBezTo>
                  <a:pt x="345" y="454"/>
                  <a:pt x="345" y="454"/>
                  <a:pt x="344" y="454"/>
                </a:cubicBezTo>
                <a:cubicBezTo>
                  <a:pt x="344" y="454"/>
                  <a:pt x="344" y="454"/>
                  <a:pt x="344" y="454"/>
                </a:cubicBezTo>
                <a:cubicBezTo>
                  <a:pt x="339" y="454"/>
                  <a:pt x="333" y="452"/>
                  <a:pt x="329" y="447"/>
                </a:cubicBezTo>
                <a:close/>
              </a:path>
            </a:pathLst>
          </a:custGeom>
          <a:solidFill>
            <a:schemeClr val="bg1"/>
          </a:solidFill>
          <a:ln w="9525">
            <a:solidFill>
              <a:schemeClr val="bg1"/>
            </a:solidFill>
            <a:round/>
            <a:headEnd/>
            <a:tailEnd/>
          </a:ln>
          <a:extLst/>
        </p:spPr>
        <p:txBody>
          <a:bodyPr lIns="360000" rIns="180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000" b="0" i="0" u="none" strike="noStrike" kern="0" cap="none" spc="0" normalizeH="0" baseline="0" noProof="0" dirty="0">
                <a:ln>
                  <a:noFill/>
                </a:ln>
                <a:solidFill>
                  <a:schemeClr val="bg1"/>
                </a:solidFill>
                <a:effectLst/>
                <a:uLnTx/>
                <a:uFillTx/>
                <a:latin typeface="Arial" pitchFamily="34" charset="0"/>
              </a:rPr>
              <a:t>NW Slice   Design</a:t>
            </a:r>
          </a:p>
        </p:txBody>
      </p:sp>
      <p:sp>
        <p:nvSpPr>
          <p:cNvPr id="11" name="Rektangel med rundade hörn 134"/>
          <p:cNvSpPr>
            <a:spLocks noChangeArrowheads="1"/>
          </p:cNvSpPr>
          <p:nvPr/>
        </p:nvSpPr>
        <p:spPr bwMode="auto">
          <a:xfrm>
            <a:off x="267478" y="3522306"/>
            <a:ext cx="1711224" cy="2878494"/>
          </a:xfrm>
          <a:prstGeom prst="roundRect">
            <a:avLst>
              <a:gd name="adj" fmla="val 4023"/>
            </a:avLst>
          </a:prstGeom>
          <a:solidFill>
            <a:schemeClr val="bg1">
              <a:alpha val="83136"/>
            </a:schemeClr>
          </a:solidFill>
          <a:ln w="12700" algn="ctr">
            <a:solidFill>
              <a:schemeClr val="bg1">
                <a:alpha val="34117"/>
              </a:schemeClr>
            </a:solidFill>
            <a:round/>
            <a:headEnd/>
            <a:tailEnd/>
          </a:ln>
        </p:spPr>
        <p:txBody>
          <a:bodyPr wrap="square" lIns="72000" rIns="72000" anchor="ctr" anchorCtr="1"/>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2000" b="0" i="0" u="none" strike="noStrike" kern="0" cap="none" spc="0" normalizeH="0" baseline="0" noProof="0" dirty="0">
              <a:ln>
                <a:noFill/>
              </a:ln>
              <a:solidFill>
                <a:srgbClr val="58585A"/>
              </a:solidFill>
              <a:effectLst/>
              <a:uLnTx/>
              <a:uFillTx/>
              <a:latin typeface="Arial" pitchFamily="34" charset="0"/>
              <a:cs typeface="Arial" pitchFamily="34" charset="0"/>
            </a:endParaRPr>
          </a:p>
        </p:txBody>
      </p:sp>
      <p:sp>
        <p:nvSpPr>
          <p:cNvPr id="12" name="Rektangel med rundade hörn 134"/>
          <p:cNvSpPr>
            <a:spLocks noChangeArrowheads="1"/>
          </p:cNvSpPr>
          <p:nvPr/>
        </p:nvSpPr>
        <p:spPr bwMode="auto">
          <a:xfrm>
            <a:off x="2667000" y="3522306"/>
            <a:ext cx="3349690" cy="2878494"/>
          </a:xfrm>
          <a:prstGeom prst="roundRect">
            <a:avLst>
              <a:gd name="adj" fmla="val 4023"/>
            </a:avLst>
          </a:prstGeom>
          <a:solidFill>
            <a:schemeClr val="bg1">
              <a:alpha val="83136"/>
            </a:schemeClr>
          </a:solidFill>
          <a:ln w="12700" algn="ctr">
            <a:solidFill>
              <a:schemeClr val="bg1">
                <a:alpha val="34117"/>
              </a:schemeClr>
            </a:solidFill>
            <a:round/>
            <a:headEnd/>
            <a:tailEnd/>
          </a:ln>
        </p:spPr>
        <p:txBody>
          <a:bodyPr wrap="square" lIns="72000" rIns="72000" anchor="ctr" anchorCtr="1"/>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2000" b="0" i="0" u="none" strike="noStrike" kern="0" cap="none" spc="0" normalizeH="0" baseline="0" noProof="0" dirty="0">
              <a:ln>
                <a:noFill/>
              </a:ln>
              <a:solidFill>
                <a:srgbClr val="58585A"/>
              </a:solidFill>
              <a:effectLst/>
              <a:uLnTx/>
              <a:uFillTx/>
              <a:latin typeface="Arial" pitchFamily="34" charset="0"/>
              <a:cs typeface="Arial" pitchFamily="34" charset="0"/>
            </a:endParaRPr>
          </a:p>
        </p:txBody>
      </p:sp>
      <p:sp>
        <p:nvSpPr>
          <p:cNvPr id="13" name="Rounded Rectangle 11"/>
          <p:cNvSpPr/>
          <p:nvPr/>
        </p:nvSpPr>
        <p:spPr bwMode="auto">
          <a:xfrm>
            <a:off x="2973355" y="4052602"/>
            <a:ext cx="1295400"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Application Configuration generation</a:t>
            </a:r>
          </a:p>
        </p:txBody>
      </p:sp>
      <p:sp>
        <p:nvSpPr>
          <p:cNvPr id="14" name="Rounded Rectangle 11"/>
          <p:cNvSpPr/>
          <p:nvPr/>
        </p:nvSpPr>
        <p:spPr bwMode="auto">
          <a:xfrm>
            <a:off x="594001" y="4052603"/>
            <a:ext cx="1136065"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Blue Print Design</a:t>
            </a:r>
          </a:p>
        </p:txBody>
      </p:sp>
      <p:sp>
        <p:nvSpPr>
          <p:cNvPr id="15" name="Rounded Rectangle 11"/>
          <p:cNvSpPr/>
          <p:nvPr/>
        </p:nvSpPr>
        <p:spPr bwMode="auto">
          <a:xfrm>
            <a:off x="594000" y="5231355"/>
            <a:ext cx="1136065"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Blue Print Validation</a:t>
            </a:r>
          </a:p>
        </p:txBody>
      </p:sp>
      <p:sp>
        <p:nvSpPr>
          <p:cNvPr id="16" name="Rounded Rectangle 11"/>
          <p:cNvSpPr/>
          <p:nvPr/>
        </p:nvSpPr>
        <p:spPr bwMode="auto">
          <a:xfrm>
            <a:off x="4419601" y="4075161"/>
            <a:ext cx="1216874"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VNF Instantiation</a:t>
            </a:r>
          </a:p>
        </p:txBody>
      </p:sp>
      <p:sp>
        <p:nvSpPr>
          <p:cNvPr id="17" name="Rounded Rectangle 11"/>
          <p:cNvSpPr/>
          <p:nvPr/>
        </p:nvSpPr>
        <p:spPr bwMode="auto">
          <a:xfrm>
            <a:off x="2973355" y="5231353"/>
            <a:ext cx="1295400"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Network  Infrastructure Configuration</a:t>
            </a:r>
          </a:p>
        </p:txBody>
      </p:sp>
      <p:sp>
        <p:nvSpPr>
          <p:cNvPr id="18" name="Rounded Rectangle 11"/>
          <p:cNvSpPr/>
          <p:nvPr/>
        </p:nvSpPr>
        <p:spPr bwMode="auto">
          <a:xfrm>
            <a:off x="4419600" y="5231354"/>
            <a:ext cx="1295400" cy="788446"/>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Network Elements Integration</a:t>
            </a:r>
          </a:p>
        </p:txBody>
      </p:sp>
      <p:sp>
        <p:nvSpPr>
          <p:cNvPr id="19" name="Rektangel med rundade hörn 134"/>
          <p:cNvSpPr>
            <a:spLocks noChangeArrowheads="1"/>
          </p:cNvSpPr>
          <p:nvPr/>
        </p:nvSpPr>
        <p:spPr bwMode="auto">
          <a:xfrm>
            <a:off x="6323045" y="3527069"/>
            <a:ext cx="3349690" cy="2878494"/>
          </a:xfrm>
          <a:prstGeom prst="roundRect">
            <a:avLst>
              <a:gd name="adj" fmla="val 4023"/>
            </a:avLst>
          </a:prstGeom>
          <a:solidFill>
            <a:schemeClr val="bg1">
              <a:alpha val="83136"/>
            </a:schemeClr>
          </a:solidFill>
          <a:ln w="12700" algn="ctr">
            <a:solidFill>
              <a:schemeClr val="bg1">
                <a:alpha val="34117"/>
              </a:schemeClr>
            </a:solidFill>
            <a:round/>
            <a:headEnd/>
            <a:tailEnd/>
          </a:ln>
        </p:spPr>
        <p:txBody>
          <a:bodyPr wrap="square" lIns="72000" rIns="72000" anchor="ctr" anchorCtr="1"/>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2000" b="0" i="0" u="none" strike="noStrike" kern="0" cap="none" spc="0" normalizeH="0" baseline="0" noProof="0" dirty="0">
              <a:ln>
                <a:noFill/>
              </a:ln>
              <a:solidFill>
                <a:srgbClr val="58585A"/>
              </a:solidFill>
              <a:effectLst/>
              <a:uLnTx/>
              <a:uFillTx/>
              <a:latin typeface="Arial" pitchFamily="34" charset="0"/>
              <a:cs typeface="Arial" pitchFamily="34" charset="0"/>
            </a:endParaRPr>
          </a:p>
        </p:txBody>
      </p:sp>
      <p:sp>
        <p:nvSpPr>
          <p:cNvPr id="20" name="Rounded Rectangle 11"/>
          <p:cNvSpPr/>
          <p:nvPr/>
        </p:nvSpPr>
        <p:spPr bwMode="auto">
          <a:xfrm>
            <a:off x="6629400" y="4057365"/>
            <a:ext cx="1295400"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n-lt"/>
                <a:ea typeface="+mn-ea"/>
                <a:cs typeface="Arial" charset="0"/>
              </a:rPr>
              <a:t>NW Slice</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n-lt"/>
                <a:ea typeface="+mn-ea"/>
                <a:cs typeface="Arial" charset="0"/>
              </a:rPr>
              <a:t>Re-Configuration</a:t>
            </a:r>
          </a:p>
        </p:txBody>
      </p:sp>
      <p:sp>
        <p:nvSpPr>
          <p:cNvPr id="21" name="Rounded Rectangle 11"/>
          <p:cNvSpPr/>
          <p:nvPr/>
        </p:nvSpPr>
        <p:spPr bwMode="auto">
          <a:xfrm>
            <a:off x="8075646" y="4079924"/>
            <a:ext cx="1216874"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Supervision and Performance</a:t>
            </a:r>
          </a:p>
        </p:txBody>
      </p:sp>
      <p:sp>
        <p:nvSpPr>
          <p:cNvPr id="22" name="Rounded Rectangle 11"/>
          <p:cNvSpPr/>
          <p:nvPr/>
        </p:nvSpPr>
        <p:spPr bwMode="auto">
          <a:xfrm>
            <a:off x="6629400" y="5236116"/>
            <a:ext cx="1295400"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Network Slice Scaling</a:t>
            </a:r>
          </a:p>
        </p:txBody>
      </p:sp>
      <p:sp>
        <p:nvSpPr>
          <p:cNvPr id="23" name="Rounded Rectangle 11"/>
          <p:cNvSpPr/>
          <p:nvPr/>
        </p:nvSpPr>
        <p:spPr bwMode="auto">
          <a:xfrm>
            <a:off x="8075645" y="5236117"/>
            <a:ext cx="1295400" cy="788446"/>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Network Slice Upgrade</a:t>
            </a:r>
          </a:p>
        </p:txBody>
      </p:sp>
      <p:sp>
        <p:nvSpPr>
          <p:cNvPr id="24" name="Rektangel med rundade hörn 134"/>
          <p:cNvSpPr>
            <a:spLocks noChangeArrowheads="1"/>
          </p:cNvSpPr>
          <p:nvPr/>
        </p:nvSpPr>
        <p:spPr bwMode="auto">
          <a:xfrm>
            <a:off x="10046710" y="3522306"/>
            <a:ext cx="1789112" cy="2878494"/>
          </a:xfrm>
          <a:prstGeom prst="roundRect">
            <a:avLst>
              <a:gd name="adj" fmla="val 4023"/>
            </a:avLst>
          </a:prstGeom>
          <a:solidFill>
            <a:schemeClr val="bg1">
              <a:alpha val="83136"/>
            </a:schemeClr>
          </a:solidFill>
          <a:ln w="12700" algn="ctr">
            <a:solidFill>
              <a:schemeClr val="bg1">
                <a:alpha val="34117"/>
              </a:schemeClr>
            </a:solidFill>
            <a:round/>
            <a:headEnd/>
            <a:tailEnd/>
          </a:ln>
        </p:spPr>
        <p:txBody>
          <a:bodyPr wrap="square" lIns="72000" rIns="72000" anchor="ctr" anchorCtr="1"/>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2000" b="0" i="0" u="none" strike="noStrike" kern="0" cap="none" spc="0" normalizeH="0" baseline="0" noProof="0" dirty="0">
              <a:ln>
                <a:noFill/>
              </a:ln>
              <a:solidFill>
                <a:srgbClr val="58585A"/>
              </a:solidFill>
              <a:effectLst/>
              <a:uLnTx/>
              <a:uFillTx/>
              <a:latin typeface="Arial" pitchFamily="34" charset="0"/>
              <a:cs typeface="Arial" pitchFamily="34" charset="0"/>
            </a:endParaRPr>
          </a:p>
        </p:txBody>
      </p:sp>
      <p:sp>
        <p:nvSpPr>
          <p:cNvPr id="25" name="Rounded Rectangle 11"/>
          <p:cNvSpPr/>
          <p:nvPr/>
        </p:nvSpPr>
        <p:spPr bwMode="auto">
          <a:xfrm>
            <a:off x="10373233" y="4052603"/>
            <a:ext cx="1136065"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Arial" charset="0"/>
              </a:rPr>
              <a:t>De Activation</a:t>
            </a:r>
          </a:p>
        </p:txBody>
      </p:sp>
      <p:sp>
        <p:nvSpPr>
          <p:cNvPr id="26" name="Rounded Rectangle 11"/>
          <p:cNvSpPr/>
          <p:nvPr/>
        </p:nvSpPr>
        <p:spPr bwMode="auto">
          <a:xfrm>
            <a:off x="10373232" y="5231355"/>
            <a:ext cx="1136065" cy="743329"/>
          </a:xfrm>
          <a:prstGeom prst="roundRect">
            <a:avLst/>
          </a:prstGeom>
          <a:blipFill dpi="0" rotWithShape="1">
            <a:blip r:embed="rId5"/>
            <a:srcRect/>
            <a:stretch>
              <a:fillRect/>
            </a:stretch>
          </a:blipFill>
          <a:ln w="28575">
            <a:solidFill>
              <a:schemeClr val="bg1"/>
            </a:solid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nchor="ctr"/>
          <a:lstStyle>
            <a:defPPr>
              <a:defRPr lang="en-GB"/>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Arial" charset="0"/>
              </a:rPr>
              <a:t>Re-set configuration</a:t>
            </a:r>
          </a:p>
        </p:txBody>
      </p:sp>
    </p:spTree>
    <p:extLst>
      <p:ext uri="{BB962C8B-B14F-4D97-AF65-F5344CB8AC3E}">
        <p14:creationId xmlns:p14="http://schemas.microsoft.com/office/powerpoint/2010/main" val="111458076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utoShape 319"/>
          <p:cNvSpPr>
            <a:spLocks noChangeArrowheads="1"/>
          </p:cNvSpPr>
          <p:nvPr/>
        </p:nvSpPr>
        <p:spPr bwMode="auto">
          <a:xfrm>
            <a:off x="2939309" y="1763061"/>
            <a:ext cx="2132058" cy="3230625"/>
          </a:xfrm>
          <a:custGeom>
            <a:avLst/>
            <a:gdLst>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52846 w 2132058"/>
              <a:gd name="connsiteY6" fmla="*/ 2220748 h 3739709"/>
              <a:gd name="connsiteX7" fmla="*/ 1810950 w 2132058"/>
              <a:gd name="connsiteY7" fmla="*/ 2220748 h 3739709"/>
              <a:gd name="connsiteX8" fmla="*/ 1810870 w 2132058"/>
              <a:gd name="connsiteY8" fmla="*/ 2220740 h 3739709"/>
              <a:gd name="connsiteX9" fmla="*/ 1281392 w 2132058"/>
              <a:gd name="connsiteY9" fmla="*/ 2220740 h 3739709"/>
              <a:gd name="connsiteX10" fmla="*/ 1030373 w 2132058"/>
              <a:gd name="connsiteY10" fmla="*/ 2471759 h 3739709"/>
              <a:gd name="connsiteX11" fmla="*/ 1030373 w 2132058"/>
              <a:gd name="connsiteY11" fmla="*/ 3500028 h 3739709"/>
              <a:gd name="connsiteX12" fmla="*/ 780497 w 2132058"/>
              <a:gd name="connsiteY12" fmla="*/ 3739709 h 3739709"/>
              <a:gd name="connsiteX13" fmla="*/ 251019 w 2132058"/>
              <a:gd name="connsiteY13" fmla="*/ 3739709 h 3739709"/>
              <a:gd name="connsiteX14" fmla="*/ 0 w 2132058"/>
              <a:gd name="connsiteY14" fmla="*/ 3488690 h 3739709"/>
              <a:gd name="connsiteX15" fmla="*/ 0 w 2132058"/>
              <a:gd name="connsiteY15" fmla="*/ 251019 h 3739709"/>
              <a:gd name="connsiteX16" fmla="*/ 251019 w 2132058"/>
              <a:gd name="connsiteY16"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75424 w 2132058"/>
              <a:gd name="connsiteY6" fmla="*/ 2050866 h 3739709"/>
              <a:gd name="connsiteX7" fmla="*/ 1810950 w 2132058"/>
              <a:gd name="connsiteY7" fmla="*/ 2220748 h 3739709"/>
              <a:gd name="connsiteX8" fmla="*/ 1810870 w 2132058"/>
              <a:gd name="connsiteY8" fmla="*/ 2220740 h 3739709"/>
              <a:gd name="connsiteX9" fmla="*/ 1281392 w 2132058"/>
              <a:gd name="connsiteY9" fmla="*/ 2220740 h 3739709"/>
              <a:gd name="connsiteX10" fmla="*/ 1030373 w 2132058"/>
              <a:gd name="connsiteY10" fmla="*/ 2471759 h 3739709"/>
              <a:gd name="connsiteX11" fmla="*/ 1030373 w 2132058"/>
              <a:gd name="connsiteY11" fmla="*/ 3500028 h 3739709"/>
              <a:gd name="connsiteX12" fmla="*/ 780497 w 2132058"/>
              <a:gd name="connsiteY12" fmla="*/ 3739709 h 3739709"/>
              <a:gd name="connsiteX13" fmla="*/ 251019 w 2132058"/>
              <a:gd name="connsiteY13" fmla="*/ 3739709 h 3739709"/>
              <a:gd name="connsiteX14" fmla="*/ 0 w 2132058"/>
              <a:gd name="connsiteY14" fmla="*/ 3488690 h 3739709"/>
              <a:gd name="connsiteX15" fmla="*/ 0 w 2132058"/>
              <a:gd name="connsiteY15" fmla="*/ 251019 h 3739709"/>
              <a:gd name="connsiteX16" fmla="*/ 251019 w 2132058"/>
              <a:gd name="connsiteY16"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75424 w 2132058"/>
              <a:gd name="connsiteY6" fmla="*/ 2050866 h 3739709"/>
              <a:gd name="connsiteX7" fmla="*/ 1810950 w 2132058"/>
              <a:gd name="connsiteY7" fmla="*/ 2220748 h 3739709"/>
              <a:gd name="connsiteX8" fmla="*/ 1810870 w 2132058"/>
              <a:gd name="connsiteY8" fmla="*/ 2220740 h 3739709"/>
              <a:gd name="connsiteX9" fmla="*/ 1271867 w 2132058"/>
              <a:gd name="connsiteY9" fmla="*/ 2022273 h 3739709"/>
              <a:gd name="connsiteX10" fmla="*/ 1030373 w 2132058"/>
              <a:gd name="connsiteY10" fmla="*/ 2471759 h 3739709"/>
              <a:gd name="connsiteX11" fmla="*/ 1030373 w 2132058"/>
              <a:gd name="connsiteY11" fmla="*/ 3500028 h 3739709"/>
              <a:gd name="connsiteX12" fmla="*/ 780497 w 2132058"/>
              <a:gd name="connsiteY12" fmla="*/ 3739709 h 3739709"/>
              <a:gd name="connsiteX13" fmla="*/ 251019 w 2132058"/>
              <a:gd name="connsiteY13" fmla="*/ 3739709 h 3739709"/>
              <a:gd name="connsiteX14" fmla="*/ 0 w 2132058"/>
              <a:gd name="connsiteY14" fmla="*/ 3488690 h 3739709"/>
              <a:gd name="connsiteX15" fmla="*/ 0 w 2132058"/>
              <a:gd name="connsiteY15" fmla="*/ 251019 h 3739709"/>
              <a:gd name="connsiteX16" fmla="*/ 251019 w 2132058"/>
              <a:gd name="connsiteY16"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75424 w 2132058"/>
              <a:gd name="connsiteY6" fmla="*/ 2050866 h 3739709"/>
              <a:gd name="connsiteX7" fmla="*/ 1810950 w 2132058"/>
              <a:gd name="connsiteY7" fmla="*/ 2220748 h 3739709"/>
              <a:gd name="connsiteX8" fmla="*/ 1777532 w 2132058"/>
              <a:gd name="connsiteY8" fmla="*/ 2022273 h 3739709"/>
              <a:gd name="connsiteX9" fmla="*/ 1271867 w 2132058"/>
              <a:gd name="connsiteY9" fmla="*/ 2022273 h 3739709"/>
              <a:gd name="connsiteX10" fmla="*/ 1030373 w 2132058"/>
              <a:gd name="connsiteY10" fmla="*/ 2471759 h 3739709"/>
              <a:gd name="connsiteX11" fmla="*/ 1030373 w 2132058"/>
              <a:gd name="connsiteY11" fmla="*/ 3500028 h 3739709"/>
              <a:gd name="connsiteX12" fmla="*/ 780497 w 2132058"/>
              <a:gd name="connsiteY12" fmla="*/ 3739709 h 3739709"/>
              <a:gd name="connsiteX13" fmla="*/ 251019 w 2132058"/>
              <a:gd name="connsiteY13" fmla="*/ 3739709 h 3739709"/>
              <a:gd name="connsiteX14" fmla="*/ 0 w 2132058"/>
              <a:gd name="connsiteY14" fmla="*/ 3488690 h 3739709"/>
              <a:gd name="connsiteX15" fmla="*/ 0 w 2132058"/>
              <a:gd name="connsiteY15" fmla="*/ 251019 h 3739709"/>
              <a:gd name="connsiteX16" fmla="*/ 251019 w 2132058"/>
              <a:gd name="connsiteY16"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75424 w 2132058"/>
              <a:gd name="connsiteY6" fmla="*/ 2050866 h 3739709"/>
              <a:gd name="connsiteX7" fmla="*/ 1844288 w 2132058"/>
              <a:gd name="connsiteY7" fmla="*/ 2038819 h 3739709"/>
              <a:gd name="connsiteX8" fmla="*/ 1777532 w 2132058"/>
              <a:gd name="connsiteY8" fmla="*/ 2022273 h 3739709"/>
              <a:gd name="connsiteX9" fmla="*/ 1271867 w 2132058"/>
              <a:gd name="connsiteY9" fmla="*/ 2022273 h 3739709"/>
              <a:gd name="connsiteX10" fmla="*/ 1030373 w 2132058"/>
              <a:gd name="connsiteY10" fmla="*/ 2471759 h 3739709"/>
              <a:gd name="connsiteX11" fmla="*/ 1030373 w 2132058"/>
              <a:gd name="connsiteY11" fmla="*/ 3500028 h 3739709"/>
              <a:gd name="connsiteX12" fmla="*/ 780497 w 2132058"/>
              <a:gd name="connsiteY12" fmla="*/ 3739709 h 3739709"/>
              <a:gd name="connsiteX13" fmla="*/ 251019 w 2132058"/>
              <a:gd name="connsiteY13" fmla="*/ 3739709 h 3739709"/>
              <a:gd name="connsiteX14" fmla="*/ 0 w 2132058"/>
              <a:gd name="connsiteY14" fmla="*/ 3488690 h 3739709"/>
              <a:gd name="connsiteX15" fmla="*/ 0 w 2132058"/>
              <a:gd name="connsiteY15" fmla="*/ 251019 h 3739709"/>
              <a:gd name="connsiteX16" fmla="*/ 251019 w 2132058"/>
              <a:gd name="connsiteY16"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75424 w 2132058"/>
              <a:gd name="connsiteY6" fmla="*/ 2050866 h 3739709"/>
              <a:gd name="connsiteX7" fmla="*/ 1777532 w 2132058"/>
              <a:gd name="connsiteY7" fmla="*/ 2022273 h 3739709"/>
              <a:gd name="connsiteX8" fmla="*/ 1271867 w 2132058"/>
              <a:gd name="connsiteY8" fmla="*/ 2022273 h 3739709"/>
              <a:gd name="connsiteX9" fmla="*/ 1030373 w 2132058"/>
              <a:gd name="connsiteY9" fmla="*/ 2471759 h 3739709"/>
              <a:gd name="connsiteX10" fmla="*/ 1030373 w 2132058"/>
              <a:gd name="connsiteY10" fmla="*/ 3500028 h 3739709"/>
              <a:gd name="connsiteX11" fmla="*/ 780497 w 2132058"/>
              <a:gd name="connsiteY11" fmla="*/ 3739709 h 3739709"/>
              <a:gd name="connsiteX12" fmla="*/ 251019 w 2132058"/>
              <a:gd name="connsiteY12" fmla="*/ 3739709 h 3739709"/>
              <a:gd name="connsiteX13" fmla="*/ 0 w 2132058"/>
              <a:gd name="connsiteY13" fmla="*/ 3488690 h 3739709"/>
              <a:gd name="connsiteX14" fmla="*/ 0 w 2132058"/>
              <a:gd name="connsiteY14" fmla="*/ 251019 h 3739709"/>
              <a:gd name="connsiteX15" fmla="*/ 251019 w 2132058"/>
              <a:gd name="connsiteY15"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84949 w 2132058"/>
              <a:gd name="connsiteY6" fmla="*/ 2017788 h 3739709"/>
              <a:gd name="connsiteX7" fmla="*/ 1777532 w 2132058"/>
              <a:gd name="connsiteY7" fmla="*/ 2022273 h 3739709"/>
              <a:gd name="connsiteX8" fmla="*/ 1271867 w 2132058"/>
              <a:gd name="connsiteY8" fmla="*/ 2022273 h 3739709"/>
              <a:gd name="connsiteX9" fmla="*/ 1030373 w 2132058"/>
              <a:gd name="connsiteY9" fmla="*/ 2471759 h 3739709"/>
              <a:gd name="connsiteX10" fmla="*/ 1030373 w 2132058"/>
              <a:gd name="connsiteY10" fmla="*/ 3500028 h 3739709"/>
              <a:gd name="connsiteX11" fmla="*/ 780497 w 2132058"/>
              <a:gd name="connsiteY11" fmla="*/ 3739709 h 3739709"/>
              <a:gd name="connsiteX12" fmla="*/ 251019 w 2132058"/>
              <a:gd name="connsiteY12" fmla="*/ 3739709 h 3739709"/>
              <a:gd name="connsiteX13" fmla="*/ 0 w 2132058"/>
              <a:gd name="connsiteY13" fmla="*/ 3488690 h 3739709"/>
              <a:gd name="connsiteX14" fmla="*/ 0 w 2132058"/>
              <a:gd name="connsiteY14" fmla="*/ 251019 h 3739709"/>
              <a:gd name="connsiteX15" fmla="*/ 251019 w 2132058"/>
              <a:gd name="connsiteY15"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84949 w 2132058"/>
              <a:gd name="connsiteY6" fmla="*/ 2017788 h 3739709"/>
              <a:gd name="connsiteX7" fmla="*/ 1777532 w 2132058"/>
              <a:gd name="connsiteY7" fmla="*/ 2022273 h 3739709"/>
              <a:gd name="connsiteX8" fmla="*/ 1233767 w 2132058"/>
              <a:gd name="connsiteY8" fmla="*/ 2027785 h 3739709"/>
              <a:gd name="connsiteX9" fmla="*/ 1030373 w 2132058"/>
              <a:gd name="connsiteY9" fmla="*/ 2471759 h 3739709"/>
              <a:gd name="connsiteX10" fmla="*/ 1030373 w 2132058"/>
              <a:gd name="connsiteY10" fmla="*/ 3500028 h 3739709"/>
              <a:gd name="connsiteX11" fmla="*/ 780497 w 2132058"/>
              <a:gd name="connsiteY11" fmla="*/ 3739709 h 3739709"/>
              <a:gd name="connsiteX12" fmla="*/ 251019 w 2132058"/>
              <a:gd name="connsiteY12" fmla="*/ 3739709 h 3739709"/>
              <a:gd name="connsiteX13" fmla="*/ 0 w 2132058"/>
              <a:gd name="connsiteY13" fmla="*/ 3488690 h 3739709"/>
              <a:gd name="connsiteX14" fmla="*/ 0 w 2132058"/>
              <a:gd name="connsiteY14" fmla="*/ 251019 h 3739709"/>
              <a:gd name="connsiteX15" fmla="*/ 251019 w 2132058"/>
              <a:gd name="connsiteY15" fmla="*/ 0 h 3739709"/>
              <a:gd name="connsiteX0" fmla="*/ 251019 w 2132058"/>
              <a:gd name="connsiteY0" fmla="*/ 0 h 3739709"/>
              <a:gd name="connsiteX1" fmla="*/ 780497 w 2132058"/>
              <a:gd name="connsiteY1" fmla="*/ 0 h 3739709"/>
              <a:gd name="connsiteX2" fmla="*/ 780577 w 2132058"/>
              <a:gd name="connsiteY2" fmla="*/ 8 h 3739709"/>
              <a:gd name="connsiteX3" fmla="*/ 1851130 w 2132058"/>
              <a:gd name="connsiteY3" fmla="*/ 8 h 3739709"/>
              <a:gd name="connsiteX4" fmla="*/ 2132058 w 2132058"/>
              <a:gd name="connsiteY4" fmla="*/ 280936 h 3739709"/>
              <a:gd name="connsiteX5" fmla="*/ 2132058 w 2132058"/>
              <a:gd name="connsiteY5" fmla="*/ 1757044 h 3739709"/>
              <a:gd name="connsiteX6" fmla="*/ 1884949 w 2132058"/>
              <a:gd name="connsiteY6" fmla="*/ 2017788 h 3739709"/>
              <a:gd name="connsiteX7" fmla="*/ 1777532 w 2132058"/>
              <a:gd name="connsiteY7" fmla="*/ 2022273 h 3739709"/>
              <a:gd name="connsiteX8" fmla="*/ 1200430 w 2132058"/>
              <a:gd name="connsiteY8" fmla="*/ 2027785 h 3739709"/>
              <a:gd name="connsiteX9" fmla="*/ 1030373 w 2132058"/>
              <a:gd name="connsiteY9" fmla="*/ 2471759 h 3739709"/>
              <a:gd name="connsiteX10" fmla="*/ 1030373 w 2132058"/>
              <a:gd name="connsiteY10" fmla="*/ 3500028 h 3739709"/>
              <a:gd name="connsiteX11" fmla="*/ 780497 w 2132058"/>
              <a:gd name="connsiteY11" fmla="*/ 3739709 h 3739709"/>
              <a:gd name="connsiteX12" fmla="*/ 251019 w 2132058"/>
              <a:gd name="connsiteY12" fmla="*/ 3739709 h 3739709"/>
              <a:gd name="connsiteX13" fmla="*/ 0 w 2132058"/>
              <a:gd name="connsiteY13" fmla="*/ 3488690 h 3739709"/>
              <a:gd name="connsiteX14" fmla="*/ 0 w 2132058"/>
              <a:gd name="connsiteY14" fmla="*/ 251019 h 3739709"/>
              <a:gd name="connsiteX15" fmla="*/ 251019 w 2132058"/>
              <a:gd name="connsiteY15" fmla="*/ 0 h 373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32058" h="3739709">
                <a:moveTo>
                  <a:pt x="251019" y="0"/>
                </a:moveTo>
                <a:lnTo>
                  <a:pt x="780497" y="0"/>
                </a:lnTo>
                <a:cubicBezTo>
                  <a:pt x="780524" y="3"/>
                  <a:pt x="780550" y="5"/>
                  <a:pt x="780577" y="8"/>
                </a:cubicBezTo>
                <a:lnTo>
                  <a:pt x="1851130" y="8"/>
                </a:lnTo>
                <a:cubicBezTo>
                  <a:pt x="2006282" y="8"/>
                  <a:pt x="2132058" y="125784"/>
                  <a:pt x="2132058" y="280936"/>
                </a:cubicBezTo>
                <a:lnTo>
                  <a:pt x="2132058" y="1757044"/>
                </a:lnTo>
                <a:cubicBezTo>
                  <a:pt x="2132058" y="1911624"/>
                  <a:pt x="2039312" y="2017032"/>
                  <a:pt x="1884949" y="2017788"/>
                </a:cubicBezTo>
                <a:lnTo>
                  <a:pt x="1777532" y="2022273"/>
                </a:lnTo>
                <a:lnTo>
                  <a:pt x="1200430" y="2027785"/>
                </a:lnTo>
                <a:cubicBezTo>
                  <a:pt x="1061796" y="2027785"/>
                  <a:pt x="1030373" y="2333125"/>
                  <a:pt x="1030373" y="2471759"/>
                </a:cubicBezTo>
                <a:lnTo>
                  <a:pt x="1030373" y="3500028"/>
                </a:lnTo>
                <a:cubicBezTo>
                  <a:pt x="1025314" y="3633421"/>
                  <a:pt x="915318" y="3739709"/>
                  <a:pt x="780497" y="3739709"/>
                </a:cubicBezTo>
                <a:lnTo>
                  <a:pt x="251019" y="3739709"/>
                </a:lnTo>
                <a:cubicBezTo>
                  <a:pt x="112385" y="3739709"/>
                  <a:pt x="0" y="3627324"/>
                  <a:pt x="0" y="3488690"/>
                </a:cubicBezTo>
                <a:lnTo>
                  <a:pt x="0" y="251019"/>
                </a:lnTo>
                <a:cubicBezTo>
                  <a:pt x="0" y="112385"/>
                  <a:pt x="112385" y="0"/>
                  <a:pt x="251019" y="0"/>
                </a:cubicBezTo>
                <a:close/>
              </a:path>
            </a:pathLst>
          </a:custGeom>
          <a:solidFill>
            <a:srgbClr val="8F3F7B"/>
          </a:solidFill>
          <a:ln w="9525" algn="ctr">
            <a:noFill/>
            <a:round/>
            <a:headEnd/>
            <a:tailEnd/>
          </a:ln>
          <a:extLst/>
        </p:spPr>
        <p:txBody>
          <a:bodyPr wrap="none" lIns="71965" tIns="45702" rIns="71965" bIns="45702" anchor="ctr"/>
          <a:lstStyle/>
          <a:p>
            <a:pPr algn="ctr">
              <a:spcBef>
                <a:spcPct val="50000"/>
              </a:spcBef>
            </a:pPr>
            <a:endParaRPr lang="sv-SE" altLang="sv-SE"/>
          </a:p>
        </p:txBody>
      </p:sp>
      <p:sp>
        <p:nvSpPr>
          <p:cNvPr id="13" name="AutoShape 319"/>
          <p:cNvSpPr>
            <a:spLocks noChangeArrowheads="1"/>
          </p:cNvSpPr>
          <p:nvPr/>
        </p:nvSpPr>
        <p:spPr bwMode="auto">
          <a:xfrm>
            <a:off x="5404238" y="1763061"/>
            <a:ext cx="4041434" cy="1724796"/>
          </a:xfrm>
          <a:prstGeom prst="roundRect">
            <a:avLst>
              <a:gd name="adj" fmla="val 13355"/>
            </a:avLst>
          </a:prstGeom>
          <a:solidFill>
            <a:srgbClr val="A5C753"/>
          </a:solidFill>
          <a:ln w="9525" algn="ctr">
            <a:noFill/>
            <a:round/>
            <a:headEnd/>
            <a:tailEnd/>
          </a:ln>
          <a:extLst/>
        </p:spPr>
        <p:txBody>
          <a:bodyPr wrap="none" lIns="71965" tIns="45702" rIns="71965" bIns="45702" anchor="ctr"/>
          <a:lstStyle/>
          <a:p>
            <a:pPr algn="ctr">
              <a:spcBef>
                <a:spcPct val="50000"/>
              </a:spcBef>
            </a:pPr>
            <a:endParaRPr lang="sv-SE" altLang="sv-SE"/>
          </a:p>
        </p:txBody>
      </p:sp>
      <p:sp>
        <p:nvSpPr>
          <p:cNvPr id="20" name="Rectangle 19"/>
          <p:cNvSpPr/>
          <p:nvPr/>
        </p:nvSpPr>
        <p:spPr>
          <a:xfrm>
            <a:off x="5501346" y="1845759"/>
            <a:ext cx="2402229" cy="779700"/>
          </a:xfrm>
          <a:prstGeom prst="rect">
            <a:avLst/>
          </a:prstGeom>
        </p:spPr>
        <p:txBody>
          <a:bodyPr wrap="square" lIns="121906" tIns="60953" rIns="121906" bIns="60953">
            <a:spAutoFit/>
          </a:bodyPr>
          <a:lstStyle/>
          <a:p>
            <a:pPr algn="ctr">
              <a:defRPr/>
            </a:pPr>
            <a:r>
              <a:rPr lang="en-US" sz="2100" b="1" dirty="0">
                <a:solidFill>
                  <a:schemeClr val="bg1"/>
                </a:solidFill>
                <a:latin typeface="Arial" pitchFamily="34" charset="0"/>
                <a:cs typeface="Arial" pitchFamily="34" charset="0"/>
              </a:rPr>
              <a:t>Network Functions RDs</a:t>
            </a:r>
          </a:p>
        </p:txBody>
      </p:sp>
      <p:sp>
        <p:nvSpPr>
          <p:cNvPr id="22" name="AutoShape 319"/>
          <p:cNvSpPr>
            <a:spLocks noChangeArrowheads="1"/>
          </p:cNvSpPr>
          <p:nvPr/>
        </p:nvSpPr>
        <p:spPr bwMode="auto">
          <a:xfrm>
            <a:off x="2916743" y="5224494"/>
            <a:ext cx="6528929" cy="1277495"/>
          </a:xfrm>
          <a:prstGeom prst="roundRect">
            <a:avLst>
              <a:gd name="adj" fmla="val 16420"/>
            </a:avLst>
          </a:prstGeom>
          <a:solidFill>
            <a:schemeClr val="bg1">
              <a:lumMod val="65000"/>
            </a:schemeClr>
          </a:solidFill>
          <a:ln w="19050" algn="ctr">
            <a:noFill/>
            <a:round/>
            <a:headEnd/>
            <a:tailEnd/>
          </a:ln>
          <a:extLst/>
        </p:spPr>
        <p:txBody>
          <a:bodyPr wrap="none" lIns="71965" tIns="45702" rIns="71965" bIns="45702" anchor="ctr"/>
          <a:lstStyle/>
          <a:p>
            <a:pPr algn="ctr">
              <a:spcBef>
                <a:spcPct val="50000"/>
              </a:spcBef>
            </a:pPr>
            <a:endParaRPr lang="sv-SE" altLang="sv-SE"/>
          </a:p>
        </p:txBody>
      </p:sp>
      <p:sp>
        <p:nvSpPr>
          <p:cNvPr id="23" name="Rectangle 22"/>
          <p:cNvSpPr/>
          <p:nvPr/>
        </p:nvSpPr>
        <p:spPr>
          <a:xfrm>
            <a:off x="3157919" y="5667388"/>
            <a:ext cx="4779524" cy="451405"/>
          </a:xfrm>
          <a:prstGeom prst="rect">
            <a:avLst/>
          </a:prstGeom>
        </p:spPr>
        <p:txBody>
          <a:bodyPr wrap="square" lIns="121906" tIns="60953" rIns="121906" bIns="60953">
            <a:spAutoFit/>
          </a:bodyPr>
          <a:lstStyle/>
          <a:p>
            <a:pPr algn="ctr">
              <a:defRPr/>
            </a:pPr>
            <a:r>
              <a:rPr lang="en-US" sz="2100" b="1" dirty="0">
                <a:solidFill>
                  <a:schemeClr val="bg1"/>
                </a:solidFill>
                <a:latin typeface="Arial" pitchFamily="34" charset="0"/>
                <a:cs typeface="Arial" pitchFamily="34" charset="0"/>
              </a:rPr>
              <a:t>Transport RDs</a:t>
            </a:r>
          </a:p>
        </p:txBody>
      </p:sp>
      <p:sp>
        <p:nvSpPr>
          <p:cNvPr id="29" name="AutoShape 319"/>
          <p:cNvSpPr>
            <a:spLocks noChangeArrowheads="1"/>
          </p:cNvSpPr>
          <p:nvPr/>
        </p:nvSpPr>
        <p:spPr bwMode="auto">
          <a:xfrm>
            <a:off x="4237567" y="3729157"/>
            <a:ext cx="5242855" cy="1277495"/>
          </a:xfrm>
          <a:prstGeom prst="roundRect">
            <a:avLst>
              <a:gd name="adj" fmla="val 16420"/>
            </a:avLst>
          </a:prstGeom>
          <a:solidFill>
            <a:srgbClr val="5FBADD"/>
          </a:solidFill>
          <a:ln w="19050" algn="ctr">
            <a:noFill/>
            <a:round/>
            <a:headEnd/>
            <a:tailEnd/>
          </a:ln>
          <a:extLst/>
        </p:spPr>
        <p:txBody>
          <a:bodyPr wrap="none" lIns="71965" tIns="45702" rIns="71965" bIns="45702" anchor="ctr"/>
          <a:lstStyle/>
          <a:p>
            <a:pPr algn="ctr">
              <a:spcBef>
                <a:spcPct val="50000"/>
              </a:spcBef>
            </a:pPr>
            <a:endParaRPr lang="sv-SE" altLang="sv-SE"/>
          </a:p>
        </p:txBody>
      </p:sp>
      <p:sp>
        <p:nvSpPr>
          <p:cNvPr id="30" name="Rectangle 18"/>
          <p:cNvSpPr/>
          <p:nvPr/>
        </p:nvSpPr>
        <p:spPr>
          <a:xfrm>
            <a:off x="4815954" y="3978054"/>
            <a:ext cx="3181068" cy="779700"/>
          </a:xfrm>
          <a:prstGeom prst="rect">
            <a:avLst/>
          </a:prstGeom>
        </p:spPr>
        <p:txBody>
          <a:bodyPr wrap="square" lIns="121906" tIns="60953" rIns="121906" bIns="60953">
            <a:spAutoFit/>
          </a:bodyPr>
          <a:lstStyle/>
          <a:p>
            <a:pPr algn="ctr">
              <a:defRPr/>
            </a:pPr>
            <a:r>
              <a:rPr lang="en-US" sz="2100" b="1" dirty="0">
                <a:solidFill>
                  <a:schemeClr val="bg1"/>
                </a:solidFill>
                <a:latin typeface="Arial" pitchFamily="34" charset="0"/>
                <a:cs typeface="Arial" pitchFamily="34" charset="0"/>
              </a:rPr>
              <a:t>Cloud Infrastructure RDs</a:t>
            </a:r>
          </a:p>
        </p:txBody>
      </p:sp>
      <p:sp>
        <p:nvSpPr>
          <p:cNvPr id="32" name="Rectangle 22"/>
          <p:cNvSpPr/>
          <p:nvPr/>
        </p:nvSpPr>
        <p:spPr>
          <a:xfrm>
            <a:off x="2916743" y="1807176"/>
            <a:ext cx="2132053" cy="451405"/>
          </a:xfrm>
          <a:prstGeom prst="rect">
            <a:avLst/>
          </a:prstGeom>
        </p:spPr>
        <p:txBody>
          <a:bodyPr wrap="square" lIns="121906" tIns="60953" rIns="121906" bIns="60953">
            <a:spAutoFit/>
          </a:bodyPr>
          <a:lstStyle/>
          <a:p>
            <a:pPr algn="ctr">
              <a:defRPr/>
            </a:pPr>
            <a:r>
              <a:rPr lang="en-US" sz="2100" b="1" dirty="0">
                <a:solidFill>
                  <a:schemeClr val="bg1"/>
                </a:solidFill>
                <a:latin typeface="Arial" pitchFamily="34" charset="0"/>
                <a:cs typeface="Arial" pitchFamily="34" charset="0"/>
              </a:rPr>
              <a:t>Access RDs</a:t>
            </a:r>
          </a:p>
        </p:txBody>
      </p:sp>
      <p:sp>
        <p:nvSpPr>
          <p:cNvPr id="61" name="AutoShape 319"/>
          <p:cNvSpPr>
            <a:spLocks noChangeArrowheads="1"/>
          </p:cNvSpPr>
          <p:nvPr/>
        </p:nvSpPr>
        <p:spPr bwMode="auto">
          <a:xfrm>
            <a:off x="9801607" y="1763061"/>
            <a:ext cx="2212593" cy="4738922"/>
          </a:xfrm>
          <a:prstGeom prst="roundRect">
            <a:avLst>
              <a:gd name="adj" fmla="val 9796"/>
            </a:avLst>
          </a:prstGeom>
          <a:solidFill>
            <a:srgbClr val="8D92B4"/>
          </a:solidFill>
          <a:ln w="19050" algn="ctr">
            <a:noFill/>
            <a:round/>
            <a:headEnd/>
            <a:tailEnd/>
          </a:ln>
          <a:extLst/>
        </p:spPr>
        <p:txBody>
          <a:bodyPr wrap="none" lIns="71965" tIns="45702" rIns="71965" bIns="45702" anchor="ctr"/>
          <a:lstStyle/>
          <a:p>
            <a:pPr algn="ctr">
              <a:spcBef>
                <a:spcPct val="50000"/>
              </a:spcBef>
            </a:pPr>
            <a:endParaRPr lang="sv-SE" altLang="sv-SE">
              <a:solidFill>
                <a:srgbClr val="FCD2A2"/>
              </a:solidFill>
            </a:endParaRPr>
          </a:p>
        </p:txBody>
      </p:sp>
      <p:sp>
        <p:nvSpPr>
          <p:cNvPr id="62" name="Rectangle 61"/>
          <p:cNvSpPr/>
          <p:nvPr/>
        </p:nvSpPr>
        <p:spPr>
          <a:xfrm>
            <a:off x="9827007" y="1845759"/>
            <a:ext cx="2187193" cy="1046426"/>
          </a:xfrm>
          <a:prstGeom prst="rect">
            <a:avLst/>
          </a:prstGeom>
        </p:spPr>
        <p:txBody>
          <a:bodyPr wrap="square" lIns="121906" tIns="60953" rIns="121906" bIns="60953">
            <a:spAutoFit/>
          </a:bodyPr>
          <a:lstStyle/>
          <a:p>
            <a:pPr algn="ctr">
              <a:defRPr/>
            </a:pPr>
            <a:r>
              <a:rPr lang="en-US" b="1" dirty="0">
                <a:solidFill>
                  <a:schemeClr val="bg1"/>
                </a:solidFill>
                <a:latin typeface="Arial" pitchFamily="34" charset="0"/>
                <a:cs typeface="Arial" pitchFamily="34" charset="0"/>
              </a:rPr>
              <a:t>Business and cross-domain operations RDs</a:t>
            </a:r>
          </a:p>
        </p:txBody>
      </p:sp>
      <p:sp>
        <p:nvSpPr>
          <p:cNvPr id="2" name="Title 1"/>
          <p:cNvSpPr>
            <a:spLocks noGrp="1"/>
          </p:cNvSpPr>
          <p:nvPr>
            <p:ph type="title"/>
          </p:nvPr>
        </p:nvSpPr>
        <p:spPr>
          <a:xfrm>
            <a:off x="524935" y="239714"/>
            <a:ext cx="10635834" cy="1085371"/>
          </a:xfrm>
        </p:spPr>
        <p:txBody>
          <a:bodyPr>
            <a:normAutofit/>
          </a:bodyPr>
          <a:lstStyle/>
          <a:p>
            <a:r>
              <a:rPr lang="en-US" dirty="0">
                <a:solidFill>
                  <a:srgbClr val="58585A"/>
                </a:solidFill>
              </a:rPr>
              <a:t>Target architecture principles</a:t>
            </a:r>
            <a:endParaRPr lang="en-US" dirty="0">
              <a:latin typeface="+mn-lt"/>
            </a:endParaRPr>
          </a:p>
        </p:txBody>
      </p:sp>
      <p:sp>
        <p:nvSpPr>
          <p:cNvPr id="25" name="AutoShape 319"/>
          <p:cNvSpPr>
            <a:spLocks noChangeArrowheads="1"/>
          </p:cNvSpPr>
          <p:nvPr/>
        </p:nvSpPr>
        <p:spPr bwMode="auto">
          <a:xfrm>
            <a:off x="8093634" y="2259521"/>
            <a:ext cx="1274775" cy="1123672"/>
          </a:xfrm>
          <a:prstGeom prst="roundRect">
            <a:avLst>
              <a:gd name="adj" fmla="val 17274"/>
            </a:avLst>
          </a:prstGeom>
          <a:solidFill>
            <a:srgbClr val="8D92B4"/>
          </a:solidFill>
          <a:ln w="19050" algn="ctr">
            <a:solidFill>
              <a:schemeClr val="bg1"/>
            </a:solidFill>
            <a:round/>
            <a:headEnd/>
            <a:tailEnd/>
          </a:ln>
          <a:extLst/>
        </p:spPr>
        <p:txBody>
          <a:bodyPr wrap="square" lIns="71965" tIns="36000" rIns="71965" bIns="36000" anchor="ctr">
            <a:spAutoFit/>
          </a:bodyPr>
          <a:lstStyle/>
          <a:p>
            <a:pPr>
              <a:spcBef>
                <a:spcPts val="600"/>
              </a:spcBef>
            </a:pPr>
            <a:r>
              <a:rPr lang="sv-SE" altLang="sv-SE" sz="1200" u="sng" dirty="0">
                <a:solidFill>
                  <a:schemeClr val="bg1"/>
                </a:solidFill>
              </a:rPr>
              <a:t>C</a:t>
            </a:r>
            <a:r>
              <a:rPr lang="sv-SE" altLang="sv-SE" sz="1200" dirty="0">
                <a:solidFill>
                  <a:schemeClr val="bg1"/>
                </a:solidFill>
              </a:rPr>
              <a:t>ontrol</a:t>
            </a:r>
            <a:br>
              <a:rPr lang="sv-SE" altLang="sv-SE" sz="1200" dirty="0">
                <a:solidFill>
                  <a:schemeClr val="bg1"/>
                </a:solidFill>
              </a:rPr>
            </a:br>
            <a:r>
              <a:rPr lang="sv-SE" altLang="sv-SE" sz="1200" u="sng" dirty="0">
                <a:solidFill>
                  <a:schemeClr val="bg1"/>
                </a:solidFill>
              </a:rPr>
              <a:t>O</a:t>
            </a:r>
            <a:r>
              <a:rPr lang="sv-SE" altLang="sv-SE" sz="1200" dirty="0">
                <a:solidFill>
                  <a:schemeClr val="bg1"/>
                </a:solidFill>
              </a:rPr>
              <a:t>rchestration</a:t>
            </a:r>
            <a:br>
              <a:rPr lang="sv-SE" altLang="sv-SE" sz="1200" dirty="0">
                <a:solidFill>
                  <a:schemeClr val="bg1"/>
                </a:solidFill>
              </a:rPr>
            </a:br>
            <a:r>
              <a:rPr lang="sv-SE" altLang="sv-SE" sz="1200" u="sng" dirty="0">
                <a:solidFill>
                  <a:schemeClr val="bg1"/>
                </a:solidFill>
              </a:rPr>
              <a:t>M</a:t>
            </a:r>
            <a:r>
              <a:rPr lang="sv-SE" altLang="sv-SE" sz="1200" dirty="0">
                <a:solidFill>
                  <a:schemeClr val="bg1"/>
                </a:solidFill>
              </a:rPr>
              <a:t>anagement</a:t>
            </a:r>
            <a:br>
              <a:rPr lang="sv-SE" altLang="sv-SE" sz="1200" dirty="0">
                <a:solidFill>
                  <a:schemeClr val="bg1"/>
                </a:solidFill>
              </a:rPr>
            </a:br>
            <a:r>
              <a:rPr lang="sv-SE" altLang="sv-SE" sz="1200" u="sng" dirty="0">
                <a:solidFill>
                  <a:schemeClr val="bg1"/>
                </a:solidFill>
              </a:rPr>
              <a:t>P</a:t>
            </a:r>
            <a:r>
              <a:rPr lang="sv-SE" altLang="sv-SE" sz="1200" dirty="0">
                <a:solidFill>
                  <a:schemeClr val="bg1"/>
                </a:solidFill>
              </a:rPr>
              <a:t>olicy</a:t>
            </a:r>
            <a:br>
              <a:rPr lang="sv-SE" altLang="sv-SE" sz="1200" dirty="0">
                <a:solidFill>
                  <a:schemeClr val="bg1"/>
                </a:solidFill>
              </a:rPr>
            </a:br>
            <a:r>
              <a:rPr lang="sv-SE" altLang="sv-SE" sz="1200" u="sng" dirty="0">
                <a:solidFill>
                  <a:schemeClr val="bg1"/>
                </a:solidFill>
              </a:rPr>
              <a:t>A</a:t>
            </a:r>
            <a:r>
              <a:rPr lang="sv-SE" altLang="sv-SE" sz="1200" dirty="0">
                <a:solidFill>
                  <a:schemeClr val="bg1"/>
                </a:solidFill>
              </a:rPr>
              <a:t>nalytics</a:t>
            </a:r>
          </a:p>
        </p:txBody>
      </p:sp>
      <p:sp>
        <p:nvSpPr>
          <p:cNvPr id="26" name="AutoShape 319"/>
          <p:cNvSpPr>
            <a:spLocks noChangeArrowheads="1"/>
          </p:cNvSpPr>
          <p:nvPr/>
        </p:nvSpPr>
        <p:spPr bwMode="auto">
          <a:xfrm>
            <a:off x="3619947" y="2259521"/>
            <a:ext cx="1274775" cy="1123672"/>
          </a:xfrm>
          <a:prstGeom prst="roundRect">
            <a:avLst>
              <a:gd name="adj" fmla="val 17274"/>
            </a:avLst>
          </a:prstGeom>
          <a:solidFill>
            <a:srgbClr val="8D92B4"/>
          </a:solidFill>
          <a:ln w="19050" algn="ctr">
            <a:solidFill>
              <a:schemeClr val="bg1"/>
            </a:solidFill>
            <a:round/>
            <a:headEnd/>
            <a:tailEnd/>
          </a:ln>
          <a:extLst/>
        </p:spPr>
        <p:txBody>
          <a:bodyPr wrap="square" lIns="71965" tIns="36000" rIns="71965" bIns="36000" anchor="ctr">
            <a:spAutoFit/>
          </a:bodyPr>
          <a:lstStyle/>
          <a:p>
            <a:pPr>
              <a:spcBef>
                <a:spcPts val="600"/>
              </a:spcBef>
            </a:pPr>
            <a:r>
              <a:rPr lang="sv-SE" altLang="sv-SE" sz="1200" u="sng" dirty="0">
                <a:solidFill>
                  <a:schemeClr val="bg1"/>
                </a:solidFill>
              </a:rPr>
              <a:t>C</a:t>
            </a:r>
            <a:r>
              <a:rPr lang="sv-SE" altLang="sv-SE" sz="1200" dirty="0">
                <a:solidFill>
                  <a:schemeClr val="bg1"/>
                </a:solidFill>
              </a:rPr>
              <a:t>ontrol</a:t>
            </a:r>
            <a:br>
              <a:rPr lang="sv-SE" altLang="sv-SE" sz="1200" dirty="0">
                <a:solidFill>
                  <a:schemeClr val="bg1"/>
                </a:solidFill>
              </a:rPr>
            </a:br>
            <a:r>
              <a:rPr lang="sv-SE" altLang="sv-SE" sz="1200" u="sng" dirty="0">
                <a:solidFill>
                  <a:schemeClr val="bg1"/>
                </a:solidFill>
              </a:rPr>
              <a:t>O</a:t>
            </a:r>
            <a:r>
              <a:rPr lang="sv-SE" altLang="sv-SE" sz="1200" dirty="0">
                <a:solidFill>
                  <a:schemeClr val="bg1"/>
                </a:solidFill>
              </a:rPr>
              <a:t>rchestration</a:t>
            </a:r>
            <a:br>
              <a:rPr lang="sv-SE" altLang="sv-SE" sz="1200" dirty="0">
                <a:solidFill>
                  <a:schemeClr val="bg1"/>
                </a:solidFill>
              </a:rPr>
            </a:br>
            <a:r>
              <a:rPr lang="sv-SE" altLang="sv-SE" sz="1200" u="sng" dirty="0">
                <a:solidFill>
                  <a:schemeClr val="bg1"/>
                </a:solidFill>
              </a:rPr>
              <a:t>M</a:t>
            </a:r>
            <a:r>
              <a:rPr lang="sv-SE" altLang="sv-SE" sz="1200" dirty="0">
                <a:solidFill>
                  <a:schemeClr val="bg1"/>
                </a:solidFill>
              </a:rPr>
              <a:t>anagement</a:t>
            </a:r>
            <a:br>
              <a:rPr lang="sv-SE" altLang="sv-SE" sz="1200" dirty="0">
                <a:solidFill>
                  <a:schemeClr val="bg1"/>
                </a:solidFill>
              </a:rPr>
            </a:br>
            <a:r>
              <a:rPr lang="sv-SE" altLang="sv-SE" sz="1200" u="sng" dirty="0">
                <a:solidFill>
                  <a:schemeClr val="bg1"/>
                </a:solidFill>
              </a:rPr>
              <a:t>P</a:t>
            </a:r>
            <a:r>
              <a:rPr lang="sv-SE" altLang="sv-SE" sz="1200" dirty="0">
                <a:solidFill>
                  <a:schemeClr val="bg1"/>
                </a:solidFill>
              </a:rPr>
              <a:t>olicy</a:t>
            </a:r>
            <a:br>
              <a:rPr lang="sv-SE" altLang="sv-SE" sz="1200" dirty="0">
                <a:solidFill>
                  <a:schemeClr val="bg1"/>
                </a:solidFill>
              </a:rPr>
            </a:br>
            <a:r>
              <a:rPr lang="sv-SE" altLang="sv-SE" sz="1200" u="sng" dirty="0">
                <a:solidFill>
                  <a:schemeClr val="bg1"/>
                </a:solidFill>
              </a:rPr>
              <a:t>A</a:t>
            </a:r>
            <a:r>
              <a:rPr lang="sv-SE" altLang="sv-SE" sz="1200" dirty="0">
                <a:solidFill>
                  <a:schemeClr val="bg1"/>
                </a:solidFill>
              </a:rPr>
              <a:t>nalytics</a:t>
            </a:r>
          </a:p>
        </p:txBody>
      </p:sp>
      <p:sp>
        <p:nvSpPr>
          <p:cNvPr id="31" name="AutoShape 319"/>
          <p:cNvSpPr>
            <a:spLocks noChangeArrowheads="1"/>
          </p:cNvSpPr>
          <p:nvPr/>
        </p:nvSpPr>
        <p:spPr bwMode="auto">
          <a:xfrm>
            <a:off x="8093636" y="3806068"/>
            <a:ext cx="1274775" cy="1123672"/>
          </a:xfrm>
          <a:prstGeom prst="roundRect">
            <a:avLst>
              <a:gd name="adj" fmla="val 17274"/>
            </a:avLst>
          </a:prstGeom>
          <a:solidFill>
            <a:srgbClr val="8D92B4"/>
          </a:solidFill>
          <a:ln w="19050" algn="ctr">
            <a:solidFill>
              <a:schemeClr val="bg1"/>
            </a:solidFill>
            <a:round/>
            <a:headEnd/>
            <a:tailEnd/>
          </a:ln>
          <a:extLst/>
        </p:spPr>
        <p:txBody>
          <a:bodyPr wrap="square" lIns="71965" tIns="36000" rIns="71965" bIns="36000" anchor="ctr">
            <a:spAutoFit/>
          </a:bodyPr>
          <a:lstStyle/>
          <a:p>
            <a:pPr>
              <a:spcBef>
                <a:spcPts val="600"/>
              </a:spcBef>
            </a:pPr>
            <a:r>
              <a:rPr lang="sv-SE" altLang="sv-SE" sz="1200" u="sng" dirty="0">
                <a:solidFill>
                  <a:schemeClr val="bg1"/>
                </a:solidFill>
              </a:rPr>
              <a:t>C</a:t>
            </a:r>
            <a:r>
              <a:rPr lang="sv-SE" altLang="sv-SE" sz="1200" dirty="0">
                <a:solidFill>
                  <a:schemeClr val="bg1"/>
                </a:solidFill>
              </a:rPr>
              <a:t>ontrol</a:t>
            </a:r>
            <a:br>
              <a:rPr lang="sv-SE" altLang="sv-SE" sz="1200" dirty="0">
                <a:solidFill>
                  <a:schemeClr val="bg1"/>
                </a:solidFill>
              </a:rPr>
            </a:br>
            <a:r>
              <a:rPr lang="sv-SE" altLang="sv-SE" sz="1200" u="sng" dirty="0">
                <a:solidFill>
                  <a:schemeClr val="bg1"/>
                </a:solidFill>
              </a:rPr>
              <a:t>O</a:t>
            </a:r>
            <a:r>
              <a:rPr lang="sv-SE" altLang="sv-SE" sz="1200" dirty="0">
                <a:solidFill>
                  <a:schemeClr val="bg1"/>
                </a:solidFill>
              </a:rPr>
              <a:t>rchestration</a:t>
            </a:r>
            <a:br>
              <a:rPr lang="sv-SE" altLang="sv-SE" sz="1200" dirty="0">
                <a:solidFill>
                  <a:schemeClr val="bg1"/>
                </a:solidFill>
              </a:rPr>
            </a:br>
            <a:r>
              <a:rPr lang="sv-SE" altLang="sv-SE" sz="1200" u="sng" dirty="0">
                <a:solidFill>
                  <a:schemeClr val="bg1"/>
                </a:solidFill>
              </a:rPr>
              <a:t>M</a:t>
            </a:r>
            <a:r>
              <a:rPr lang="sv-SE" altLang="sv-SE" sz="1200" dirty="0">
                <a:solidFill>
                  <a:schemeClr val="bg1"/>
                </a:solidFill>
              </a:rPr>
              <a:t>anagement</a:t>
            </a:r>
            <a:br>
              <a:rPr lang="sv-SE" altLang="sv-SE" sz="1200" dirty="0">
                <a:solidFill>
                  <a:schemeClr val="bg1"/>
                </a:solidFill>
              </a:rPr>
            </a:br>
            <a:r>
              <a:rPr lang="sv-SE" altLang="sv-SE" sz="1200" u="sng" dirty="0">
                <a:solidFill>
                  <a:schemeClr val="bg1"/>
                </a:solidFill>
              </a:rPr>
              <a:t>P</a:t>
            </a:r>
            <a:r>
              <a:rPr lang="sv-SE" altLang="sv-SE" sz="1200" dirty="0">
                <a:solidFill>
                  <a:schemeClr val="bg1"/>
                </a:solidFill>
              </a:rPr>
              <a:t>olicy</a:t>
            </a:r>
            <a:br>
              <a:rPr lang="sv-SE" altLang="sv-SE" sz="1200" dirty="0">
                <a:solidFill>
                  <a:schemeClr val="bg1"/>
                </a:solidFill>
              </a:rPr>
            </a:br>
            <a:r>
              <a:rPr lang="sv-SE" altLang="sv-SE" sz="1200" u="sng" dirty="0">
                <a:solidFill>
                  <a:schemeClr val="bg1"/>
                </a:solidFill>
              </a:rPr>
              <a:t>A</a:t>
            </a:r>
            <a:r>
              <a:rPr lang="sv-SE" altLang="sv-SE" sz="1200" dirty="0">
                <a:solidFill>
                  <a:schemeClr val="bg1"/>
                </a:solidFill>
              </a:rPr>
              <a:t>nalytics</a:t>
            </a:r>
          </a:p>
        </p:txBody>
      </p:sp>
      <p:sp>
        <p:nvSpPr>
          <p:cNvPr id="33" name="AutoShape 319"/>
          <p:cNvSpPr>
            <a:spLocks noChangeArrowheads="1"/>
          </p:cNvSpPr>
          <p:nvPr/>
        </p:nvSpPr>
        <p:spPr bwMode="auto">
          <a:xfrm>
            <a:off x="8093635" y="5301405"/>
            <a:ext cx="1274775" cy="1123672"/>
          </a:xfrm>
          <a:prstGeom prst="roundRect">
            <a:avLst>
              <a:gd name="adj" fmla="val 17274"/>
            </a:avLst>
          </a:prstGeom>
          <a:solidFill>
            <a:srgbClr val="8D92B4"/>
          </a:solidFill>
          <a:ln w="19050" algn="ctr">
            <a:solidFill>
              <a:schemeClr val="bg1"/>
            </a:solidFill>
            <a:round/>
            <a:headEnd/>
            <a:tailEnd/>
          </a:ln>
          <a:extLst/>
        </p:spPr>
        <p:txBody>
          <a:bodyPr wrap="square" lIns="71965" tIns="36000" rIns="71965" bIns="36000" anchor="ctr">
            <a:spAutoFit/>
          </a:bodyPr>
          <a:lstStyle/>
          <a:p>
            <a:pPr>
              <a:spcBef>
                <a:spcPts val="600"/>
              </a:spcBef>
            </a:pPr>
            <a:r>
              <a:rPr lang="sv-SE" altLang="sv-SE" sz="1200" u="sng" dirty="0">
                <a:solidFill>
                  <a:schemeClr val="bg1"/>
                </a:solidFill>
              </a:rPr>
              <a:t>C</a:t>
            </a:r>
            <a:r>
              <a:rPr lang="sv-SE" altLang="sv-SE" sz="1200" dirty="0">
                <a:solidFill>
                  <a:schemeClr val="bg1"/>
                </a:solidFill>
              </a:rPr>
              <a:t>ontrol</a:t>
            </a:r>
            <a:br>
              <a:rPr lang="sv-SE" altLang="sv-SE" sz="1200" dirty="0">
                <a:solidFill>
                  <a:schemeClr val="bg1"/>
                </a:solidFill>
              </a:rPr>
            </a:br>
            <a:r>
              <a:rPr lang="sv-SE" altLang="sv-SE" sz="1200" u="sng" dirty="0">
                <a:solidFill>
                  <a:schemeClr val="bg1"/>
                </a:solidFill>
              </a:rPr>
              <a:t>O</a:t>
            </a:r>
            <a:r>
              <a:rPr lang="sv-SE" altLang="sv-SE" sz="1200" dirty="0">
                <a:solidFill>
                  <a:schemeClr val="bg1"/>
                </a:solidFill>
              </a:rPr>
              <a:t>rchestration</a:t>
            </a:r>
            <a:br>
              <a:rPr lang="sv-SE" altLang="sv-SE" sz="1200" dirty="0">
                <a:solidFill>
                  <a:schemeClr val="bg1"/>
                </a:solidFill>
              </a:rPr>
            </a:br>
            <a:r>
              <a:rPr lang="sv-SE" altLang="sv-SE" sz="1200" u="sng" dirty="0">
                <a:solidFill>
                  <a:schemeClr val="bg1"/>
                </a:solidFill>
              </a:rPr>
              <a:t>M</a:t>
            </a:r>
            <a:r>
              <a:rPr lang="sv-SE" altLang="sv-SE" sz="1200" dirty="0">
                <a:solidFill>
                  <a:schemeClr val="bg1"/>
                </a:solidFill>
              </a:rPr>
              <a:t>anagement</a:t>
            </a:r>
            <a:br>
              <a:rPr lang="sv-SE" altLang="sv-SE" sz="1200" dirty="0">
                <a:solidFill>
                  <a:schemeClr val="bg1"/>
                </a:solidFill>
              </a:rPr>
            </a:br>
            <a:r>
              <a:rPr lang="sv-SE" altLang="sv-SE" sz="1200" u="sng" dirty="0">
                <a:solidFill>
                  <a:schemeClr val="bg1"/>
                </a:solidFill>
              </a:rPr>
              <a:t>P</a:t>
            </a:r>
            <a:r>
              <a:rPr lang="sv-SE" altLang="sv-SE" sz="1200" dirty="0">
                <a:solidFill>
                  <a:schemeClr val="bg1"/>
                </a:solidFill>
              </a:rPr>
              <a:t>olicy</a:t>
            </a:r>
            <a:br>
              <a:rPr lang="sv-SE" altLang="sv-SE" sz="1200" dirty="0">
                <a:solidFill>
                  <a:schemeClr val="bg1"/>
                </a:solidFill>
              </a:rPr>
            </a:br>
            <a:r>
              <a:rPr lang="sv-SE" altLang="sv-SE" sz="1200" u="sng" dirty="0">
                <a:solidFill>
                  <a:schemeClr val="bg1"/>
                </a:solidFill>
              </a:rPr>
              <a:t>A</a:t>
            </a:r>
            <a:r>
              <a:rPr lang="sv-SE" altLang="sv-SE" sz="1200" dirty="0">
                <a:solidFill>
                  <a:schemeClr val="bg1"/>
                </a:solidFill>
              </a:rPr>
              <a:t>nalytics</a:t>
            </a:r>
          </a:p>
        </p:txBody>
      </p:sp>
      <p:sp>
        <p:nvSpPr>
          <p:cNvPr id="40" name="Up-Down Arrow 39"/>
          <p:cNvSpPr/>
          <p:nvPr/>
        </p:nvSpPr>
        <p:spPr>
          <a:xfrm>
            <a:off x="8616088" y="3322095"/>
            <a:ext cx="367135" cy="596900"/>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43" name="Up-Down Arrow 42"/>
          <p:cNvSpPr/>
          <p:nvPr/>
        </p:nvSpPr>
        <p:spPr>
          <a:xfrm rot="16200000">
            <a:off x="9492664" y="4064357"/>
            <a:ext cx="383388" cy="663982"/>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45" name="Up-Down Arrow 44"/>
          <p:cNvSpPr/>
          <p:nvPr/>
        </p:nvSpPr>
        <p:spPr>
          <a:xfrm rot="16200000">
            <a:off x="9436124" y="2526070"/>
            <a:ext cx="383388" cy="663982"/>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46" name="Up-Down Arrow 45"/>
          <p:cNvSpPr/>
          <p:nvPr/>
        </p:nvSpPr>
        <p:spPr>
          <a:xfrm rot="16200000">
            <a:off x="9436124" y="5531250"/>
            <a:ext cx="383388" cy="663982"/>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47" name="Up-Down Arrow 46"/>
          <p:cNvSpPr/>
          <p:nvPr/>
        </p:nvSpPr>
        <p:spPr>
          <a:xfrm rot="16200000">
            <a:off x="5023996" y="2505442"/>
            <a:ext cx="383388" cy="663982"/>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48" name="Up-Down Arrow 47"/>
          <p:cNvSpPr/>
          <p:nvPr/>
        </p:nvSpPr>
        <p:spPr>
          <a:xfrm>
            <a:off x="8616087" y="4810500"/>
            <a:ext cx="367135" cy="596900"/>
          </a:xfrm>
          <a:prstGeom prst="upDownArrow">
            <a:avLst/>
          </a:prstGeom>
          <a:solidFill>
            <a:srgbClr val="4F81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ndParaRPr>
          </a:p>
        </p:txBody>
      </p:sp>
      <p:sp>
        <p:nvSpPr>
          <p:cNvPr id="27" name="AutoShape 319"/>
          <p:cNvSpPr>
            <a:spLocks noChangeArrowheads="1"/>
          </p:cNvSpPr>
          <p:nvPr/>
        </p:nvSpPr>
        <p:spPr bwMode="auto">
          <a:xfrm>
            <a:off x="10327666" y="3834512"/>
            <a:ext cx="1274775" cy="1123672"/>
          </a:xfrm>
          <a:prstGeom prst="roundRect">
            <a:avLst>
              <a:gd name="adj" fmla="val 17274"/>
            </a:avLst>
          </a:prstGeom>
          <a:solidFill>
            <a:srgbClr val="8D92B4"/>
          </a:solidFill>
          <a:ln w="19050" algn="ctr">
            <a:solidFill>
              <a:schemeClr val="bg1"/>
            </a:solidFill>
            <a:round/>
            <a:headEnd/>
            <a:tailEnd/>
          </a:ln>
          <a:extLst/>
        </p:spPr>
        <p:txBody>
          <a:bodyPr wrap="square" lIns="71965" tIns="36000" rIns="71965" bIns="36000" anchor="ctr">
            <a:spAutoFit/>
          </a:bodyPr>
          <a:lstStyle/>
          <a:p>
            <a:pPr>
              <a:spcBef>
                <a:spcPts val="600"/>
              </a:spcBef>
            </a:pPr>
            <a:r>
              <a:rPr lang="sv-SE" altLang="sv-SE" sz="1200" u="sng" dirty="0">
                <a:solidFill>
                  <a:schemeClr val="bg1"/>
                </a:solidFill>
              </a:rPr>
              <a:t>C</a:t>
            </a:r>
            <a:r>
              <a:rPr lang="sv-SE" altLang="sv-SE" sz="1200" dirty="0">
                <a:solidFill>
                  <a:schemeClr val="bg1"/>
                </a:solidFill>
              </a:rPr>
              <a:t>ontrol</a:t>
            </a:r>
            <a:br>
              <a:rPr lang="sv-SE" altLang="sv-SE" sz="1200" dirty="0">
                <a:solidFill>
                  <a:schemeClr val="bg1"/>
                </a:solidFill>
              </a:rPr>
            </a:br>
            <a:r>
              <a:rPr lang="sv-SE" altLang="sv-SE" sz="1200" u="sng" dirty="0">
                <a:solidFill>
                  <a:schemeClr val="bg1"/>
                </a:solidFill>
              </a:rPr>
              <a:t>O</a:t>
            </a:r>
            <a:r>
              <a:rPr lang="sv-SE" altLang="sv-SE" sz="1200" dirty="0">
                <a:solidFill>
                  <a:schemeClr val="bg1"/>
                </a:solidFill>
              </a:rPr>
              <a:t>rchestration</a:t>
            </a:r>
            <a:br>
              <a:rPr lang="sv-SE" altLang="sv-SE" sz="1200" dirty="0">
                <a:solidFill>
                  <a:schemeClr val="bg1"/>
                </a:solidFill>
              </a:rPr>
            </a:br>
            <a:r>
              <a:rPr lang="sv-SE" altLang="sv-SE" sz="1200" u="sng" dirty="0">
                <a:solidFill>
                  <a:schemeClr val="bg1"/>
                </a:solidFill>
              </a:rPr>
              <a:t>M</a:t>
            </a:r>
            <a:r>
              <a:rPr lang="sv-SE" altLang="sv-SE" sz="1200" dirty="0">
                <a:solidFill>
                  <a:schemeClr val="bg1"/>
                </a:solidFill>
              </a:rPr>
              <a:t>anagement</a:t>
            </a:r>
            <a:br>
              <a:rPr lang="sv-SE" altLang="sv-SE" sz="1200" dirty="0">
                <a:solidFill>
                  <a:schemeClr val="bg1"/>
                </a:solidFill>
              </a:rPr>
            </a:br>
            <a:r>
              <a:rPr lang="sv-SE" altLang="sv-SE" sz="1200" u="sng" dirty="0">
                <a:solidFill>
                  <a:schemeClr val="bg1"/>
                </a:solidFill>
              </a:rPr>
              <a:t>P</a:t>
            </a:r>
            <a:r>
              <a:rPr lang="sv-SE" altLang="sv-SE" sz="1200" dirty="0">
                <a:solidFill>
                  <a:schemeClr val="bg1"/>
                </a:solidFill>
              </a:rPr>
              <a:t>olicy</a:t>
            </a:r>
            <a:br>
              <a:rPr lang="sv-SE" altLang="sv-SE" sz="1200" dirty="0">
                <a:solidFill>
                  <a:schemeClr val="bg1"/>
                </a:solidFill>
              </a:rPr>
            </a:br>
            <a:r>
              <a:rPr lang="sv-SE" altLang="sv-SE" sz="1200" u="sng" dirty="0">
                <a:solidFill>
                  <a:schemeClr val="bg1"/>
                </a:solidFill>
              </a:rPr>
              <a:t>A</a:t>
            </a:r>
            <a:r>
              <a:rPr lang="sv-SE" altLang="sv-SE" sz="1200" dirty="0">
                <a:solidFill>
                  <a:schemeClr val="bg1"/>
                </a:solidFill>
              </a:rPr>
              <a:t>nalytics</a:t>
            </a:r>
          </a:p>
        </p:txBody>
      </p:sp>
      <p:sp>
        <p:nvSpPr>
          <p:cNvPr id="3" name="TextBox 2"/>
          <p:cNvSpPr txBox="1"/>
          <p:nvPr/>
        </p:nvSpPr>
        <p:spPr>
          <a:xfrm>
            <a:off x="80585" y="2282682"/>
            <a:ext cx="2713416" cy="3354765"/>
          </a:xfrm>
          <a:prstGeom prst="rect">
            <a:avLst/>
          </a:prstGeom>
          <a:noFill/>
        </p:spPr>
        <p:txBody>
          <a:bodyPr wrap="square" rtlCol="0">
            <a:spAutoFit/>
          </a:bodyPr>
          <a:lstStyle/>
          <a:p>
            <a:pPr>
              <a:spcBef>
                <a:spcPct val="0"/>
              </a:spcBef>
            </a:pPr>
            <a:r>
              <a:rPr lang="en-US" sz="1600" dirty="0">
                <a:latin typeface="Arial" pitchFamily="34" charset="0"/>
                <a:cs typeface="Arial" pitchFamily="34" charset="0"/>
              </a:rPr>
              <a:t>The main principles of the target architecture:</a:t>
            </a:r>
          </a:p>
          <a:p>
            <a:pPr marL="352425" lvl="1" indent="-169863">
              <a:spcBef>
                <a:spcPts val="600"/>
              </a:spcBef>
              <a:buFont typeface="Arial" panose="020B0604020202020204" pitchFamily="34" charset="0"/>
              <a:buChar char="•"/>
            </a:pPr>
            <a:r>
              <a:rPr lang="en-US" sz="1600" dirty="0">
                <a:latin typeface="Arial" pitchFamily="34" charset="0"/>
                <a:cs typeface="Arial" pitchFamily="34" charset="0"/>
              </a:rPr>
              <a:t>separation of concerns</a:t>
            </a:r>
          </a:p>
          <a:p>
            <a:pPr marL="352425" lvl="1" indent="-169863">
              <a:spcBef>
                <a:spcPts val="600"/>
              </a:spcBef>
              <a:buFont typeface="Arial" panose="020B0604020202020204" pitchFamily="34" charset="0"/>
              <a:buChar char="•"/>
            </a:pPr>
            <a:r>
              <a:rPr lang="en-US" sz="1600" dirty="0">
                <a:latin typeface="Arial" pitchFamily="34" charset="0"/>
                <a:cs typeface="Arial" pitchFamily="34" charset="0"/>
              </a:rPr>
              <a:t>abstraction and exposure of capabilities</a:t>
            </a:r>
          </a:p>
          <a:p>
            <a:pPr marL="352425" lvl="1" indent="-169863">
              <a:spcBef>
                <a:spcPts val="600"/>
              </a:spcBef>
              <a:buFont typeface="Arial" panose="020B0604020202020204" pitchFamily="34" charset="0"/>
              <a:buChar char="•"/>
            </a:pPr>
            <a:r>
              <a:rPr lang="en-US" sz="1600" dirty="0">
                <a:latin typeface="Arial" pitchFamily="34" charset="0"/>
                <a:cs typeface="Arial" pitchFamily="34" charset="0"/>
              </a:rPr>
              <a:t>multi-tenancy</a:t>
            </a:r>
          </a:p>
          <a:p>
            <a:pPr marL="352425" lvl="1" indent="-169863">
              <a:spcBef>
                <a:spcPts val="600"/>
              </a:spcBef>
              <a:buFont typeface="Arial" panose="020B0604020202020204" pitchFamily="34" charset="0"/>
              <a:buChar char="•"/>
            </a:pPr>
            <a:r>
              <a:rPr lang="en-US" sz="1600" dirty="0">
                <a:latin typeface="Arial" pitchFamily="34" charset="0"/>
                <a:cs typeface="Arial" pitchFamily="34" charset="0"/>
              </a:rPr>
              <a:t>intra-domain programmability</a:t>
            </a:r>
          </a:p>
          <a:p>
            <a:pPr marL="352425" lvl="1" indent="-169863">
              <a:spcBef>
                <a:spcPts val="600"/>
              </a:spcBef>
              <a:buFont typeface="Arial" panose="020B0604020202020204" pitchFamily="34" charset="0"/>
              <a:buChar char="•"/>
            </a:pPr>
            <a:r>
              <a:rPr lang="en-US" sz="1600" dirty="0">
                <a:latin typeface="Arial" pitchFamily="34" charset="0"/>
                <a:cs typeface="Arial" pitchFamily="34" charset="0"/>
              </a:rPr>
              <a:t>inter-domain programmability</a:t>
            </a:r>
          </a:p>
          <a:p>
            <a:endParaRPr lang="en-US" sz="1800" dirty="0"/>
          </a:p>
        </p:txBody>
      </p:sp>
      <p:sp>
        <p:nvSpPr>
          <p:cNvPr id="5" name="TextBox 4"/>
          <p:cNvSpPr txBox="1"/>
          <p:nvPr/>
        </p:nvSpPr>
        <p:spPr>
          <a:xfrm>
            <a:off x="10029762" y="6545857"/>
            <a:ext cx="1866217" cy="261610"/>
          </a:xfrm>
          <a:prstGeom prst="rect">
            <a:avLst/>
          </a:prstGeom>
          <a:noFill/>
        </p:spPr>
        <p:txBody>
          <a:bodyPr wrap="none" rtlCol="0">
            <a:spAutoFit/>
          </a:bodyPr>
          <a:lstStyle/>
          <a:p>
            <a:r>
              <a:rPr lang="en-US" sz="1100" dirty="0"/>
              <a:t>RD: Responsibility Domain</a:t>
            </a:r>
          </a:p>
        </p:txBody>
      </p:sp>
      <p:sp>
        <p:nvSpPr>
          <p:cNvPr id="4" name="TextBox 3"/>
          <p:cNvSpPr txBox="1"/>
          <p:nvPr/>
        </p:nvSpPr>
        <p:spPr>
          <a:xfrm>
            <a:off x="150124" y="6054935"/>
            <a:ext cx="2316660" cy="307777"/>
          </a:xfrm>
          <a:prstGeom prst="rect">
            <a:avLst/>
          </a:prstGeom>
          <a:noFill/>
        </p:spPr>
        <p:txBody>
          <a:bodyPr wrap="none" rtlCol="0">
            <a:spAutoFit/>
          </a:bodyPr>
          <a:lstStyle/>
          <a:p>
            <a:r>
              <a:rPr lang="en-US" sz="1400" dirty="0"/>
              <a:t>RD: Responsibility Domain</a:t>
            </a:r>
          </a:p>
        </p:txBody>
      </p:sp>
    </p:spTree>
    <p:extLst>
      <p:ext uri="{BB962C8B-B14F-4D97-AF65-F5344CB8AC3E}">
        <p14:creationId xmlns:p14="http://schemas.microsoft.com/office/powerpoint/2010/main" val="3862285423"/>
      </p:ext>
    </p:extLst>
  </p:cSld>
  <p:clrMapOvr>
    <a:masterClrMapping/>
  </p:clrMapOvr>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200893163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AutoShape 319"/>
          <p:cNvSpPr>
            <a:spLocks noChangeArrowheads="1"/>
          </p:cNvSpPr>
          <p:nvPr/>
        </p:nvSpPr>
        <p:spPr bwMode="auto">
          <a:xfrm>
            <a:off x="7148871" y="1239865"/>
            <a:ext cx="1956220" cy="2120099"/>
          </a:xfrm>
          <a:prstGeom prst="roundRect">
            <a:avLst>
              <a:gd name="adj" fmla="val 9796"/>
            </a:avLst>
          </a:prstGeom>
          <a:solidFill>
            <a:srgbClr val="A5C753"/>
          </a:solidFill>
          <a:ln w="19050" algn="ctr">
            <a:noFill/>
            <a:prstDash val="lgDashDotDot"/>
            <a:round/>
            <a:headEnd/>
            <a:tailEnd/>
          </a:ln>
          <a:extLst/>
        </p:spPr>
        <p:txBody>
          <a:bodyPr wrap="none" lIns="71965" tIns="45702" rIns="71965" bIns="45702" anchor="ctr"/>
          <a:lstStyle/>
          <a:p>
            <a:pPr algn="ctr">
              <a:spcBef>
                <a:spcPct val="50000"/>
              </a:spcBef>
            </a:pPr>
            <a:endParaRPr lang="sv-SE" altLang="sv-SE"/>
          </a:p>
        </p:txBody>
      </p:sp>
      <p:sp>
        <p:nvSpPr>
          <p:cNvPr id="177" name="AutoShape 319"/>
          <p:cNvSpPr>
            <a:spLocks noChangeArrowheads="1"/>
          </p:cNvSpPr>
          <p:nvPr/>
        </p:nvSpPr>
        <p:spPr bwMode="auto">
          <a:xfrm>
            <a:off x="244397" y="1177932"/>
            <a:ext cx="2319215" cy="2220913"/>
          </a:xfrm>
          <a:prstGeom prst="roundRect">
            <a:avLst>
              <a:gd name="adj" fmla="val 13355"/>
            </a:avLst>
          </a:prstGeom>
          <a:solidFill>
            <a:srgbClr val="8F3F7B"/>
          </a:solidFill>
          <a:ln w="9525" algn="ctr">
            <a:noFill/>
            <a:round/>
            <a:headEnd/>
            <a:tailEnd/>
          </a:ln>
          <a:extLst/>
        </p:spPr>
        <p:txBody>
          <a:bodyPr wrap="none" lIns="71965" tIns="45702" rIns="71965" bIns="45702" anchor="ctr"/>
          <a:lstStyle/>
          <a:p>
            <a:pPr algn="ctr">
              <a:spcBef>
                <a:spcPct val="50000"/>
              </a:spcBef>
            </a:pPr>
            <a:endParaRPr lang="sv-SE" altLang="sv-SE"/>
          </a:p>
        </p:txBody>
      </p:sp>
      <p:sp>
        <p:nvSpPr>
          <p:cNvPr id="178" name="AutoShape 319"/>
          <p:cNvSpPr>
            <a:spLocks noChangeArrowheads="1"/>
          </p:cNvSpPr>
          <p:nvPr/>
        </p:nvSpPr>
        <p:spPr bwMode="auto">
          <a:xfrm>
            <a:off x="215881" y="1177929"/>
            <a:ext cx="1246003" cy="3739711"/>
          </a:xfrm>
          <a:prstGeom prst="roundRect">
            <a:avLst>
              <a:gd name="adj" fmla="val 24335"/>
            </a:avLst>
          </a:prstGeom>
          <a:solidFill>
            <a:srgbClr val="8F3F7B"/>
          </a:solidFill>
          <a:ln w="9525" algn="ctr">
            <a:noFill/>
            <a:round/>
            <a:headEnd/>
            <a:tailEnd/>
          </a:ln>
          <a:extLst/>
        </p:spPr>
        <p:txBody>
          <a:bodyPr wrap="none" lIns="71965" tIns="45702" rIns="71965" bIns="45702" anchor="ctr"/>
          <a:lstStyle/>
          <a:p>
            <a:pPr algn="ctr">
              <a:spcBef>
                <a:spcPct val="50000"/>
              </a:spcBef>
            </a:pPr>
            <a:endParaRPr lang="sv-SE" altLang="sv-SE"/>
          </a:p>
        </p:txBody>
      </p:sp>
      <p:sp>
        <p:nvSpPr>
          <p:cNvPr id="179" name="AutoShape 319"/>
          <p:cNvSpPr>
            <a:spLocks noChangeArrowheads="1"/>
          </p:cNvSpPr>
          <p:nvPr/>
        </p:nvSpPr>
        <p:spPr bwMode="auto">
          <a:xfrm>
            <a:off x="1329738" y="3215390"/>
            <a:ext cx="361833" cy="431716"/>
          </a:xfrm>
          <a:prstGeom prst="roundRect">
            <a:avLst>
              <a:gd name="adj" fmla="val 0"/>
            </a:avLst>
          </a:prstGeom>
          <a:solidFill>
            <a:srgbClr val="8F3F7B"/>
          </a:solidFill>
          <a:ln w="9525" algn="ctr">
            <a:noFill/>
            <a:round/>
            <a:headEnd/>
            <a:tailEnd/>
          </a:ln>
          <a:extLst/>
        </p:spPr>
        <p:txBody>
          <a:bodyPr wrap="none" lIns="71965" tIns="45702" rIns="71965" bIns="45702" anchor="ctr"/>
          <a:lstStyle/>
          <a:p>
            <a:pPr algn="ctr">
              <a:spcBef>
                <a:spcPct val="50000"/>
              </a:spcBef>
            </a:pPr>
            <a:endParaRPr lang="sv-SE" altLang="sv-SE"/>
          </a:p>
        </p:txBody>
      </p:sp>
      <p:sp>
        <p:nvSpPr>
          <p:cNvPr id="180" name="Ellips 25"/>
          <p:cNvSpPr/>
          <p:nvPr/>
        </p:nvSpPr>
        <p:spPr bwMode="auto">
          <a:xfrm>
            <a:off x="1470537" y="3409565"/>
            <a:ext cx="459279" cy="464344"/>
          </a:xfrm>
          <a:prstGeom prst="ellipse">
            <a:avLst/>
          </a:prstGeom>
          <a:solidFill>
            <a:schemeClr val="bg1"/>
          </a:solidFill>
          <a:ln w="12700" cap="flat" cmpd="sng" algn="ctr">
            <a:solidFill>
              <a:schemeClr val="bg1"/>
            </a:solidFill>
            <a:prstDash val="solid"/>
            <a:round/>
            <a:headEnd type="none" w="med" len="med"/>
            <a:tailEnd type="none" w="med" len="med"/>
          </a:ln>
          <a:effectLst/>
        </p:spPr>
        <p:txBody>
          <a:bodyPr vert="horz" wrap="none" lIns="95990" tIns="60953" rIns="95990" bIns="60953" numCol="1" rtlCol="0" anchor="t" anchorCtr="0" compatLnSpc="1">
            <a:prstTxWarp prst="textNoShape">
              <a:avLst/>
            </a:prstTxWarp>
          </a:bodyPr>
          <a:lstStyle/>
          <a:p>
            <a:pPr defTabSz="1219050"/>
            <a:endParaRPr lang="sv-SE"/>
          </a:p>
        </p:txBody>
      </p:sp>
      <p:sp>
        <p:nvSpPr>
          <p:cNvPr id="153" name="AutoShape 319"/>
          <p:cNvSpPr>
            <a:spLocks noChangeArrowheads="1"/>
          </p:cNvSpPr>
          <p:nvPr/>
        </p:nvSpPr>
        <p:spPr bwMode="auto">
          <a:xfrm>
            <a:off x="4973891" y="1234109"/>
            <a:ext cx="1956220" cy="2120099"/>
          </a:xfrm>
          <a:prstGeom prst="roundRect">
            <a:avLst>
              <a:gd name="adj" fmla="val 9796"/>
            </a:avLst>
          </a:prstGeom>
          <a:solidFill>
            <a:srgbClr val="A5C753"/>
          </a:solidFill>
          <a:ln w="19050" algn="ctr">
            <a:noFill/>
            <a:prstDash val="lgDashDotDot"/>
            <a:round/>
            <a:headEnd/>
            <a:tailEnd/>
          </a:ln>
          <a:extLst/>
        </p:spPr>
        <p:txBody>
          <a:bodyPr wrap="none" lIns="71965" tIns="45702" rIns="71965" bIns="45702" anchor="ctr"/>
          <a:lstStyle/>
          <a:p>
            <a:pPr algn="ctr">
              <a:spcBef>
                <a:spcPct val="50000"/>
              </a:spcBef>
            </a:pPr>
            <a:endParaRPr lang="sv-SE" altLang="sv-SE"/>
          </a:p>
        </p:txBody>
      </p:sp>
      <p:sp>
        <p:nvSpPr>
          <p:cNvPr id="6" name="AutoShape 319"/>
          <p:cNvSpPr>
            <a:spLocks noChangeArrowheads="1"/>
          </p:cNvSpPr>
          <p:nvPr/>
        </p:nvSpPr>
        <p:spPr bwMode="auto">
          <a:xfrm>
            <a:off x="9329902" y="1177927"/>
            <a:ext cx="2515025" cy="5235044"/>
          </a:xfrm>
          <a:prstGeom prst="roundRect">
            <a:avLst>
              <a:gd name="adj" fmla="val 9796"/>
            </a:avLst>
          </a:prstGeom>
          <a:solidFill>
            <a:srgbClr val="8D92B4"/>
          </a:solidFill>
          <a:ln w="19050" algn="ctr">
            <a:noFill/>
            <a:round/>
            <a:headEnd/>
            <a:tailEnd/>
          </a:ln>
          <a:extLst/>
        </p:spPr>
        <p:txBody>
          <a:bodyPr wrap="none" lIns="71965" tIns="45702" rIns="71965" bIns="45702" anchor="ctr"/>
          <a:lstStyle/>
          <a:p>
            <a:pPr algn="ctr">
              <a:spcBef>
                <a:spcPct val="50000"/>
              </a:spcBef>
            </a:pPr>
            <a:endParaRPr lang="sv-SE" altLang="sv-SE">
              <a:solidFill>
                <a:srgbClr val="FCD2A2"/>
              </a:solidFill>
            </a:endParaRPr>
          </a:p>
        </p:txBody>
      </p:sp>
      <p:sp>
        <p:nvSpPr>
          <p:cNvPr id="9" name="AutoShape 319"/>
          <p:cNvSpPr>
            <a:spLocks noChangeArrowheads="1"/>
          </p:cNvSpPr>
          <p:nvPr/>
        </p:nvSpPr>
        <p:spPr bwMode="auto">
          <a:xfrm>
            <a:off x="198628" y="5135482"/>
            <a:ext cx="8859768" cy="1277495"/>
          </a:xfrm>
          <a:prstGeom prst="roundRect">
            <a:avLst>
              <a:gd name="adj" fmla="val 16420"/>
            </a:avLst>
          </a:prstGeom>
          <a:solidFill>
            <a:schemeClr val="bg1">
              <a:lumMod val="65000"/>
            </a:schemeClr>
          </a:solidFill>
          <a:ln w="19050" algn="ctr">
            <a:noFill/>
            <a:round/>
            <a:headEnd/>
            <a:tailEnd/>
          </a:ln>
          <a:extLst/>
        </p:spPr>
        <p:txBody>
          <a:bodyPr wrap="none" lIns="71965" tIns="45702" rIns="71965" bIns="45702" anchor="ctr"/>
          <a:lstStyle/>
          <a:p>
            <a:pPr algn="ctr">
              <a:spcBef>
                <a:spcPct val="50000"/>
              </a:spcBef>
            </a:pPr>
            <a:endParaRPr lang="sv-SE" altLang="sv-SE"/>
          </a:p>
        </p:txBody>
      </p:sp>
      <p:sp>
        <p:nvSpPr>
          <p:cNvPr id="10" name="Rectangle 22"/>
          <p:cNvSpPr/>
          <p:nvPr/>
        </p:nvSpPr>
        <p:spPr>
          <a:xfrm>
            <a:off x="6387450" y="5140594"/>
            <a:ext cx="2609393" cy="415495"/>
          </a:xfrm>
          <a:prstGeom prst="rect">
            <a:avLst/>
          </a:prstGeom>
        </p:spPr>
        <p:txBody>
          <a:bodyPr wrap="square" lIns="121906" tIns="60953" rIns="121906" bIns="60953">
            <a:spAutoFit/>
          </a:bodyPr>
          <a:lstStyle/>
          <a:p>
            <a:pPr algn="ctr">
              <a:defRPr/>
            </a:pPr>
            <a:r>
              <a:rPr lang="en-US" sz="1900" b="1" dirty="0">
                <a:solidFill>
                  <a:schemeClr val="bg1"/>
                </a:solidFill>
                <a:cs typeface="Arial" pitchFamily="34" charset="0"/>
              </a:rPr>
              <a:t>Transport RDs</a:t>
            </a:r>
          </a:p>
        </p:txBody>
      </p:sp>
      <p:sp>
        <p:nvSpPr>
          <p:cNvPr id="14" name="Rectangle 22"/>
          <p:cNvSpPr/>
          <p:nvPr/>
        </p:nvSpPr>
        <p:spPr>
          <a:xfrm>
            <a:off x="198634" y="1182569"/>
            <a:ext cx="1322817" cy="1000271"/>
          </a:xfrm>
          <a:prstGeom prst="rect">
            <a:avLst/>
          </a:prstGeom>
        </p:spPr>
        <p:txBody>
          <a:bodyPr wrap="square" lIns="121906" tIns="60953" rIns="121906" bIns="60953">
            <a:spAutoFit/>
          </a:bodyPr>
          <a:lstStyle/>
          <a:p>
            <a:pPr algn="ctr">
              <a:defRPr/>
            </a:pPr>
            <a:r>
              <a:rPr lang="en-US" sz="1900" b="1" dirty="0">
                <a:solidFill>
                  <a:schemeClr val="bg1"/>
                </a:solidFill>
                <a:cs typeface="Arial" pitchFamily="34" charset="0"/>
              </a:rPr>
              <a:t>Radio Access RDs</a:t>
            </a:r>
          </a:p>
        </p:txBody>
      </p:sp>
      <p:sp>
        <p:nvSpPr>
          <p:cNvPr id="17" name="AutoShape 319"/>
          <p:cNvSpPr>
            <a:spLocks noChangeArrowheads="1"/>
          </p:cNvSpPr>
          <p:nvPr/>
        </p:nvSpPr>
        <p:spPr bwMode="auto">
          <a:xfrm>
            <a:off x="1691524" y="3640145"/>
            <a:ext cx="7413565" cy="1277495"/>
          </a:xfrm>
          <a:prstGeom prst="roundRect">
            <a:avLst>
              <a:gd name="adj" fmla="val 16420"/>
            </a:avLst>
          </a:prstGeom>
          <a:solidFill>
            <a:srgbClr val="5FBADD"/>
          </a:solidFill>
          <a:ln w="19050" algn="ctr">
            <a:noFill/>
            <a:round/>
            <a:headEnd/>
            <a:tailEnd/>
          </a:ln>
          <a:extLst/>
        </p:spPr>
        <p:txBody>
          <a:bodyPr wrap="none" lIns="71965" tIns="45702" rIns="71965" bIns="45702" anchor="ctr"/>
          <a:lstStyle/>
          <a:p>
            <a:pPr algn="ctr">
              <a:spcBef>
                <a:spcPct val="50000"/>
              </a:spcBef>
            </a:pPr>
            <a:endParaRPr lang="sv-SE" altLang="sv-SE"/>
          </a:p>
        </p:txBody>
      </p:sp>
      <p:sp>
        <p:nvSpPr>
          <p:cNvPr id="18" name="Rectangle 18"/>
          <p:cNvSpPr/>
          <p:nvPr/>
        </p:nvSpPr>
        <p:spPr>
          <a:xfrm>
            <a:off x="5644157" y="3647241"/>
            <a:ext cx="3376448" cy="415495"/>
          </a:xfrm>
          <a:prstGeom prst="rect">
            <a:avLst/>
          </a:prstGeom>
        </p:spPr>
        <p:txBody>
          <a:bodyPr wrap="square" lIns="121906" tIns="60953" rIns="121906" bIns="60953">
            <a:spAutoFit/>
          </a:bodyPr>
          <a:lstStyle/>
          <a:p>
            <a:pPr algn="ctr">
              <a:defRPr/>
            </a:pPr>
            <a:r>
              <a:rPr lang="en-US" sz="1900" b="1" dirty="0">
                <a:solidFill>
                  <a:schemeClr val="bg1"/>
                </a:solidFill>
                <a:cs typeface="Arial" pitchFamily="34" charset="0"/>
              </a:rPr>
              <a:t>Cloud Infrastructure RDs</a:t>
            </a:r>
          </a:p>
        </p:txBody>
      </p:sp>
      <p:grpSp>
        <p:nvGrpSpPr>
          <p:cNvPr id="20" name="Group 53"/>
          <p:cNvGrpSpPr/>
          <p:nvPr/>
        </p:nvGrpSpPr>
        <p:grpSpPr>
          <a:xfrm>
            <a:off x="2635576" y="3772471"/>
            <a:ext cx="768349" cy="1104900"/>
            <a:chOff x="2670398" y="2571294"/>
            <a:chExt cx="576262" cy="828675"/>
          </a:xfrm>
        </p:grpSpPr>
        <p:sp>
          <p:nvSpPr>
            <p:cNvPr id="21" name="Oval 95"/>
            <p:cNvSpPr>
              <a:spLocks noChangeAspect="1" noChangeArrowheads="1"/>
            </p:cNvSpPr>
            <p:nvPr/>
          </p:nvSpPr>
          <p:spPr bwMode="auto">
            <a:xfrm>
              <a:off x="2678335" y="2582407"/>
              <a:ext cx="558800" cy="563563"/>
            </a:xfrm>
            <a:prstGeom prst="ellipse">
              <a:avLst/>
            </a:prstGeom>
            <a:solidFill>
              <a:schemeClr val="bg1"/>
            </a:solidFill>
            <a:ln w="12700" algn="ctr">
              <a:solidFill>
                <a:schemeClr val="bg1"/>
              </a:solidFill>
              <a:round/>
              <a:headEnd/>
              <a:tailEnd/>
            </a:ln>
          </p:spPr>
          <p:txBody>
            <a:bodyPr wrap="none" lIns="0" rIns="0" anchor="ctr"/>
            <a:lstStyle/>
            <a:p>
              <a:pPr algn="ctr"/>
              <a:endParaRPr lang="sv-SE"/>
            </a:p>
          </p:txBody>
        </p:sp>
        <p:grpSp>
          <p:nvGrpSpPr>
            <p:cNvPr id="22" name="Group 1"/>
            <p:cNvGrpSpPr/>
            <p:nvPr/>
          </p:nvGrpSpPr>
          <p:grpSpPr>
            <a:xfrm>
              <a:off x="2670398" y="2571294"/>
              <a:ext cx="576262" cy="828675"/>
              <a:chOff x="2670398" y="2571294"/>
              <a:chExt cx="576262" cy="828675"/>
            </a:xfrm>
          </p:grpSpPr>
          <p:sp>
            <p:nvSpPr>
              <p:cNvPr id="23" name="AutoShape 94"/>
              <p:cNvSpPr>
                <a:spLocks noChangeAspect="1" noChangeArrowheads="1"/>
              </p:cNvSpPr>
              <p:nvPr/>
            </p:nvSpPr>
            <p:spPr bwMode="auto">
              <a:xfrm>
                <a:off x="2681510" y="2806244"/>
                <a:ext cx="555625" cy="581025"/>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a:p>
            </p:txBody>
          </p:sp>
          <p:sp>
            <p:nvSpPr>
              <p:cNvPr id="24" name="Text Box 96"/>
              <p:cNvSpPr txBox="1">
                <a:spLocks noChangeAspect="1" noChangeArrowheads="1"/>
              </p:cNvSpPr>
              <p:nvPr/>
            </p:nvSpPr>
            <p:spPr bwMode="auto">
              <a:xfrm>
                <a:off x="2697385" y="3020557"/>
                <a:ext cx="5191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algn="ctr" eaLnBrk="1" hangingPunct="1">
                  <a:lnSpc>
                    <a:spcPct val="80000"/>
                  </a:lnSpc>
                </a:pPr>
                <a:r>
                  <a:rPr lang="en-US" sz="1100" dirty="0">
                    <a:solidFill>
                      <a:schemeClr val="bg1">
                        <a:lumMod val="75000"/>
                      </a:schemeClr>
                    </a:solidFill>
                  </a:rPr>
                  <a:t>System Infrastructure </a:t>
                </a:r>
              </a:p>
            </p:txBody>
          </p:sp>
          <p:sp>
            <p:nvSpPr>
              <p:cNvPr id="25" name="Rectangle 97"/>
              <p:cNvSpPr>
                <a:spLocks noChangeAspect="1" noChangeArrowheads="1"/>
              </p:cNvSpPr>
              <p:nvPr/>
            </p:nvSpPr>
            <p:spPr bwMode="auto">
              <a:xfrm>
                <a:off x="2670398" y="2571294"/>
                <a:ext cx="57626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a:p>
            </p:txBody>
          </p:sp>
          <p:sp>
            <p:nvSpPr>
              <p:cNvPr id="26" name="Freeform 10"/>
              <p:cNvSpPr>
                <a:spLocks noChangeAspect="1" noEditPoints="1"/>
              </p:cNvSpPr>
              <p:nvPr/>
            </p:nvSpPr>
            <p:spPr bwMode="auto">
              <a:xfrm>
                <a:off x="2670398" y="2571294"/>
                <a:ext cx="576262" cy="828675"/>
              </a:xfrm>
              <a:custGeom>
                <a:avLst/>
                <a:gdLst>
                  <a:gd name="T0" fmla="*/ 494145 w 410"/>
                  <a:gd name="T1" fmla="*/ 299905 h 589"/>
                  <a:gd name="T2" fmla="*/ 464046 w 410"/>
                  <a:gd name="T3" fmla="*/ 725085 h 589"/>
                  <a:gd name="T4" fmla="*/ 20066 w 410"/>
                  <a:gd name="T5" fmla="*/ 694716 h 589"/>
                  <a:gd name="T6" fmla="*/ 257107 w 410"/>
                  <a:gd name="T7" fmla="*/ 20247 h 589"/>
                  <a:gd name="T8" fmla="*/ 504179 w 410"/>
                  <a:gd name="T9" fmla="*/ 269534 h 589"/>
                  <a:gd name="T10" fmla="*/ 514213 w 410"/>
                  <a:gd name="T11" fmla="*/ 259410 h 589"/>
                  <a:gd name="T12" fmla="*/ 0 w 410"/>
                  <a:gd name="T13" fmla="*/ 259410 h 589"/>
                  <a:gd name="T14" fmla="*/ 1255 w 410"/>
                  <a:gd name="T15" fmla="*/ 694716 h 589"/>
                  <a:gd name="T16" fmla="*/ 464046 w 410"/>
                  <a:gd name="T17" fmla="*/ 745333 h 589"/>
                  <a:gd name="T18" fmla="*/ 514213 w 410"/>
                  <a:gd name="T19" fmla="*/ 299905 h 589"/>
                  <a:gd name="T20" fmla="*/ 426421 w 410"/>
                  <a:gd name="T21" fmla="*/ 251818 h 589"/>
                  <a:gd name="T22" fmla="*/ 441470 w 410"/>
                  <a:gd name="T23" fmla="*/ 218917 h 589"/>
                  <a:gd name="T24" fmla="*/ 401336 w 410"/>
                  <a:gd name="T25" fmla="*/ 204998 h 589"/>
                  <a:gd name="T26" fmla="*/ 386287 w 410"/>
                  <a:gd name="T27" fmla="*/ 237899 h 589"/>
                  <a:gd name="T28" fmla="*/ 403845 w 410"/>
                  <a:gd name="T29" fmla="*/ 251818 h 589"/>
                  <a:gd name="T30" fmla="*/ 319815 w 410"/>
                  <a:gd name="T31" fmla="*/ 267003 h 589"/>
                  <a:gd name="T32" fmla="*/ 322324 w 410"/>
                  <a:gd name="T33" fmla="*/ 251818 h 589"/>
                  <a:gd name="T34" fmla="*/ 336119 w 410"/>
                  <a:gd name="T35" fmla="*/ 218917 h 589"/>
                  <a:gd name="T36" fmla="*/ 295985 w 410"/>
                  <a:gd name="T37" fmla="*/ 204998 h 589"/>
                  <a:gd name="T38" fmla="*/ 282189 w 410"/>
                  <a:gd name="T39" fmla="*/ 237899 h 589"/>
                  <a:gd name="T40" fmla="*/ 299749 w 410"/>
                  <a:gd name="T41" fmla="*/ 251818 h 589"/>
                  <a:gd name="T42" fmla="*/ 215719 w 410"/>
                  <a:gd name="T43" fmla="*/ 267003 h 589"/>
                  <a:gd name="T44" fmla="*/ 218226 w 410"/>
                  <a:gd name="T45" fmla="*/ 251818 h 589"/>
                  <a:gd name="T46" fmla="*/ 232023 w 410"/>
                  <a:gd name="T47" fmla="*/ 218917 h 589"/>
                  <a:gd name="T48" fmla="*/ 191889 w 410"/>
                  <a:gd name="T49" fmla="*/ 204998 h 589"/>
                  <a:gd name="T50" fmla="*/ 178093 w 410"/>
                  <a:gd name="T51" fmla="*/ 237899 h 589"/>
                  <a:gd name="T52" fmla="*/ 195653 w 410"/>
                  <a:gd name="T53" fmla="*/ 251818 h 589"/>
                  <a:gd name="T54" fmla="*/ 110369 w 410"/>
                  <a:gd name="T55" fmla="*/ 267003 h 589"/>
                  <a:gd name="T56" fmla="*/ 114130 w 410"/>
                  <a:gd name="T57" fmla="*/ 251818 h 589"/>
                  <a:gd name="T58" fmla="*/ 127927 w 410"/>
                  <a:gd name="T59" fmla="*/ 218917 h 589"/>
                  <a:gd name="T60" fmla="*/ 87792 w 410"/>
                  <a:gd name="T61" fmla="*/ 204998 h 589"/>
                  <a:gd name="T62" fmla="*/ 73997 w 410"/>
                  <a:gd name="T63" fmla="*/ 237899 h 589"/>
                  <a:gd name="T64" fmla="*/ 90300 w 410"/>
                  <a:gd name="T65" fmla="*/ 251818 h 589"/>
                  <a:gd name="T66" fmla="*/ 87792 w 410"/>
                  <a:gd name="T67" fmla="*/ 302436 h 589"/>
                  <a:gd name="T68" fmla="*/ 73997 w 410"/>
                  <a:gd name="T69" fmla="*/ 335336 h 589"/>
                  <a:gd name="T70" fmla="*/ 114130 w 410"/>
                  <a:gd name="T71" fmla="*/ 350521 h 589"/>
                  <a:gd name="T72" fmla="*/ 127927 w 410"/>
                  <a:gd name="T73" fmla="*/ 317621 h 589"/>
                  <a:gd name="T74" fmla="*/ 110369 w 410"/>
                  <a:gd name="T75" fmla="*/ 302436 h 589"/>
                  <a:gd name="T76" fmla="*/ 195653 w 410"/>
                  <a:gd name="T77" fmla="*/ 287250 h 589"/>
                  <a:gd name="T78" fmla="*/ 191889 w 410"/>
                  <a:gd name="T79" fmla="*/ 302436 h 589"/>
                  <a:gd name="T80" fmla="*/ 178093 w 410"/>
                  <a:gd name="T81" fmla="*/ 335336 h 589"/>
                  <a:gd name="T82" fmla="*/ 218226 w 410"/>
                  <a:gd name="T83" fmla="*/ 350521 h 589"/>
                  <a:gd name="T84" fmla="*/ 232023 w 410"/>
                  <a:gd name="T85" fmla="*/ 317621 h 589"/>
                  <a:gd name="T86" fmla="*/ 215719 w 410"/>
                  <a:gd name="T87" fmla="*/ 302436 h 589"/>
                  <a:gd name="T88" fmla="*/ 299749 w 410"/>
                  <a:gd name="T89" fmla="*/ 287250 h 589"/>
                  <a:gd name="T90" fmla="*/ 295985 w 410"/>
                  <a:gd name="T91" fmla="*/ 302436 h 589"/>
                  <a:gd name="T92" fmla="*/ 282189 w 410"/>
                  <a:gd name="T93" fmla="*/ 335336 h 589"/>
                  <a:gd name="T94" fmla="*/ 322324 w 410"/>
                  <a:gd name="T95" fmla="*/ 350521 h 589"/>
                  <a:gd name="T96" fmla="*/ 336119 w 410"/>
                  <a:gd name="T97" fmla="*/ 317621 h 589"/>
                  <a:gd name="T98" fmla="*/ 319815 w 410"/>
                  <a:gd name="T99" fmla="*/ 302436 h 589"/>
                  <a:gd name="T100" fmla="*/ 403845 w 410"/>
                  <a:gd name="T101" fmla="*/ 287250 h 589"/>
                  <a:gd name="T102" fmla="*/ 401336 w 410"/>
                  <a:gd name="T103" fmla="*/ 302436 h 589"/>
                  <a:gd name="T104" fmla="*/ 386287 w 410"/>
                  <a:gd name="T105" fmla="*/ 335336 h 589"/>
                  <a:gd name="T106" fmla="*/ 426421 w 410"/>
                  <a:gd name="T107" fmla="*/ 350521 h 589"/>
                  <a:gd name="T108" fmla="*/ 441470 w 410"/>
                  <a:gd name="T109" fmla="*/ 317621 h 589"/>
                  <a:gd name="T110" fmla="*/ 423911 w 410"/>
                  <a:gd name="T111" fmla="*/ 302436 h 589"/>
                  <a:gd name="T112" fmla="*/ 426421 w 410"/>
                  <a:gd name="T113" fmla="*/ 25181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40" y="199"/>
                    </a:moveTo>
                    <a:cubicBezTo>
                      <a:pt x="347" y="199"/>
                      <a:pt x="352" y="194"/>
                      <a:pt x="352" y="188"/>
                    </a:cubicBezTo>
                    <a:cubicBezTo>
                      <a:pt x="352" y="173"/>
                      <a:pt x="352" y="173"/>
                      <a:pt x="352" y="173"/>
                    </a:cubicBezTo>
                    <a:cubicBezTo>
                      <a:pt x="352" y="167"/>
                      <a:pt x="347" y="162"/>
                      <a:pt x="340" y="162"/>
                    </a:cubicBezTo>
                    <a:cubicBezTo>
                      <a:pt x="320" y="162"/>
                      <a:pt x="320" y="162"/>
                      <a:pt x="320" y="162"/>
                    </a:cubicBezTo>
                    <a:cubicBezTo>
                      <a:pt x="313" y="162"/>
                      <a:pt x="308" y="167"/>
                      <a:pt x="308" y="173"/>
                    </a:cubicBezTo>
                    <a:cubicBezTo>
                      <a:pt x="308" y="188"/>
                      <a:pt x="308" y="188"/>
                      <a:pt x="308" y="188"/>
                    </a:cubicBezTo>
                    <a:cubicBezTo>
                      <a:pt x="308" y="194"/>
                      <a:pt x="313" y="199"/>
                      <a:pt x="320" y="199"/>
                    </a:cubicBezTo>
                    <a:cubicBezTo>
                      <a:pt x="322" y="199"/>
                      <a:pt x="322" y="199"/>
                      <a:pt x="322" y="199"/>
                    </a:cubicBezTo>
                    <a:cubicBezTo>
                      <a:pt x="322" y="211"/>
                      <a:pt x="322" y="211"/>
                      <a:pt x="322" y="211"/>
                    </a:cubicBezTo>
                    <a:cubicBezTo>
                      <a:pt x="255" y="211"/>
                      <a:pt x="255" y="211"/>
                      <a:pt x="255" y="211"/>
                    </a:cubicBezTo>
                    <a:cubicBezTo>
                      <a:pt x="255" y="199"/>
                      <a:pt x="255" y="199"/>
                      <a:pt x="255" y="199"/>
                    </a:cubicBezTo>
                    <a:cubicBezTo>
                      <a:pt x="257" y="199"/>
                      <a:pt x="257" y="199"/>
                      <a:pt x="257" y="199"/>
                    </a:cubicBezTo>
                    <a:cubicBezTo>
                      <a:pt x="263" y="199"/>
                      <a:pt x="268" y="194"/>
                      <a:pt x="268" y="188"/>
                    </a:cubicBezTo>
                    <a:cubicBezTo>
                      <a:pt x="268" y="173"/>
                      <a:pt x="268" y="173"/>
                      <a:pt x="268" y="173"/>
                    </a:cubicBezTo>
                    <a:cubicBezTo>
                      <a:pt x="268" y="167"/>
                      <a:pt x="263" y="162"/>
                      <a:pt x="257" y="162"/>
                    </a:cubicBezTo>
                    <a:cubicBezTo>
                      <a:pt x="236" y="162"/>
                      <a:pt x="236" y="162"/>
                      <a:pt x="236" y="162"/>
                    </a:cubicBezTo>
                    <a:cubicBezTo>
                      <a:pt x="230" y="162"/>
                      <a:pt x="225" y="167"/>
                      <a:pt x="225" y="173"/>
                    </a:cubicBezTo>
                    <a:cubicBezTo>
                      <a:pt x="225" y="188"/>
                      <a:pt x="225" y="188"/>
                      <a:pt x="225" y="188"/>
                    </a:cubicBezTo>
                    <a:cubicBezTo>
                      <a:pt x="225" y="194"/>
                      <a:pt x="230" y="199"/>
                      <a:pt x="236" y="199"/>
                    </a:cubicBezTo>
                    <a:cubicBezTo>
                      <a:pt x="239" y="199"/>
                      <a:pt x="239" y="199"/>
                      <a:pt x="239" y="199"/>
                    </a:cubicBezTo>
                    <a:cubicBezTo>
                      <a:pt x="239" y="211"/>
                      <a:pt x="239" y="211"/>
                      <a:pt x="239" y="211"/>
                    </a:cubicBezTo>
                    <a:cubicBezTo>
                      <a:pt x="172" y="211"/>
                      <a:pt x="172" y="211"/>
                      <a:pt x="172" y="211"/>
                    </a:cubicBezTo>
                    <a:cubicBezTo>
                      <a:pt x="172" y="199"/>
                      <a:pt x="172" y="199"/>
                      <a:pt x="172" y="199"/>
                    </a:cubicBezTo>
                    <a:cubicBezTo>
                      <a:pt x="174" y="199"/>
                      <a:pt x="174" y="199"/>
                      <a:pt x="174" y="199"/>
                    </a:cubicBezTo>
                    <a:cubicBezTo>
                      <a:pt x="180" y="199"/>
                      <a:pt x="185" y="194"/>
                      <a:pt x="185" y="188"/>
                    </a:cubicBezTo>
                    <a:cubicBezTo>
                      <a:pt x="185" y="173"/>
                      <a:pt x="185" y="173"/>
                      <a:pt x="185" y="173"/>
                    </a:cubicBezTo>
                    <a:cubicBezTo>
                      <a:pt x="185" y="167"/>
                      <a:pt x="180" y="162"/>
                      <a:pt x="174" y="162"/>
                    </a:cubicBezTo>
                    <a:cubicBezTo>
                      <a:pt x="153" y="162"/>
                      <a:pt x="153" y="162"/>
                      <a:pt x="153" y="162"/>
                    </a:cubicBezTo>
                    <a:cubicBezTo>
                      <a:pt x="147" y="162"/>
                      <a:pt x="142" y="167"/>
                      <a:pt x="142" y="173"/>
                    </a:cubicBezTo>
                    <a:cubicBezTo>
                      <a:pt x="142" y="188"/>
                      <a:pt x="142" y="188"/>
                      <a:pt x="142" y="188"/>
                    </a:cubicBezTo>
                    <a:cubicBezTo>
                      <a:pt x="142" y="194"/>
                      <a:pt x="147" y="199"/>
                      <a:pt x="153" y="199"/>
                    </a:cubicBezTo>
                    <a:cubicBezTo>
                      <a:pt x="156" y="199"/>
                      <a:pt x="156" y="199"/>
                      <a:pt x="156" y="199"/>
                    </a:cubicBezTo>
                    <a:cubicBezTo>
                      <a:pt x="156" y="211"/>
                      <a:pt x="156" y="211"/>
                      <a:pt x="156" y="211"/>
                    </a:cubicBezTo>
                    <a:cubicBezTo>
                      <a:pt x="88" y="211"/>
                      <a:pt x="88" y="211"/>
                      <a:pt x="88" y="211"/>
                    </a:cubicBezTo>
                    <a:cubicBezTo>
                      <a:pt x="88" y="199"/>
                      <a:pt x="88" y="199"/>
                      <a:pt x="88" y="199"/>
                    </a:cubicBezTo>
                    <a:cubicBezTo>
                      <a:pt x="91" y="199"/>
                      <a:pt x="91" y="199"/>
                      <a:pt x="91" y="199"/>
                    </a:cubicBezTo>
                    <a:cubicBezTo>
                      <a:pt x="97" y="199"/>
                      <a:pt x="102" y="194"/>
                      <a:pt x="102" y="188"/>
                    </a:cubicBezTo>
                    <a:cubicBezTo>
                      <a:pt x="102" y="173"/>
                      <a:pt x="102" y="173"/>
                      <a:pt x="102" y="173"/>
                    </a:cubicBezTo>
                    <a:cubicBezTo>
                      <a:pt x="102" y="167"/>
                      <a:pt x="97" y="162"/>
                      <a:pt x="91" y="162"/>
                    </a:cubicBezTo>
                    <a:cubicBezTo>
                      <a:pt x="70" y="162"/>
                      <a:pt x="70" y="162"/>
                      <a:pt x="70" y="162"/>
                    </a:cubicBezTo>
                    <a:cubicBezTo>
                      <a:pt x="64" y="162"/>
                      <a:pt x="59" y="167"/>
                      <a:pt x="59" y="173"/>
                    </a:cubicBezTo>
                    <a:cubicBezTo>
                      <a:pt x="59" y="188"/>
                      <a:pt x="59" y="188"/>
                      <a:pt x="59" y="188"/>
                    </a:cubicBezTo>
                    <a:cubicBezTo>
                      <a:pt x="59" y="194"/>
                      <a:pt x="64" y="199"/>
                      <a:pt x="70" y="199"/>
                    </a:cubicBezTo>
                    <a:cubicBezTo>
                      <a:pt x="72" y="199"/>
                      <a:pt x="72" y="199"/>
                      <a:pt x="72" y="199"/>
                    </a:cubicBezTo>
                    <a:cubicBezTo>
                      <a:pt x="72" y="239"/>
                      <a:pt x="72" y="239"/>
                      <a:pt x="72" y="239"/>
                    </a:cubicBezTo>
                    <a:cubicBezTo>
                      <a:pt x="70" y="239"/>
                      <a:pt x="70" y="239"/>
                      <a:pt x="70" y="239"/>
                    </a:cubicBezTo>
                    <a:cubicBezTo>
                      <a:pt x="64" y="239"/>
                      <a:pt x="59" y="244"/>
                      <a:pt x="59" y="251"/>
                    </a:cubicBezTo>
                    <a:cubicBezTo>
                      <a:pt x="59" y="265"/>
                      <a:pt x="59" y="265"/>
                      <a:pt x="59" y="265"/>
                    </a:cubicBezTo>
                    <a:cubicBezTo>
                      <a:pt x="59" y="272"/>
                      <a:pt x="64" y="277"/>
                      <a:pt x="70" y="277"/>
                    </a:cubicBezTo>
                    <a:cubicBezTo>
                      <a:pt x="91" y="277"/>
                      <a:pt x="91" y="277"/>
                      <a:pt x="91" y="277"/>
                    </a:cubicBezTo>
                    <a:cubicBezTo>
                      <a:pt x="97" y="277"/>
                      <a:pt x="102" y="272"/>
                      <a:pt x="102" y="265"/>
                    </a:cubicBezTo>
                    <a:cubicBezTo>
                      <a:pt x="102" y="251"/>
                      <a:pt x="102" y="251"/>
                      <a:pt x="102" y="251"/>
                    </a:cubicBezTo>
                    <a:cubicBezTo>
                      <a:pt x="102" y="244"/>
                      <a:pt x="97" y="239"/>
                      <a:pt x="91" y="239"/>
                    </a:cubicBezTo>
                    <a:cubicBezTo>
                      <a:pt x="88" y="239"/>
                      <a:pt x="88" y="239"/>
                      <a:pt x="88" y="239"/>
                    </a:cubicBezTo>
                    <a:cubicBezTo>
                      <a:pt x="88" y="227"/>
                      <a:pt x="88" y="227"/>
                      <a:pt x="88" y="227"/>
                    </a:cubicBezTo>
                    <a:cubicBezTo>
                      <a:pt x="156" y="227"/>
                      <a:pt x="156" y="227"/>
                      <a:pt x="156" y="227"/>
                    </a:cubicBezTo>
                    <a:cubicBezTo>
                      <a:pt x="156" y="239"/>
                      <a:pt x="156" y="239"/>
                      <a:pt x="156" y="239"/>
                    </a:cubicBezTo>
                    <a:cubicBezTo>
                      <a:pt x="153" y="239"/>
                      <a:pt x="153" y="239"/>
                      <a:pt x="153" y="239"/>
                    </a:cubicBezTo>
                    <a:cubicBezTo>
                      <a:pt x="147" y="239"/>
                      <a:pt x="142" y="244"/>
                      <a:pt x="142" y="251"/>
                    </a:cubicBezTo>
                    <a:cubicBezTo>
                      <a:pt x="142" y="265"/>
                      <a:pt x="142" y="265"/>
                      <a:pt x="142" y="265"/>
                    </a:cubicBezTo>
                    <a:cubicBezTo>
                      <a:pt x="142" y="272"/>
                      <a:pt x="147" y="277"/>
                      <a:pt x="153" y="277"/>
                    </a:cubicBezTo>
                    <a:cubicBezTo>
                      <a:pt x="174" y="277"/>
                      <a:pt x="174" y="277"/>
                      <a:pt x="174" y="277"/>
                    </a:cubicBezTo>
                    <a:cubicBezTo>
                      <a:pt x="180" y="277"/>
                      <a:pt x="185" y="272"/>
                      <a:pt x="185" y="265"/>
                    </a:cubicBezTo>
                    <a:cubicBezTo>
                      <a:pt x="185" y="251"/>
                      <a:pt x="185" y="251"/>
                      <a:pt x="185" y="251"/>
                    </a:cubicBezTo>
                    <a:cubicBezTo>
                      <a:pt x="185" y="244"/>
                      <a:pt x="180" y="239"/>
                      <a:pt x="174" y="239"/>
                    </a:cubicBezTo>
                    <a:cubicBezTo>
                      <a:pt x="172" y="239"/>
                      <a:pt x="172" y="239"/>
                      <a:pt x="172" y="239"/>
                    </a:cubicBezTo>
                    <a:cubicBezTo>
                      <a:pt x="172" y="227"/>
                      <a:pt x="172" y="227"/>
                      <a:pt x="172" y="227"/>
                    </a:cubicBezTo>
                    <a:cubicBezTo>
                      <a:pt x="239" y="227"/>
                      <a:pt x="239" y="227"/>
                      <a:pt x="239" y="227"/>
                    </a:cubicBezTo>
                    <a:cubicBezTo>
                      <a:pt x="239" y="239"/>
                      <a:pt x="239" y="239"/>
                      <a:pt x="239" y="239"/>
                    </a:cubicBezTo>
                    <a:cubicBezTo>
                      <a:pt x="236" y="239"/>
                      <a:pt x="236" y="239"/>
                      <a:pt x="236" y="239"/>
                    </a:cubicBezTo>
                    <a:cubicBezTo>
                      <a:pt x="230" y="239"/>
                      <a:pt x="225" y="244"/>
                      <a:pt x="225" y="251"/>
                    </a:cubicBezTo>
                    <a:cubicBezTo>
                      <a:pt x="225" y="265"/>
                      <a:pt x="225" y="265"/>
                      <a:pt x="225" y="265"/>
                    </a:cubicBezTo>
                    <a:cubicBezTo>
                      <a:pt x="225" y="272"/>
                      <a:pt x="230" y="277"/>
                      <a:pt x="236" y="277"/>
                    </a:cubicBezTo>
                    <a:cubicBezTo>
                      <a:pt x="257" y="277"/>
                      <a:pt x="257" y="277"/>
                      <a:pt x="257" y="277"/>
                    </a:cubicBezTo>
                    <a:cubicBezTo>
                      <a:pt x="263" y="277"/>
                      <a:pt x="268" y="272"/>
                      <a:pt x="268" y="265"/>
                    </a:cubicBezTo>
                    <a:cubicBezTo>
                      <a:pt x="268" y="251"/>
                      <a:pt x="268" y="251"/>
                      <a:pt x="268" y="251"/>
                    </a:cubicBezTo>
                    <a:cubicBezTo>
                      <a:pt x="268" y="244"/>
                      <a:pt x="263" y="239"/>
                      <a:pt x="257" y="239"/>
                    </a:cubicBezTo>
                    <a:cubicBezTo>
                      <a:pt x="255" y="239"/>
                      <a:pt x="255" y="239"/>
                      <a:pt x="255" y="239"/>
                    </a:cubicBezTo>
                    <a:cubicBezTo>
                      <a:pt x="255" y="227"/>
                      <a:pt x="255" y="227"/>
                      <a:pt x="255" y="227"/>
                    </a:cubicBezTo>
                    <a:cubicBezTo>
                      <a:pt x="322" y="227"/>
                      <a:pt x="322" y="227"/>
                      <a:pt x="322" y="227"/>
                    </a:cubicBezTo>
                    <a:cubicBezTo>
                      <a:pt x="322" y="239"/>
                      <a:pt x="322" y="239"/>
                      <a:pt x="322" y="239"/>
                    </a:cubicBezTo>
                    <a:cubicBezTo>
                      <a:pt x="320" y="239"/>
                      <a:pt x="320" y="239"/>
                      <a:pt x="320" y="239"/>
                    </a:cubicBezTo>
                    <a:cubicBezTo>
                      <a:pt x="313" y="239"/>
                      <a:pt x="308" y="244"/>
                      <a:pt x="308" y="251"/>
                    </a:cubicBezTo>
                    <a:cubicBezTo>
                      <a:pt x="308" y="265"/>
                      <a:pt x="308" y="265"/>
                      <a:pt x="308" y="265"/>
                    </a:cubicBezTo>
                    <a:cubicBezTo>
                      <a:pt x="308" y="272"/>
                      <a:pt x="313" y="277"/>
                      <a:pt x="320" y="277"/>
                    </a:cubicBezTo>
                    <a:cubicBezTo>
                      <a:pt x="340" y="277"/>
                      <a:pt x="340" y="277"/>
                      <a:pt x="340" y="277"/>
                    </a:cubicBezTo>
                    <a:cubicBezTo>
                      <a:pt x="347" y="277"/>
                      <a:pt x="352" y="272"/>
                      <a:pt x="352" y="265"/>
                    </a:cubicBezTo>
                    <a:cubicBezTo>
                      <a:pt x="352" y="251"/>
                      <a:pt x="352" y="251"/>
                      <a:pt x="352" y="251"/>
                    </a:cubicBezTo>
                    <a:cubicBezTo>
                      <a:pt x="352" y="244"/>
                      <a:pt x="347" y="239"/>
                      <a:pt x="340" y="239"/>
                    </a:cubicBezTo>
                    <a:cubicBezTo>
                      <a:pt x="338" y="239"/>
                      <a:pt x="338" y="239"/>
                      <a:pt x="338" y="239"/>
                    </a:cubicBezTo>
                    <a:cubicBezTo>
                      <a:pt x="338" y="199"/>
                      <a:pt x="338" y="199"/>
                      <a:pt x="338" y="199"/>
                    </a:cubicBezTo>
                    <a:lnTo>
                      <a:pt x="340" y="199"/>
                    </a:lnTo>
                    <a:close/>
                  </a:path>
                </a:pathLst>
              </a:custGeom>
              <a:solidFill>
                <a:schemeClr val="bg1">
                  <a:lumMod val="75000"/>
                </a:schemeClr>
              </a:solidFill>
              <a:ln>
                <a:noFill/>
              </a:ln>
              <a:extLst/>
            </p:spPr>
            <p:txBody>
              <a:bodyPr tIns="1080000" anchor="ctr"/>
              <a:lstStyle/>
              <a:p>
                <a:pPr algn="ctr"/>
                <a:endParaRPr lang="en-US"/>
              </a:p>
            </p:txBody>
          </p:sp>
        </p:grpSp>
      </p:grpSp>
      <p:cxnSp>
        <p:nvCxnSpPr>
          <p:cNvPr id="27" name="Straight Connector 6"/>
          <p:cNvCxnSpPr/>
          <p:nvPr/>
        </p:nvCxnSpPr>
        <p:spPr bwMode="auto">
          <a:xfrm flipH="1" flipV="1">
            <a:off x="1971784" y="1094866"/>
            <a:ext cx="7824064" cy="6473"/>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8" name="Straight Connector 9240"/>
          <p:cNvCxnSpPr/>
          <p:nvPr/>
        </p:nvCxnSpPr>
        <p:spPr bwMode="auto">
          <a:xfrm>
            <a:off x="2895447" y="4470869"/>
            <a:ext cx="6902132" cy="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9" name="Straight Connector 78"/>
          <p:cNvCxnSpPr/>
          <p:nvPr/>
        </p:nvCxnSpPr>
        <p:spPr bwMode="auto">
          <a:xfrm flipV="1">
            <a:off x="2749808" y="5829729"/>
            <a:ext cx="7047032" cy="3"/>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0" name="Straight Connector 200"/>
          <p:cNvCxnSpPr/>
          <p:nvPr/>
        </p:nvCxnSpPr>
        <p:spPr bwMode="auto">
          <a:xfrm flipV="1">
            <a:off x="9795848" y="1094861"/>
            <a:ext cx="0" cy="4729403"/>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1" name="Straight Connector 201"/>
          <p:cNvCxnSpPr>
            <a:endCxn id="135" idx="0"/>
          </p:cNvCxnSpPr>
          <p:nvPr/>
        </p:nvCxnSpPr>
        <p:spPr bwMode="auto">
          <a:xfrm>
            <a:off x="1601820" y="3535088"/>
            <a:ext cx="8352489" cy="1076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2" name="Straight Connector 215"/>
          <p:cNvCxnSpPr/>
          <p:nvPr/>
        </p:nvCxnSpPr>
        <p:spPr bwMode="auto">
          <a:xfrm>
            <a:off x="1597511" y="5039059"/>
            <a:ext cx="3580996" cy="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41" name="Straight Connector 158"/>
          <p:cNvCxnSpPr/>
          <p:nvPr/>
        </p:nvCxnSpPr>
        <p:spPr bwMode="auto">
          <a:xfrm flipH="1">
            <a:off x="1051515" y="2480572"/>
            <a:ext cx="815999" cy="950681"/>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62" name="Straight Connector 303"/>
          <p:cNvCxnSpPr/>
          <p:nvPr/>
        </p:nvCxnSpPr>
        <p:spPr bwMode="auto">
          <a:xfrm flipH="1">
            <a:off x="5818680" y="2377979"/>
            <a:ext cx="280064" cy="46139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64" name="Group 105"/>
          <p:cNvGrpSpPr>
            <a:grpSpLocks noChangeAspect="1"/>
          </p:cNvGrpSpPr>
          <p:nvPr/>
        </p:nvGrpSpPr>
        <p:grpSpPr bwMode="auto">
          <a:xfrm>
            <a:off x="5064024" y="2097555"/>
            <a:ext cx="804184" cy="1152000"/>
            <a:chOff x="3508" y="1583"/>
            <a:chExt cx="363" cy="520"/>
          </a:xfrm>
        </p:grpSpPr>
        <p:sp>
          <p:nvSpPr>
            <p:cNvPr id="65" name="AutoShape 106"/>
            <p:cNvSpPr>
              <a:spLocks noChangeAspect="1" noChangeArrowheads="1"/>
            </p:cNvSpPr>
            <p:nvPr/>
          </p:nvSpPr>
          <p:spPr bwMode="auto">
            <a:xfrm>
              <a:off x="3515" y="1731"/>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66" name="Oval 107"/>
            <p:cNvSpPr>
              <a:spLocks noChangeAspect="1" noChangeArrowheads="1"/>
            </p:cNvSpPr>
            <p:nvPr/>
          </p:nvSpPr>
          <p:spPr bwMode="auto">
            <a:xfrm>
              <a:off x="3513" y="1590"/>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67" name="Text Box 108"/>
            <p:cNvSpPr txBox="1">
              <a:spLocks noChangeAspect="1" noChangeArrowheads="1"/>
            </p:cNvSpPr>
            <p:nvPr/>
          </p:nvSpPr>
          <p:spPr bwMode="auto">
            <a:xfrm>
              <a:off x="3525" y="1866"/>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hangingPunct="1">
                <a:lnSpc>
                  <a:spcPct val="80000"/>
                </a:lnSpc>
              </a:pPr>
              <a:r>
                <a:rPr lang="en-US" sz="1300" dirty="0" err="1">
                  <a:solidFill>
                    <a:srgbClr val="89BA17"/>
                  </a:solidFill>
                </a:rPr>
                <a:t>Commu-nication</a:t>
              </a:r>
              <a:r>
                <a:rPr lang="en-US" sz="1300" dirty="0">
                  <a:solidFill>
                    <a:srgbClr val="89BA17"/>
                  </a:solidFill>
                </a:rPr>
                <a:t> Services</a:t>
              </a:r>
            </a:p>
          </p:txBody>
        </p:sp>
        <p:sp>
          <p:nvSpPr>
            <p:cNvPr id="68" name="Rectangle 109"/>
            <p:cNvSpPr>
              <a:spLocks noChangeAspect="1" noChangeArrowheads="1"/>
            </p:cNvSpPr>
            <p:nvPr/>
          </p:nvSpPr>
          <p:spPr bwMode="auto">
            <a:xfrm>
              <a:off x="3508" y="1583"/>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sz="1300"/>
            </a:p>
          </p:txBody>
        </p:sp>
        <p:sp>
          <p:nvSpPr>
            <p:cNvPr id="69" name="Freeform 11"/>
            <p:cNvSpPr>
              <a:spLocks noChangeAspect="1" noEditPoints="1"/>
            </p:cNvSpPr>
            <p:nvPr/>
          </p:nvSpPr>
          <p:spPr bwMode="auto">
            <a:xfrm>
              <a:off x="3508" y="1583"/>
              <a:ext cx="363" cy="519"/>
            </a:xfrm>
            <a:custGeom>
              <a:avLst/>
              <a:gdLst>
                <a:gd name="T0" fmla="*/ 104371 w 410"/>
                <a:gd name="T1" fmla="*/ 51772 h 589"/>
                <a:gd name="T2" fmla="*/ 102294 w 410"/>
                <a:gd name="T3" fmla="*/ 53582 h 589"/>
                <a:gd name="T4" fmla="*/ 102294 w 410"/>
                <a:gd name="T5" fmla="*/ 124120 h 589"/>
                <a:gd name="T6" fmla="*/ 96063 w 410"/>
                <a:gd name="T7" fmla="*/ 129546 h 589"/>
                <a:gd name="T8" fmla="*/ 10645 w 410"/>
                <a:gd name="T9" fmla="*/ 129546 h 589"/>
                <a:gd name="T10" fmla="*/ 4154 w 410"/>
                <a:gd name="T11" fmla="*/ 124120 h 589"/>
                <a:gd name="T12" fmla="*/ 4154 w 410"/>
                <a:gd name="T13" fmla="*/ 46348 h 589"/>
                <a:gd name="T14" fmla="*/ 53225 w 410"/>
                <a:gd name="T15" fmla="*/ 3618 h 589"/>
                <a:gd name="T16" fmla="*/ 102294 w 410"/>
                <a:gd name="T17" fmla="*/ 46348 h 589"/>
                <a:gd name="T18" fmla="*/ 104371 w 410"/>
                <a:gd name="T19" fmla="*/ 48157 h 589"/>
                <a:gd name="T20" fmla="*/ 106448 w 410"/>
                <a:gd name="T21" fmla="*/ 46348 h 589"/>
                <a:gd name="T22" fmla="*/ 106448 w 410"/>
                <a:gd name="T23" fmla="*/ 46348 h 589"/>
                <a:gd name="T24" fmla="*/ 53225 w 410"/>
                <a:gd name="T25" fmla="*/ 0 h 589"/>
                <a:gd name="T26" fmla="*/ 0 w 410"/>
                <a:gd name="T27" fmla="*/ 46348 h 589"/>
                <a:gd name="T28" fmla="*/ 0 w 410"/>
                <a:gd name="T29" fmla="*/ 46348 h 589"/>
                <a:gd name="T30" fmla="*/ 259 w 410"/>
                <a:gd name="T31" fmla="*/ 124120 h 589"/>
                <a:gd name="T32" fmla="*/ 10645 w 410"/>
                <a:gd name="T33" fmla="*/ 133164 h 589"/>
                <a:gd name="T34" fmla="*/ 96063 w 410"/>
                <a:gd name="T35" fmla="*/ 133164 h 589"/>
                <a:gd name="T36" fmla="*/ 106448 w 410"/>
                <a:gd name="T37" fmla="*/ 124120 h 589"/>
                <a:gd name="T38" fmla="*/ 106448 w 410"/>
                <a:gd name="T39" fmla="*/ 53582 h 589"/>
                <a:gd name="T40" fmla="*/ 104371 w 410"/>
                <a:gd name="T41" fmla="*/ 51772 h 589"/>
                <a:gd name="T42" fmla="*/ 53225 w 410"/>
                <a:gd name="T43" fmla="*/ 11983 h 589"/>
                <a:gd name="T44" fmla="*/ 51406 w 410"/>
                <a:gd name="T45" fmla="*/ 13113 h 589"/>
                <a:gd name="T46" fmla="*/ 19732 w 410"/>
                <a:gd name="T47" fmla="*/ 65791 h 589"/>
                <a:gd name="T48" fmla="*/ 19991 w 410"/>
                <a:gd name="T49" fmla="*/ 67599 h 589"/>
                <a:gd name="T50" fmla="*/ 21549 w 410"/>
                <a:gd name="T51" fmla="*/ 68504 h 589"/>
                <a:gd name="T52" fmla="*/ 84898 w 410"/>
                <a:gd name="T53" fmla="*/ 68504 h 589"/>
                <a:gd name="T54" fmla="*/ 86716 w 410"/>
                <a:gd name="T55" fmla="*/ 67599 h 589"/>
                <a:gd name="T56" fmla="*/ 86716 w 410"/>
                <a:gd name="T57" fmla="*/ 65791 h 589"/>
                <a:gd name="T58" fmla="*/ 55041 w 410"/>
                <a:gd name="T59" fmla="*/ 13113 h 589"/>
                <a:gd name="T60" fmla="*/ 53225 w 410"/>
                <a:gd name="T61" fmla="*/ 11983 h 589"/>
                <a:gd name="T62" fmla="*/ 24924 w 410"/>
                <a:gd name="T63" fmla="*/ 64886 h 589"/>
                <a:gd name="T64" fmla="*/ 53225 w 410"/>
                <a:gd name="T65" fmla="*/ 17860 h 589"/>
                <a:gd name="T66" fmla="*/ 81524 w 410"/>
                <a:gd name="T67" fmla="*/ 64886 h 589"/>
                <a:gd name="T68" fmla="*/ 24924 w 410"/>
                <a:gd name="T69" fmla="*/ 6488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300"/>
            </a:p>
          </p:txBody>
        </p:sp>
      </p:grpSp>
      <p:cxnSp>
        <p:nvCxnSpPr>
          <p:cNvPr id="71" name="Straight Connector 320"/>
          <p:cNvCxnSpPr/>
          <p:nvPr/>
        </p:nvCxnSpPr>
        <p:spPr bwMode="auto">
          <a:xfrm flipH="1" flipV="1">
            <a:off x="6277881" y="1094871"/>
            <a:ext cx="5067" cy="2449751"/>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73" name="Straight Connector 322"/>
          <p:cNvCxnSpPr/>
          <p:nvPr/>
        </p:nvCxnSpPr>
        <p:spPr bwMode="auto">
          <a:xfrm flipV="1">
            <a:off x="8512025" y="1094864"/>
            <a:ext cx="0" cy="2449752"/>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74" name="Straight Connector 323"/>
          <p:cNvCxnSpPr/>
          <p:nvPr/>
        </p:nvCxnSpPr>
        <p:spPr bwMode="auto">
          <a:xfrm flipV="1">
            <a:off x="5178505" y="3535091"/>
            <a:ext cx="0" cy="2294644"/>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75" name="Group 99"/>
          <p:cNvGrpSpPr>
            <a:grpSpLocks noChangeAspect="1"/>
          </p:cNvGrpSpPr>
          <p:nvPr/>
        </p:nvGrpSpPr>
        <p:grpSpPr bwMode="auto">
          <a:xfrm>
            <a:off x="4769865" y="3712903"/>
            <a:ext cx="806400" cy="1152000"/>
            <a:chOff x="3503" y="2279"/>
            <a:chExt cx="363" cy="520"/>
          </a:xfrm>
        </p:grpSpPr>
        <p:sp>
          <p:nvSpPr>
            <p:cNvPr id="76"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77"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78"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CSI </a:t>
              </a:r>
              <a:br>
                <a:rPr lang="en-US" sz="1300" dirty="0">
                  <a:solidFill>
                    <a:srgbClr val="5B6592"/>
                  </a:solidFill>
                </a:rPr>
              </a:br>
              <a:r>
                <a:rPr lang="en-US" sz="1300" dirty="0">
                  <a:solidFill>
                    <a:srgbClr val="5B6592"/>
                  </a:solidFill>
                </a:rPr>
                <a:t>DM</a:t>
              </a:r>
            </a:p>
          </p:txBody>
        </p:sp>
        <p:sp>
          <p:nvSpPr>
            <p:cNvPr id="79"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80"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grpSp>
        <p:nvGrpSpPr>
          <p:cNvPr id="81" name="Group 99"/>
          <p:cNvGrpSpPr>
            <a:grpSpLocks noChangeAspect="1"/>
          </p:cNvGrpSpPr>
          <p:nvPr/>
        </p:nvGrpSpPr>
        <p:grpSpPr bwMode="auto">
          <a:xfrm>
            <a:off x="4764943" y="5209451"/>
            <a:ext cx="806400" cy="1152000"/>
            <a:chOff x="3503" y="2279"/>
            <a:chExt cx="363" cy="520"/>
          </a:xfrm>
        </p:grpSpPr>
        <p:sp>
          <p:nvSpPr>
            <p:cNvPr id="82"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83"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84"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Transport</a:t>
              </a:r>
              <a:br>
                <a:rPr lang="en-US" sz="1300" dirty="0">
                  <a:solidFill>
                    <a:srgbClr val="5B6592"/>
                  </a:solidFill>
                </a:rPr>
              </a:br>
              <a:r>
                <a:rPr lang="en-US" sz="1300" dirty="0">
                  <a:solidFill>
                    <a:srgbClr val="5B6592"/>
                  </a:solidFill>
                </a:rPr>
                <a:t>DM</a:t>
              </a:r>
            </a:p>
          </p:txBody>
        </p:sp>
        <p:sp>
          <p:nvSpPr>
            <p:cNvPr id="85"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86"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grpSp>
        <p:nvGrpSpPr>
          <p:cNvPr id="93" name="Group 93"/>
          <p:cNvGrpSpPr>
            <a:grpSpLocks noChangeAspect="1"/>
          </p:cNvGrpSpPr>
          <p:nvPr/>
        </p:nvGrpSpPr>
        <p:grpSpPr bwMode="auto">
          <a:xfrm>
            <a:off x="2641863" y="3725732"/>
            <a:ext cx="801103" cy="1152000"/>
            <a:chOff x="3110" y="1588"/>
            <a:chExt cx="363" cy="522"/>
          </a:xfrm>
        </p:grpSpPr>
        <p:sp>
          <p:nvSpPr>
            <p:cNvPr id="94" name="AutoShape 94"/>
            <p:cNvSpPr>
              <a:spLocks noChangeAspect="1" noChangeArrowheads="1"/>
            </p:cNvSpPr>
            <p:nvPr/>
          </p:nvSpPr>
          <p:spPr bwMode="auto">
            <a:xfrm>
              <a:off x="3117" y="173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sz="1600"/>
            </a:p>
          </p:txBody>
        </p:sp>
        <p:sp>
          <p:nvSpPr>
            <p:cNvPr id="95" name="Oval 95"/>
            <p:cNvSpPr>
              <a:spLocks noChangeAspect="1" noChangeArrowheads="1"/>
            </p:cNvSpPr>
            <p:nvPr/>
          </p:nvSpPr>
          <p:spPr bwMode="auto">
            <a:xfrm>
              <a:off x="3115" y="1595"/>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sz="1600"/>
            </a:p>
          </p:txBody>
        </p:sp>
        <p:sp>
          <p:nvSpPr>
            <p:cNvPr id="96" name="Text Box 96"/>
            <p:cNvSpPr txBox="1">
              <a:spLocks noChangeAspect="1" noChangeArrowheads="1"/>
            </p:cNvSpPr>
            <p:nvPr/>
          </p:nvSpPr>
          <p:spPr bwMode="auto">
            <a:xfrm>
              <a:off x="3127" y="187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lnSpc>
                  <a:spcPct val="80000"/>
                </a:lnSpc>
              </a:pPr>
              <a:r>
                <a:rPr lang="en-US" sz="1300" dirty="0"/>
                <a:t>System Infra-structure</a:t>
              </a:r>
            </a:p>
          </p:txBody>
        </p:sp>
        <p:sp>
          <p:nvSpPr>
            <p:cNvPr id="97" name="Rectangle 97"/>
            <p:cNvSpPr>
              <a:spLocks noChangeAspect="1" noChangeArrowheads="1"/>
            </p:cNvSpPr>
            <p:nvPr/>
          </p:nvSpPr>
          <p:spPr bwMode="auto">
            <a:xfrm>
              <a:off x="3110" y="158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sz="1600"/>
            </a:p>
          </p:txBody>
        </p:sp>
        <p:sp>
          <p:nvSpPr>
            <p:cNvPr id="98" name="Freeform 10"/>
            <p:cNvSpPr>
              <a:spLocks noChangeAspect="1" noEditPoints="1"/>
            </p:cNvSpPr>
            <p:nvPr/>
          </p:nvSpPr>
          <p:spPr bwMode="auto">
            <a:xfrm>
              <a:off x="3110" y="1588"/>
              <a:ext cx="363" cy="522"/>
            </a:xfrm>
            <a:custGeom>
              <a:avLst/>
              <a:gdLst>
                <a:gd name="T0" fmla="*/ 238008 w 410"/>
                <a:gd name="T1" fmla="*/ 145316 h 589"/>
                <a:gd name="T2" fmla="*/ 223511 w 410"/>
                <a:gd name="T3" fmla="*/ 351333 h 589"/>
                <a:gd name="T4" fmla="*/ 9666 w 410"/>
                <a:gd name="T5" fmla="*/ 336619 h 589"/>
                <a:gd name="T6" fmla="*/ 123837 w 410"/>
                <a:gd name="T7" fmla="*/ 9811 h 589"/>
                <a:gd name="T8" fmla="*/ 242841 w 410"/>
                <a:gd name="T9" fmla="*/ 130601 h 589"/>
                <a:gd name="T10" fmla="*/ 247673 w 410"/>
                <a:gd name="T11" fmla="*/ 125695 h 589"/>
                <a:gd name="T12" fmla="*/ 0 w 410"/>
                <a:gd name="T13" fmla="*/ 125695 h 589"/>
                <a:gd name="T14" fmla="*/ 605 w 410"/>
                <a:gd name="T15" fmla="*/ 336619 h 589"/>
                <a:gd name="T16" fmla="*/ 223511 w 410"/>
                <a:gd name="T17" fmla="*/ 361145 h 589"/>
                <a:gd name="T18" fmla="*/ 247673 w 410"/>
                <a:gd name="T19" fmla="*/ 145316 h 589"/>
                <a:gd name="T20" fmla="*/ 205388 w 410"/>
                <a:gd name="T21" fmla="*/ 122017 h 589"/>
                <a:gd name="T22" fmla="*/ 212637 w 410"/>
                <a:gd name="T23" fmla="*/ 106075 h 589"/>
                <a:gd name="T24" fmla="*/ 193306 w 410"/>
                <a:gd name="T25" fmla="*/ 99330 h 589"/>
                <a:gd name="T26" fmla="*/ 186058 w 410"/>
                <a:gd name="T27" fmla="*/ 115272 h 589"/>
                <a:gd name="T28" fmla="*/ 194514 w 410"/>
                <a:gd name="T29" fmla="*/ 122017 h 589"/>
                <a:gd name="T30" fmla="*/ 154040 w 410"/>
                <a:gd name="T31" fmla="*/ 129374 h 589"/>
                <a:gd name="T32" fmla="*/ 155249 w 410"/>
                <a:gd name="T33" fmla="*/ 122017 h 589"/>
                <a:gd name="T34" fmla="*/ 161894 w 410"/>
                <a:gd name="T35" fmla="*/ 106075 h 589"/>
                <a:gd name="T36" fmla="*/ 142562 w 410"/>
                <a:gd name="T37" fmla="*/ 99330 h 589"/>
                <a:gd name="T38" fmla="*/ 135919 w 410"/>
                <a:gd name="T39" fmla="*/ 115272 h 589"/>
                <a:gd name="T40" fmla="*/ 144376 w 410"/>
                <a:gd name="T41" fmla="*/ 122017 h 589"/>
                <a:gd name="T42" fmla="*/ 103902 w 410"/>
                <a:gd name="T43" fmla="*/ 129374 h 589"/>
                <a:gd name="T44" fmla="*/ 105110 w 410"/>
                <a:gd name="T45" fmla="*/ 122017 h 589"/>
                <a:gd name="T46" fmla="*/ 111755 w 410"/>
                <a:gd name="T47" fmla="*/ 106075 h 589"/>
                <a:gd name="T48" fmla="*/ 92425 w 410"/>
                <a:gd name="T49" fmla="*/ 99330 h 589"/>
                <a:gd name="T50" fmla="*/ 85780 w 410"/>
                <a:gd name="T51" fmla="*/ 115272 h 589"/>
                <a:gd name="T52" fmla="*/ 94237 w 410"/>
                <a:gd name="T53" fmla="*/ 122017 h 589"/>
                <a:gd name="T54" fmla="*/ 53159 w 410"/>
                <a:gd name="T55" fmla="*/ 129374 h 589"/>
                <a:gd name="T56" fmla="*/ 54971 w 410"/>
                <a:gd name="T57" fmla="*/ 122017 h 589"/>
                <a:gd name="T58" fmla="*/ 61616 w 410"/>
                <a:gd name="T59" fmla="*/ 106075 h 589"/>
                <a:gd name="T60" fmla="*/ 42285 w 410"/>
                <a:gd name="T61" fmla="*/ 99330 h 589"/>
                <a:gd name="T62" fmla="*/ 35641 w 410"/>
                <a:gd name="T63" fmla="*/ 115272 h 589"/>
                <a:gd name="T64" fmla="*/ 43494 w 410"/>
                <a:gd name="T65" fmla="*/ 122017 h 589"/>
                <a:gd name="T66" fmla="*/ 42285 w 410"/>
                <a:gd name="T67" fmla="*/ 146544 h 589"/>
                <a:gd name="T68" fmla="*/ 35641 w 410"/>
                <a:gd name="T69" fmla="*/ 162485 h 589"/>
                <a:gd name="T70" fmla="*/ 54971 w 410"/>
                <a:gd name="T71" fmla="*/ 169841 h 589"/>
                <a:gd name="T72" fmla="*/ 61616 w 410"/>
                <a:gd name="T73" fmla="*/ 153900 h 589"/>
                <a:gd name="T74" fmla="*/ 53159 w 410"/>
                <a:gd name="T75" fmla="*/ 146544 h 589"/>
                <a:gd name="T76" fmla="*/ 94237 w 410"/>
                <a:gd name="T77" fmla="*/ 139185 h 589"/>
                <a:gd name="T78" fmla="*/ 92425 w 410"/>
                <a:gd name="T79" fmla="*/ 146544 h 589"/>
                <a:gd name="T80" fmla="*/ 85780 w 410"/>
                <a:gd name="T81" fmla="*/ 162485 h 589"/>
                <a:gd name="T82" fmla="*/ 105110 w 410"/>
                <a:gd name="T83" fmla="*/ 169841 h 589"/>
                <a:gd name="T84" fmla="*/ 111755 w 410"/>
                <a:gd name="T85" fmla="*/ 153900 h 589"/>
                <a:gd name="T86" fmla="*/ 103902 w 410"/>
                <a:gd name="T87" fmla="*/ 146544 h 589"/>
                <a:gd name="T88" fmla="*/ 144376 w 410"/>
                <a:gd name="T89" fmla="*/ 139185 h 589"/>
                <a:gd name="T90" fmla="*/ 142562 w 410"/>
                <a:gd name="T91" fmla="*/ 146544 h 589"/>
                <a:gd name="T92" fmla="*/ 135919 w 410"/>
                <a:gd name="T93" fmla="*/ 162485 h 589"/>
                <a:gd name="T94" fmla="*/ 155249 w 410"/>
                <a:gd name="T95" fmla="*/ 169841 h 589"/>
                <a:gd name="T96" fmla="*/ 161894 w 410"/>
                <a:gd name="T97" fmla="*/ 153900 h 589"/>
                <a:gd name="T98" fmla="*/ 154040 w 410"/>
                <a:gd name="T99" fmla="*/ 146544 h 589"/>
                <a:gd name="T100" fmla="*/ 194514 w 410"/>
                <a:gd name="T101" fmla="*/ 139185 h 589"/>
                <a:gd name="T102" fmla="*/ 193306 w 410"/>
                <a:gd name="T103" fmla="*/ 146544 h 589"/>
                <a:gd name="T104" fmla="*/ 186058 w 410"/>
                <a:gd name="T105" fmla="*/ 162485 h 589"/>
                <a:gd name="T106" fmla="*/ 205388 w 410"/>
                <a:gd name="T107" fmla="*/ 169841 h 589"/>
                <a:gd name="T108" fmla="*/ 212637 w 410"/>
                <a:gd name="T109" fmla="*/ 153900 h 589"/>
                <a:gd name="T110" fmla="*/ 204180 w 410"/>
                <a:gd name="T111" fmla="*/ 146544 h 589"/>
                <a:gd name="T112" fmla="*/ 205388 w 410"/>
                <a:gd name="T113" fmla="*/ 122017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40" y="199"/>
                  </a:moveTo>
                  <a:cubicBezTo>
                    <a:pt x="347" y="199"/>
                    <a:pt x="352" y="194"/>
                    <a:pt x="352" y="188"/>
                  </a:cubicBezTo>
                  <a:cubicBezTo>
                    <a:pt x="352" y="173"/>
                    <a:pt x="352" y="173"/>
                    <a:pt x="352" y="173"/>
                  </a:cubicBezTo>
                  <a:cubicBezTo>
                    <a:pt x="352" y="167"/>
                    <a:pt x="347" y="162"/>
                    <a:pt x="340" y="162"/>
                  </a:cubicBezTo>
                  <a:cubicBezTo>
                    <a:pt x="320" y="162"/>
                    <a:pt x="320" y="162"/>
                    <a:pt x="320" y="162"/>
                  </a:cubicBezTo>
                  <a:cubicBezTo>
                    <a:pt x="313" y="162"/>
                    <a:pt x="308" y="167"/>
                    <a:pt x="308" y="173"/>
                  </a:cubicBezTo>
                  <a:cubicBezTo>
                    <a:pt x="308" y="188"/>
                    <a:pt x="308" y="188"/>
                    <a:pt x="308" y="188"/>
                  </a:cubicBezTo>
                  <a:cubicBezTo>
                    <a:pt x="308" y="194"/>
                    <a:pt x="313" y="199"/>
                    <a:pt x="320" y="199"/>
                  </a:cubicBezTo>
                  <a:cubicBezTo>
                    <a:pt x="322" y="199"/>
                    <a:pt x="322" y="199"/>
                    <a:pt x="322" y="199"/>
                  </a:cubicBezTo>
                  <a:cubicBezTo>
                    <a:pt x="322" y="211"/>
                    <a:pt x="322" y="211"/>
                    <a:pt x="322" y="211"/>
                  </a:cubicBezTo>
                  <a:cubicBezTo>
                    <a:pt x="255" y="211"/>
                    <a:pt x="255" y="211"/>
                    <a:pt x="255" y="211"/>
                  </a:cubicBezTo>
                  <a:cubicBezTo>
                    <a:pt x="255" y="199"/>
                    <a:pt x="255" y="199"/>
                    <a:pt x="255" y="199"/>
                  </a:cubicBezTo>
                  <a:cubicBezTo>
                    <a:pt x="257" y="199"/>
                    <a:pt x="257" y="199"/>
                    <a:pt x="257" y="199"/>
                  </a:cubicBezTo>
                  <a:cubicBezTo>
                    <a:pt x="263" y="199"/>
                    <a:pt x="268" y="194"/>
                    <a:pt x="268" y="188"/>
                  </a:cubicBezTo>
                  <a:cubicBezTo>
                    <a:pt x="268" y="173"/>
                    <a:pt x="268" y="173"/>
                    <a:pt x="268" y="173"/>
                  </a:cubicBezTo>
                  <a:cubicBezTo>
                    <a:pt x="268" y="167"/>
                    <a:pt x="263" y="162"/>
                    <a:pt x="257" y="162"/>
                  </a:cubicBezTo>
                  <a:cubicBezTo>
                    <a:pt x="236" y="162"/>
                    <a:pt x="236" y="162"/>
                    <a:pt x="236" y="162"/>
                  </a:cubicBezTo>
                  <a:cubicBezTo>
                    <a:pt x="230" y="162"/>
                    <a:pt x="225" y="167"/>
                    <a:pt x="225" y="173"/>
                  </a:cubicBezTo>
                  <a:cubicBezTo>
                    <a:pt x="225" y="188"/>
                    <a:pt x="225" y="188"/>
                    <a:pt x="225" y="188"/>
                  </a:cubicBezTo>
                  <a:cubicBezTo>
                    <a:pt x="225" y="194"/>
                    <a:pt x="230" y="199"/>
                    <a:pt x="236" y="199"/>
                  </a:cubicBezTo>
                  <a:cubicBezTo>
                    <a:pt x="239" y="199"/>
                    <a:pt x="239" y="199"/>
                    <a:pt x="239" y="199"/>
                  </a:cubicBezTo>
                  <a:cubicBezTo>
                    <a:pt x="239" y="211"/>
                    <a:pt x="239" y="211"/>
                    <a:pt x="239" y="211"/>
                  </a:cubicBezTo>
                  <a:cubicBezTo>
                    <a:pt x="172" y="211"/>
                    <a:pt x="172" y="211"/>
                    <a:pt x="172" y="211"/>
                  </a:cubicBezTo>
                  <a:cubicBezTo>
                    <a:pt x="172" y="199"/>
                    <a:pt x="172" y="199"/>
                    <a:pt x="172" y="199"/>
                  </a:cubicBezTo>
                  <a:cubicBezTo>
                    <a:pt x="174" y="199"/>
                    <a:pt x="174" y="199"/>
                    <a:pt x="174" y="199"/>
                  </a:cubicBezTo>
                  <a:cubicBezTo>
                    <a:pt x="180" y="199"/>
                    <a:pt x="185" y="194"/>
                    <a:pt x="185" y="188"/>
                  </a:cubicBezTo>
                  <a:cubicBezTo>
                    <a:pt x="185" y="173"/>
                    <a:pt x="185" y="173"/>
                    <a:pt x="185" y="173"/>
                  </a:cubicBezTo>
                  <a:cubicBezTo>
                    <a:pt x="185" y="167"/>
                    <a:pt x="180" y="162"/>
                    <a:pt x="174" y="162"/>
                  </a:cubicBezTo>
                  <a:cubicBezTo>
                    <a:pt x="153" y="162"/>
                    <a:pt x="153" y="162"/>
                    <a:pt x="153" y="162"/>
                  </a:cubicBezTo>
                  <a:cubicBezTo>
                    <a:pt x="147" y="162"/>
                    <a:pt x="142" y="167"/>
                    <a:pt x="142" y="173"/>
                  </a:cubicBezTo>
                  <a:cubicBezTo>
                    <a:pt x="142" y="188"/>
                    <a:pt x="142" y="188"/>
                    <a:pt x="142" y="188"/>
                  </a:cubicBezTo>
                  <a:cubicBezTo>
                    <a:pt x="142" y="194"/>
                    <a:pt x="147" y="199"/>
                    <a:pt x="153" y="199"/>
                  </a:cubicBezTo>
                  <a:cubicBezTo>
                    <a:pt x="156" y="199"/>
                    <a:pt x="156" y="199"/>
                    <a:pt x="156" y="199"/>
                  </a:cubicBezTo>
                  <a:cubicBezTo>
                    <a:pt x="156" y="211"/>
                    <a:pt x="156" y="211"/>
                    <a:pt x="156" y="211"/>
                  </a:cubicBezTo>
                  <a:cubicBezTo>
                    <a:pt x="88" y="211"/>
                    <a:pt x="88" y="211"/>
                    <a:pt x="88" y="211"/>
                  </a:cubicBezTo>
                  <a:cubicBezTo>
                    <a:pt x="88" y="199"/>
                    <a:pt x="88" y="199"/>
                    <a:pt x="88" y="199"/>
                  </a:cubicBezTo>
                  <a:cubicBezTo>
                    <a:pt x="91" y="199"/>
                    <a:pt x="91" y="199"/>
                    <a:pt x="91" y="199"/>
                  </a:cubicBezTo>
                  <a:cubicBezTo>
                    <a:pt x="97" y="199"/>
                    <a:pt x="102" y="194"/>
                    <a:pt x="102" y="188"/>
                  </a:cubicBezTo>
                  <a:cubicBezTo>
                    <a:pt x="102" y="173"/>
                    <a:pt x="102" y="173"/>
                    <a:pt x="102" y="173"/>
                  </a:cubicBezTo>
                  <a:cubicBezTo>
                    <a:pt x="102" y="167"/>
                    <a:pt x="97" y="162"/>
                    <a:pt x="91" y="162"/>
                  </a:cubicBezTo>
                  <a:cubicBezTo>
                    <a:pt x="70" y="162"/>
                    <a:pt x="70" y="162"/>
                    <a:pt x="70" y="162"/>
                  </a:cubicBezTo>
                  <a:cubicBezTo>
                    <a:pt x="64" y="162"/>
                    <a:pt x="59" y="167"/>
                    <a:pt x="59" y="173"/>
                  </a:cubicBezTo>
                  <a:cubicBezTo>
                    <a:pt x="59" y="188"/>
                    <a:pt x="59" y="188"/>
                    <a:pt x="59" y="188"/>
                  </a:cubicBezTo>
                  <a:cubicBezTo>
                    <a:pt x="59" y="194"/>
                    <a:pt x="64" y="199"/>
                    <a:pt x="70" y="199"/>
                  </a:cubicBezTo>
                  <a:cubicBezTo>
                    <a:pt x="72" y="199"/>
                    <a:pt x="72" y="199"/>
                    <a:pt x="72" y="199"/>
                  </a:cubicBezTo>
                  <a:cubicBezTo>
                    <a:pt x="72" y="239"/>
                    <a:pt x="72" y="239"/>
                    <a:pt x="72" y="239"/>
                  </a:cubicBezTo>
                  <a:cubicBezTo>
                    <a:pt x="70" y="239"/>
                    <a:pt x="70" y="239"/>
                    <a:pt x="70" y="239"/>
                  </a:cubicBezTo>
                  <a:cubicBezTo>
                    <a:pt x="64" y="239"/>
                    <a:pt x="59" y="244"/>
                    <a:pt x="59" y="251"/>
                  </a:cubicBezTo>
                  <a:cubicBezTo>
                    <a:pt x="59" y="265"/>
                    <a:pt x="59" y="265"/>
                    <a:pt x="59" y="265"/>
                  </a:cubicBezTo>
                  <a:cubicBezTo>
                    <a:pt x="59" y="272"/>
                    <a:pt x="64" y="277"/>
                    <a:pt x="70" y="277"/>
                  </a:cubicBezTo>
                  <a:cubicBezTo>
                    <a:pt x="91" y="277"/>
                    <a:pt x="91" y="277"/>
                    <a:pt x="91" y="277"/>
                  </a:cubicBezTo>
                  <a:cubicBezTo>
                    <a:pt x="97" y="277"/>
                    <a:pt x="102" y="272"/>
                    <a:pt x="102" y="265"/>
                  </a:cubicBezTo>
                  <a:cubicBezTo>
                    <a:pt x="102" y="251"/>
                    <a:pt x="102" y="251"/>
                    <a:pt x="102" y="251"/>
                  </a:cubicBezTo>
                  <a:cubicBezTo>
                    <a:pt x="102" y="244"/>
                    <a:pt x="97" y="239"/>
                    <a:pt x="91" y="239"/>
                  </a:cubicBezTo>
                  <a:cubicBezTo>
                    <a:pt x="88" y="239"/>
                    <a:pt x="88" y="239"/>
                    <a:pt x="88" y="239"/>
                  </a:cubicBezTo>
                  <a:cubicBezTo>
                    <a:pt x="88" y="227"/>
                    <a:pt x="88" y="227"/>
                    <a:pt x="88" y="227"/>
                  </a:cubicBezTo>
                  <a:cubicBezTo>
                    <a:pt x="156" y="227"/>
                    <a:pt x="156" y="227"/>
                    <a:pt x="156" y="227"/>
                  </a:cubicBezTo>
                  <a:cubicBezTo>
                    <a:pt x="156" y="239"/>
                    <a:pt x="156" y="239"/>
                    <a:pt x="156" y="239"/>
                  </a:cubicBezTo>
                  <a:cubicBezTo>
                    <a:pt x="153" y="239"/>
                    <a:pt x="153" y="239"/>
                    <a:pt x="153" y="239"/>
                  </a:cubicBezTo>
                  <a:cubicBezTo>
                    <a:pt x="147" y="239"/>
                    <a:pt x="142" y="244"/>
                    <a:pt x="142" y="251"/>
                  </a:cubicBezTo>
                  <a:cubicBezTo>
                    <a:pt x="142" y="265"/>
                    <a:pt x="142" y="265"/>
                    <a:pt x="142" y="265"/>
                  </a:cubicBezTo>
                  <a:cubicBezTo>
                    <a:pt x="142" y="272"/>
                    <a:pt x="147" y="277"/>
                    <a:pt x="153" y="277"/>
                  </a:cubicBezTo>
                  <a:cubicBezTo>
                    <a:pt x="174" y="277"/>
                    <a:pt x="174" y="277"/>
                    <a:pt x="174" y="277"/>
                  </a:cubicBezTo>
                  <a:cubicBezTo>
                    <a:pt x="180" y="277"/>
                    <a:pt x="185" y="272"/>
                    <a:pt x="185" y="265"/>
                  </a:cubicBezTo>
                  <a:cubicBezTo>
                    <a:pt x="185" y="251"/>
                    <a:pt x="185" y="251"/>
                    <a:pt x="185" y="251"/>
                  </a:cubicBezTo>
                  <a:cubicBezTo>
                    <a:pt x="185" y="244"/>
                    <a:pt x="180" y="239"/>
                    <a:pt x="174" y="239"/>
                  </a:cubicBezTo>
                  <a:cubicBezTo>
                    <a:pt x="172" y="239"/>
                    <a:pt x="172" y="239"/>
                    <a:pt x="172" y="239"/>
                  </a:cubicBezTo>
                  <a:cubicBezTo>
                    <a:pt x="172" y="227"/>
                    <a:pt x="172" y="227"/>
                    <a:pt x="172" y="227"/>
                  </a:cubicBezTo>
                  <a:cubicBezTo>
                    <a:pt x="239" y="227"/>
                    <a:pt x="239" y="227"/>
                    <a:pt x="239" y="227"/>
                  </a:cubicBezTo>
                  <a:cubicBezTo>
                    <a:pt x="239" y="239"/>
                    <a:pt x="239" y="239"/>
                    <a:pt x="239" y="239"/>
                  </a:cubicBezTo>
                  <a:cubicBezTo>
                    <a:pt x="236" y="239"/>
                    <a:pt x="236" y="239"/>
                    <a:pt x="236" y="239"/>
                  </a:cubicBezTo>
                  <a:cubicBezTo>
                    <a:pt x="230" y="239"/>
                    <a:pt x="225" y="244"/>
                    <a:pt x="225" y="251"/>
                  </a:cubicBezTo>
                  <a:cubicBezTo>
                    <a:pt x="225" y="265"/>
                    <a:pt x="225" y="265"/>
                    <a:pt x="225" y="265"/>
                  </a:cubicBezTo>
                  <a:cubicBezTo>
                    <a:pt x="225" y="272"/>
                    <a:pt x="230" y="277"/>
                    <a:pt x="236" y="277"/>
                  </a:cubicBezTo>
                  <a:cubicBezTo>
                    <a:pt x="257" y="277"/>
                    <a:pt x="257" y="277"/>
                    <a:pt x="257" y="277"/>
                  </a:cubicBezTo>
                  <a:cubicBezTo>
                    <a:pt x="263" y="277"/>
                    <a:pt x="268" y="272"/>
                    <a:pt x="268" y="265"/>
                  </a:cubicBezTo>
                  <a:cubicBezTo>
                    <a:pt x="268" y="251"/>
                    <a:pt x="268" y="251"/>
                    <a:pt x="268" y="251"/>
                  </a:cubicBezTo>
                  <a:cubicBezTo>
                    <a:pt x="268" y="244"/>
                    <a:pt x="263" y="239"/>
                    <a:pt x="257" y="239"/>
                  </a:cubicBezTo>
                  <a:cubicBezTo>
                    <a:pt x="255" y="239"/>
                    <a:pt x="255" y="239"/>
                    <a:pt x="255" y="239"/>
                  </a:cubicBezTo>
                  <a:cubicBezTo>
                    <a:pt x="255" y="227"/>
                    <a:pt x="255" y="227"/>
                    <a:pt x="255" y="227"/>
                  </a:cubicBezTo>
                  <a:cubicBezTo>
                    <a:pt x="322" y="227"/>
                    <a:pt x="322" y="227"/>
                    <a:pt x="322" y="227"/>
                  </a:cubicBezTo>
                  <a:cubicBezTo>
                    <a:pt x="322" y="239"/>
                    <a:pt x="322" y="239"/>
                    <a:pt x="322" y="239"/>
                  </a:cubicBezTo>
                  <a:cubicBezTo>
                    <a:pt x="320" y="239"/>
                    <a:pt x="320" y="239"/>
                    <a:pt x="320" y="239"/>
                  </a:cubicBezTo>
                  <a:cubicBezTo>
                    <a:pt x="313" y="239"/>
                    <a:pt x="308" y="244"/>
                    <a:pt x="308" y="251"/>
                  </a:cubicBezTo>
                  <a:cubicBezTo>
                    <a:pt x="308" y="265"/>
                    <a:pt x="308" y="265"/>
                    <a:pt x="308" y="265"/>
                  </a:cubicBezTo>
                  <a:cubicBezTo>
                    <a:pt x="308" y="272"/>
                    <a:pt x="313" y="277"/>
                    <a:pt x="320" y="277"/>
                  </a:cubicBezTo>
                  <a:cubicBezTo>
                    <a:pt x="340" y="277"/>
                    <a:pt x="340" y="277"/>
                    <a:pt x="340" y="277"/>
                  </a:cubicBezTo>
                  <a:cubicBezTo>
                    <a:pt x="347" y="277"/>
                    <a:pt x="352" y="272"/>
                    <a:pt x="352" y="265"/>
                  </a:cubicBezTo>
                  <a:cubicBezTo>
                    <a:pt x="352" y="251"/>
                    <a:pt x="352" y="251"/>
                    <a:pt x="352" y="251"/>
                  </a:cubicBezTo>
                  <a:cubicBezTo>
                    <a:pt x="352" y="244"/>
                    <a:pt x="347" y="239"/>
                    <a:pt x="340" y="239"/>
                  </a:cubicBezTo>
                  <a:cubicBezTo>
                    <a:pt x="338" y="239"/>
                    <a:pt x="338" y="239"/>
                    <a:pt x="338" y="239"/>
                  </a:cubicBezTo>
                  <a:cubicBezTo>
                    <a:pt x="338" y="199"/>
                    <a:pt x="338" y="199"/>
                    <a:pt x="338" y="199"/>
                  </a:cubicBezTo>
                  <a:lnTo>
                    <a:pt x="340" y="19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500" dirty="0"/>
            </a:p>
          </p:txBody>
        </p:sp>
      </p:grpSp>
      <p:grpSp>
        <p:nvGrpSpPr>
          <p:cNvPr id="111" name="Group 99"/>
          <p:cNvGrpSpPr>
            <a:grpSpLocks noChangeAspect="1"/>
          </p:cNvGrpSpPr>
          <p:nvPr/>
        </p:nvGrpSpPr>
        <p:grpSpPr bwMode="auto">
          <a:xfrm>
            <a:off x="5973889" y="1322573"/>
            <a:ext cx="806400" cy="1152000"/>
            <a:chOff x="3503" y="2279"/>
            <a:chExt cx="363" cy="520"/>
          </a:xfrm>
        </p:grpSpPr>
        <p:sp>
          <p:nvSpPr>
            <p:cNvPr id="112"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13"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14"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Comm. Services DM</a:t>
              </a:r>
            </a:p>
          </p:txBody>
        </p:sp>
        <p:sp>
          <p:nvSpPr>
            <p:cNvPr id="115"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116"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grpSp>
        <p:nvGrpSpPr>
          <p:cNvPr id="117" name="Group 57"/>
          <p:cNvGrpSpPr>
            <a:grpSpLocks noChangeAspect="1"/>
          </p:cNvGrpSpPr>
          <p:nvPr/>
        </p:nvGrpSpPr>
        <p:grpSpPr bwMode="auto">
          <a:xfrm>
            <a:off x="2102365" y="5196123"/>
            <a:ext cx="804184" cy="1152000"/>
            <a:chOff x="656" y="1578"/>
            <a:chExt cx="363" cy="520"/>
          </a:xfrm>
        </p:grpSpPr>
        <p:sp>
          <p:nvSpPr>
            <p:cNvPr id="118" name="AutoShape 58"/>
            <p:cNvSpPr>
              <a:spLocks noChangeAspect="1" noChangeArrowheads="1"/>
            </p:cNvSpPr>
            <p:nvPr/>
          </p:nvSpPr>
          <p:spPr bwMode="auto">
            <a:xfrm>
              <a:off x="663" y="172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sz="1600"/>
            </a:p>
          </p:txBody>
        </p:sp>
        <p:sp>
          <p:nvSpPr>
            <p:cNvPr id="119" name="Oval 59"/>
            <p:cNvSpPr>
              <a:spLocks noChangeAspect="1" noChangeArrowheads="1"/>
            </p:cNvSpPr>
            <p:nvPr/>
          </p:nvSpPr>
          <p:spPr bwMode="auto">
            <a:xfrm>
              <a:off x="661" y="1585"/>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sz="1600"/>
            </a:p>
          </p:txBody>
        </p:sp>
        <p:sp>
          <p:nvSpPr>
            <p:cNvPr id="120" name="Text Box 60"/>
            <p:cNvSpPr txBox="1">
              <a:spLocks noChangeAspect="1" noChangeArrowheads="1"/>
            </p:cNvSpPr>
            <p:nvPr/>
          </p:nvSpPr>
          <p:spPr bwMode="auto">
            <a:xfrm>
              <a:off x="673" y="186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lnSpc>
                  <a:spcPct val="80000"/>
                </a:lnSpc>
              </a:pPr>
              <a:r>
                <a:rPr lang="en-US" sz="1300" dirty="0"/>
                <a:t>Transport </a:t>
              </a:r>
            </a:p>
          </p:txBody>
        </p:sp>
        <p:sp>
          <p:nvSpPr>
            <p:cNvPr id="121" name="Rectangle 61"/>
            <p:cNvSpPr>
              <a:spLocks noChangeAspect="1" noChangeArrowheads="1"/>
            </p:cNvSpPr>
            <p:nvPr/>
          </p:nvSpPr>
          <p:spPr bwMode="auto">
            <a:xfrm>
              <a:off x="656" y="157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sz="1600"/>
            </a:p>
          </p:txBody>
        </p:sp>
        <p:sp>
          <p:nvSpPr>
            <p:cNvPr id="122" name="Freeform 11"/>
            <p:cNvSpPr>
              <a:spLocks noChangeAspect="1" noEditPoints="1"/>
            </p:cNvSpPr>
            <p:nvPr/>
          </p:nvSpPr>
          <p:spPr bwMode="auto">
            <a:xfrm>
              <a:off x="656" y="1578"/>
              <a:ext cx="363" cy="520"/>
            </a:xfrm>
            <a:custGeom>
              <a:avLst/>
              <a:gdLst>
                <a:gd name="T0" fmla="*/ 562511 w 410"/>
                <a:gd name="T1" fmla="*/ 323748 h 589"/>
                <a:gd name="T2" fmla="*/ 528247 w 410"/>
                <a:gd name="T3" fmla="*/ 782731 h 589"/>
                <a:gd name="T4" fmla="*/ 22842 w 410"/>
                <a:gd name="T5" fmla="*/ 749946 h 589"/>
                <a:gd name="T6" fmla="*/ 292678 w 410"/>
                <a:gd name="T7" fmla="*/ 21856 h 589"/>
                <a:gd name="T8" fmla="*/ 573934 w 410"/>
                <a:gd name="T9" fmla="*/ 290963 h 589"/>
                <a:gd name="T10" fmla="*/ 585354 w 410"/>
                <a:gd name="T11" fmla="*/ 280035 h 589"/>
                <a:gd name="T12" fmla="*/ 0 w 410"/>
                <a:gd name="T13" fmla="*/ 280035 h 589"/>
                <a:gd name="T14" fmla="*/ 57108 w 410"/>
                <a:gd name="T15" fmla="*/ 804587 h 589"/>
                <a:gd name="T16" fmla="*/ 585354 w 410"/>
                <a:gd name="T17" fmla="*/ 749946 h 589"/>
                <a:gd name="T18" fmla="*/ 573934 w 410"/>
                <a:gd name="T19" fmla="*/ 312819 h 589"/>
                <a:gd name="T20" fmla="*/ 395471 w 410"/>
                <a:gd name="T21" fmla="*/ 127040 h 589"/>
                <a:gd name="T22" fmla="*/ 392616 w 410"/>
                <a:gd name="T23" fmla="*/ 66936 h 589"/>
                <a:gd name="T24" fmla="*/ 386905 w 410"/>
                <a:gd name="T25" fmla="*/ 64203 h 589"/>
                <a:gd name="T26" fmla="*/ 384050 w 410"/>
                <a:gd name="T27" fmla="*/ 62837 h 589"/>
                <a:gd name="T28" fmla="*/ 318376 w 410"/>
                <a:gd name="T29" fmla="*/ 73766 h 589"/>
                <a:gd name="T30" fmla="*/ 356923 w 410"/>
                <a:gd name="T31" fmla="*/ 84694 h 589"/>
                <a:gd name="T32" fmla="*/ 228431 w 410"/>
                <a:gd name="T33" fmla="*/ 84694 h 589"/>
                <a:gd name="T34" fmla="*/ 266979 w 410"/>
                <a:gd name="T35" fmla="*/ 73766 h 589"/>
                <a:gd name="T36" fmla="*/ 201305 w 410"/>
                <a:gd name="T37" fmla="*/ 62837 h 589"/>
                <a:gd name="T38" fmla="*/ 189884 w 410"/>
                <a:gd name="T39" fmla="*/ 71033 h 589"/>
                <a:gd name="T40" fmla="*/ 189884 w 410"/>
                <a:gd name="T41" fmla="*/ 72399 h 589"/>
                <a:gd name="T42" fmla="*/ 189884 w 410"/>
                <a:gd name="T43" fmla="*/ 127040 h 589"/>
                <a:gd name="T44" fmla="*/ 212728 w 410"/>
                <a:gd name="T45" fmla="*/ 127040 h 589"/>
                <a:gd name="T46" fmla="*/ 276973 w 410"/>
                <a:gd name="T47" fmla="*/ 162558 h 589"/>
                <a:gd name="T48" fmla="*/ 214154 w 410"/>
                <a:gd name="T49" fmla="*/ 196707 h 589"/>
                <a:gd name="T50" fmla="*/ 191312 w 410"/>
                <a:gd name="T51" fmla="*/ 196707 h 589"/>
                <a:gd name="T52" fmla="*/ 191312 w 410"/>
                <a:gd name="T53" fmla="*/ 249983 h 589"/>
                <a:gd name="T54" fmla="*/ 191312 w 410"/>
                <a:gd name="T55" fmla="*/ 251348 h 589"/>
                <a:gd name="T56" fmla="*/ 192739 w 410"/>
                <a:gd name="T57" fmla="*/ 252714 h 589"/>
                <a:gd name="T58" fmla="*/ 194166 w 410"/>
                <a:gd name="T59" fmla="*/ 256812 h 589"/>
                <a:gd name="T60" fmla="*/ 198450 w 410"/>
                <a:gd name="T61" fmla="*/ 258180 h 589"/>
                <a:gd name="T62" fmla="*/ 199878 w 410"/>
                <a:gd name="T63" fmla="*/ 259544 h 589"/>
                <a:gd name="T64" fmla="*/ 258413 w 410"/>
                <a:gd name="T65" fmla="*/ 259544 h 589"/>
                <a:gd name="T66" fmla="*/ 258413 w 410"/>
                <a:gd name="T67" fmla="*/ 237689 h 589"/>
                <a:gd name="T68" fmla="*/ 229859 w 410"/>
                <a:gd name="T69" fmla="*/ 237689 h 589"/>
                <a:gd name="T70" fmla="*/ 356923 w 410"/>
                <a:gd name="T71" fmla="*/ 239053 h 589"/>
                <a:gd name="T72" fmla="*/ 318376 w 410"/>
                <a:gd name="T73" fmla="*/ 249983 h 589"/>
                <a:gd name="T74" fmla="*/ 384050 w 410"/>
                <a:gd name="T75" fmla="*/ 260911 h 589"/>
                <a:gd name="T76" fmla="*/ 388333 w 410"/>
                <a:gd name="T77" fmla="*/ 259544 h 589"/>
                <a:gd name="T78" fmla="*/ 391188 w 410"/>
                <a:gd name="T79" fmla="*/ 258180 h 589"/>
                <a:gd name="T80" fmla="*/ 394044 w 410"/>
                <a:gd name="T81" fmla="*/ 255446 h 589"/>
                <a:gd name="T82" fmla="*/ 395471 w 410"/>
                <a:gd name="T83" fmla="*/ 251348 h 589"/>
                <a:gd name="T84" fmla="*/ 395471 w 410"/>
                <a:gd name="T85" fmla="*/ 249983 h 589"/>
                <a:gd name="T86" fmla="*/ 384050 w 410"/>
                <a:gd name="T87" fmla="*/ 185779 h 589"/>
                <a:gd name="T88" fmla="*/ 372628 w 410"/>
                <a:gd name="T89" fmla="*/ 224027 h 589"/>
                <a:gd name="T90" fmla="*/ 372628 w 410"/>
                <a:gd name="T91" fmla="*/ 101087 h 589"/>
                <a:gd name="T92" fmla="*/ 384050 w 410"/>
                <a:gd name="T93" fmla="*/ 137969 h 589"/>
                <a:gd name="T94" fmla="*/ 502549 w 410"/>
                <a:gd name="T95" fmla="*/ 420737 h 589"/>
                <a:gd name="T96" fmla="*/ 288394 w 410"/>
                <a:gd name="T97" fmla="*/ 404343 h 589"/>
                <a:gd name="T98" fmla="*/ 91372 w 410"/>
                <a:gd name="T99" fmla="*/ 407074 h 589"/>
                <a:gd name="T100" fmla="*/ 184172 w 410"/>
                <a:gd name="T101" fmla="*/ 446690 h 589"/>
                <a:gd name="T102" fmla="*/ 486844 w 410"/>
                <a:gd name="T103" fmla="*/ 422101 h 589"/>
                <a:gd name="T104" fmla="*/ 288394 w 410"/>
                <a:gd name="T105" fmla="*/ 308720 h 589"/>
                <a:gd name="T106" fmla="*/ 91372 w 410"/>
                <a:gd name="T107" fmla="*/ 311454 h 589"/>
                <a:gd name="T108" fmla="*/ 184172 w 410"/>
                <a:gd name="T109" fmla="*/ 352434 h 589"/>
                <a:gd name="T110" fmla="*/ 486844 w 410"/>
                <a:gd name="T111" fmla="*/ 327845 h 589"/>
                <a:gd name="T112" fmla="*/ 501121 w 410"/>
                <a:gd name="T113" fmla="*/ 310088 h 589"/>
                <a:gd name="T114" fmla="*/ 288394 w 410"/>
                <a:gd name="T115" fmla="*/ 356532 h 589"/>
                <a:gd name="T116" fmla="*/ 91372 w 410"/>
                <a:gd name="T117" fmla="*/ 359264 h 589"/>
                <a:gd name="T118" fmla="*/ 184172 w 410"/>
                <a:gd name="T119" fmla="*/ 400245 h 589"/>
                <a:gd name="T120" fmla="*/ 486844 w 410"/>
                <a:gd name="T121" fmla="*/ 375656 h 589"/>
                <a:gd name="T122" fmla="*/ 501121 w 410"/>
                <a:gd name="T123" fmla="*/ 357898 h 5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0"/>
                <a:gd name="T187" fmla="*/ 0 h 589"/>
                <a:gd name="T188" fmla="*/ 410 w 410"/>
                <a:gd name="T189" fmla="*/ 589 h 58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9" y="101"/>
                  </a:moveTo>
                  <a:cubicBezTo>
                    <a:pt x="274" y="101"/>
                    <a:pt x="277" y="97"/>
                    <a:pt x="277" y="93"/>
                  </a:cubicBezTo>
                  <a:cubicBezTo>
                    <a:pt x="277" y="54"/>
                    <a:pt x="277" y="54"/>
                    <a:pt x="277" y="54"/>
                  </a:cubicBezTo>
                  <a:cubicBezTo>
                    <a:pt x="277" y="52"/>
                    <a:pt x="277" y="50"/>
                    <a:pt x="275" y="49"/>
                  </a:cubicBezTo>
                  <a:cubicBezTo>
                    <a:pt x="274" y="48"/>
                    <a:pt x="273" y="47"/>
                    <a:pt x="271" y="47"/>
                  </a:cubicBezTo>
                  <a:cubicBezTo>
                    <a:pt x="271" y="47"/>
                    <a:pt x="271" y="47"/>
                    <a:pt x="271" y="47"/>
                  </a:cubicBezTo>
                  <a:cubicBezTo>
                    <a:pt x="271" y="47"/>
                    <a:pt x="270" y="46"/>
                    <a:pt x="270" y="46"/>
                  </a:cubicBezTo>
                  <a:cubicBezTo>
                    <a:pt x="270" y="46"/>
                    <a:pt x="270" y="46"/>
                    <a:pt x="269" y="46"/>
                  </a:cubicBezTo>
                  <a:cubicBezTo>
                    <a:pt x="231" y="46"/>
                    <a:pt x="231" y="46"/>
                    <a:pt x="231" y="46"/>
                  </a:cubicBezTo>
                  <a:cubicBezTo>
                    <a:pt x="226" y="46"/>
                    <a:pt x="223" y="50"/>
                    <a:pt x="223" y="54"/>
                  </a:cubicBezTo>
                  <a:cubicBezTo>
                    <a:pt x="223" y="59"/>
                    <a:pt x="226" y="62"/>
                    <a:pt x="231" y="62"/>
                  </a:cubicBezTo>
                  <a:cubicBezTo>
                    <a:pt x="250" y="62"/>
                    <a:pt x="250" y="62"/>
                    <a:pt x="250" y="62"/>
                  </a:cubicBezTo>
                  <a:cubicBezTo>
                    <a:pt x="205" y="107"/>
                    <a:pt x="205" y="107"/>
                    <a:pt x="205" y="107"/>
                  </a:cubicBezTo>
                  <a:cubicBezTo>
                    <a:pt x="160" y="62"/>
                    <a:pt x="160" y="62"/>
                    <a:pt x="160" y="62"/>
                  </a:cubicBezTo>
                  <a:cubicBezTo>
                    <a:pt x="179" y="62"/>
                    <a:pt x="179" y="62"/>
                    <a:pt x="179" y="62"/>
                  </a:cubicBezTo>
                  <a:cubicBezTo>
                    <a:pt x="184" y="62"/>
                    <a:pt x="187" y="59"/>
                    <a:pt x="187" y="54"/>
                  </a:cubicBezTo>
                  <a:cubicBezTo>
                    <a:pt x="187" y="50"/>
                    <a:pt x="184" y="46"/>
                    <a:pt x="179" y="46"/>
                  </a:cubicBezTo>
                  <a:cubicBezTo>
                    <a:pt x="141" y="46"/>
                    <a:pt x="141" y="46"/>
                    <a:pt x="141" y="46"/>
                  </a:cubicBezTo>
                  <a:cubicBezTo>
                    <a:pt x="139" y="46"/>
                    <a:pt x="137" y="47"/>
                    <a:pt x="135" y="49"/>
                  </a:cubicBezTo>
                  <a:cubicBezTo>
                    <a:pt x="134" y="50"/>
                    <a:pt x="134" y="51"/>
                    <a:pt x="133" y="52"/>
                  </a:cubicBezTo>
                  <a:cubicBezTo>
                    <a:pt x="133" y="53"/>
                    <a:pt x="133" y="53"/>
                    <a:pt x="133" y="53"/>
                  </a:cubicBezTo>
                  <a:cubicBezTo>
                    <a:pt x="133" y="53"/>
                    <a:pt x="133" y="53"/>
                    <a:pt x="133" y="53"/>
                  </a:cubicBezTo>
                  <a:cubicBezTo>
                    <a:pt x="133" y="54"/>
                    <a:pt x="133" y="54"/>
                    <a:pt x="133" y="54"/>
                  </a:cubicBezTo>
                  <a:cubicBezTo>
                    <a:pt x="133" y="93"/>
                    <a:pt x="133" y="93"/>
                    <a:pt x="133" y="93"/>
                  </a:cubicBezTo>
                  <a:cubicBezTo>
                    <a:pt x="133" y="97"/>
                    <a:pt x="137" y="101"/>
                    <a:pt x="141" y="101"/>
                  </a:cubicBezTo>
                  <a:cubicBezTo>
                    <a:pt x="145" y="101"/>
                    <a:pt x="149" y="97"/>
                    <a:pt x="149" y="93"/>
                  </a:cubicBezTo>
                  <a:cubicBezTo>
                    <a:pt x="149" y="74"/>
                    <a:pt x="149" y="74"/>
                    <a:pt x="149" y="74"/>
                  </a:cubicBezTo>
                  <a:cubicBezTo>
                    <a:pt x="194" y="119"/>
                    <a:pt x="194" y="119"/>
                    <a:pt x="194" y="119"/>
                  </a:cubicBezTo>
                  <a:cubicBezTo>
                    <a:pt x="150" y="163"/>
                    <a:pt x="150" y="163"/>
                    <a:pt x="150" y="163"/>
                  </a:cubicBezTo>
                  <a:cubicBezTo>
                    <a:pt x="150" y="144"/>
                    <a:pt x="150" y="144"/>
                    <a:pt x="150" y="144"/>
                  </a:cubicBezTo>
                  <a:cubicBezTo>
                    <a:pt x="150" y="139"/>
                    <a:pt x="147" y="136"/>
                    <a:pt x="142" y="136"/>
                  </a:cubicBezTo>
                  <a:cubicBezTo>
                    <a:pt x="138" y="136"/>
                    <a:pt x="134" y="139"/>
                    <a:pt x="134" y="144"/>
                  </a:cubicBezTo>
                  <a:cubicBezTo>
                    <a:pt x="134" y="182"/>
                    <a:pt x="134" y="182"/>
                    <a:pt x="134" y="182"/>
                  </a:cubicBezTo>
                  <a:cubicBezTo>
                    <a:pt x="134" y="182"/>
                    <a:pt x="134" y="183"/>
                    <a:pt x="134" y="183"/>
                  </a:cubicBezTo>
                  <a:cubicBezTo>
                    <a:pt x="134" y="183"/>
                    <a:pt x="134" y="183"/>
                    <a:pt x="134" y="184"/>
                  </a:cubicBezTo>
                  <a:cubicBezTo>
                    <a:pt x="134" y="184"/>
                    <a:pt x="134" y="184"/>
                    <a:pt x="134" y="184"/>
                  </a:cubicBezTo>
                  <a:cubicBezTo>
                    <a:pt x="135" y="184"/>
                    <a:pt x="135" y="185"/>
                    <a:pt x="135" y="185"/>
                  </a:cubicBezTo>
                  <a:cubicBezTo>
                    <a:pt x="135" y="185"/>
                    <a:pt x="135" y="185"/>
                    <a:pt x="135" y="185"/>
                  </a:cubicBezTo>
                  <a:cubicBezTo>
                    <a:pt x="135" y="186"/>
                    <a:pt x="135" y="186"/>
                    <a:pt x="135" y="186"/>
                  </a:cubicBezTo>
                  <a:cubicBezTo>
                    <a:pt x="136" y="187"/>
                    <a:pt x="136" y="187"/>
                    <a:pt x="136" y="188"/>
                  </a:cubicBezTo>
                  <a:cubicBezTo>
                    <a:pt x="137" y="188"/>
                    <a:pt x="137" y="188"/>
                    <a:pt x="138" y="189"/>
                  </a:cubicBezTo>
                  <a:cubicBezTo>
                    <a:pt x="138" y="189"/>
                    <a:pt x="138" y="189"/>
                    <a:pt x="139" y="189"/>
                  </a:cubicBezTo>
                  <a:cubicBezTo>
                    <a:pt x="139" y="189"/>
                    <a:pt x="139" y="189"/>
                    <a:pt x="139" y="189"/>
                  </a:cubicBezTo>
                  <a:cubicBezTo>
                    <a:pt x="139" y="190"/>
                    <a:pt x="140" y="190"/>
                    <a:pt x="140" y="190"/>
                  </a:cubicBezTo>
                  <a:cubicBezTo>
                    <a:pt x="141" y="190"/>
                    <a:pt x="141" y="190"/>
                    <a:pt x="142" y="190"/>
                  </a:cubicBezTo>
                  <a:cubicBezTo>
                    <a:pt x="181" y="190"/>
                    <a:pt x="181" y="190"/>
                    <a:pt x="181" y="190"/>
                  </a:cubicBezTo>
                  <a:cubicBezTo>
                    <a:pt x="185" y="190"/>
                    <a:pt x="189" y="186"/>
                    <a:pt x="189" y="182"/>
                  </a:cubicBezTo>
                  <a:cubicBezTo>
                    <a:pt x="189" y="178"/>
                    <a:pt x="185" y="174"/>
                    <a:pt x="181" y="174"/>
                  </a:cubicBezTo>
                  <a:cubicBezTo>
                    <a:pt x="181" y="174"/>
                    <a:pt x="181" y="174"/>
                    <a:pt x="181" y="174"/>
                  </a:cubicBezTo>
                  <a:cubicBezTo>
                    <a:pt x="161" y="174"/>
                    <a:pt x="161" y="174"/>
                    <a:pt x="161" y="174"/>
                  </a:cubicBezTo>
                  <a:cubicBezTo>
                    <a:pt x="205" y="130"/>
                    <a:pt x="205" y="130"/>
                    <a:pt x="205" y="130"/>
                  </a:cubicBezTo>
                  <a:cubicBezTo>
                    <a:pt x="250" y="175"/>
                    <a:pt x="250" y="175"/>
                    <a:pt x="250" y="175"/>
                  </a:cubicBezTo>
                  <a:cubicBezTo>
                    <a:pt x="231" y="175"/>
                    <a:pt x="231" y="175"/>
                    <a:pt x="231" y="175"/>
                  </a:cubicBezTo>
                  <a:cubicBezTo>
                    <a:pt x="226" y="175"/>
                    <a:pt x="223" y="178"/>
                    <a:pt x="223" y="183"/>
                  </a:cubicBezTo>
                  <a:cubicBezTo>
                    <a:pt x="223" y="187"/>
                    <a:pt x="226" y="191"/>
                    <a:pt x="231" y="191"/>
                  </a:cubicBezTo>
                  <a:cubicBezTo>
                    <a:pt x="269" y="191"/>
                    <a:pt x="269" y="191"/>
                    <a:pt x="269" y="191"/>
                  </a:cubicBezTo>
                  <a:cubicBezTo>
                    <a:pt x="270" y="191"/>
                    <a:pt x="271" y="191"/>
                    <a:pt x="272" y="190"/>
                  </a:cubicBezTo>
                  <a:cubicBezTo>
                    <a:pt x="272" y="190"/>
                    <a:pt x="272" y="190"/>
                    <a:pt x="272" y="190"/>
                  </a:cubicBezTo>
                  <a:cubicBezTo>
                    <a:pt x="272" y="190"/>
                    <a:pt x="273" y="190"/>
                    <a:pt x="273" y="190"/>
                  </a:cubicBezTo>
                  <a:cubicBezTo>
                    <a:pt x="273" y="190"/>
                    <a:pt x="273" y="190"/>
                    <a:pt x="274" y="189"/>
                  </a:cubicBezTo>
                  <a:cubicBezTo>
                    <a:pt x="274" y="189"/>
                    <a:pt x="275" y="189"/>
                    <a:pt x="275" y="188"/>
                  </a:cubicBezTo>
                  <a:cubicBezTo>
                    <a:pt x="275" y="188"/>
                    <a:pt x="276" y="188"/>
                    <a:pt x="276" y="187"/>
                  </a:cubicBezTo>
                  <a:cubicBezTo>
                    <a:pt x="277" y="186"/>
                    <a:pt x="277" y="185"/>
                    <a:pt x="277" y="185"/>
                  </a:cubicBezTo>
                  <a:cubicBezTo>
                    <a:pt x="277" y="184"/>
                    <a:pt x="277" y="184"/>
                    <a:pt x="277" y="184"/>
                  </a:cubicBezTo>
                  <a:cubicBezTo>
                    <a:pt x="277" y="184"/>
                    <a:pt x="277" y="183"/>
                    <a:pt x="277" y="183"/>
                  </a:cubicBezTo>
                  <a:cubicBezTo>
                    <a:pt x="277" y="183"/>
                    <a:pt x="277" y="183"/>
                    <a:pt x="277" y="183"/>
                  </a:cubicBezTo>
                  <a:cubicBezTo>
                    <a:pt x="277" y="144"/>
                    <a:pt x="277" y="144"/>
                    <a:pt x="277" y="144"/>
                  </a:cubicBezTo>
                  <a:cubicBezTo>
                    <a:pt x="277" y="140"/>
                    <a:pt x="274" y="136"/>
                    <a:pt x="269" y="136"/>
                  </a:cubicBezTo>
                  <a:cubicBezTo>
                    <a:pt x="265" y="136"/>
                    <a:pt x="261" y="140"/>
                    <a:pt x="261" y="144"/>
                  </a:cubicBezTo>
                  <a:cubicBezTo>
                    <a:pt x="261" y="164"/>
                    <a:pt x="261" y="164"/>
                    <a:pt x="261" y="164"/>
                  </a:cubicBezTo>
                  <a:cubicBezTo>
                    <a:pt x="216" y="119"/>
                    <a:pt x="216" y="119"/>
                    <a:pt x="216" y="119"/>
                  </a:cubicBezTo>
                  <a:cubicBezTo>
                    <a:pt x="261" y="74"/>
                    <a:pt x="261" y="74"/>
                    <a:pt x="261" y="74"/>
                  </a:cubicBezTo>
                  <a:cubicBezTo>
                    <a:pt x="261" y="93"/>
                    <a:pt x="261" y="93"/>
                    <a:pt x="261" y="93"/>
                  </a:cubicBezTo>
                  <a:cubicBezTo>
                    <a:pt x="261" y="97"/>
                    <a:pt x="265" y="101"/>
                    <a:pt x="269" y="101"/>
                  </a:cubicBezTo>
                  <a:moveTo>
                    <a:pt x="341" y="309"/>
                  </a:moveTo>
                  <a:cubicBezTo>
                    <a:pt x="345" y="312"/>
                    <a:pt x="350" y="311"/>
                    <a:pt x="352" y="308"/>
                  </a:cubicBezTo>
                  <a:cubicBezTo>
                    <a:pt x="355" y="304"/>
                    <a:pt x="354" y="299"/>
                    <a:pt x="351" y="297"/>
                  </a:cubicBezTo>
                  <a:cubicBezTo>
                    <a:pt x="349" y="295"/>
                    <a:pt x="299" y="258"/>
                    <a:pt x="202" y="296"/>
                  </a:cubicBezTo>
                  <a:cubicBezTo>
                    <a:pt x="116" y="329"/>
                    <a:pt x="76" y="298"/>
                    <a:pt x="75" y="297"/>
                  </a:cubicBezTo>
                  <a:cubicBezTo>
                    <a:pt x="72" y="294"/>
                    <a:pt x="67" y="294"/>
                    <a:pt x="64" y="298"/>
                  </a:cubicBezTo>
                  <a:cubicBezTo>
                    <a:pt x="61" y="301"/>
                    <a:pt x="61" y="306"/>
                    <a:pt x="65" y="309"/>
                  </a:cubicBezTo>
                  <a:cubicBezTo>
                    <a:pt x="66" y="310"/>
                    <a:pt x="86" y="327"/>
                    <a:pt x="129" y="327"/>
                  </a:cubicBezTo>
                  <a:cubicBezTo>
                    <a:pt x="150" y="327"/>
                    <a:pt x="176" y="323"/>
                    <a:pt x="208" y="310"/>
                  </a:cubicBezTo>
                  <a:cubicBezTo>
                    <a:pt x="295" y="276"/>
                    <a:pt x="341" y="309"/>
                    <a:pt x="341" y="309"/>
                  </a:cubicBezTo>
                  <a:moveTo>
                    <a:pt x="351" y="227"/>
                  </a:moveTo>
                  <a:cubicBezTo>
                    <a:pt x="349" y="226"/>
                    <a:pt x="299" y="188"/>
                    <a:pt x="202" y="226"/>
                  </a:cubicBezTo>
                  <a:cubicBezTo>
                    <a:pt x="116" y="260"/>
                    <a:pt x="76" y="228"/>
                    <a:pt x="75" y="228"/>
                  </a:cubicBezTo>
                  <a:cubicBezTo>
                    <a:pt x="72" y="225"/>
                    <a:pt x="67" y="225"/>
                    <a:pt x="64" y="228"/>
                  </a:cubicBezTo>
                  <a:cubicBezTo>
                    <a:pt x="61" y="232"/>
                    <a:pt x="61" y="237"/>
                    <a:pt x="65" y="240"/>
                  </a:cubicBezTo>
                  <a:cubicBezTo>
                    <a:pt x="66" y="241"/>
                    <a:pt x="86" y="258"/>
                    <a:pt x="129" y="258"/>
                  </a:cubicBezTo>
                  <a:cubicBezTo>
                    <a:pt x="150" y="258"/>
                    <a:pt x="176" y="254"/>
                    <a:pt x="208" y="241"/>
                  </a:cubicBezTo>
                  <a:cubicBezTo>
                    <a:pt x="295" y="207"/>
                    <a:pt x="341" y="240"/>
                    <a:pt x="341" y="240"/>
                  </a:cubicBezTo>
                  <a:cubicBezTo>
                    <a:pt x="345" y="243"/>
                    <a:pt x="350" y="242"/>
                    <a:pt x="352" y="238"/>
                  </a:cubicBezTo>
                  <a:cubicBezTo>
                    <a:pt x="355" y="235"/>
                    <a:pt x="354" y="230"/>
                    <a:pt x="351" y="227"/>
                  </a:cubicBezTo>
                  <a:moveTo>
                    <a:pt x="351" y="262"/>
                  </a:moveTo>
                  <a:cubicBezTo>
                    <a:pt x="349" y="260"/>
                    <a:pt x="299" y="223"/>
                    <a:pt x="202" y="261"/>
                  </a:cubicBezTo>
                  <a:cubicBezTo>
                    <a:pt x="116" y="295"/>
                    <a:pt x="76" y="263"/>
                    <a:pt x="75" y="262"/>
                  </a:cubicBezTo>
                  <a:cubicBezTo>
                    <a:pt x="72" y="259"/>
                    <a:pt x="67" y="260"/>
                    <a:pt x="64" y="263"/>
                  </a:cubicBezTo>
                  <a:cubicBezTo>
                    <a:pt x="61" y="266"/>
                    <a:pt x="61" y="271"/>
                    <a:pt x="65" y="274"/>
                  </a:cubicBezTo>
                  <a:cubicBezTo>
                    <a:pt x="66" y="275"/>
                    <a:pt x="86" y="293"/>
                    <a:pt x="129" y="293"/>
                  </a:cubicBezTo>
                  <a:cubicBezTo>
                    <a:pt x="150" y="293"/>
                    <a:pt x="176" y="288"/>
                    <a:pt x="208" y="276"/>
                  </a:cubicBezTo>
                  <a:cubicBezTo>
                    <a:pt x="295" y="242"/>
                    <a:pt x="341" y="274"/>
                    <a:pt x="341" y="275"/>
                  </a:cubicBezTo>
                  <a:cubicBezTo>
                    <a:pt x="345" y="277"/>
                    <a:pt x="350" y="277"/>
                    <a:pt x="352" y="273"/>
                  </a:cubicBezTo>
                  <a:cubicBezTo>
                    <a:pt x="355" y="270"/>
                    <a:pt x="354" y="265"/>
                    <a:pt x="351" y="26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600"/>
            </a:p>
          </p:txBody>
        </p:sp>
      </p:grpSp>
      <p:sp>
        <p:nvSpPr>
          <p:cNvPr id="123" name="Title 1"/>
          <p:cNvSpPr txBox="1">
            <a:spLocks/>
          </p:cNvSpPr>
          <p:nvPr/>
        </p:nvSpPr>
        <p:spPr>
          <a:xfrm>
            <a:off x="320655" y="212760"/>
            <a:ext cx="10996820" cy="563176"/>
          </a:xfrm>
          <a:prstGeom prst="rect">
            <a:avLst/>
          </a:prstGeom>
        </p:spPr>
        <p:txBody>
          <a:bodyPr lIns="121906" tIns="60953" rIns="121906" bIns="60953">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sv-SE" sz="3200" kern="0" dirty="0">
                <a:latin typeface="Ericsson Capital TT" pitchFamily="2" charset="0"/>
              </a:rPr>
              <a:t>Example responsibility domains and their relations</a:t>
            </a:r>
          </a:p>
        </p:txBody>
      </p:sp>
      <p:grpSp>
        <p:nvGrpSpPr>
          <p:cNvPr id="132" name="Group 45"/>
          <p:cNvGrpSpPr>
            <a:grpSpLocks noChangeAspect="1"/>
          </p:cNvGrpSpPr>
          <p:nvPr/>
        </p:nvGrpSpPr>
        <p:grpSpPr bwMode="auto">
          <a:xfrm>
            <a:off x="9540029" y="2918895"/>
            <a:ext cx="804184" cy="1152000"/>
            <a:chOff x="1057" y="1587"/>
            <a:chExt cx="363" cy="520"/>
          </a:xfrm>
        </p:grpSpPr>
        <p:sp>
          <p:nvSpPr>
            <p:cNvPr id="133"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34" name="Oval 47"/>
            <p:cNvSpPr>
              <a:spLocks noChangeAspect="1" noChangeArrowheads="1"/>
            </p:cNvSpPr>
            <p:nvPr/>
          </p:nvSpPr>
          <p:spPr bwMode="auto">
            <a:xfrm>
              <a:off x="1062" y="1594"/>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35" name="Text Box 48"/>
            <p:cNvSpPr txBox="1">
              <a:spLocks noChangeAspect="1" noChangeArrowheads="1"/>
            </p:cNvSpPr>
            <p:nvPr/>
          </p:nvSpPr>
          <p:spPr bwMode="auto">
            <a:xfrm>
              <a:off x="1074" y="1870"/>
              <a:ext cx="34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sv-SE" sz="1200" dirty="0">
                  <a:solidFill>
                    <a:srgbClr val="5B6592"/>
                  </a:solidFill>
                </a:rPr>
                <a:t>Cross-domain OSS/BSS</a:t>
              </a:r>
              <a:endParaRPr lang="en-US" sz="1200" dirty="0">
                <a:solidFill>
                  <a:srgbClr val="5B6592"/>
                </a:solidFill>
              </a:endParaRPr>
            </a:p>
          </p:txBody>
        </p:sp>
        <p:sp>
          <p:nvSpPr>
            <p:cNvPr id="136"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137" name="Freeform 11"/>
            <p:cNvSpPr>
              <a:spLocks noChangeAspect="1" noEditPoints="1"/>
            </p:cNvSpPr>
            <p:nvPr/>
          </p:nvSpPr>
          <p:spPr bwMode="auto">
            <a:xfrm>
              <a:off x="1057" y="1587"/>
              <a:ext cx="363" cy="520"/>
            </a:xfrm>
            <a:custGeom>
              <a:avLst/>
              <a:gdLst>
                <a:gd name="T0" fmla="*/ 8960 w 410"/>
                <a:gd name="T1" fmla="*/ 4688 h 589"/>
                <a:gd name="T2" fmla="*/ 8414 w 410"/>
                <a:gd name="T3" fmla="*/ 11335 h 589"/>
                <a:gd name="T4" fmla="*/ 363 w 410"/>
                <a:gd name="T5" fmla="*/ 10861 h 589"/>
                <a:gd name="T6" fmla="*/ 4661 w 410"/>
                <a:gd name="T7" fmla="*/ 316 h 589"/>
                <a:gd name="T8" fmla="*/ 9141 w 410"/>
                <a:gd name="T9" fmla="*/ 4214 h 589"/>
                <a:gd name="T10" fmla="*/ 9324 w 410"/>
                <a:gd name="T11" fmla="*/ 4056 h 589"/>
                <a:gd name="T12" fmla="*/ 0 w 410"/>
                <a:gd name="T13" fmla="*/ 4056 h 589"/>
                <a:gd name="T14" fmla="*/ 23 w 410"/>
                <a:gd name="T15" fmla="*/ 10861 h 589"/>
                <a:gd name="T16" fmla="*/ 8414 w 410"/>
                <a:gd name="T17" fmla="*/ 11652 h 589"/>
                <a:gd name="T18" fmla="*/ 9324 w 410"/>
                <a:gd name="T19" fmla="*/ 4688 h 589"/>
                <a:gd name="T20" fmla="*/ 3366 w 410"/>
                <a:gd name="T21" fmla="*/ 3422 h 589"/>
                <a:gd name="T22" fmla="*/ 6118 w 410"/>
                <a:gd name="T23" fmla="*/ 3343 h 589"/>
                <a:gd name="T24" fmla="*/ 4822 w 410"/>
                <a:gd name="T25" fmla="*/ 950 h 589"/>
                <a:gd name="T26" fmla="*/ 4503 w 410"/>
                <a:gd name="T27" fmla="*/ 950 h 589"/>
                <a:gd name="T28" fmla="*/ 3206 w 410"/>
                <a:gd name="T29" fmla="*/ 3343 h 589"/>
                <a:gd name="T30" fmla="*/ 4661 w 410"/>
                <a:gd name="T31" fmla="*/ 1366 h 589"/>
                <a:gd name="T32" fmla="*/ 3662 w 410"/>
                <a:gd name="T33" fmla="*/ 3105 h 589"/>
                <a:gd name="T34" fmla="*/ 2048 w 410"/>
                <a:gd name="T35" fmla="*/ 4155 h 589"/>
                <a:gd name="T36" fmla="*/ 1728 w 410"/>
                <a:gd name="T37" fmla="*/ 4471 h 589"/>
                <a:gd name="T38" fmla="*/ 1842 w 410"/>
                <a:gd name="T39" fmla="*/ 5618 h 589"/>
                <a:gd name="T40" fmla="*/ 4661 w 410"/>
                <a:gd name="T41" fmla="*/ 5994 h 589"/>
                <a:gd name="T42" fmla="*/ 7278 w 410"/>
                <a:gd name="T43" fmla="*/ 5738 h 589"/>
                <a:gd name="T44" fmla="*/ 7595 w 410"/>
                <a:gd name="T45" fmla="*/ 5420 h 589"/>
                <a:gd name="T46" fmla="*/ 7481 w 410"/>
                <a:gd name="T47" fmla="*/ 4274 h 589"/>
                <a:gd name="T48" fmla="*/ 4661 w 410"/>
                <a:gd name="T49" fmla="*/ 3897 h 589"/>
                <a:gd name="T50" fmla="*/ 2048 w 410"/>
                <a:gd name="T51" fmla="*/ 4155 h 589"/>
                <a:gd name="T52" fmla="*/ 6982 w 410"/>
                <a:gd name="T53" fmla="*/ 5479 h 589"/>
                <a:gd name="T54" fmla="*/ 2752 w 410"/>
                <a:gd name="T55" fmla="*/ 5559 h 589"/>
                <a:gd name="T56" fmla="*/ 2092 w 410"/>
                <a:gd name="T57" fmla="*/ 5381 h 589"/>
                <a:gd name="T58" fmla="*/ 2251 w 410"/>
                <a:gd name="T59" fmla="*/ 4827 h 589"/>
                <a:gd name="T60" fmla="*/ 6641 w 410"/>
                <a:gd name="T61" fmla="*/ 4906 h 589"/>
                <a:gd name="T62" fmla="*/ 7232 w 410"/>
                <a:gd name="T63" fmla="*/ 5381 h 589"/>
                <a:gd name="T64" fmla="*/ 7141 w 410"/>
                <a:gd name="T65" fmla="*/ 4451 h 589"/>
                <a:gd name="T66" fmla="*/ 6982 w 410"/>
                <a:gd name="T67" fmla="*/ 4530 h 589"/>
                <a:gd name="T68" fmla="*/ 2752 w 410"/>
                <a:gd name="T69" fmla="*/ 4609 h 589"/>
                <a:gd name="T70" fmla="*/ 2160 w 410"/>
                <a:gd name="T71" fmla="*/ 4471 h 589"/>
                <a:gd name="T72" fmla="*/ 4661 w 410"/>
                <a:gd name="T73" fmla="*/ 4214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grpSp>
        <p:nvGrpSpPr>
          <p:cNvPr id="145" name="Group 963"/>
          <p:cNvGrpSpPr>
            <a:grpSpLocks noChangeAspect="1"/>
          </p:cNvGrpSpPr>
          <p:nvPr/>
        </p:nvGrpSpPr>
        <p:grpSpPr bwMode="auto">
          <a:xfrm>
            <a:off x="419515" y="3191065"/>
            <a:ext cx="826965" cy="1152000"/>
            <a:chOff x="3105" y="2389"/>
            <a:chExt cx="364" cy="520"/>
          </a:xfrm>
        </p:grpSpPr>
        <p:sp>
          <p:nvSpPr>
            <p:cNvPr id="146" name="AutoShape 964"/>
            <p:cNvSpPr>
              <a:spLocks noChangeArrowheads="1"/>
            </p:cNvSpPr>
            <p:nvPr/>
          </p:nvSpPr>
          <p:spPr bwMode="auto">
            <a:xfrm>
              <a:off x="3113" y="2537"/>
              <a:ext cx="350" cy="366"/>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1300"/>
            </a:p>
          </p:txBody>
        </p:sp>
        <p:sp>
          <p:nvSpPr>
            <p:cNvPr id="147" name="Oval 965"/>
            <p:cNvSpPr>
              <a:spLocks noChangeArrowheads="1"/>
            </p:cNvSpPr>
            <p:nvPr/>
          </p:nvSpPr>
          <p:spPr bwMode="auto">
            <a:xfrm>
              <a:off x="3111" y="2396"/>
              <a:ext cx="352" cy="355"/>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1300"/>
            </a:p>
          </p:txBody>
        </p:sp>
        <p:sp>
          <p:nvSpPr>
            <p:cNvPr id="148" name="Text Box 966"/>
            <p:cNvSpPr txBox="1">
              <a:spLocks noChangeArrowheads="1"/>
            </p:cNvSpPr>
            <p:nvPr/>
          </p:nvSpPr>
          <p:spPr bwMode="auto">
            <a:xfrm>
              <a:off x="3123" y="2672"/>
              <a:ext cx="327" cy="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hangingPunct="1">
                <a:lnSpc>
                  <a:spcPct val="80000"/>
                </a:lnSpc>
              </a:pPr>
              <a:r>
                <a:rPr lang="en-US" sz="1300" dirty="0">
                  <a:solidFill>
                    <a:srgbClr val="8F3F7B"/>
                  </a:solidFill>
                </a:rPr>
                <a:t>Radio</a:t>
              </a:r>
            </a:p>
          </p:txBody>
        </p:sp>
        <p:sp>
          <p:nvSpPr>
            <p:cNvPr id="149" name="Rectangle 967"/>
            <p:cNvSpPr>
              <a:spLocks noChangeArrowheads="1"/>
            </p:cNvSpPr>
            <p:nvPr/>
          </p:nvSpPr>
          <p:spPr bwMode="auto">
            <a:xfrm>
              <a:off x="3106" y="2389"/>
              <a:ext cx="363" cy="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algn="ctr"/>
              <a:endParaRPr lang="en-US" sz="1300"/>
            </a:p>
          </p:txBody>
        </p:sp>
        <p:sp>
          <p:nvSpPr>
            <p:cNvPr id="150" name="Freeform 11"/>
            <p:cNvSpPr>
              <a:spLocks noEditPoints="1"/>
            </p:cNvSpPr>
            <p:nvPr/>
          </p:nvSpPr>
          <p:spPr bwMode="auto">
            <a:xfrm>
              <a:off x="3105" y="2389"/>
              <a:ext cx="363" cy="520"/>
            </a:xfrm>
            <a:custGeom>
              <a:avLst/>
              <a:gdLst>
                <a:gd name="T0" fmla="*/ 26804 w 410"/>
                <a:gd name="T1" fmla="*/ 14389 h 589"/>
                <a:gd name="T2" fmla="*/ 25171 w 410"/>
                <a:gd name="T3" fmla="*/ 34788 h 589"/>
                <a:gd name="T4" fmla="*/ 1089 w 410"/>
                <a:gd name="T5" fmla="*/ 33331 h 589"/>
                <a:gd name="T6" fmla="*/ 13946 w 410"/>
                <a:gd name="T7" fmla="*/ 972 h 589"/>
                <a:gd name="T8" fmla="*/ 27348 w 410"/>
                <a:gd name="T9" fmla="*/ 12931 h 589"/>
                <a:gd name="T10" fmla="*/ 27893 w 410"/>
                <a:gd name="T11" fmla="*/ 12446 h 589"/>
                <a:gd name="T12" fmla="*/ 0 w 410"/>
                <a:gd name="T13" fmla="*/ 12446 h 589"/>
                <a:gd name="T14" fmla="*/ 68 w 410"/>
                <a:gd name="T15" fmla="*/ 33331 h 589"/>
                <a:gd name="T16" fmla="*/ 25171 w 410"/>
                <a:gd name="T17" fmla="*/ 35760 h 589"/>
                <a:gd name="T18" fmla="*/ 27893 w 410"/>
                <a:gd name="T19" fmla="*/ 14389 h 589"/>
                <a:gd name="T20" fmla="*/ 20681 w 410"/>
                <a:gd name="T21" fmla="*/ 17547 h 589"/>
                <a:gd name="T22" fmla="*/ 17144 w 410"/>
                <a:gd name="T23" fmla="*/ 8317 h 589"/>
                <a:gd name="T24" fmla="*/ 16191 w 410"/>
                <a:gd name="T25" fmla="*/ 6982 h 589"/>
                <a:gd name="T26" fmla="*/ 16055 w 410"/>
                <a:gd name="T27" fmla="*/ 8317 h 589"/>
                <a:gd name="T28" fmla="*/ 11768 w 410"/>
                <a:gd name="T29" fmla="*/ 8317 h 589"/>
                <a:gd name="T30" fmla="*/ 14695 w 410"/>
                <a:gd name="T31" fmla="*/ 6496 h 589"/>
                <a:gd name="T32" fmla="*/ 15034 w 410"/>
                <a:gd name="T33" fmla="*/ 5647 h 589"/>
                <a:gd name="T34" fmla="*/ 10680 w 410"/>
                <a:gd name="T35" fmla="*/ 8317 h 589"/>
                <a:gd name="T36" fmla="*/ 7211 w 410"/>
                <a:gd name="T37" fmla="*/ 17547 h 589"/>
                <a:gd name="T38" fmla="*/ 7619 w 410"/>
                <a:gd name="T39" fmla="*/ 18396 h 589"/>
                <a:gd name="T40" fmla="*/ 11635 w 410"/>
                <a:gd name="T41" fmla="*/ 18092 h 589"/>
                <a:gd name="T42" fmla="*/ 16259 w 410"/>
                <a:gd name="T43" fmla="*/ 18092 h 589"/>
                <a:gd name="T44" fmla="*/ 20340 w 410"/>
                <a:gd name="T45" fmla="*/ 18396 h 589"/>
                <a:gd name="T46" fmla="*/ 20681 w 410"/>
                <a:gd name="T47" fmla="*/ 17547 h 589"/>
                <a:gd name="T48" fmla="*/ 15375 w 410"/>
                <a:gd name="T49" fmla="*/ 13539 h 589"/>
                <a:gd name="T50" fmla="*/ 12382 w 410"/>
                <a:gd name="T51" fmla="*/ 13539 h 589"/>
                <a:gd name="T52" fmla="*/ 17076 w 410"/>
                <a:gd name="T53" fmla="*/ 17424 h 589"/>
                <a:gd name="T54" fmla="*/ 10749 w 410"/>
                <a:gd name="T55" fmla="*/ 17424 h 589"/>
                <a:gd name="T56" fmla="*/ 11293 w 410"/>
                <a:gd name="T57" fmla="*/ 14936 h 589"/>
                <a:gd name="T58" fmla="*/ 16531 w 410"/>
                <a:gd name="T59" fmla="*/ 14936 h 589"/>
                <a:gd name="T60" fmla="*/ 17076 w 410"/>
                <a:gd name="T61" fmla="*/ 17424 h 589"/>
                <a:gd name="T62" fmla="*/ 17824 w 410"/>
                <a:gd name="T63" fmla="*/ 11111 h 589"/>
                <a:gd name="T64" fmla="*/ 18368 w 410"/>
                <a:gd name="T65" fmla="*/ 8317 h 589"/>
                <a:gd name="T66" fmla="*/ 17824 w 410"/>
                <a:gd name="T67" fmla="*/ 5464 h 589"/>
                <a:gd name="T68" fmla="*/ 19457 w 410"/>
                <a:gd name="T69" fmla="*/ 8317 h 589"/>
                <a:gd name="T70" fmla="*/ 18097 w 410"/>
                <a:gd name="T71" fmla="*/ 11233 h 589"/>
                <a:gd name="T72" fmla="*/ 19729 w 410"/>
                <a:gd name="T73" fmla="*/ 12265 h 589"/>
                <a:gd name="T74" fmla="*/ 20681 w 410"/>
                <a:gd name="T75" fmla="*/ 8317 h 589"/>
                <a:gd name="T76" fmla="*/ 19729 w 410"/>
                <a:gd name="T77" fmla="*/ 4371 h 589"/>
                <a:gd name="T78" fmla="*/ 21770 w 410"/>
                <a:gd name="T79" fmla="*/ 8317 h 589"/>
                <a:gd name="T80" fmla="*/ 20069 w 410"/>
                <a:gd name="T81" fmla="*/ 12326 h 589"/>
                <a:gd name="T82" fmla="*/ 10069 w 410"/>
                <a:gd name="T83" fmla="*/ 11111 h 589"/>
                <a:gd name="T84" fmla="*/ 9524 w 410"/>
                <a:gd name="T85" fmla="*/ 8317 h 589"/>
                <a:gd name="T86" fmla="*/ 10069 w 410"/>
                <a:gd name="T87" fmla="*/ 5464 h 589"/>
                <a:gd name="T88" fmla="*/ 8435 w 410"/>
                <a:gd name="T89" fmla="*/ 8317 h 589"/>
                <a:gd name="T90" fmla="*/ 9797 w 410"/>
                <a:gd name="T91" fmla="*/ 11233 h 589"/>
                <a:gd name="T92" fmla="*/ 8164 w 410"/>
                <a:gd name="T93" fmla="*/ 12265 h 589"/>
                <a:gd name="T94" fmla="*/ 7211 w 410"/>
                <a:gd name="T95" fmla="*/ 8317 h 589"/>
                <a:gd name="T96" fmla="*/ 8164 w 410"/>
                <a:gd name="T97" fmla="*/ 4371 h 589"/>
                <a:gd name="T98" fmla="*/ 6123 w 410"/>
                <a:gd name="T99" fmla="*/ 8317 h 589"/>
                <a:gd name="T100" fmla="*/ 7824 w 410"/>
                <a:gd name="T101" fmla="*/ 12326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300"/>
            </a:p>
          </p:txBody>
        </p:sp>
      </p:grpSp>
      <p:sp>
        <p:nvSpPr>
          <p:cNvPr id="163" name="Rectangle 266"/>
          <p:cNvSpPr/>
          <p:nvPr/>
        </p:nvSpPr>
        <p:spPr>
          <a:xfrm>
            <a:off x="4919557" y="1319956"/>
            <a:ext cx="1297163" cy="861775"/>
          </a:xfrm>
          <a:prstGeom prst="rect">
            <a:avLst/>
          </a:prstGeom>
        </p:spPr>
        <p:txBody>
          <a:bodyPr wrap="square" lIns="121906" tIns="60953" rIns="121906" bIns="60953">
            <a:spAutoFit/>
          </a:bodyPr>
          <a:lstStyle/>
          <a:p>
            <a:pPr>
              <a:defRPr/>
            </a:pPr>
            <a:r>
              <a:rPr lang="en-US" sz="1600" b="1" dirty="0">
                <a:solidFill>
                  <a:schemeClr val="bg1"/>
                </a:solidFill>
                <a:cs typeface="Arial" pitchFamily="34" charset="0"/>
              </a:rPr>
              <a:t>Comm. Services RDs</a:t>
            </a:r>
          </a:p>
        </p:txBody>
      </p:sp>
      <p:cxnSp>
        <p:nvCxnSpPr>
          <p:cNvPr id="182" name="Straight Connector 319"/>
          <p:cNvCxnSpPr/>
          <p:nvPr/>
        </p:nvCxnSpPr>
        <p:spPr bwMode="auto">
          <a:xfrm flipV="1">
            <a:off x="1589848" y="3539279"/>
            <a:ext cx="8280" cy="149978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86" name="AutoShape 319"/>
          <p:cNvSpPr>
            <a:spLocks noChangeArrowheads="1"/>
          </p:cNvSpPr>
          <p:nvPr/>
        </p:nvSpPr>
        <p:spPr bwMode="auto">
          <a:xfrm>
            <a:off x="2798715" y="1232793"/>
            <a:ext cx="1956220" cy="2120099"/>
          </a:xfrm>
          <a:prstGeom prst="roundRect">
            <a:avLst>
              <a:gd name="adj" fmla="val 9796"/>
            </a:avLst>
          </a:prstGeom>
          <a:solidFill>
            <a:srgbClr val="A5C753"/>
          </a:solidFill>
          <a:ln w="19050" algn="ctr">
            <a:noFill/>
            <a:prstDash val="lgDashDotDot"/>
            <a:round/>
            <a:headEnd/>
            <a:tailEnd/>
          </a:ln>
          <a:extLst/>
        </p:spPr>
        <p:txBody>
          <a:bodyPr wrap="none" lIns="71965" tIns="45702" rIns="71965" bIns="45702" anchor="ctr"/>
          <a:lstStyle/>
          <a:p>
            <a:pPr algn="ctr">
              <a:spcBef>
                <a:spcPct val="50000"/>
              </a:spcBef>
            </a:pPr>
            <a:endParaRPr lang="sv-SE" altLang="sv-SE"/>
          </a:p>
        </p:txBody>
      </p:sp>
      <p:cxnSp>
        <p:nvCxnSpPr>
          <p:cNvPr id="187" name="Straight Connector 303"/>
          <p:cNvCxnSpPr/>
          <p:nvPr/>
        </p:nvCxnSpPr>
        <p:spPr bwMode="auto">
          <a:xfrm flipH="1">
            <a:off x="3643503" y="2376663"/>
            <a:ext cx="280064" cy="461391"/>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194" name="Straight Connector 320"/>
          <p:cNvCxnSpPr/>
          <p:nvPr/>
        </p:nvCxnSpPr>
        <p:spPr bwMode="auto">
          <a:xfrm flipH="1" flipV="1">
            <a:off x="4102705" y="1093555"/>
            <a:ext cx="5067" cy="244975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195" name="Group 99"/>
          <p:cNvGrpSpPr>
            <a:grpSpLocks noChangeAspect="1"/>
          </p:cNvGrpSpPr>
          <p:nvPr/>
        </p:nvGrpSpPr>
        <p:grpSpPr bwMode="auto">
          <a:xfrm>
            <a:off x="3798712" y="1321257"/>
            <a:ext cx="806400" cy="1152000"/>
            <a:chOff x="3503" y="2279"/>
            <a:chExt cx="363" cy="520"/>
          </a:xfrm>
        </p:grpSpPr>
        <p:sp>
          <p:nvSpPr>
            <p:cNvPr id="196"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97"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198"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Packet Core   DM</a:t>
              </a:r>
            </a:p>
          </p:txBody>
        </p:sp>
        <p:sp>
          <p:nvSpPr>
            <p:cNvPr id="199"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200"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sp>
        <p:nvSpPr>
          <p:cNvPr id="201" name="Rectangle 266"/>
          <p:cNvSpPr/>
          <p:nvPr/>
        </p:nvSpPr>
        <p:spPr>
          <a:xfrm>
            <a:off x="2744381" y="1318641"/>
            <a:ext cx="1032443" cy="861775"/>
          </a:xfrm>
          <a:prstGeom prst="rect">
            <a:avLst/>
          </a:prstGeom>
        </p:spPr>
        <p:txBody>
          <a:bodyPr wrap="square" lIns="121906" tIns="60953" rIns="121906" bIns="60953">
            <a:spAutoFit/>
          </a:bodyPr>
          <a:lstStyle/>
          <a:p>
            <a:pPr>
              <a:defRPr/>
            </a:pPr>
            <a:r>
              <a:rPr lang="en-US" sz="1600" b="1" dirty="0">
                <a:solidFill>
                  <a:schemeClr val="bg1"/>
                </a:solidFill>
                <a:cs typeface="Arial" pitchFamily="34" charset="0"/>
              </a:rPr>
              <a:t>Packet Core RDs</a:t>
            </a:r>
          </a:p>
        </p:txBody>
      </p:sp>
      <p:grpSp>
        <p:nvGrpSpPr>
          <p:cNvPr id="208" name="Group 9"/>
          <p:cNvGrpSpPr>
            <a:grpSpLocks noChangeAspect="1"/>
          </p:cNvGrpSpPr>
          <p:nvPr/>
        </p:nvGrpSpPr>
        <p:grpSpPr bwMode="auto">
          <a:xfrm>
            <a:off x="2914663" y="2098343"/>
            <a:ext cx="804185" cy="1152000"/>
            <a:chOff x="644" y="2384"/>
            <a:chExt cx="363" cy="520"/>
          </a:xfrm>
        </p:grpSpPr>
        <p:sp>
          <p:nvSpPr>
            <p:cNvPr id="209" name="AutoShape 10"/>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210" name="Oval 11"/>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211" name="Text Box 12"/>
            <p:cNvSpPr txBox="1">
              <a:spLocks noChangeAspect="1" noChangeArrowheads="1"/>
            </p:cNvSpPr>
            <p:nvPr/>
          </p:nvSpPr>
          <p:spPr bwMode="auto">
            <a:xfrm>
              <a:off x="661" y="2667"/>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hangingPunct="1">
                <a:lnSpc>
                  <a:spcPct val="80000"/>
                </a:lnSpc>
              </a:pPr>
              <a:r>
                <a:rPr lang="en-US" sz="1300" dirty="0">
                  <a:solidFill>
                    <a:srgbClr val="8F3F7B"/>
                  </a:solidFill>
                </a:rPr>
                <a:t>Packet Core</a:t>
              </a:r>
            </a:p>
          </p:txBody>
        </p:sp>
        <p:sp>
          <p:nvSpPr>
            <p:cNvPr id="212" name="Rectangle 13"/>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sz="1300"/>
            </a:p>
          </p:txBody>
        </p:sp>
        <p:sp>
          <p:nvSpPr>
            <p:cNvPr id="213" name="Freeform 11"/>
            <p:cNvSpPr>
              <a:spLocks noChangeAspect="1" noEditPoints="1"/>
            </p:cNvSpPr>
            <p:nvPr/>
          </p:nvSpPr>
          <p:spPr bwMode="auto">
            <a:xfrm>
              <a:off x="644" y="2384"/>
              <a:ext cx="363" cy="519"/>
            </a:xfrm>
            <a:custGeom>
              <a:avLst/>
              <a:gdLst>
                <a:gd name="T0" fmla="*/ 102294 w 410"/>
                <a:gd name="T1" fmla="*/ 53582 h 589"/>
                <a:gd name="T2" fmla="*/ 96063 w 410"/>
                <a:gd name="T3" fmla="*/ 129546 h 589"/>
                <a:gd name="T4" fmla="*/ 4154 w 410"/>
                <a:gd name="T5" fmla="*/ 124120 h 589"/>
                <a:gd name="T6" fmla="*/ 53225 w 410"/>
                <a:gd name="T7" fmla="*/ 3618 h 589"/>
                <a:gd name="T8" fmla="*/ 104371 w 410"/>
                <a:gd name="T9" fmla="*/ 48157 h 589"/>
                <a:gd name="T10" fmla="*/ 106448 w 410"/>
                <a:gd name="T11" fmla="*/ 46348 h 589"/>
                <a:gd name="T12" fmla="*/ 0 w 410"/>
                <a:gd name="T13" fmla="*/ 46348 h 589"/>
                <a:gd name="T14" fmla="*/ 259 w 410"/>
                <a:gd name="T15" fmla="*/ 124120 h 589"/>
                <a:gd name="T16" fmla="*/ 96063 w 410"/>
                <a:gd name="T17" fmla="*/ 133164 h 589"/>
                <a:gd name="T18" fmla="*/ 106448 w 410"/>
                <a:gd name="T19" fmla="*/ 53582 h 589"/>
                <a:gd name="T20" fmla="*/ 85937 w 410"/>
                <a:gd name="T21" fmla="*/ 36174 h 589"/>
                <a:gd name="T22" fmla="*/ 75032 w 410"/>
                <a:gd name="T23" fmla="*/ 29391 h 589"/>
                <a:gd name="T24" fmla="*/ 79446 w 410"/>
                <a:gd name="T25" fmla="*/ 35722 h 589"/>
                <a:gd name="T26" fmla="*/ 39983 w 410"/>
                <a:gd name="T27" fmla="*/ 37529 h 589"/>
                <a:gd name="T28" fmla="*/ 79187 w 410"/>
                <a:gd name="T29" fmla="*/ 39339 h 589"/>
                <a:gd name="T30" fmla="*/ 75032 w 410"/>
                <a:gd name="T31" fmla="*/ 45669 h 589"/>
                <a:gd name="T32" fmla="*/ 77888 w 410"/>
                <a:gd name="T33" fmla="*/ 45669 h 589"/>
                <a:gd name="T34" fmla="*/ 85937 w 410"/>
                <a:gd name="T35" fmla="*/ 36174 h 589"/>
                <a:gd name="T36" fmla="*/ 28559 w 410"/>
                <a:gd name="T37" fmla="*/ 18539 h 589"/>
                <a:gd name="T38" fmla="*/ 31676 w 410"/>
                <a:gd name="T39" fmla="*/ 21026 h 589"/>
                <a:gd name="T40" fmla="*/ 64389 w 410"/>
                <a:gd name="T41" fmla="*/ 24869 h 589"/>
                <a:gd name="T42" fmla="*/ 64389 w 410"/>
                <a:gd name="T43" fmla="*/ 28488 h 589"/>
                <a:gd name="T44" fmla="*/ 31676 w 410"/>
                <a:gd name="T45" fmla="*/ 32330 h 589"/>
                <a:gd name="T46" fmla="*/ 30117 w 410"/>
                <a:gd name="T47" fmla="*/ 35496 h 589"/>
                <a:gd name="T48" fmla="*/ 20771 w 410"/>
                <a:gd name="T49" fmla="*/ 28035 h 589"/>
                <a:gd name="T50" fmla="*/ 85677 w 410"/>
                <a:gd name="T51" fmla="*/ 58554 h 589"/>
                <a:gd name="T52" fmla="*/ 74773 w 410"/>
                <a:gd name="T53" fmla="*/ 51548 h 589"/>
                <a:gd name="T54" fmla="*/ 79187 w 410"/>
                <a:gd name="T55" fmla="*/ 57878 h 589"/>
                <a:gd name="T56" fmla="*/ 39725 w 410"/>
                <a:gd name="T57" fmla="*/ 59686 h 589"/>
                <a:gd name="T58" fmla="*/ 79187 w 410"/>
                <a:gd name="T59" fmla="*/ 61495 h 589"/>
                <a:gd name="T60" fmla="*/ 74773 w 410"/>
                <a:gd name="T61" fmla="*/ 67825 h 589"/>
                <a:gd name="T62" fmla="*/ 77888 w 410"/>
                <a:gd name="T63" fmla="*/ 67825 h 589"/>
                <a:gd name="T64" fmla="*/ 85677 w 410"/>
                <a:gd name="T65" fmla="*/ 58554 h 589"/>
                <a:gd name="T66" fmla="*/ 28559 w 410"/>
                <a:gd name="T67" fmla="*/ 40242 h 589"/>
                <a:gd name="T68" fmla="*/ 31676 w 410"/>
                <a:gd name="T69" fmla="*/ 42730 h 589"/>
                <a:gd name="T70" fmla="*/ 64389 w 410"/>
                <a:gd name="T71" fmla="*/ 46573 h 589"/>
                <a:gd name="T72" fmla="*/ 64389 w 410"/>
                <a:gd name="T73" fmla="*/ 50191 h 589"/>
                <a:gd name="T74" fmla="*/ 31676 w 410"/>
                <a:gd name="T75" fmla="*/ 54034 h 589"/>
                <a:gd name="T76" fmla="*/ 30117 w 410"/>
                <a:gd name="T77" fmla="*/ 57200 h 589"/>
                <a:gd name="T78" fmla="*/ 20771 w 410"/>
                <a:gd name="T79" fmla="*/ 4973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300"/>
            </a:p>
          </p:txBody>
        </p:sp>
      </p:grpSp>
      <p:cxnSp>
        <p:nvCxnSpPr>
          <p:cNvPr id="224" name="Straight Connector 320"/>
          <p:cNvCxnSpPr/>
          <p:nvPr/>
        </p:nvCxnSpPr>
        <p:spPr bwMode="auto">
          <a:xfrm flipH="1" flipV="1">
            <a:off x="1983053" y="1101339"/>
            <a:ext cx="5067" cy="244975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225" name="Group 99"/>
          <p:cNvGrpSpPr>
            <a:grpSpLocks noChangeAspect="1"/>
          </p:cNvGrpSpPr>
          <p:nvPr/>
        </p:nvGrpSpPr>
        <p:grpSpPr bwMode="auto">
          <a:xfrm>
            <a:off x="1578740" y="1723912"/>
            <a:ext cx="806400" cy="1152000"/>
            <a:chOff x="3503" y="2279"/>
            <a:chExt cx="363" cy="520"/>
          </a:xfrm>
        </p:grpSpPr>
        <p:sp>
          <p:nvSpPr>
            <p:cNvPr id="226"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227"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228"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Radio DM</a:t>
              </a:r>
            </a:p>
          </p:txBody>
        </p:sp>
        <p:sp>
          <p:nvSpPr>
            <p:cNvPr id="229"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230"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sp>
        <p:nvSpPr>
          <p:cNvPr id="258" name="Rectangle 15"/>
          <p:cNvSpPr/>
          <p:nvPr/>
        </p:nvSpPr>
        <p:spPr>
          <a:xfrm>
            <a:off x="9769908" y="1242209"/>
            <a:ext cx="2089653" cy="1000271"/>
          </a:xfrm>
          <a:prstGeom prst="rect">
            <a:avLst/>
          </a:prstGeom>
        </p:spPr>
        <p:txBody>
          <a:bodyPr wrap="square" lIns="121906" tIns="60953" rIns="121906" bIns="60953">
            <a:spAutoFit/>
          </a:bodyPr>
          <a:lstStyle/>
          <a:p>
            <a:pPr algn="ctr">
              <a:defRPr/>
            </a:pPr>
            <a:r>
              <a:rPr lang="en-US" sz="1900" b="1" dirty="0">
                <a:solidFill>
                  <a:schemeClr val="bg1"/>
                </a:solidFill>
                <a:cs typeface="Arial" pitchFamily="34" charset="0"/>
              </a:rPr>
              <a:t>Business, and cross-domain operations RDs</a:t>
            </a:r>
          </a:p>
        </p:txBody>
      </p:sp>
      <p:cxnSp>
        <p:nvCxnSpPr>
          <p:cNvPr id="260" name="Straight Connector 303"/>
          <p:cNvCxnSpPr/>
          <p:nvPr/>
        </p:nvCxnSpPr>
        <p:spPr bwMode="auto">
          <a:xfrm flipH="1">
            <a:off x="7993659" y="2383734"/>
            <a:ext cx="280064" cy="46139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261" name="Group 99"/>
          <p:cNvGrpSpPr>
            <a:grpSpLocks noChangeAspect="1"/>
          </p:cNvGrpSpPr>
          <p:nvPr/>
        </p:nvGrpSpPr>
        <p:grpSpPr bwMode="auto">
          <a:xfrm>
            <a:off x="8148868" y="1328328"/>
            <a:ext cx="806400" cy="1152000"/>
            <a:chOff x="3503" y="2279"/>
            <a:chExt cx="363" cy="520"/>
          </a:xfrm>
        </p:grpSpPr>
        <p:sp>
          <p:nvSpPr>
            <p:cNvPr id="262" name="AutoShape 100"/>
            <p:cNvSpPr>
              <a:spLocks noChangeAspect="1" noChangeArrowheads="1"/>
            </p:cNvSpPr>
            <p:nvPr/>
          </p:nvSpPr>
          <p:spPr bwMode="auto">
            <a:xfrm>
              <a:off x="3510" y="242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263" name="Oval 101"/>
            <p:cNvSpPr>
              <a:spLocks noChangeAspect="1" noChangeArrowheads="1"/>
            </p:cNvSpPr>
            <p:nvPr/>
          </p:nvSpPr>
          <p:spPr bwMode="auto">
            <a:xfrm>
              <a:off x="3508" y="2286"/>
              <a:ext cx="352" cy="355"/>
            </a:xfrm>
            <a:prstGeom prst="ellipse">
              <a:avLst/>
            </a:prstGeom>
            <a:solidFill>
              <a:schemeClr val="bg1"/>
            </a:solidFill>
            <a:ln w="12700">
              <a:solidFill>
                <a:schemeClr val="bg1"/>
              </a:solidFill>
              <a:round/>
              <a:headEnd/>
              <a:tailEnd/>
            </a:ln>
          </p:spPr>
          <p:txBody>
            <a:bodyPr wrap="none" lIns="0" rIns="0" anchor="ctr"/>
            <a:lstStyle/>
            <a:p>
              <a:pPr algn="ctr"/>
              <a:endParaRPr lang="sv-SE" sz="1300">
                <a:solidFill>
                  <a:srgbClr val="5B6592"/>
                </a:solidFill>
              </a:endParaRPr>
            </a:p>
          </p:txBody>
        </p:sp>
        <p:sp>
          <p:nvSpPr>
            <p:cNvPr id="264" name="Text Box 102"/>
            <p:cNvSpPr txBox="1">
              <a:spLocks noChangeAspect="1" noChangeArrowheads="1"/>
            </p:cNvSpPr>
            <p:nvPr/>
          </p:nvSpPr>
          <p:spPr bwMode="auto">
            <a:xfrm>
              <a:off x="3520" y="256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pPr>
              <a:r>
                <a:rPr lang="en-US" sz="1300" dirty="0">
                  <a:solidFill>
                    <a:srgbClr val="5B6592"/>
                  </a:solidFill>
                </a:rPr>
                <a:t>Media DM</a:t>
              </a:r>
            </a:p>
          </p:txBody>
        </p:sp>
        <p:sp>
          <p:nvSpPr>
            <p:cNvPr id="265" name="Rectangle 103"/>
            <p:cNvSpPr>
              <a:spLocks noChangeAspect="1" noChangeArrowheads="1"/>
            </p:cNvSpPr>
            <p:nvPr/>
          </p:nvSpPr>
          <p:spPr bwMode="auto">
            <a:xfrm>
              <a:off x="3503" y="227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rIns="72000" anchor="ctr"/>
            <a:lstStyle/>
            <a:p>
              <a:pPr algn="ctr"/>
              <a:endParaRPr lang="sv-SE" sz="1300">
                <a:solidFill>
                  <a:srgbClr val="5B6592"/>
                </a:solidFill>
              </a:endParaRPr>
            </a:p>
          </p:txBody>
        </p:sp>
        <p:sp>
          <p:nvSpPr>
            <p:cNvPr id="266" name="Freeform 22"/>
            <p:cNvSpPr>
              <a:spLocks noChangeAspect="1" noEditPoints="1"/>
            </p:cNvSpPr>
            <p:nvPr/>
          </p:nvSpPr>
          <p:spPr bwMode="auto">
            <a:xfrm>
              <a:off x="3503" y="2279"/>
              <a:ext cx="363" cy="520"/>
            </a:xfrm>
            <a:custGeom>
              <a:avLst/>
              <a:gdLst>
                <a:gd name="T0" fmla="*/ 133148 w 410"/>
                <a:gd name="T1" fmla="*/ 70137 h 589"/>
                <a:gd name="T2" fmla="*/ 130499 w 410"/>
                <a:gd name="T3" fmla="*/ 72587 h 589"/>
                <a:gd name="T4" fmla="*/ 130499 w 410"/>
                <a:gd name="T5" fmla="*/ 168146 h 589"/>
                <a:gd name="T6" fmla="*/ 122549 w 410"/>
                <a:gd name="T7" fmla="*/ 175497 h 589"/>
                <a:gd name="T8" fmla="*/ 13249 w 410"/>
                <a:gd name="T9" fmla="*/ 175497 h 589"/>
                <a:gd name="T10" fmla="*/ 5299 w 410"/>
                <a:gd name="T11" fmla="*/ 168146 h 589"/>
                <a:gd name="T12" fmla="*/ 5299 w 410"/>
                <a:gd name="T13" fmla="*/ 62787 h 589"/>
                <a:gd name="T14" fmla="*/ 67900 w 410"/>
                <a:gd name="T15" fmla="*/ 4902 h 589"/>
                <a:gd name="T16" fmla="*/ 130499 w 410"/>
                <a:gd name="T17" fmla="*/ 62787 h 589"/>
                <a:gd name="T18" fmla="*/ 133148 w 410"/>
                <a:gd name="T19" fmla="*/ 65237 h 589"/>
                <a:gd name="T20" fmla="*/ 135797 w 410"/>
                <a:gd name="T21" fmla="*/ 62787 h 589"/>
                <a:gd name="T22" fmla="*/ 135797 w 410"/>
                <a:gd name="T23" fmla="*/ 62787 h 589"/>
                <a:gd name="T24" fmla="*/ 67900 w 410"/>
                <a:gd name="T25" fmla="*/ 0 h 589"/>
                <a:gd name="T26" fmla="*/ 0 w 410"/>
                <a:gd name="T27" fmla="*/ 62787 h 589"/>
                <a:gd name="T28" fmla="*/ 0 w 410"/>
                <a:gd name="T29" fmla="*/ 168146 h 589"/>
                <a:gd name="T30" fmla="*/ 13249 w 410"/>
                <a:gd name="T31" fmla="*/ 180397 h 589"/>
                <a:gd name="T32" fmla="*/ 122549 w 410"/>
                <a:gd name="T33" fmla="*/ 180397 h 589"/>
                <a:gd name="T34" fmla="*/ 135797 w 410"/>
                <a:gd name="T35" fmla="*/ 168146 h 589"/>
                <a:gd name="T36" fmla="*/ 135797 w 410"/>
                <a:gd name="T37" fmla="*/ 72587 h 589"/>
                <a:gd name="T38" fmla="*/ 133148 w 410"/>
                <a:gd name="T39" fmla="*/ 70137 h 589"/>
                <a:gd name="T40" fmla="*/ 93402 w 410"/>
                <a:gd name="T41" fmla="*/ 30628 h 589"/>
                <a:gd name="T42" fmla="*/ 89096 w 410"/>
                <a:gd name="T43" fmla="*/ 29096 h 589"/>
                <a:gd name="T44" fmla="*/ 84791 w 410"/>
                <a:gd name="T45" fmla="*/ 30628 h 589"/>
                <a:gd name="T46" fmla="*/ 82142 w 410"/>
                <a:gd name="T47" fmla="*/ 34302 h 589"/>
                <a:gd name="T48" fmla="*/ 68893 w 410"/>
                <a:gd name="T49" fmla="*/ 80244 h 589"/>
                <a:gd name="T50" fmla="*/ 68561 w 410"/>
                <a:gd name="T51" fmla="*/ 80858 h 589"/>
                <a:gd name="T52" fmla="*/ 67900 w 410"/>
                <a:gd name="T53" fmla="*/ 81163 h 589"/>
                <a:gd name="T54" fmla="*/ 67236 w 410"/>
                <a:gd name="T55" fmla="*/ 80858 h 589"/>
                <a:gd name="T56" fmla="*/ 66905 w 410"/>
                <a:gd name="T57" fmla="*/ 80244 h 589"/>
                <a:gd name="T58" fmla="*/ 53658 w 410"/>
                <a:gd name="T59" fmla="*/ 34302 h 589"/>
                <a:gd name="T60" fmla="*/ 51007 w 410"/>
                <a:gd name="T61" fmla="*/ 30628 h 589"/>
                <a:gd name="T62" fmla="*/ 46700 w 410"/>
                <a:gd name="T63" fmla="*/ 29096 h 589"/>
                <a:gd name="T64" fmla="*/ 42396 w 410"/>
                <a:gd name="T65" fmla="*/ 30628 h 589"/>
                <a:gd name="T66" fmla="*/ 40077 w 410"/>
                <a:gd name="T67" fmla="*/ 34916 h 589"/>
                <a:gd name="T68" fmla="*/ 30803 w 410"/>
                <a:gd name="T69" fmla="*/ 83001 h 589"/>
                <a:gd name="T70" fmla="*/ 31134 w 410"/>
                <a:gd name="T71" fmla="*/ 85146 h 589"/>
                <a:gd name="T72" fmla="*/ 33122 w 410"/>
                <a:gd name="T73" fmla="*/ 86370 h 589"/>
                <a:gd name="T74" fmla="*/ 35771 w 410"/>
                <a:gd name="T75" fmla="*/ 86064 h 589"/>
                <a:gd name="T76" fmla="*/ 36765 w 410"/>
                <a:gd name="T77" fmla="*/ 84226 h 589"/>
                <a:gd name="T78" fmla="*/ 45709 w 410"/>
                <a:gd name="T79" fmla="*/ 35529 h 589"/>
                <a:gd name="T80" fmla="*/ 46040 w 410"/>
                <a:gd name="T81" fmla="*/ 34916 h 589"/>
                <a:gd name="T82" fmla="*/ 46700 w 410"/>
                <a:gd name="T83" fmla="*/ 34610 h 589"/>
                <a:gd name="T84" fmla="*/ 47696 w 410"/>
                <a:gd name="T85" fmla="*/ 35529 h 589"/>
                <a:gd name="T86" fmla="*/ 61274 w 410"/>
                <a:gd name="T87" fmla="*/ 80858 h 589"/>
                <a:gd name="T88" fmla="*/ 67900 w 410"/>
                <a:gd name="T89" fmla="*/ 86370 h 589"/>
                <a:gd name="T90" fmla="*/ 74524 w 410"/>
                <a:gd name="T91" fmla="*/ 80858 h 589"/>
                <a:gd name="T92" fmla="*/ 88103 w 410"/>
                <a:gd name="T93" fmla="*/ 35529 h 589"/>
                <a:gd name="T94" fmla="*/ 89096 w 410"/>
                <a:gd name="T95" fmla="*/ 34610 h 589"/>
                <a:gd name="T96" fmla="*/ 89758 w 410"/>
                <a:gd name="T97" fmla="*/ 34916 h 589"/>
                <a:gd name="T98" fmla="*/ 90090 w 410"/>
                <a:gd name="T99" fmla="*/ 35529 h 589"/>
                <a:gd name="T100" fmla="*/ 99032 w 410"/>
                <a:gd name="T101" fmla="*/ 84226 h 589"/>
                <a:gd name="T102" fmla="*/ 100358 w 410"/>
                <a:gd name="T103" fmla="*/ 86064 h 589"/>
                <a:gd name="T104" fmla="*/ 102677 w 410"/>
                <a:gd name="T105" fmla="*/ 86370 h 589"/>
                <a:gd name="T106" fmla="*/ 104664 w 410"/>
                <a:gd name="T107" fmla="*/ 85146 h 589"/>
                <a:gd name="T108" fmla="*/ 104995 w 410"/>
                <a:gd name="T109" fmla="*/ 83001 h 589"/>
                <a:gd name="T110" fmla="*/ 95720 w 410"/>
                <a:gd name="T111" fmla="*/ 34916 h 589"/>
                <a:gd name="T112" fmla="*/ 93402 w 410"/>
                <a:gd name="T113" fmla="*/ 30628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589"/>
                <a:gd name="T173" fmla="*/ 410 w 410"/>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282" y="100"/>
                  </a:moveTo>
                  <a:cubicBezTo>
                    <a:pt x="278" y="97"/>
                    <a:pt x="274" y="95"/>
                    <a:pt x="269" y="95"/>
                  </a:cubicBezTo>
                  <a:cubicBezTo>
                    <a:pt x="264" y="95"/>
                    <a:pt x="259" y="97"/>
                    <a:pt x="256" y="100"/>
                  </a:cubicBezTo>
                  <a:cubicBezTo>
                    <a:pt x="252" y="103"/>
                    <a:pt x="249" y="107"/>
                    <a:pt x="248" y="112"/>
                  </a:cubicBezTo>
                  <a:cubicBezTo>
                    <a:pt x="208" y="262"/>
                    <a:pt x="208" y="262"/>
                    <a:pt x="208" y="262"/>
                  </a:cubicBezTo>
                  <a:cubicBezTo>
                    <a:pt x="208" y="263"/>
                    <a:pt x="208" y="263"/>
                    <a:pt x="207" y="264"/>
                  </a:cubicBezTo>
                  <a:cubicBezTo>
                    <a:pt x="207" y="264"/>
                    <a:pt x="206" y="265"/>
                    <a:pt x="205" y="265"/>
                  </a:cubicBezTo>
                  <a:cubicBezTo>
                    <a:pt x="204" y="265"/>
                    <a:pt x="204" y="264"/>
                    <a:pt x="203" y="264"/>
                  </a:cubicBezTo>
                  <a:cubicBezTo>
                    <a:pt x="203" y="263"/>
                    <a:pt x="203" y="263"/>
                    <a:pt x="202" y="262"/>
                  </a:cubicBezTo>
                  <a:cubicBezTo>
                    <a:pt x="162" y="112"/>
                    <a:pt x="162" y="112"/>
                    <a:pt x="162" y="112"/>
                  </a:cubicBezTo>
                  <a:cubicBezTo>
                    <a:pt x="161" y="107"/>
                    <a:pt x="158" y="103"/>
                    <a:pt x="154" y="100"/>
                  </a:cubicBezTo>
                  <a:cubicBezTo>
                    <a:pt x="151" y="97"/>
                    <a:pt x="146" y="95"/>
                    <a:pt x="141" y="95"/>
                  </a:cubicBezTo>
                  <a:cubicBezTo>
                    <a:pt x="136" y="95"/>
                    <a:pt x="132" y="97"/>
                    <a:pt x="128" y="100"/>
                  </a:cubicBezTo>
                  <a:cubicBezTo>
                    <a:pt x="125" y="103"/>
                    <a:pt x="122" y="107"/>
                    <a:pt x="121" y="114"/>
                  </a:cubicBezTo>
                  <a:cubicBezTo>
                    <a:pt x="93" y="271"/>
                    <a:pt x="93" y="271"/>
                    <a:pt x="93" y="271"/>
                  </a:cubicBezTo>
                  <a:cubicBezTo>
                    <a:pt x="93" y="273"/>
                    <a:pt x="93" y="276"/>
                    <a:pt x="94" y="278"/>
                  </a:cubicBezTo>
                  <a:cubicBezTo>
                    <a:pt x="95" y="280"/>
                    <a:pt x="97" y="281"/>
                    <a:pt x="100" y="282"/>
                  </a:cubicBezTo>
                  <a:cubicBezTo>
                    <a:pt x="103" y="283"/>
                    <a:pt x="105" y="282"/>
                    <a:pt x="108" y="281"/>
                  </a:cubicBezTo>
                  <a:cubicBezTo>
                    <a:pt x="110" y="280"/>
                    <a:pt x="111" y="278"/>
                    <a:pt x="111" y="275"/>
                  </a:cubicBezTo>
                  <a:cubicBezTo>
                    <a:pt x="138" y="116"/>
                    <a:pt x="138" y="116"/>
                    <a:pt x="138" y="116"/>
                  </a:cubicBezTo>
                  <a:cubicBezTo>
                    <a:pt x="139" y="115"/>
                    <a:pt x="139" y="115"/>
                    <a:pt x="139" y="114"/>
                  </a:cubicBezTo>
                  <a:cubicBezTo>
                    <a:pt x="140" y="114"/>
                    <a:pt x="140" y="113"/>
                    <a:pt x="141" y="113"/>
                  </a:cubicBezTo>
                  <a:cubicBezTo>
                    <a:pt x="143" y="113"/>
                    <a:pt x="144" y="114"/>
                    <a:pt x="144" y="116"/>
                  </a:cubicBezTo>
                  <a:cubicBezTo>
                    <a:pt x="185" y="264"/>
                    <a:pt x="185" y="264"/>
                    <a:pt x="185" y="264"/>
                  </a:cubicBezTo>
                  <a:cubicBezTo>
                    <a:pt x="188" y="276"/>
                    <a:pt x="195" y="282"/>
                    <a:pt x="205" y="282"/>
                  </a:cubicBezTo>
                  <a:cubicBezTo>
                    <a:pt x="215" y="282"/>
                    <a:pt x="222" y="276"/>
                    <a:pt x="225" y="264"/>
                  </a:cubicBezTo>
                  <a:cubicBezTo>
                    <a:pt x="266" y="116"/>
                    <a:pt x="266" y="116"/>
                    <a:pt x="266" y="116"/>
                  </a:cubicBezTo>
                  <a:cubicBezTo>
                    <a:pt x="266" y="114"/>
                    <a:pt x="267" y="113"/>
                    <a:pt x="269" y="113"/>
                  </a:cubicBezTo>
                  <a:cubicBezTo>
                    <a:pt x="270" y="113"/>
                    <a:pt x="270" y="114"/>
                    <a:pt x="271" y="114"/>
                  </a:cubicBezTo>
                  <a:cubicBezTo>
                    <a:pt x="271" y="115"/>
                    <a:pt x="272" y="115"/>
                    <a:pt x="272" y="116"/>
                  </a:cubicBezTo>
                  <a:cubicBezTo>
                    <a:pt x="299" y="275"/>
                    <a:pt x="299" y="275"/>
                    <a:pt x="299" y="275"/>
                  </a:cubicBezTo>
                  <a:cubicBezTo>
                    <a:pt x="299" y="278"/>
                    <a:pt x="300" y="280"/>
                    <a:pt x="303" y="281"/>
                  </a:cubicBezTo>
                  <a:cubicBezTo>
                    <a:pt x="305" y="282"/>
                    <a:pt x="307" y="283"/>
                    <a:pt x="310" y="282"/>
                  </a:cubicBezTo>
                  <a:cubicBezTo>
                    <a:pt x="313" y="281"/>
                    <a:pt x="315" y="280"/>
                    <a:pt x="316" y="278"/>
                  </a:cubicBezTo>
                  <a:cubicBezTo>
                    <a:pt x="317" y="276"/>
                    <a:pt x="317" y="273"/>
                    <a:pt x="317" y="271"/>
                  </a:cubicBezTo>
                  <a:cubicBezTo>
                    <a:pt x="289" y="114"/>
                    <a:pt x="289" y="114"/>
                    <a:pt x="289" y="114"/>
                  </a:cubicBezTo>
                  <a:cubicBezTo>
                    <a:pt x="288" y="107"/>
                    <a:pt x="285" y="103"/>
                    <a:pt x="282" y="100"/>
                  </a:cubicBezTo>
                  <a:close/>
                </a:path>
              </a:pathLst>
            </a:custGeom>
            <a:solidFill>
              <a:srgbClr val="5B659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1080000" anchor="ctr"/>
            <a:lstStyle/>
            <a:p>
              <a:pPr algn="ctr"/>
              <a:endParaRPr lang="en-US" sz="1300"/>
            </a:p>
          </p:txBody>
        </p:sp>
      </p:grpSp>
      <p:sp>
        <p:nvSpPr>
          <p:cNvPr id="267" name="Rectangle 266"/>
          <p:cNvSpPr/>
          <p:nvPr/>
        </p:nvSpPr>
        <p:spPr>
          <a:xfrm>
            <a:off x="7094542" y="1325712"/>
            <a:ext cx="1001025" cy="615553"/>
          </a:xfrm>
          <a:prstGeom prst="rect">
            <a:avLst/>
          </a:prstGeom>
        </p:spPr>
        <p:txBody>
          <a:bodyPr wrap="square" lIns="121906" tIns="60953" rIns="121906" bIns="60953">
            <a:spAutoFit/>
          </a:bodyPr>
          <a:lstStyle/>
          <a:p>
            <a:pPr>
              <a:defRPr/>
            </a:pPr>
            <a:r>
              <a:rPr lang="en-US" sz="1600" b="1" dirty="0">
                <a:solidFill>
                  <a:schemeClr val="bg1"/>
                </a:solidFill>
                <a:cs typeface="Arial" pitchFamily="34" charset="0"/>
              </a:rPr>
              <a:t>Media RDs</a:t>
            </a:r>
          </a:p>
        </p:txBody>
      </p:sp>
      <p:grpSp>
        <p:nvGrpSpPr>
          <p:cNvPr id="268" name="Group 45"/>
          <p:cNvGrpSpPr>
            <a:grpSpLocks noChangeAspect="1"/>
          </p:cNvGrpSpPr>
          <p:nvPr/>
        </p:nvGrpSpPr>
        <p:grpSpPr bwMode="auto">
          <a:xfrm>
            <a:off x="7236792" y="2090017"/>
            <a:ext cx="804185" cy="1152000"/>
            <a:chOff x="1057" y="1587"/>
            <a:chExt cx="363" cy="520"/>
          </a:xfrm>
        </p:grpSpPr>
        <p:sp>
          <p:nvSpPr>
            <p:cNvPr id="269"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270"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sz="1300"/>
            </a:p>
          </p:txBody>
        </p:sp>
        <p:sp>
          <p:nvSpPr>
            <p:cNvPr id="271"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hangingPunct="1">
                <a:lnSpc>
                  <a:spcPct val="80000"/>
                </a:lnSpc>
              </a:pPr>
              <a:r>
                <a:rPr lang="en-US" sz="1300">
                  <a:solidFill>
                    <a:srgbClr val="89BA17"/>
                  </a:solidFill>
                </a:rPr>
                <a:t>Media</a:t>
              </a:r>
              <a:br>
                <a:rPr lang="en-US" sz="1300">
                  <a:solidFill>
                    <a:srgbClr val="89BA17"/>
                  </a:solidFill>
                </a:rPr>
              </a:br>
              <a:r>
                <a:rPr lang="en-US" sz="1300">
                  <a:solidFill>
                    <a:srgbClr val="89BA17"/>
                  </a:solidFill>
                </a:rPr>
                <a:t>Services</a:t>
              </a:r>
            </a:p>
          </p:txBody>
        </p:sp>
        <p:sp>
          <p:nvSpPr>
            <p:cNvPr id="272"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sz="1300"/>
            </a:p>
          </p:txBody>
        </p:sp>
        <p:sp>
          <p:nvSpPr>
            <p:cNvPr id="273" name="Freeform 11"/>
            <p:cNvSpPr>
              <a:spLocks noChangeAspect="1" noEditPoints="1"/>
            </p:cNvSpPr>
            <p:nvPr/>
          </p:nvSpPr>
          <p:spPr bwMode="auto">
            <a:xfrm>
              <a:off x="1057" y="1587"/>
              <a:ext cx="363" cy="520"/>
            </a:xfrm>
            <a:custGeom>
              <a:avLst/>
              <a:gdLst>
                <a:gd name="T0" fmla="*/ 562511 w 410"/>
                <a:gd name="T1" fmla="*/ 324212 h 589"/>
                <a:gd name="T2" fmla="*/ 528246 w 410"/>
                <a:gd name="T3" fmla="*/ 783857 h 589"/>
                <a:gd name="T4" fmla="*/ 22842 w 410"/>
                <a:gd name="T5" fmla="*/ 751025 h 589"/>
                <a:gd name="T6" fmla="*/ 292678 w 410"/>
                <a:gd name="T7" fmla="*/ 21887 h 589"/>
                <a:gd name="T8" fmla="*/ 573933 w 410"/>
                <a:gd name="T9" fmla="*/ 291382 h 589"/>
                <a:gd name="T10" fmla="*/ 585354 w 410"/>
                <a:gd name="T11" fmla="*/ 280437 h 589"/>
                <a:gd name="T12" fmla="*/ 0 w 410"/>
                <a:gd name="T13" fmla="*/ 280437 h 589"/>
                <a:gd name="T14" fmla="*/ 1427 w 410"/>
                <a:gd name="T15" fmla="*/ 751025 h 589"/>
                <a:gd name="T16" fmla="*/ 528246 w 410"/>
                <a:gd name="T17" fmla="*/ 805745 h 589"/>
                <a:gd name="T18" fmla="*/ 585354 w 410"/>
                <a:gd name="T19" fmla="*/ 324212 h 589"/>
                <a:gd name="T20" fmla="*/ 211299 w 410"/>
                <a:gd name="T21" fmla="*/ 236663 h 589"/>
                <a:gd name="T22" fmla="*/ 384049 w 410"/>
                <a:gd name="T23" fmla="*/ 231190 h 589"/>
                <a:gd name="T24" fmla="*/ 302670 w 410"/>
                <a:gd name="T25" fmla="*/ 65665 h 589"/>
                <a:gd name="T26" fmla="*/ 282682 w 410"/>
                <a:gd name="T27" fmla="*/ 65665 h 589"/>
                <a:gd name="T28" fmla="*/ 201305 w 410"/>
                <a:gd name="T29" fmla="*/ 231190 h 589"/>
                <a:gd name="T30" fmla="*/ 292678 w 410"/>
                <a:gd name="T31" fmla="*/ 94391 h 589"/>
                <a:gd name="T32" fmla="*/ 229859 w 410"/>
                <a:gd name="T33" fmla="*/ 214774 h 589"/>
                <a:gd name="T34" fmla="*/ 128491 w 410"/>
                <a:gd name="T35" fmla="*/ 287277 h 589"/>
                <a:gd name="T36" fmla="*/ 108505 w 410"/>
                <a:gd name="T37" fmla="*/ 309166 h 589"/>
                <a:gd name="T38" fmla="*/ 115643 w 410"/>
                <a:gd name="T39" fmla="*/ 388509 h 589"/>
                <a:gd name="T40" fmla="*/ 292678 w 410"/>
                <a:gd name="T41" fmla="*/ 414501 h 589"/>
                <a:gd name="T42" fmla="*/ 456861 w 410"/>
                <a:gd name="T43" fmla="*/ 396717 h 589"/>
                <a:gd name="T44" fmla="*/ 476850 w 410"/>
                <a:gd name="T45" fmla="*/ 374828 h 589"/>
                <a:gd name="T46" fmla="*/ 469712 w 410"/>
                <a:gd name="T47" fmla="*/ 295486 h 589"/>
                <a:gd name="T48" fmla="*/ 292678 w 410"/>
                <a:gd name="T49" fmla="*/ 269493 h 589"/>
                <a:gd name="T50" fmla="*/ 128491 w 410"/>
                <a:gd name="T51" fmla="*/ 287277 h 589"/>
                <a:gd name="T52" fmla="*/ 438301 w 410"/>
                <a:gd name="T53" fmla="*/ 378933 h 589"/>
                <a:gd name="T54" fmla="*/ 172751 w 410"/>
                <a:gd name="T55" fmla="*/ 384405 h 589"/>
                <a:gd name="T56" fmla="*/ 131348 w 410"/>
                <a:gd name="T57" fmla="*/ 372094 h 589"/>
                <a:gd name="T58" fmla="*/ 141342 w 410"/>
                <a:gd name="T59" fmla="*/ 333790 h 589"/>
                <a:gd name="T60" fmla="*/ 416887 w 410"/>
                <a:gd name="T61" fmla="*/ 339260 h 589"/>
                <a:gd name="T62" fmla="*/ 454007 w 410"/>
                <a:gd name="T63" fmla="*/ 372094 h 589"/>
                <a:gd name="T64" fmla="*/ 448296 w 410"/>
                <a:gd name="T65" fmla="*/ 307798 h 589"/>
                <a:gd name="T66" fmla="*/ 438301 w 410"/>
                <a:gd name="T67" fmla="*/ 313269 h 589"/>
                <a:gd name="T68" fmla="*/ 172751 w 410"/>
                <a:gd name="T69" fmla="*/ 318741 h 589"/>
                <a:gd name="T70" fmla="*/ 135630 w 410"/>
                <a:gd name="T71" fmla="*/ 309166 h 589"/>
                <a:gd name="T72" fmla="*/ 292678 w 410"/>
                <a:gd name="T73" fmla="*/ 29138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sz="1300"/>
            </a:p>
          </p:txBody>
        </p:sp>
      </p:grpSp>
      <p:sp>
        <p:nvSpPr>
          <p:cNvPr id="2" name="Rounded Rectangle 1"/>
          <p:cNvSpPr/>
          <p:nvPr/>
        </p:nvSpPr>
        <p:spPr bwMode="auto">
          <a:xfrm>
            <a:off x="998026" y="5294123"/>
            <a:ext cx="331712" cy="98265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rPr>
              <a:t>COMPA</a:t>
            </a:r>
          </a:p>
        </p:txBody>
      </p:sp>
      <p:sp>
        <p:nvSpPr>
          <p:cNvPr id="124" name="Rounded Rectangle 123"/>
          <p:cNvSpPr/>
          <p:nvPr/>
        </p:nvSpPr>
        <p:spPr bwMode="auto">
          <a:xfrm>
            <a:off x="10178357" y="4240815"/>
            <a:ext cx="1356418" cy="98265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rPr>
              <a:t>Control</a:t>
            </a:r>
            <a:br>
              <a:rPr lang="en-US" sz="1050" b="1" dirty="0">
                <a:solidFill>
                  <a:srgbClr val="FFFFFF"/>
                </a:solidFill>
              </a:rPr>
            </a:br>
            <a:r>
              <a:rPr lang="en-US" sz="1050" b="1" dirty="0">
                <a:solidFill>
                  <a:srgbClr val="FFFFFF"/>
                </a:solidFill>
              </a:rPr>
              <a:t>Orchestration</a:t>
            </a:r>
            <a:br>
              <a:rPr lang="en-US" sz="1050" b="1" dirty="0">
                <a:solidFill>
                  <a:srgbClr val="FFFFFF"/>
                </a:solidFill>
              </a:rPr>
            </a:br>
            <a:r>
              <a:rPr lang="en-US" sz="1050" b="1" dirty="0">
                <a:solidFill>
                  <a:srgbClr val="FFFFFF"/>
                </a:solidFill>
              </a:rPr>
              <a:t>Management</a:t>
            </a:r>
            <a:br>
              <a:rPr lang="en-US" sz="1050" b="1" dirty="0">
                <a:solidFill>
                  <a:srgbClr val="FFFFFF"/>
                </a:solidFill>
              </a:rPr>
            </a:br>
            <a:r>
              <a:rPr lang="en-US" sz="1050" b="1" dirty="0">
                <a:solidFill>
                  <a:srgbClr val="FFFFFF"/>
                </a:solidFill>
              </a:rPr>
              <a:t>Policy</a:t>
            </a:r>
            <a:br>
              <a:rPr lang="en-US" sz="1050" b="1" dirty="0">
                <a:solidFill>
                  <a:srgbClr val="FFFFFF"/>
                </a:solidFill>
              </a:rPr>
            </a:br>
            <a:r>
              <a:rPr lang="en-US" sz="1050" b="1" dirty="0">
                <a:solidFill>
                  <a:srgbClr val="FFFFFF"/>
                </a:solidFill>
              </a:rPr>
              <a:t>Analytics</a:t>
            </a:r>
            <a:endParaRPr kumimoji="0" lang="en-US" sz="1050" b="1" i="0" u="none" strike="noStrike" cap="none" normalizeH="0" baseline="0" dirty="0">
              <a:ln>
                <a:noFill/>
              </a:ln>
              <a:solidFill>
                <a:srgbClr val="FFFFFF"/>
              </a:solidFill>
              <a:effectLst/>
              <a:latin typeface="Arial" charset="0"/>
            </a:endParaRPr>
          </a:p>
        </p:txBody>
      </p:sp>
      <p:sp>
        <p:nvSpPr>
          <p:cNvPr id="125" name="Rounded Rectangle 124"/>
          <p:cNvSpPr/>
          <p:nvPr/>
        </p:nvSpPr>
        <p:spPr bwMode="auto">
          <a:xfrm>
            <a:off x="2011219" y="3772471"/>
            <a:ext cx="331712" cy="98265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rPr>
              <a:t>COMPA</a:t>
            </a:r>
          </a:p>
        </p:txBody>
      </p:sp>
      <p:sp>
        <p:nvSpPr>
          <p:cNvPr id="126" name="Rounded Rectangle 125"/>
          <p:cNvSpPr/>
          <p:nvPr/>
        </p:nvSpPr>
        <p:spPr bwMode="auto">
          <a:xfrm>
            <a:off x="612428" y="2174689"/>
            <a:ext cx="331712" cy="98265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050" b="1" i="0" u="none" strike="noStrike" cap="none" normalizeH="0" baseline="0" dirty="0">
                <a:ln>
                  <a:noFill/>
                </a:ln>
                <a:solidFill>
                  <a:srgbClr val="FFFFFF"/>
                </a:solidFill>
                <a:effectLst/>
                <a:latin typeface="Arial" charset="0"/>
              </a:rPr>
              <a:t>COMPA</a:t>
            </a:r>
          </a:p>
        </p:txBody>
      </p:sp>
      <p:sp>
        <p:nvSpPr>
          <p:cNvPr id="127" name="Rounded Rectangle 126"/>
          <p:cNvSpPr/>
          <p:nvPr/>
        </p:nvSpPr>
        <p:spPr bwMode="auto">
          <a:xfrm>
            <a:off x="4228446" y="2498756"/>
            <a:ext cx="236874" cy="76586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900" b="1" i="0" u="none" strike="noStrike" cap="none" normalizeH="0" baseline="0" dirty="0">
                <a:ln>
                  <a:noFill/>
                </a:ln>
                <a:solidFill>
                  <a:srgbClr val="FFFFFF"/>
                </a:solidFill>
                <a:effectLst/>
                <a:latin typeface="Arial" charset="0"/>
              </a:rPr>
              <a:t>COMPA</a:t>
            </a:r>
          </a:p>
        </p:txBody>
      </p:sp>
      <p:sp>
        <p:nvSpPr>
          <p:cNvPr id="128" name="Rounded Rectangle 127"/>
          <p:cNvSpPr/>
          <p:nvPr/>
        </p:nvSpPr>
        <p:spPr bwMode="auto">
          <a:xfrm>
            <a:off x="6501206" y="2517622"/>
            <a:ext cx="236874" cy="76586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900" b="1" i="0" u="none" strike="noStrike" cap="none" normalizeH="0" baseline="0" dirty="0">
                <a:ln>
                  <a:noFill/>
                </a:ln>
                <a:solidFill>
                  <a:srgbClr val="FFFFFF"/>
                </a:solidFill>
                <a:effectLst/>
                <a:latin typeface="Arial" charset="0"/>
              </a:rPr>
              <a:t>COMPA</a:t>
            </a:r>
          </a:p>
        </p:txBody>
      </p:sp>
      <p:sp>
        <p:nvSpPr>
          <p:cNvPr id="129" name="Rounded Rectangle 128"/>
          <p:cNvSpPr/>
          <p:nvPr/>
        </p:nvSpPr>
        <p:spPr bwMode="auto">
          <a:xfrm>
            <a:off x="8676185" y="2535962"/>
            <a:ext cx="236874" cy="765866"/>
          </a:xfrm>
          <a:prstGeom prst="roundRect">
            <a:avLst/>
          </a:prstGeom>
          <a:solidFill>
            <a:srgbClr val="8D92B4"/>
          </a:solidFill>
          <a:ln w="38100" cap="flat" cmpd="sng" algn="ctr">
            <a:solidFill>
              <a:srgbClr val="FFFFFF"/>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900" b="1" i="0" u="none" strike="noStrike" cap="none" normalizeH="0" baseline="0" dirty="0">
                <a:ln>
                  <a:noFill/>
                </a:ln>
                <a:solidFill>
                  <a:srgbClr val="FFFFFF"/>
                </a:solidFill>
                <a:effectLst/>
                <a:latin typeface="Arial" charset="0"/>
              </a:rPr>
              <a:t>COMPA</a:t>
            </a:r>
          </a:p>
        </p:txBody>
      </p:sp>
    </p:spTree>
    <p:extLst>
      <p:ext uri="{BB962C8B-B14F-4D97-AF65-F5344CB8AC3E}">
        <p14:creationId xmlns:p14="http://schemas.microsoft.com/office/powerpoint/2010/main" val="1139823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6" name="Title 2"/>
          <p:cNvSpPr>
            <a:spLocks noGrp="1"/>
          </p:cNvSpPr>
          <p:nvPr>
            <p:ph type="title"/>
          </p:nvPr>
        </p:nvSpPr>
        <p:spPr>
          <a:xfrm>
            <a:off x="524935" y="239714"/>
            <a:ext cx="9992784" cy="1085371"/>
          </a:xfrm>
        </p:spPr>
        <p:txBody>
          <a:bodyPr>
            <a:normAutofit/>
          </a:bodyPr>
          <a:lstStyle/>
          <a:p>
            <a:r>
              <a:rPr lang="en-US" altLang="en-US" dirty="0">
                <a:solidFill>
                  <a:schemeClr val="bg1"/>
                </a:solidFill>
              </a:rPr>
              <a:t>Ensuring the e2e service</a:t>
            </a:r>
          </a:p>
        </p:txBody>
      </p:sp>
      <p:pic>
        <p:nvPicPr>
          <p:cNvPr id="7" name="Econ20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209338" y="360363"/>
            <a:ext cx="4445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Econ20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209338" y="360363"/>
            <a:ext cx="4445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319"/>
          <p:cNvSpPr>
            <a:spLocks noChangeArrowheads="1"/>
          </p:cNvSpPr>
          <p:nvPr/>
        </p:nvSpPr>
        <p:spPr bwMode="auto">
          <a:xfrm>
            <a:off x="7809250" y="2936171"/>
            <a:ext cx="1011951" cy="2905130"/>
          </a:xfrm>
          <a:prstGeom prst="roundRect">
            <a:avLst>
              <a:gd name="adj" fmla="val 13355"/>
            </a:avLst>
          </a:prstGeom>
          <a:solidFill>
            <a:srgbClr val="A5C753"/>
          </a:solidFill>
          <a:ln w="38100" cap="flat" cmpd="sng" algn="ctr">
            <a:solidFill>
              <a:srgbClr val="FFFFFF"/>
            </a:solidFill>
            <a:prstDash val="solid"/>
            <a:round/>
            <a:headEnd type="none" w="med" len="med"/>
            <a:tailEnd type="none" w="med" len="med"/>
          </a:ln>
          <a:extLst/>
        </p:spPr>
        <p:txBody>
          <a:bodyPr wrap="none" lIns="71965" tIns="45702" rIns="71965" bIns="45702" anchor="b" anchorCtr="1"/>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sv-SE" altLang="sv-SE" sz="1400" b="0" i="0" u="none" strike="noStrike" kern="0" cap="none" spc="0" normalizeH="0" baseline="0" noProof="0" dirty="0">
                <a:ln>
                  <a:noFill/>
                </a:ln>
                <a:solidFill>
                  <a:srgbClr val="FFFFFF"/>
                </a:solidFill>
                <a:effectLst/>
                <a:uLnTx/>
                <a:uFillTx/>
              </a:rPr>
              <a:t>Network </a:t>
            </a:r>
            <a:br>
              <a:rPr kumimoji="0" lang="sv-SE" altLang="sv-SE" sz="1400" b="0" i="0" u="none" strike="noStrike" kern="0" cap="none" spc="0" normalizeH="0" baseline="0" noProof="0" dirty="0">
                <a:ln>
                  <a:noFill/>
                </a:ln>
                <a:solidFill>
                  <a:srgbClr val="FFFFFF"/>
                </a:solidFill>
                <a:effectLst/>
                <a:uLnTx/>
                <a:uFillTx/>
              </a:rPr>
            </a:br>
            <a:r>
              <a:rPr kumimoji="0" lang="sv-SE" altLang="sv-SE" sz="1400" b="0" i="0" u="none" strike="noStrike" kern="0" cap="none" spc="0" normalizeH="0" baseline="0" noProof="0" dirty="0">
                <a:ln>
                  <a:noFill/>
                </a:ln>
                <a:solidFill>
                  <a:srgbClr val="FFFFFF"/>
                </a:solidFill>
                <a:effectLst/>
                <a:uLnTx/>
                <a:uFillTx/>
              </a:rPr>
              <a:t>Functions</a:t>
            </a:r>
          </a:p>
        </p:txBody>
      </p:sp>
      <p:sp>
        <p:nvSpPr>
          <p:cNvPr id="10" name="AutoShape 319"/>
          <p:cNvSpPr>
            <a:spLocks noChangeArrowheads="1"/>
          </p:cNvSpPr>
          <p:nvPr/>
        </p:nvSpPr>
        <p:spPr bwMode="auto">
          <a:xfrm>
            <a:off x="6588208" y="2944127"/>
            <a:ext cx="1011951" cy="2905130"/>
          </a:xfrm>
          <a:prstGeom prst="roundRect">
            <a:avLst>
              <a:gd name="adj" fmla="val 13355"/>
            </a:avLst>
          </a:prstGeom>
          <a:solidFill>
            <a:srgbClr val="8F3F7B"/>
          </a:solidFill>
          <a:ln w="38100" cap="flat" cmpd="sng" algn="ctr">
            <a:solidFill>
              <a:srgbClr val="FFFFFF"/>
            </a:solidFill>
            <a:prstDash val="solid"/>
            <a:round/>
            <a:headEnd type="none" w="med" len="med"/>
            <a:tailEnd type="none" w="med" len="med"/>
          </a:ln>
          <a:extLst/>
        </p:spPr>
        <p:txBody>
          <a:bodyPr wrap="none" lIns="71965" tIns="45702" rIns="71965" bIns="45702"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altLang="sv-SE" sz="1400" b="0" i="0" u="none" strike="noStrike" kern="0" cap="none" spc="0" normalizeH="0" baseline="0" noProof="0" dirty="0">
                <a:ln>
                  <a:noFill/>
                </a:ln>
                <a:solidFill>
                  <a:schemeClr val="bg1"/>
                </a:solidFill>
                <a:effectLst/>
                <a:uLnTx/>
                <a:uFillTx/>
              </a:rPr>
              <a:t>Access</a:t>
            </a:r>
          </a:p>
        </p:txBody>
      </p:sp>
      <p:sp>
        <p:nvSpPr>
          <p:cNvPr id="11" name="AutoShape 319"/>
          <p:cNvSpPr>
            <a:spLocks noChangeArrowheads="1"/>
          </p:cNvSpPr>
          <p:nvPr/>
        </p:nvSpPr>
        <p:spPr bwMode="auto">
          <a:xfrm>
            <a:off x="9001133" y="2944127"/>
            <a:ext cx="1011951" cy="2905130"/>
          </a:xfrm>
          <a:prstGeom prst="roundRect">
            <a:avLst>
              <a:gd name="adj" fmla="val 13355"/>
            </a:avLst>
          </a:prstGeom>
          <a:solidFill>
            <a:srgbClr val="5FBADD"/>
          </a:solidFill>
          <a:ln w="38100" cap="flat" cmpd="sng" algn="ctr">
            <a:solidFill>
              <a:srgbClr val="FFFFFF"/>
            </a:solidFill>
            <a:prstDash val="solid"/>
            <a:round/>
            <a:headEnd type="none" w="med" len="med"/>
            <a:tailEnd type="none" w="med" len="med"/>
          </a:ln>
          <a:extLst/>
        </p:spPr>
        <p:txBody>
          <a:bodyPr wrap="none" lIns="71965" tIns="45702" rIns="71965" bIns="45702"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altLang="sv-SE" sz="1400" b="0" i="0" u="none" strike="noStrike" kern="0" cap="none" spc="0" normalizeH="0" baseline="0" noProof="0" dirty="0">
                <a:ln>
                  <a:noFill/>
                </a:ln>
                <a:solidFill>
                  <a:srgbClr val="FFFFFF"/>
                </a:solidFill>
                <a:effectLst/>
                <a:uLnTx/>
                <a:uFillTx/>
              </a:rPr>
              <a:t>Cloud </a:t>
            </a:r>
            <a:br>
              <a:rPr kumimoji="0" lang="sv-SE" altLang="sv-SE" sz="1400" b="0" i="0" u="none" strike="noStrike" kern="0" cap="none" spc="0" normalizeH="0" baseline="0" noProof="0" dirty="0">
                <a:ln>
                  <a:noFill/>
                </a:ln>
                <a:solidFill>
                  <a:srgbClr val="FFFFFF"/>
                </a:solidFill>
                <a:effectLst/>
                <a:uLnTx/>
                <a:uFillTx/>
              </a:rPr>
            </a:br>
            <a:r>
              <a:rPr kumimoji="0" lang="sv-SE" altLang="sv-SE" sz="1400" b="0" i="0" u="none" strike="noStrike" kern="0" cap="none" spc="0" normalizeH="0" baseline="0" noProof="0" dirty="0">
                <a:ln>
                  <a:noFill/>
                </a:ln>
                <a:solidFill>
                  <a:srgbClr val="FFFFFF"/>
                </a:solidFill>
                <a:effectLst/>
                <a:uLnTx/>
                <a:uFillTx/>
              </a:rPr>
              <a:t>Infra</a:t>
            </a:r>
          </a:p>
        </p:txBody>
      </p:sp>
      <p:sp>
        <p:nvSpPr>
          <p:cNvPr id="12" name="Freeform 37"/>
          <p:cNvSpPr>
            <a:spLocks noChangeAspect="1" noEditPoints="1"/>
          </p:cNvSpPr>
          <p:nvPr/>
        </p:nvSpPr>
        <p:spPr bwMode="auto">
          <a:xfrm>
            <a:off x="6681842" y="3014259"/>
            <a:ext cx="779087" cy="62883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0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FFFFFF"/>
                </a:solidFill>
                <a:effectLst/>
                <a:uLnTx/>
                <a:uFillTx/>
                <a:latin typeface="+mj-lt"/>
              </a:rPr>
              <a:t>compa</a:t>
            </a:r>
            <a:endParaRPr kumimoji="0" lang="en-US" sz="5400" b="0" i="0" u="none" strike="noStrike" kern="0" cap="none" spc="0" normalizeH="0" baseline="0" noProof="0" dirty="0">
              <a:ln>
                <a:noFill/>
              </a:ln>
              <a:solidFill>
                <a:srgbClr val="FFFFFF"/>
              </a:solidFill>
              <a:effectLst/>
              <a:uLnTx/>
              <a:uFillTx/>
              <a:latin typeface="+mj-lt"/>
            </a:endParaRPr>
          </a:p>
        </p:txBody>
      </p:sp>
      <p:sp>
        <p:nvSpPr>
          <p:cNvPr id="13" name="Freeform 38"/>
          <p:cNvSpPr>
            <a:spLocks noChangeAspect="1" noEditPoints="1"/>
          </p:cNvSpPr>
          <p:nvPr/>
        </p:nvSpPr>
        <p:spPr bwMode="auto">
          <a:xfrm>
            <a:off x="7913621" y="3014259"/>
            <a:ext cx="779087" cy="62883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0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FFFFFF"/>
                </a:solidFill>
                <a:effectLst/>
                <a:uLnTx/>
                <a:uFillTx/>
                <a:latin typeface="+mj-lt"/>
              </a:rPr>
              <a:t>compa</a:t>
            </a:r>
            <a:endParaRPr kumimoji="0" lang="en-US" sz="5400" b="0" i="0" u="none" strike="noStrike" kern="0" cap="none" spc="0" normalizeH="0" baseline="0" noProof="0" dirty="0">
              <a:ln>
                <a:noFill/>
              </a:ln>
              <a:solidFill>
                <a:srgbClr val="FFFFFF"/>
              </a:solidFill>
              <a:effectLst/>
              <a:uLnTx/>
              <a:uFillTx/>
              <a:latin typeface="+mj-lt"/>
            </a:endParaRPr>
          </a:p>
        </p:txBody>
      </p:sp>
      <p:sp>
        <p:nvSpPr>
          <p:cNvPr id="14" name="Freeform 39"/>
          <p:cNvSpPr>
            <a:spLocks noChangeAspect="1" noEditPoints="1"/>
          </p:cNvSpPr>
          <p:nvPr/>
        </p:nvSpPr>
        <p:spPr bwMode="auto">
          <a:xfrm>
            <a:off x="9117564" y="3014271"/>
            <a:ext cx="779087" cy="62883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0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FFFFFF"/>
                </a:solidFill>
                <a:effectLst/>
                <a:uLnTx/>
                <a:uFillTx/>
                <a:latin typeface="+mj-lt"/>
              </a:rPr>
              <a:t>compa</a:t>
            </a:r>
            <a:endParaRPr kumimoji="0" lang="en-US" sz="5400" b="0" i="0" u="none" strike="noStrike" kern="0" cap="none" spc="0" normalizeH="0" baseline="0" noProof="0" dirty="0">
              <a:ln>
                <a:noFill/>
              </a:ln>
              <a:solidFill>
                <a:srgbClr val="FFFFFF"/>
              </a:solidFill>
              <a:effectLst/>
              <a:uLnTx/>
              <a:uFillTx/>
              <a:latin typeface="+mj-lt"/>
            </a:endParaRPr>
          </a:p>
        </p:txBody>
      </p:sp>
      <p:cxnSp>
        <p:nvCxnSpPr>
          <p:cNvPr id="15" name="Straight Connector 14"/>
          <p:cNvCxnSpPr/>
          <p:nvPr/>
        </p:nvCxnSpPr>
        <p:spPr bwMode="auto">
          <a:xfrm>
            <a:off x="7111664" y="2461986"/>
            <a:ext cx="0" cy="521338"/>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6" name="Straight Connector 15"/>
          <p:cNvCxnSpPr/>
          <p:nvPr/>
        </p:nvCxnSpPr>
        <p:spPr bwMode="auto">
          <a:xfrm>
            <a:off x="8303164" y="2461986"/>
            <a:ext cx="0" cy="521338"/>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7" name="Straight Connector 16"/>
          <p:cNvCxnSpPr/>
          <p:nvPr/>
        </p:nvCxnSpPr>
        <p:spPr bwMode="auto">
          <a:xfrm>
            <a:off x="9484187" y="2461986"/>
            <a:ext cx="0" cy="521338"/>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18" name="AutoShape 319"/>
          <p:cNvSpPr>
            <a:spLocks noChangeArrowheads="1"/>
          </p:cNvSpPr>
          <p:nvPr/>
        </p:nvSpPr>
        <p:spPr bwMode="auto">
          <a:xfrm>
            <a:off x="6588208" y="1181712"/>
            <a:ext cx="4772203" cy="1287534"/>
          </a:xfrm>
          <a:prstGeom prst="roundRect">
            <a:avLst>
              <a:gd name="adj" fmla="val 9796"/>
            </a:avLst>
          </a:prstGeom>
          <a:solidFill>
            <a:srgbClr val="8D92B4"/>
          </a:solidFill>
          <a:ln w="38100" cap="flat" cmpd="sng" algn="ctr">
            <a:solidFill>
              <a:srgbClr val="FFFFFF"/>
            </a:solidFill>
            <a:prstDash val="solid"/>
            <a:round/>
            <a:headEnd type="none" w="med" len="med"/>
            <a:tailEnd type="none" w="med" len="med"/>
          </a:ln>
          <a:extLst/>
        </p:spPr>
        <p:txBody>
          <a:bodyPr wrap="square" lIns="71965" tIns="45702" rIns="71965" bIns="4570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altLang="sv-SE" sz="1400" b="0" i="0" u="none" strike="noStrike" kern="0" cap="none" spc="0" normalizeH="0" baseline="0" noProof="0" dirty="0">
                <a:ln>
                  <a:noFill/>
                </a:ln>
                <a:solidFill>
                  <a:srgbClr val="FFFFFF"/>
                </a:solidFill>
                <a:effectLst/>
                <a:uLnTx/>
                <a:uFillTx/>
              </a:rPr>
              <a:t>Business and cross domain operations</a:t>
            </a:r>
          </a:p>
        </p:txBody>
      </p:sp>
      <p:sp>
        <p:nvSpPr>
          <p:cNvPr id="19" name="AutoShape 319"/>
          <p:cNvSpPr>
            <a:spLocks noChangeArrowheads="1"/>
          </p:cNvSpPr>
          <p:nvPr/>
        </p:nvSpPr>
        <p:spPr bwMode="auto">
          <a:xfrm>
            <a:off x="10197387" y="2939782"/>
            <a:ext cx="1011951" cy="2905130"/>
          </a:xfrm>
          <a:prstGeom prst="roundRect">
            <a:avLst>
              <a:gd name="adj" fmla="val 13355"/>
            </a:avLst>
          </a:prstGeom>
          <a:solidFill>
            <a:schemeClr val="bg1">
              <a:lumMod val="65000"/>
            </a:schemeClr>
          </a:solidFill>
          <a:ln w="38100" cap="flat" cmpd="sng" algn="ctr">
            <a:solidFill>
              <a:srgbClr val="FFFFFF"/>
            </a:solidFill>
            <a:prstDash val="solid"/>
            <a:round/>
            <a:headEnd type="none" w="med" len="med"/>
            <a:tailEnd type="none" w="med" len="med"/>
          </a:ln>
          <a:extLst/>
        </p:spPr>
        <p:txBody>
          <a:bodyPr wrap="none" lIns="71965" tIns="45702" rIns="71965" bIns="45702" anchor="b"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altLang="sv-SE" sz="1400" b="0" i="0" u="none" strike="noStrike" kern="0" cap="none" spc="0" normalizeH="0" baseline="0" noProof="0" dirty="0">
                <a:ln>
                  <a:noFill/>
                </a:ln>
                <a:solidFill>
                  <a:srgbClr val="FFFFFF"/>
                </a:solidFill>
                <a:effectLst/>
                <a:uLnTx/>
                <a:uFillTx/>
              </a:rPr>
              <a:t>Transport</a:t>
            </a:r>
          </a:p>
        </p:txBody>
      </p:sp>
      <p:sp>
        <p:nvSpPr>
          <p:cNvPr id="20" name="Freeform 64"/>
          <p:cNvSpPr>
            <a:spLocks noChangeAspect="1" noEditPoints="1"/>
          </p:cNvSpPr>
          <p:nvPr/>
        </p:nvSpPr>
        <p:spPr bwMode="auto">
          <a:xfrm>
            <a:off x="10313818" y="3014271"/>
            <a:ext cx="779087" cy="62883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0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FFFFFF"/>
                </a:solidFill>
                <a:effectLst/>
                <a:uLnTx/>
                <a:uFillTx/>
                <a:latin typeface="+mj-lt"/>
              </a:rPr>
              <a:t>compa</a:t>
            </a:r>
            <a:endParaRPr kumimoji="0" lang="en-US" sz="5400" b="0" i="0" u="none" strike="noStrike" kern="0" cap="none" spc="0" normalizeH="0" baseline="0" noProof="0" dirty="0">
              <a:ln>
                <a:noFill/>
              </a:ln>
              <a:solidFill>
                <a:srgbClr val="FFFFFF"/>
              </a:solidFill>
              <a:effectLst/>
              <a:uLnTx/>
              <a:uFillTx/>
              <a:latin typeface="+mj-lt"/>
            </a:endParaRPr>
          </a:p>
        </p:txBody>
      </p:sp>
      <p:sp>
        <p:nvSpPr>
          <p:cNvPr id="21" name="Freeform 65"/>
          <p:cNvSpPr>
            <a:spLocks noChangeAspect="1" noEditPoints="1"/>
          </p:cNvSpPr>
          <p:nvPr/>
        </p:nvSpPr>
        <p:spPr bwMode="auto">
          <a:xfrm>
            <a:off x="10517719" y="1224645"/>
            <a:ext cx="779087" cy="628839"/>
          </a:xfrm>
          <a:custGeom>
            <a:avLst/>
            <a:gdLst>
              <a:gd name="T0" fmla="*/ 2147483647 w 509"/>
              <a:gd name="T1" fmla="*/ 2147483647 h 411"/>
              <a:gd name="T2" fmla="*/ 2147483647 w 509"/>
              <a:gd name="T3" fmla="*/ 2147483647 h 411"/>
              <a:gd name="T4" fmla="*/ 2147483647 w 509"/>
              <a:gd name="T5" fmla="*/ 2147483647 h 411"/>
              <a:gd name="T6" fmla="*/ 2147483647 w 509"/>
              <a:gd name="T7" fmla="*/ 2147483647 h 411"/>
              <a:gd name="T8" fmla="*/ 2147483647 w 509"/>
              <a:gd name="T9" fmla="*/ 2147483647 h 411"/>
              <a:gd name="T10" fmla="*/ 2147483647 w 509"/>
              <a:gd name="T11" fmla="*/ 2147483647 h 411"/>
              <a:gd name="T12" fmla="*/ 2147483647 w 509"/>
              <a:gd name="T13" fmla="*/ 2147483647 h 411"/>
              <a:gd name="T14" fmla="*/ 2147483647 w 509"/>
              <a:gd name="T15" fmla="*/ 2147483647 h 411"/>
              <a:gd name="T16" fmla="*/ 2147483647 w 509"/>
              <a:gd name="T17" fmla="*/ 2147483647 h 411"/>
              <a:gd name="T18" fmla="*/ 2147483647 w 509"/>
              <a:gd name="T19" fmla="*/ 2147483647 h 411"/>
              <a:gd name="T20" fmla="*/ 2147483647 w 509"/>
              <a:gd name="T21" fmla="*/ 2147483647 h 411"/>
              <a:gd name="T22" fmla="*/ 2147483647 w 509"/>
              <a:gd name="T23" fmla="*/ 2147483647 h 411"/>
              <a:gd name="T24" fmla="*/ 2147483647 w 509"/>
              <a:gd name="T25" fmla="*/ 2147483647 h 411"/>
              <a:gd name="T26" fmla="*/ 2147483647 w 509"/>
              <a:gd name="T27" fmla="*/ 2147483647 h 411"/>
              <a:gd name="T28" fmla="*/ 2147483647 w 509"/>
              <a:gd name="T29" fmla="*/ 2147483647 h 411"/>
              <a:gd name="T30" fmla="*/ 2147483647 w 509"/>
              <a:gd name="T31" fmla="*/ 0 h 411"/>
              <a:gd name="T32" fmla="*/ 2147483647 w 509"/>
              <a:gd name="T33" fmla="*/ 2147483647 h 411"/>
              <a:gd name="T34" fmla="*/ 2147483647 w 509"/>
              <a:gd name="T35" fmla="*/ 2147483647 h 411"/>
              <a:gd name="T36" fmla="*/ 2147483647 w 509"/>
              <a:gd name="T37" fmla="*/ 2147483647 h 411"/>
              <a:gd name="T38" fmla="*/ 2147483647 w 509"/>
              <a:gd name="T39" fmla="*/ 2147483647 h 411"/>
              <a:gd name="T40" fmla="*/ 2147483647 w 509"/>
              <a:gd name="T41" fmla="*/ 2147483647 h 411"/>
              <a:gd name="T42" fmla="*/ 2147483647 w 509"/>
              <a:gd name="T43" fmla="*/ 2147483647 h 411"/>
              <a:gd name="T44" fmla="*/ 2147483647 w 509"/>
              <a:gd name="T45" fmla="*/ 2147483647 h 411"/>
              <a:gd name="T46" fmla="*/ 2147483647 w 509"/>
              <a:gd name="T47" fmla="*/ 2147483647 h 411"/>
              <a:gd name="T48" fmla="*/ 2147483647 w 509"/>
              <a:gd name="T49" fmla="*/ 2147483647 h 411"/>
              <a:gd name="T50" fmla="*/ 2147483647 w 509"/>
              <a:gd name="T51" fmla="*/ 2147483647 h 411"/>
              <a:gd name="T52" fmla="*/ 2147483647 w 509"/>
              <a:gd name="T53" fmla="*/ 2147483647 h 411"/>
              <a:gd name="T54" fmla="*/ 2147483647 w 509"/>
              <a:gd name="T55" fmla="*/ 2147483647 h 411"/>
              <a:gd name="T56" fmla="*/ 2147483647 w 509"/>
              <a:gd name="T57" fmla="*/ 2147483647 h 411"/>
              <a:gd name="T58" fmla="*/ 2147483647 w 509"/>
              <a:gd name="T59" fmla="*/ 2147483647 h 411"/>
              <a:gd name="T60" fmla="*/ 2147483647 w 509"/>
              <a:gd name="T61" fmla="*/ 2147483647 h 411"/>
              <a:gd name="T62" fmla="*/ 2147483647 w 509"/>
              <a:gd name="T63" fmla="*/ 2147483647 h 411"/>
              <a:gd name="T64" fmla="*/ 2147483647 w 509"/>
              <a:gd name="T65" fmla="*/ 2147483647 h 411"/>
              <a:gd name="T66" fmla="*/ 2147483647 w 509"/>
              <a:gd name="T67" fmla="*/ 2147483647 h 411"/>
              <a:gd name="T68" fmla="*/ 2147483647 w 509"/>
              <a:gd name="T69" fmla="*/ 2147483647 h 411"/>
              <a:gd name="T70" fmla="*/ 2147483647 w 509"/>
              <a:gd name="T71" fmla="*/ 2147483647 h 411"/>
              <a:gd name="T72" fmla="*/ 2147483647 w 509"/>
              <a:gd name="T73" fmla="*/ 2147483647 h 411"/>
              <a:gd name="T74" fmla="*/ 2147483647 w 509"/>
              <a:gd name="T75" fmla="*/ 2147483647 h 411"/>
              <a:gd name="T76" fmla="*/ 2147483647 w 509"/>
              <a:gd name="T77" fmla="*/ 2147483647 h 411"/>
              <a:gd name="T78" fmla="*/ 2147483647 w 509"/>
              <a:gd name="T79" fmla="*/ 2147483647 h 411"/>
              <a:gd name="T80" fmla="*/ 2147483647 w 509"/>
              <a:gd name="T81" fmla="*/ 2147483647 h 411"/>
              <a:gd name="T82" fmla="*/ 2147483647 w 509"/>
              <a:gd name="T83" fmla="*/ 2147483647 h 411"/>
              <a:gd name="T84" fmla="*/ 2147483647 w 509"/>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9" h="411">
                <a:moveTo>
                  <a:pt x="507" y="230"/>
                </a:moveTo>
                <a:cubicBezTo>
                  <a:pt x="506" y="228"/>
                  <a:pt x="503" y="226"/>
                  <a:pt x="500" y="226"/>
                </a:cubicBezTo>
                <a:cubicBezTo>
                  <a:pt x="500" y="226"/>
                  <a:pt x="500" y="226"/>
                  <a:pt x="500" y="226"/>
                </a:cubicBezTo>
                <a:cubicBezTo>
                  <a:pt x="480" y="226"/>
                  <a:pt x="480" y="226"/>
                  <a:pt x="480" y="226"/>
                </a:cubicBezTo>
                <a:cubicBezTo>
                  <a:pt x="480" y="206"/>
                  <a:pt x="480" y="206"/>
                  <a:pt x="480" y="206"/>
                </a:cubicBezTo>
                <a:cubicBezTo>
                  <a:pt x="480" y="149"/>
                  <a:pt x="458" y="97"/>
                  <a:pt x="417" y="57"/>
                </a:cubicBezTo>
                <a:cubicBezTo>
                  <a:pt x="413" y="54"/>
                  <a:pt x="408" y="54"/>
                  <a:pt x="405" y="58"/>
                </a:cubicBezTo>
                <a:cubicBezTo>
                  <a:pt x="402" y="61"/>
                  <a:pt x="402" y="66"/>
                  <a:pt x="406" y="69"/>
                </a:cubicBezTo>
                <a:cubicBezTo>
                  <a:pt x="443" y="105"/>
                  <a:pt x="464" y="154"/>
                  <a:pt x="464" y="206"/>
                </a:cubicBezTo>
                <a:cubicBezTo>
                  <a:pt x="464" y="234"/>
                  <a:pt x="464" y="234"/>
                  <a:pt x="464" y="234"/>
                </a:cubicBezTo>
                <a:cubicBezTo>
                  <a:pt x="464" y="236"/>
                  <a:pt x="465" y="238"/>
                  <a:pt x="467" y="240"/>
                </a:cubicBezTo>
                <a:cubicBezTo>
                  <a:pt x="468" y="241"/>
                  <a:pt x="470" y="242"/>
                  <a:pt x="472" y="242"/>
                </a:cubicBezTo>
                <a:cubicBezTo>
                  <a:pt x="472" y="242"/>
                  <a:pt x="472" y="242"/>
                  <a:pt x="472" y="242"/>
                </a:cubicBezTo>
                <a:cubicBezTo>
                  <a:pt x="484" y="242"/>
                  <a:pt x="484" y="242"/>
                  <a:pt x="484" y="242"/>
                </a:cubicBezTo>
                <a:cubicBezTo>
                  <a:pt x="436" y="302"/>
                  <a:pt x="436" y="302"/>
                  <a:pt x="436" y="302"/>
                </a:cubicBezTo>
                <a:cubicBezTo>
                  <a:pt x="386" y="242"/>
                  <a:pt x="386" y="242"/>
                  <a:pt x="386" y="242"/>
                </a:cubicBezTo>
                <a:cubicBezTo>
                  <a:pt x="400" y="242"/>
                  <a:pt x="400" y="242"/>
                  <a:pt x="400" y="242"/>
                </a:cubicBezTo>
                <a:cubicBezTo>
                  <a:pt x="402" y="242"/>
                  <a:pt x="404" y="241"/>
                  <a:pt x="406" y="240"/>
                </a:cubicBezTo>
                <a:cubicBezTo>
                  <a:pt x="407" y="238"/>
                  <a:pt x="408" y="236"/>
                  <a:pt x="408" y="234"/>
                </a:cubicBezTo>
                <a:cubicBezTo>
                  <a:pt x="408" y="204"/>
                  <a:pt x="408" y="204"/>
                  <a:pt x="408" y="204"/>
                </a:cubicBezTo>
                <a:cubicBezTo>
                  <a:pt x="408" y="162"/>
                  <a:pt x="392" y="123"/>
                  <a:pt x="362" y="94"/>
                </a:cubicBezTo>
                <a:cubicBezTo>
                  <a:pt x="332" y="64"/>
                  <a:pt x="293" y="48"/>
                  <a:pt x="251" y="48"/>
                </a:cubicBezTo>
                <a:cubicBezTo>
                  <a:pt x="251" y="48"/>
                  <a:pt x="251" y="48"/>
                  <a:pt x="251" y="48"/>
                </a:cubicBezTo>
                <a:cubicBezTo>
                  <a:pt x="193" y="48"/>
                  <a:pt x="139" y="81"/>
                  <a:pt x="112" y="133"/>
                </a:cubicBezTo>
                <a:cubicBezTo>
                  <a:pt x="104" y="122"/>
                  <a:pt x="104" y="122"/>
                  <a:pt x="104" y="122"/>
                </a:cubicBezTo>
                <a:cubicBezTo>
                  <a:pt x="137" y="59"/>
                  <a:pt x="205" y="16"/>
                  <a:pt x="274" y="16"/>
                </a:cubicBezTo>
                <a:cubicBezTo>
                  <a:pt x="274" y="16"/>
                  <a:pt x="274" y="16"/>
                  <a:pt x="274" y="16"/>
                </a:cubicBezTo>
                <a:cubicBezTo>
                  <a:pt x="313" y="16"/>
                  <a:pt x="350" y="28"/>
                  <a:pt x="382" y="50"/>
                </a:cubicBezTo>
                <a:cubicBezTo>
                  <a:pt x="385" y="52"/>
                  <a:pt x="390" y="51"/>
                  <a:pt x="393" y="48"/>
                </a:cubicBezTo>
                <a:cubicBezTo>
                  <a:pt x="395" y="44"/>
                  <a:pt x="395" y="39"/>
                  <a:pt x="391" y="36"/>
                </a:cubicBezTo>
                <a:cubicBezTo>
                  <a:pt x="357" y="13"/>
                  <a:pt x="316" y="0"/>
                  <a:pt x="274" y="0"/>
                </a:cubicBezTo>
                <a:cubicBezTo>
                  <a:pt x="274" y="0"/>
                  <a:pt x="274" y="0"/>
                  <a:pt x="274" y="0"/>
                </a:cubicBezTo>
                <a:cubicBezTo>
                  <a:pt x="201" y="0"/>
                  <a:pt x="130" y="44"/>
                  <a:pt x="93" y="109"/>
                </a:cubicBezTo>
                <a:cubicBezTo>
                  <a:pt x="78" y="92"/>
                  <a:pt x="78" y="92"/>
                  <a:pt x="78" y="92"/>
                </a:cubicBezTo>
                <a:cubicBezTo>
                  <a:pt x="77" y="90"/>
                  <a:pt x="74" y="89"/>
                  <a:pt x="72" y="89"/>
                </a:cubicBezTo>
                <a:cubicBezTo>
                  <a:pt x="69" y="89"/>
                  <a:pt x="67" y="90"/>
                  <a:pt x="66" y="92"/>
                </a:cubicBezTo>
                <a:cubicBezTo>
                  <a:pt x="2" y="173"/>
                  <a:pt x="2" y="173"/>
                  <a:pt x="2" y="173"/>
                </a:cubicBezTo>
                <a:cubicBezTo>
                  <a:pt x="0" y="175"/>
                  <a:pt x="0" y="179"/>
                  <a:pt x="1" y="181"/>
                </a:cubicBezTo>
                <a:cubicBezTo>
                  <a:pt x="2" y="184"/>
                  <a:pt x="5" y="186"/>
                  <a:pt x="8" y="186"/>
                </a:cubicBezTo>
                <a:cubicBezTo>
                  <a:pt x="8" y="186"/>
                  <a:pt x="8" y="186"/>
                  <a:pt x="8" y="186"/>
                </a:cubicBezTo>
                <a:cubicBezTo>
                  <a:pt x="28" y="186"/>
                  <a:pt x="28" y="186"/>
                  <a:pt x="28" y="186"/>
                </a:cubicBezTo>
                <a:cubicBezTo>
                  <a:pt x="28" y="206"/>
                  <a:pt x="28" y="206"/>
                  <a:pt x="28" y="206"/>
                </a:cubicBezTo>
                <a:cubicBezTo>
                  <a:pt x="28" y="319"/>
                  <a:pt x="121" y="411"/>
                  <a:pt x="234" y="411"/>
                </a:cubicBezTo>
                <a:cubicBezTo>
                  <a:pt x="234" y="411"/>
                  <a:pt x="234" y="411"/>
                  <a:pt x="234" y="411"/>
                </a:cubicBezTo>
                <a:cubicBezTo>
                  <a:pt x="308" y="411"/>
                  <a:pt x="379" y="368"/>
                  <a:pt x="416" y="303"/>
                </a:cubicBezTo>
                <a:cubicBezTo>
                  <a:pt x="430" y="320"/>
                  <a:pt x="430" y="320"/>
                  <a:pt x="430" y="320"/>
                </a:cubicBezTo>
                <a:cubicBezTo>
                  <a:pt x="432" y="321"/>
                  <a:pt x="434" y="323"/>
                  <a:pt x="436" y="323"/>
                </a:cubicBezTo>
                <a:cubicBezTo>
                  <a:pt x="437" y="323"/>
                  <a:pt x="437" y="323"/>
                  <a:pt x="437" y="323"/>
                </a:cubicBezTo>
                <a:cubicBezTo>
                  <a:pt x="439" y="322"/>
                  <a:pt x="441" y="321"/>
                  <a:pt x="443" y="319"/>
                </a:cubicBezTo>
                <a:cubicBezTo>
                  <a:pt x="507" y="239"/>
                  <a:pt x="507" y="239"/>
                  <a:pt x="507" y="239"/>
                </a:cubicBezTo>
                <a:cubicBezTo>
                  <a:pt x="508" y="236"/>
                  <a:pt x="509" y="233"/>
                  <a:pt x="507" y="230"/>
                </a:cubicBezTo>
                <a:close/>
                <a:moveTo>
                  <a:pt x="251" y="64"/>
                </a:moveTo>
                <a:cubicBezTo>
                  <a:pt x="251" y="64"/>
                  <a:pt x="251" y="64"/>
                  <a:pt x="251" y="64"/>
                </a:cubicBezTo>
                <a:cubicBezTo>
                  <a:pt x="289" y="64"/>
                  <a:pt x="324" y="78"/>
                  <a:pt x="351" y="105"/>
                </a:cubicBezTo>
                <a:cubicBezTo>
                  <a:pt x="377" y="131"/>
                  <a:pt x="392" y="167"/>
                  <a:pt x="392" y="204"/>
                </a:cubicBezTo>
                <a:cubicBezTo>
                  <a:pt x="392" y="226"/>
                  <a:pt x="392" y="226"/>
                  <a:pt x="392" y="226"/>
                </a:cubicBezTo>
                <a:cubicBezTo>
                  <a:pt x="369" y="226"/>
                  <a:pt x="369" y="226"/>
                  <a:pt x="369" y="226"/>
                </a:cubicBezTo>
                <a:cubicBezTo>
                  <a:pt x="366" y="226"/>
                  <a:pt x="363" y="228"/>
                  <a:pt x="361" y="231"/>
                </a:cubicBezTo>
                <a:cubicBezTo>
                  <a:pt x="360" y="233"/>
                  <a:pt x="361" y="237"/>
                  <a:pt x="363" y="239"/>
                </a:cubicBezTo>
                <a:cubicBezTo>
                  <a:pt x="385" y="265"/>
                  <a:pt x="385" y="265"/>
                  <a:pt x="385" y="265"/>
                </a:cubicBezTo>
                <a:cubicBezTo>
                  <a:pt x="362" y="315"/>
                  <a:pt x="312" y="348"/>
                  <a:pt x="257" y="348"/>
                </a:cubicBezTo>
                <a:cubicBezTo>
                  <a:pt x="180" y="348"/>
                  <a:pt x="116" y="285"/>
                  <a:pt x="116" y="207"/>
                </a:cubicBezTo>
                <a:cubicBezTo>
                  <a:pt x="116" y="186"/>
                  <a:pt x="116" y="186"/>
                  <a:pt x="116" y="186"/>
                </a:cubicBezTo>
                <a:cubicBezTo>
                  <a:pt x="140" y="186"/>
                  <a:pt x="140" y="186"/>
                  <a:pt x="140" y="186"/>
                </a:cubicBezTo>
                <a:cubicBezTo>
                  <a:pt x="143" y="186"/>
                  <a:pt x="146" y="184"/>
                  <a:pt x="147" y="181"/>
                </a:cubicBezTo>
                <a:cubicBezTo>
                  <a:pt x="148" y="178"/>
                  <a:pt x="148" y="175"/>
                  <a:pt x="146" y="172"/>
                </a:cubicBezTo>
                <a:cubicBezTo>
                  <a:pt x="124" y="146"/>
                  <a:pt x="124" y="146"/>
                  <a:pt x="124" y="146"/>
                </a:cubicBezTo>
                <a:cubicBezTo>
                  <a:pt x="147" y="96"/>
                  <a:pt x="196" y="64"/>
                  <a:pt x="251" y="64"/>
                </a:cubicBezTo>
                <a:close/>
                <a:moveTo>
                  <a:pt x="234" y="395"/>
                </a:moveTo>
                <a:cubicBezTo>
                  <a:pt x="234" y="403"/>
                  <a:pt x="234" y="403"/>
                  <a:pt x="234" y="403"/>
                </a:cubicBezTo>
                <a:cubicBezTo>
                  <a:pt x="234" y="395"/>
                  <a:pt x="234" y="395"/>
                  <a:pt x="234" y="395"/>
                </a:cubicBezTo>
                <a:cubicBezTo>
                  <a:pt x="129" y="395"/>
                  <a:pt x="44" y="310"/>
                  <a:pt x="44" y="206"/>
                </a:cubicBezTo>
                <a:cubicBezTo>
                  <a:pt x="44" y="178"/>
                  <a:pt x="44" y="178"/>
                  <a:pt x="44" y="178"/>
                </a:cubicBezTo>
                <a:cubicBezTo>
                  <a:pt x="44" y="176"/>
                  <a:pt x="43" y="174"/>
                  <a:pt x="42" y="172"/>
                </a:cubicBezTo>
                <a:cubicBezTo>
                  <a:pt x="40" y="171"/>
                  <a:pt x="38" y="170"/>
                  <a:pt x="36" y="170"/>
                </a:cubicBezTo>
                <a:cubicBezTo>
                  <a:pt x="36" y="170"/>
                  <a:pt x="36" y="170"/>
                  <a:pt x="36" y="170"/>
                </a:cubicBezTo>
                <a:cubicBezTo>
                  <a:pt x="25" y="170"/>
                  <a:pt x="25" y="170"/>
                  <a:pt x="25" y="170"/>
                </a:cubicBezTo>
                <a:cubicBezTo>
                  <a:pt x="72" y="110"/>
                  <a:pt x="72" y="110"/>
                  <a:pt x="72" y="110"/>
                </a:cubicBezTo>
                <a:cubicBezTo>
                  <a:pt x="123" y="170"/>
                  <a:pt x="123" y="170"/>
                  <a:pt x="123" y="170"/>
                </a:cubicBezTo>
                <a:cubicBezTo>
                  <a:pt x="108" y="170"/>
                  <a:pt x="108" y="170"/>
                  <a:pt x="108" y="170"/>
                </a:cubicBezTo>
                <a:cubicBezTo>
                  <a:pt x="106" y="170"/>
                  <a:pt x="104" y="170"/>
                  <a:pt x="103" y="172"/>
                </a:cubicBezTo>
                <a:cubicBezTo>
                  <a:pt x="101" y="173"/>
                  <a:pt x="100" y="176"/>
                  <a:pt x="100" y="178"/>
                </a:cubicBezTo>
                <a:cubicBezTo>
                  <a:pt x="100" y="207"/>
                  <a:pt x="100" y="207"/>
                  <a:pt x="100" y="207"/>
                </a:cubicBezTo>
                <a:cubicBezTo>
                  <a:pt x="100" y="294"/>
                  <a:pt x="171" y="364"/>
                  <a:pt x="257" y="364"/>
                </a:cubicBezTo>
                <a:cubicBezTo>
                  <a:pt x="316" y="364"/>
                  <a:pt x="369" y="331"/>
                  <a:pt x="396" y="279"/>
                </a:cubicBezTo>
                <a:cubicBezTo>
                  <a:pt x="405" y="290"/>
                  <a:pt x="405" y="290"/>
                  <a:pt x="405" y="290"/>
                </a:cubicBezTo>
                <a:cubicBezTo>
                  <a:pt x="372" y="353"/>
                  <a:pt x="304" y="395"/>
                  <a:pt x="234" y="3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err="1">
                <a:ln>
                  <a:noFill/>
                </a:ln>
                <a:solidFill>
                  <a:srgbClr val="FFFFFF"/>
                </a:solidFill>
                <a:effectLst/>
                <a:uLnTx/>
                <a:uFillTx/>
                <a:latin typeface="+mj-lt"/>
              </a:rPr>
              <a:t>compa</a:t>
            </a:r>
            <a:endParaRPr kumimoji="0" lang="en-US" sz="5400" b="0" i="0" u="none" strike="noStrike" kern="0" cap="none" spc="0" normalizeH="0" baseline="0" noProof="0" dirty="0">
              <a:ln>
                <a:noFill/>
              </a:ln>
              <a:solidFill>
                <a:srgbClr val="FFFFFF"/>
              </a:solidFill>
              <a:effectLst/>
              <a:uLnTx/>
              <a:uFillTx/>
              <a:latin typeface="+mj-lt"/>
            </a:endParaRPr>
          </a:p>
        </p:txBody>
      </p:sp>
      <p:cxnSp>
        <p:nvCxnSpPr>
          <p:cNvPr id="22" name="Straight Connector 21"/>
          <p:cNvCxnSpPr/>
          <p:nvPr/>
        </p:nvCxnSpPr>
        <p:spPr bwMode="auto">
          <a:xfrm>
            <a:off x="10725137" y="2469246"/>
            <a:ext cx="0" cy="521338"/>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23" name="Rounded Rectangle 1"/>
          <p:cNvSpPr/>
          <p:nvPr/>
        </p:nvSpPr>
        <p:spPr bwMode="auto">
          <a:xfrm>
            <a:off x="6299200" y="3715680"/>
            <a:ext cx="5354638" cy="580547"/>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4" name="Rounded Rectangle 2"/>
          <p:cNvSpPr/>
          <p:nvPr/>
        </p:nvSpPr>
        <p:spPr bwMode="auto">
          <a:xfrm>
            <a:off x="6816272" y="38256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charset="0"/>
              </a:rPr>
              <a:t>1</a:t>
            </a:r>
          </a:p>
        </p:txBody>
      </p:sp>
      <p:sp>
        <p:nvSpPr>
          <p:cNvPr id="25" name="Rounded Rectangle 68"/>
          <p:cNvSpPr/>
          <p:nvPr/>
        </p:nvSpPr>
        <p:spPr bwMode="auto">
          <a:xfrm>
            <a:off x="8027755" y="38256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charset="0"/>
              </a:rPr>
              <a:t>1</a:t>
            </a:r>
          </a:p>
        </p:txBody>
      </p:sp>
      <p:sp>
        <p:nvSpPr>
          <p:cNvPr id="26" name="Rounded Rectangle 69"/>
          <p:cNvSpPr/>
          <p:nvPr/>
        </p:nvSpPr>
        <p:spPr bwMode="auto">
          <a:xfrm>
            <a:off x="9224079" y="38256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charset="0"/>
              </a:rPr>
              <a:t>1</a:t>
            </a:r>
          </a:p>
        </p:txBody>
      </p:sp>
      <p:sp>
        <p:nvSpPr>
          <p:cNvPr id="27" name="Rounded Rectangle 70"/>
          <p:cNvSpPr/>
          <p:nvPr/>
        </p:nvSpPr>
        <p:spPr bwMode="auto">
          <a:xfrm>
            <a:off x="10442108" y="38256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charset="0"/>
              </a:rPr>
              <a:t>1</a:t>
            </a:r>
          </a:p>
        </p:txBody>
      </p:sp>
      <p:sp>
        <p:nvSpPr>
          <p:cNvPr id="28" name="Rounded Rectangle 71"/>
          <p:cNvSpPr/>
          <p:nvPr/>
        </p:nvSpPr>
        <p:spPr bwMode="auto">
          <a:xfrm>
            <a:off x="6311900" y="4452280"/>
            <a:ext cx="5354638" cy="580547"/>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9" name="Rounded Rectangle 72"/>
          <p:cNvSpPr/>
          <p:nvPr/>
        </p:nvSpPr>
        <p:spPr bwMode="auto">
          <a:xfrm>
            <a:off x="6828972" y="45622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rPr>
              <a:t>2</a:t>
            </a:r>
            <a:endParaRPr kumimoji="0" lang="en-US" sz="2000" b="0" i="0" u="none" strike="noStrike" kern="0" cap="none" spc="0" normalizeH="0" baseline="0" noProof="0" dirty="0">
              <a:ln>
                <a:noFill/>
              </a:ln>
              <a:solidFill>
                <a:srgbClr val="FFFFFF"/>
              </a:solidFill>
              <a:effectLst/>
              <a:uLnTx/>
              <a:uFillTx/>
              <a:latin typeface="Arial" charset="0"/>
            </a:endParaRPr>
          </a:p>
        </p:txBody>
      </p:sp>
      <p:sp>
        <p:nvSpPr>
          <p:cNvPr id="30" name="Rounded Rectangle 73"/>
          <p:cNvSpPr/>
          <p:nvPr/>
        </p:nvSpPr>
        <p:spPr bwMode="auto">
          <a:xfrm>
            <a:off x="8040455" y="45622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rPr>
              <a:t>2</a:t>
            </a:r>
            <a:endParaRPr kumimoji="0" lang="en-US" sz="2000" b="0" i="0" u="none" strike="noStrike" kern="0" cap="none" spc="0" normalizeH="0" baseline="0" noProof="0" dirty="0">
              <a:ln>
                <a:noFill/>
              </a:ln>
              <a:solidFill>
                <a:srgbClr val="FFFFFF"/>
              </a:solidFill>
              <a:effectLst/>
              <a:uLnTx/>
              <a:uFillTx/>
              <a:latin typeface="Arial" charset="0"/>
            </a:endParaRPr>
          </a:p>
        </p:txBody>
      </p:sp>
      <p:sp>
        <p:nvSpPr>
          <p:cNvPr id="31" name="Rounded Rectangle 74"/>
          <p:cNvSpPr/>
          <p:nvPr/>
        </p:nvSpPr>
        <p:spPr bwMode="auto">
          <a:xfrm>
            <a:off x="9236779" y="45622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rPr>
              <a:t>2</a:t>
            </a:r>
            <a:endParaRPr kumimoji="0" lang="en-US" sz="2000" b="0" i="0" u="none" strike="noStrike" kern="0" cap="none" spc="0" normalizeH="0" baseline="0" noProof="0" dirty="0">
              <a:ln>
                <a:noFill/>
              </a:ln>
              <a:solidFill>
                <a:srgbClr val="FFFFFF"/>
              </a:solidFill>
              <a:effectLst/>
              <a:uLnTx/>
              <a:uFillTx/>
              <a:latin typeface="Arial" charset="0"/>
            </a:endParaRPr>
          </a:p>
        </p:txBody>
      </p:sp>
      <p:sp>
        <p:nvSpPr>
          <p:cNvPr id="32" name="Rounded Rectangle 75"/>
          <p:cNvSpPr/>
          <p:nvPr/>
        </p:nvSpPr>
        <p:spPr bwMode="auto">
          <a:xfrm>
            <a:off x="10454808" y="4562213"/>
            <a:ext cx="566057" cy="360680"/>
          </a:xfrm>
          <a:prstGeom prst="roundRect">
            <a:avLst/>
          </a:prstGeom>
          <a:noFill/>
          <a:ln w="254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72000" tIns="45720" rIns="72000" bIns="45720" numCol="1" rtlCol="0" anchor="ctr" anchorCtr="1"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rPr>
              <a:t>2</a:t>
            </a:r>
            <a:endParaRPr kumimoji="0" lang="en-US" sz="2000" b="0" i="0" u="none" strike="noStrike" kern="0" cap="none" spc="0" normalizeH="0" baseline="0" noProof="0" dirty="0">
              <a:ln>
                <a:noFill/>
              </a:ln>
              <a:solidFill>
                <a:srgbClr val="FFFFFF"/>
              </a:solidFill>
              <a:effectLst/>
              <a:uLnTx/>
              <a:uFillTx/>
              <a:latin typeface="Arial" charset="0"/>
            </a:endParaRPr>
          </a:p>
        </p:txBody>
      </p:sp>
      <p:sp>
        <p:nvSpPr>
          <p:cNvPr id="33" name="TextBox 32"/>
          <p:cNvSpPr txBox="1"/>
          <p:nvPr/>
        </p:nvSpPr>
        <p:spPr>
          <a:xfrm>
            <a:off x="524935" y="1460500"/>
            <a:ext cx="4588115" cy="1200329"/>
          </a:xfrm>
          <a:prstGeom prst="rect">
            <a:avLst/>
          </a:prstGeom>
          <a:noFill/>
        </p:spPr>
        <p:txBody>
          <a:bodyPr wrap="none" rtlCol="0">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rPr>
              <a:t>“Business and cross domain”</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requests each domain to </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establish resources for slice 1</a:t>
            </a:r>
          </a:p>
        </p:txBody>
      </p:sp>
      <p:sp>
        <p:nvSpPr>
          <p:cNvPr id="34" name="TextBox 33"/>
          <p:cNvSpPr txBox="1"/>
          <p:nvPr/>
        </p:nvSpPr>
        <p:spPr>
          <a:xfrm>
            <a:off x="588434" y="2819758"/>
            <a:ext cx="4588115" cy="1200329"/>
          </a:xfrm>
          <a:prstGeom prst="rect">
            <a:avLst/>
          </a:prstGeom>
          <a:noFill/>
        </p:spPr>
        <p:txBody>
          <a:bodyPr wrap="none" rtlCol="0">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rPr>
              <a:t>“Business and cross domain”</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requests each domain to </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establish resources for slice 2</a:t>
            </a:r>
          </a:p>
        </p:txBody>
      </p:sp>
      <p:sp>
        <p:nvSpPr>
          <p:cNvPr id="35" name="TextBox 34"/>
          <p:cNvSpPr txBox="1"/>
          <p:nvPr/>
        </p:nvSpPr>
        <p:spPr>
          <a:xfrm>
            <a:off x="588434" y="4186293"/>
            <a:ext cx="4657044" cy="1569660"/>
          </a:xfrm>
          <a:prstGeom prst="rect">
            <a:avLst/>
          </a:prstGeom>
          <a:noFill/>
        </p:spPr>
        <p:txBody>
          <a:bodyPr wrap="none" rtlCol="0">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rPr>
              <a:t>Each domain manages its</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own resources, “Business and</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cross domain” assures the</a:t>
            </a:r>
            <a:br>
              <a:rPr kumimoji="0" lang="en-US" sz="2400" b="0" i="0" u="none" strike="noStrike" kern="0" cap="none" spc="0" normalizeH="0" baseline="0" noProof="0" dirty="0">
                <a:ln>
                  <a:noFill/>
                </a:ln>
                <a:solidFill>
                  <a:srgbClr val="FFFFFF"/>
                </a:solidFill>
                <a:effectLst/>
                <a:uLnTx/>
                <a:uFillTx/>
              </a:rPr>
            </a:br>
            <a:r>
              <a:rPr kumimoji="0" lang="en-US" sz="2400" b="0" i="0" u="none" strike="noStrike" kern="0" cap="none" spc="0" normalizeH="0" baseline="0" noProof="0" dirty="0">
                <a:ln>
                  <a:noFill/>
                </a:ln>
                <a:solidFill>
                  <a:srgbClr val="FFFFFF"/>
                </a:solidFill>
                <a:effectLst/>
                <a:uLnTx/>
                <a:uFillTx/>
              </a:rPr>
              <a:t>entire service</a:t>
            </a:r>
          </a:p>
        </p:txBody>
      </p:sp>
    </p:spTree>
    <p:extLst>
      <p:ext uri="{BB962C8B-B14F-4D97-AF65-F5344CB8AC3E}">
        <p14:creationId xmlns:p14="http://schemas.microsoft.com/office/powerpoint/2010/main" val="3229436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P spid="34" grpId="0"/>
      <p:bldP spid="35" grpId="0"/>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42" name="Rectangle 41"/>
          <p:cNvSpPr/>
          <p:nvPr/>
        </p:nvSpPr>
        <p:spPr bwMode="auto">
          <a:xfrm>
            <a:off x="696693" y="1171016"/>
            <a:ext cx="11119123" cy="5376392"/>
          </a:xfrm>
          <a:prstGeom prst="rect">
            <a:avLst/>
          </a:prstGeom>
          <a:solidFill>
            <a:srgbClr val="EBF4FF"/>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6" name="Title 2"/>
          <p:cNvSpPr>
            <a:spLocks noGrp="1"/>
          </p:cNvSpPr>
          <p:nvPr>
            <p:ph type="title"/>
          </p:nvPr>
        </p:nvSpPr>
        <p:spPr>
          <a:xfrm>
            <a:off x="524935" y="239714"/>
            <a:ext cx="9992784" cy="1085371"/>
          </a:xfrm>
        </p:spPr>
        <p:txBody>
          <a:bodyPr/>
          <a:lstStyle/>
          <a:p>
            <a:r>
              <a:rPr lang="en-US" dirty="0">
                <a:solidFill>
                  <a:schemeClr val="bg1"/>
                </a:solidFill>
              </a:rPr>
              <a:t>Service instantiation flow</a:t>
            </a:r>
          </a:p>
        </p:txBody>
      </p:sp>
      <p:pic>
        <p:nvPicPr>
          <p:cNvPr id="7" name="Picture 6" descr="ECON_whit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p:nvCxnSpPr>
        <p:spPr bwMode="auto">
          <a:xfrm>
            <a:off x="1626687" y="1709382"/>
            <a:ext cx="0" cy="3587086"/>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8"/>
          <p:cNvCxnSpPr>
            <a:cxnSpLocks/>
          </p:cNvCxnSpPr>
          <p:nvPr/>
        </p:nvCxnSpPr>
        <p:spPr bwMode="auto">
          <a:xfrm>
            <a:off x="4138994" y="1709382"/>
            <a:ext cx="0" cy="467779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0" name="TextBox 9"/>
          <p:cNvSpPr txBox="1"/>
          <p:nvPr/>
        </p:nvSpPr>
        <p:spPr>
          <a:xfrm>
            <a:off x="939851" y="1121090"/>
            <a:ext cx="761747"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000000"/>
                </a:solidFill>
                <a:effectLst/>
                <a:uLnTx/>
                <a:uFillTx/>
              </a:rPr>
              <a:t>NaaS</a:t>
            </a:r>
            <a:br>
              <a:rPr kumimoji="0" lang="en-US" sz="1800" b="0" i="0" u="none" strike="noStrike" kern="0" cap="none" spc="0" normalizeH="0" baseline="0" noProof="0" dirty="0">
                <a:ln>
                  <a:noFill/>
                </a:ln>
                <a:solidFill>
                  <a:srgbClr val="000000"/>
                </a:solidFill>
                <a:effectLst/>
                <a:uLnTx/>
                <a:uFillTx/>
              </a:rPr>
            </a:br>
            <a:r>
              <a:rPr kumimoji="0" lang="en-US" sz="1800" b="0" i="0" u="none" strike="noStrike" kern="0" cap="none" spc="0" normalizeH="0" baseline="0" noProof="0" dirty="0">
                <a:ln>
                  <a:noFill/>
                </a:ln>
                <a:solidFill>
                  <a:srgbClr val="000000"/>
                </a:solidFill>
                <a:effectLst/>
                <a:uLnTx/>
                <a:uFillTx/>
              </a:rPr>
              <a:t>LCM</a:t>
            </a:r>
          </a:p>
        </p:txBody>
      </p:sp>
      <p:sp>
        <p:nvSpPr>
          <p:cNvPr id="11" name="TextBox 10"/>
          <p:cNvSpPr txBox="1"/>
          <p:nvPr/>
        </p:nvSpPr>
        <p:spPr>
          <a:xfrm>
            <a:off x="3291420" y="1096472"/>
            <a:ext cx="1620957" cy="9233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Network slice/</a:t>
            </a:r>
            <a:br>
              <a:rPr kumimoji="0" lang="en-US" sz="1800" b="0" i="0" u="none" strike="noStrike" kern="0" cap="none" spc="0" normalizeH="0" baseline="0" noProof="0" dirty="0">
                <a:ln>
                  <a:noFill/>
                </a:ln>
                <a:solidFill>
                  <a:srgbClr val="000000"/>
                </a:solidFill>
                <a:effectLst/>
                <a:uLnTx/>
                <a:uFillTx/>
              </a:rPr>
            </a:br>
            <a:r>
              <a:rPr kumimoji="0" lang="en-US" sz="1800" b="0" i="0" u="none" strike="noStrike" kern="0" cap="none" spc="0" normalizeH="0" baseline="0" noProof="0" dirty="0">
                <a:ln>
                  <a:noFill/>
                </a:ln>
                <a:solidFill>
                  <a:srgbClr val="000000"/>
                </a:solidFill>
                <a:effectLst/>
                <a:uLnTx/>
                <a:uFillTx/>
              </a:rPr>
              <a:t>subnetwork</a:t>
            </a:r>
            <a:br>
              <a:rPr kumimoji="0" lang="en-US" sz="1800" b="0" i="0" u="none" strike="noStrike" kern="0" cap="none" spc="0" normalizeH="0" baseline="0" noProof="0" dirty="0">
                <a:ln>
                  <a:noFill/>
                </a:ln>
                <a:solidFill>
                  <a:srgbClr val="000000"/>
                </a:solidFill>
                <a:effectLst/>
                <a:uLnTx/>
                <a:uFillTx/>
              </a:rPr>
            </a:br>
            <a:r>
              <a:rPr kumimoji="0" lang="en-US" sz="1800" b="0" i="0" u="none" strike="noStrike" kern="0" cap="none" spc="0" normalizeH="0" baseline="0" noProof="0" dirty="0">
                <a:ln>
                  <a:noFill/>
                </a:ln>
                <a:solidFill>
                  <a:srgbClr val="000000"/>
                </a:solidFill>
                <a:effectLst/>
                <a:uLnTx/>
                <a:uFillTx/>
              </a:rPr>
              <a:t>LCM</a:t>
            </a:r>
          </a:p>
        </p:txBody>
      </p:sp>
      <p:cxnSp>
        <p:nvCxnSpPr>
          <p:cNvPr id="12" name="Straight Connector 11"/>
          <p:cNvCxnSpPr>
            <a:cxnSpLocks/>
          </p:cNvCxnSpPr>
          <p:nvPr/>
        </p:nvCxnSpPr>
        <p:spPr bwMode="auto">
          <a:xfrm>
            <a:off x="5968114" y="1653595"/>
            <a:ext cx="0" cy="4733579"/>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3" name="TextBox 12"/>
          <p:cNvSpPr txBox="1"/>
          <p:nvPr/>
        </p:nvSpPr>
        <p:spPr>
          <a:xfrm>
            <a:off x="5171343" y="1121090"/>
            <a:ext cx="127470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Cloud DM/</a:t>
            </a:r>
            <a:br>
              <a:rPr kumimoji="0" lang="en-US" sz="1800" b="0" i="0" u="none" strike="noStrike" kern="0" cap="none" spc="0" normalizeH="0" baseline="0" noProof="0" dirty="0">
                <a:ln>
                  <a:noFill/>
                </a:ln>
                <a:solidFill>
                  <a:srgbClr val="000000"/>
                </a:solidFill>
                <a:effectLst/>
                <a:uLnTx/>
                <a:uFillTx/>
              </a:rPr>
            </a:br>
            <a:r>
              <a:rPr kumimoji="0" lang="en-US" sz="1800" b="0" i="0" u="none" strike="noStrike" kern="0" cap="none" spc="0" normalizeH="0" baseline="0" noProof="0" dirty="0">
                <a:ln>
                  <a:noFill/>
                </a:ln>
                <a:solidFill>
                  <a:srgbClr val="000000"/>
                </a:solidFill>
                <a:effectLst/>
                <a:uLnTx/>
                <a:uFillTx/>
              </a:rPr>
              <a:t>NFVO</a:t>
            </a:r>
          </a:p>
        </p:txBody>
      </p:sp>
      <p:cxnSp>
        <p:nvCxnSpPr>
          <p:cNvPr id="14" name="Straight Arrow Connector 13"/>
          <p:cNvCxnSpPr/>
          <p:nvPr/>
        </p:nvCxnSpPr>
        <p:spPr bwMode="auto">
          <a:xfrm flipV="1">
            <a:off x="1667630" y="3421515"/>
            <a:ext cx="2512307"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5" name="Straight Arrow Connector 14"/>
          <p:cNvCxnSpPr/>
          <p:nvPr/>
        </p:nvCxnSpPr>
        <p:spPr bwMode="auto">
          <a:xfrm>
            <a:off x="756162" y="2247468"/>
            <a:ext cx="813517"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6" name="TextBox 15"/>
          <p:cNvSpPr txBox="1"/>
          <p:nvPr/>
        </p:nvSpPr>
        <p:spPr>
          <a:xfrm>
            <a:off x="737399" y="1969298"/>
            <a:ext cx="832279"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rPr>
              <a:t>Service </a:t>
            </a:r>
            <a:br>
              <a:rPr kumimoji="0" lang="en-US" sz="1400" b="0" i="0" u="none" strike="noStrike" kern="0" cap="none" spc="0" normalizeH="0" baseline="0" noProof="0" dirty="0">
                <a:ln>
                  <a:noFill/>
                </a:ln>
                <a:solidFill>
                  <a:srgbClr val="000000"/>
                </a:solidFill>
                <a:effectLst/>
                <a:uLnTx/>
                <a:uFillTx/>
              </a:rPr>
            </a:br>
            <a:r>
              <a:rPr kumimoji="0" lang="en-US" sz="1400" b="0" i="0" u="none" strike="noStrike" kern="0" cap="none" spc="0" normalizeH="0" baseline="0" noProof="0" dirty="0">
                <a:ln>
                  <a:noFill/>
                </a:ln>
                <a:solidFill>
                  <a:srgbClr val="000000"/>
                </a:solidFill>
                <a:effectLst/>
                <a:uLnTx/>
                <a:uFillTx/>
              </a:rPr>
              <a:t>request</a:t>
            </a:r>
          </a:p>
        </p:txBody>
      </p:sp>
      <p:sp>
        <p:nvSpPr>
          <p:cNvPr id="17" name="TextBox 16"/>
          <p:cNvSpPr txBox="1"/>
          <p:nvPr/>
        </p:nvSpPr>
        <p:spPr>
          <a:xfrm>
            <a:off x="1843645" y="3148583"/>
            <a:ext cx="1826141"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NWS Instantiation</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request</a:t>
            </a:r>
          </a:p>
        </p:txBody>
      </p:sp>
      <p:sp>
        <p:nvSpPr>
          <p:cNvPr id="18" name="Rectangle 17"/>
          <p:cNvSpPr/>
          <p:nvPr/>
        </p:nvSpPr>
        <p:spPr bwMode="auto">
          <a:xfrm>
            <a:off x="741663" y="2514508"/>
            <a:ext cx="1891134" cy="6256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360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NW slice/resource</a:t>
            </a:r>
            <a:br>
              <a:rPr kumimoji="0" lang="en-US" sz="1400" b="0" i="0" u="none" strike="noStrike" kern="0" cap="none" spc="0" normalizeH="0" baseline="0" noProof="0" dirty="0">
                <a:ln>
                  <a:noFill/>
                </a:ln>
                <a:solidFill>
                  <a:sysClr val="windowText" lastClr="000000"/>
                </a:solidFill>
                <a:effectLst/>
                <a:uLnTx/>
                <a:uFillTx/>
              </a:rPr>
            </a:br>
            <a:r>
              <a:rPr kumimoji="0" lang="en-US" sz="1400" b="0" i="0" u="none" strike="noStrike" kern="0" cap="none" spc="0" normalizeH="0" baseline="0" noProof="0" dirty="0">
                <a:ln>
                  <a:noFill/>
                </a:ln>
                <a:solidFill>
                  <a:sysClr val="windowText" lastClr="000000"/>
                </a:solidFill>
                <a:effectLst/>
                <a:uLnTx/>
                <a:uFillTx/>
              </a:rPr>
              <a:t>mapping</a:t>
            </a:r>
          </a:p>
        </p:txBody>
      </p:sp>
      <p:sp>
        <p:nvSpPr>
          <p:cNvPr id="19" name="Rectangle 18"/>
          <p:cNvSpPr/>
          <p:nvPr/>
        </p:nvSpPr>
        <p:spPr bwMode="auto">
          <a:xfrm>
            <a:off x="3112241" y="3772318"/>
            <a:ext cx="2546315" cy="948837"/>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360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Establish resource needs</a:t>
            </a:r>
          </a:p>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nerate configuration</a:t>
            </a:r>
          </a:p>
        </p:txBody>
      </p:sp>
      <p:cxnSp>
        <p:nvCxnSpPr>
          <p:cNvPr id="20" name="Straight Arrow Connector 19"/>
          <p:cNvCxnSpPr/>
          <p:nvPr/>
        </p:nvCxnSpPr>
        <p:spPr bwMode="auto">
          <a:xfrm flipV="1">
            <a:off x="4145564" y="5704832"/>
            <a:ext cx="1836000"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21" name="TextBox 20"/>
          <p:cNvSpPr txBox="1"/>
          <p:nvPr/>
        </p:nvSpPr>
        <p:spPr>
          <a:xfrm>
            <a:off x="4197359" y="5424205"/>
            <a:ext cx="1579278"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rPr>
              <a:t>Instantiate VNF/</a:t>
            </a:r>
            <a:br>
              <a:rPr kumimoji="0" lang="en-US" sz="1400" b="0" i="0" u="none" strike="noStrike" kern="0" cap="none" spc="0" normalizeH="0" baseline="0" noProof="0" dirty="0">
                <a:ln>
                  <a:noFill/>
                </a:ln>
                <a:solidFill>
                  <a:srgbClr val="000000"/>
                </a:solidFill>
                <a:effectLst/>
                <a:uLnTx/>
                <a:uFillTx/>
              </a:rPr>
            </a:br>
            <a:r>
              <a:rPr kumimoji="0" lang="en-US" sz="1400" b="0" i="0" u="none" strike="noStrike" kern="0" cap="none" spc="0" normalizeH="0" baseline="0" noProof="0" dirty="0">
                <a:ln>
                  <a:noFill/>
                </a:ln>
                <a:solidFill>
                  <a:srgbClr val="000000"/>
                </a:solidFill>
                <a:effectLst/>
                <a:uLnTx/>
                <a:uFillTx/>
              </a:rPr>
              <a:t>Network Services</a:t>
            </a:r>
          </a:p>
        </p:txBody>
      </p:sp>
      <p:cxnSp>
        <p:nvCxnSpPr>
          <p:cNvPr id="22" name="Straight Connector 21"/>
          <p:cNvCxnSpPr/>
          <p:nvPr/>
        </p:nvCxnSpPr>
        <p:spPr bwMode="auto">
          <a:xfrm>
            <a:off x="10551459" y="5581349"/>
            <a:ext cx="0" cy="805825"/>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3" name="TextBox 22"/>
          <p:cNvSpPr txBox="1"/>
          <p:nvPr/>
        </p:nvSpPr>
        <p:spPr>
          <a:xfrm>
            <a:off x="10177508" y="4901613"/>
            <a:ext cx="1774845"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VNF/Intra-slice </a:t>
            </a:r>
            <a:br>
              <a:rPr kumimoji="0" lang="en-US" sz="1800" b="0" i="0" u="none" strike="noStrike" kern="0" cap="none" spc="0" normalizeH="0" baseline="0" noProof="0" dirty="0">
                <a:ln>
                  <a:noFill/>
                </a:ln>
                <a:solidFill>
                  <a:srgbClr val="000000"/>
                </a:solidFill>
                <a:effectLst/>
                <a:uLnTx/>
                <a:uFillTx/>
              </a:rPr>
            </a:br>
            <a:r>
              <a:rPr kumimoji="0" lang="en-US" sz="1800" b="0" i="0" u="none" strike="noStrike" kern="0" cap="none" spc="0" normalizeH="0" baseline="0" noProof="0" dirty="0" err="1">
                <a:ln>
                  <a:noFill/>
                </a:ln>
                <a:solidFill>
                  <a:srgbClr val="000000"/>
                </a:solidFill>
                <a:effectLst/>
                <a:uLnTx/>
                <a:uFillTx/>
              </a:rPr>
              <a:t>mgmt</a:t>
            </a:r>
            <a:endParaRPr kumimoji="0" lang="en-US" sz="1800" b="0" i="0" u="none" strike="noStrike" kern="0" cap="none" spc="0" normalizeH="0" baseline="0" noProof="0" dirty="0">
              <a:ln>
                <a:noFill/>
              </a:ln>
              <a:solidFill>
                <a:srgbClr val="000000"/>
              </a:solidFill>
              <a:effectLst/>
              <a:uLnTx/>
              <a:uFillTx/>
            </a:endParaRPr>
          </a:p>
        </p:txBody>
      </p:sp>
      <p:sp>
        <p:nvSpPr>
          <p:cNvPr id="24" name="Freeform 3"/>
          <p:cNvSpPr>
            <a:spLocks noChangeAspect="1" noEditPoints="1"/>
          </p:cNvSpPr>
          <p:nvPr/>
        </p:nvSpPr>
        <p:spPr bwMode="auto">
          <a:xfrm>
            <a:off x="129433" y="1888598"/>
            <a:ext cx="445277" cy="606800"/>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cxnSp>
        <p:nvCxnSpPr>
          <p:cNvPr id="25" name="Straight Connector 24"/>
          <p:cNvCxnSpPr>
            <a:cxnSpLocks/>
          </p:cNvCxnSpPr>
          <p:nvPr/>
        </p:nvCxnSpPr>
        <p:spPr bwMode="auto">
          <a:xfrm>
            <a:off x="7418451" y="1635755"/>
            <a:ext cx="0" cy="4751419"/>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6" name="TextBox 25"/>
          <p:cNvSpPr txBox="1"/>
          <p:nvPr/>
        </p:nvSpPr>
        <p:spPr>
          <a:xfrm>
            <a:off x="6658515" y="1171016"/>
            <a:ext cx="158671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Transport DM</a:t>
            </a:r>
          </a:p>
        </p:txBody>
      </p:sp>
      <p:cxnSp>
        <p:nvCxnSpPr>
          <p:cNvPr id="27" name="Straight Connector 26"/>
          <p:cNvCxnSpPr>
            <a:cxnSpLocks/>
          </p:cNvCxnSpPr>
          <p:nvPr/>
        </p:nvCxnSpPr>
        <p:spPr bwMode="auto">
          <a:xfrm>
            <a:off x="8813663" y="1574951"/>
            <a:ext cx="0" cy="481222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 name="Straight Arrow Connector 28"/>
          <p:cNvCxnSpPr>
            <a:cxnSpLocks/>
          </p:cNvCxnSpPr>
          <p:nvPr/>
        </p:nvCxnSpPr>
        <p:spPr bwMode="auto">
          <a:xfrm>
            <a:off x="4138994" y="5216374"/>
            <a:ext cx="3279457"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30" name="Straight Arrow Connector 29"/>
          <p:cNvCxnSpPr>
            <a:cxnSpLocks/>
          </p:cNvCxnSpPr>
          <p:nvPr/>
        </p:nvCxnSpPr>
        <p:spPr bwMode="auto">
          <a:xfrm>
            <a:off x="4138994" y="5355843"/>
            <a:ext cx="4674669"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32" name="Straight Arrow Connector 31"/>
          <p:cNvCxnSpPr/>
          <p:nvPr/>
        </p:nvCxnSpPr>
        <p:spPr bwMode="auto">
          <a:xfrm flipV="1">
            <a:off x="4155180" y="6181659"/>
            <a:ext cx="6408000"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33" name="TextBox 32"/>
          <p:cNvSpPr txBox="1"/>
          <p:nvPr/>
        </p:nvSpPr>
        <p:spPr>
          <a:xfrm>
            <a:off x="4259673" y="5887704"/>
            <a:ext cx="124906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rPr>
              <a:t>Configuration</a:t>
            </a:r>
          </a:p>
        </p:txBody>
      </p:sp>
      <p:sp>
        <p:nvSpPr>
          <p:cNvPr id="34" name="Oval 33"/>
          <p:cNvSpPr/>
          <p:nvPr/>
        </p:nvSpPr>
        <p:spPr bwMode="auto">
          <a:xfrm>
            <a:off x="1045546" y="1822903"/>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1</a:t>
            </a:r>
          </a:p>
        </p:txBody>
      </p:sp>
      <p:sp>
        <p:nvSpPr>
          <p:cNvPr id="35" name="Oval 34"/>
          <p:cNvSpPr/>
          <p:nvPr/>
        </p:nvSpPr>
        <p:spPr bwMode="auto">
          <a:xfrm>
            <a:off x="774819" y="2719339"/>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400" dirty="0"/>
              <a:t>2</a:t>
            </a:r>
            <a:endParaRPr kumimoji="0" lang="en-US" sz="1400" b="0" i="0" u="none" strike="noStrike" cap="none" normalizeH="0" baseline="0" dirty="0">
              <a:ln>
                <a:noFill/>
              </a:ln>
              <a:solidFill>
                <a:schemeClr val="tx1"/>
              </a:solidFill>
              <a:effectLst/>
              <a:latin typeface="Arial" charset="0"/>
            </a:endParaRPr>
          </a:p>
        </p:txBody>
      </p:sp>
      <p:sp>
        <p:nvSpPr>
          <p:cNvPr id="36" name="Oval 35"/>
          <p:cNvSpPr/>
          <p:nvPr/>
        </p:nvSpPr>
        <p:spPr bwMode="auto">
          <a:xfrm>
            <a:off x="2759950" y="2956843"/>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3</a:t>
            </a:r>
          </a:p>
        </p:txBody>
      </p:sp>
      <p:sp>
        <p:nvSpPr>
          <p:cNvPr id="37" name="Oval 36"/>
          <p:cNvSpPr/>
          <p:nvPr/>
        </p:nvSpPr>
        <p:spPr bwMode="auto">
          <a:xfrm>
            <a:off x="3200689" y="4138736"/>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400" dirty="0"/>
              <a:t>4</a:t>
            </a:r>
            <a:endParaRPr kumimoji="0" lang="en-US" sz="1400" b="0" i="0" u="none" strike="noStrike" cap="none" normalizeH="0" baseline="0" dirty="0">
              <a:ln>
                <a:noFill/>
              </a:ln>
              <a:solidFill>
                <a:schemeClr val="tx1"/>
              </a:solidFill>
              <a:effectLst/>
              <a:latin typeface="Arial" charset="0"/>
            </a:endParaRPr>
          </a:p>
        </p:txBody>
      </p:sp>
      <p:sp>
        <p:nvSpPr>
          <p:cNvPr id="38" name="TextBox 37"/>
          <p:cNvSpPr txBox="1"/>
          <p:nvPr/>
        </p:nvSpPr>
        <p:spPr>
          <a:xfrm>
            <a:off x="8229877" y="1171016"/>
            <a:ext cx="1351652"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dirty="0">
                <a:solidFill>
                  <a:srgbClr val="000000"/>
                </a:solidFill>
              </a:rPr>
              <a:t>Access</a:t>
            </a:r>
            <a:r>
              <a:rPr kumimoji="0" lang="en-US" sz="1800" b="0" i="0" u="none" strike="noStrike" kern="0" cap="none" spc="0" normalizeH="0" baseline="0" noProof="0" dirty="0">
                <a:ln>
                  <a:noFill/>
                </a:ln>
                <a:solidFill>
                  <a:srgbClr val="000000"/>
                </a:solidFill>
                <a:effectLst/>
                <a:uLnTx/>
                <a:uFillTx/>
              </a:rPr>
              <a:t> DM</a:t>
            </a:r>
          </a:p>
        </p:txBody>
      </p:sp>
      <p:sp>
        <p:nvSpPr>
          <p:cNvPr id="39" name="Oval 38"/>
          <p:cNvSpPr/>
          <p:nvPr/>
        </p:nvSpPr>
        <p:spPr bwMode="auto">
          <a:xfrm>
            <a:off x="3864630" y="5153344"/>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5</a:t>
            </a:r>
          </a:p>
        </p:txBody>
      </p:sp>
      <p:sp>
        <p:nvSpPr>
          <p:cNvPr id="40" name="Oval 39"/>
          <p:cNvSpPr/>
          <p:nvPr/>
        </p:nvSpPr>
        <p:spPr bwMode="auto">
          <a:xfrm>
            <a:off x="3864630" y="5574619"/>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400" dirty="0"/>
              <a:t>6</a:t>
            </a:r>
            <a:endParaRPr kumimoji="0" lang="en-US" sz="1400" b="0" i="0" u="none" strike="noStrike" cap="none" normalizeH="0" baseline="0" dirty="0">
              <a:ln>
                <a:noFill/>
              </a:ln>
              <a:solidFill>
                <a:schemeClr val="tx1"/>
              </a:solidFill>
              <a:effectLst/>
              <a:latin typeface="Arial" charset="0"/>
            </a:endParaRPr>
          </a:p>
        </p:txBody>
      </p:sp>
      <p:sp>
        <p:nvSpPr>
          <p:cNvPr id="41" name="Oval 40"/>
          <p:cNvSpPr/>
          <p:nvPr/>
        </p:nvSpPr>
        <p:spPr bwMode="auto">
          <a:xfrm>
            <a:off x="3864630" y="6040864"/>
            <a:ext cx="216000" cy="216000"/>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7</a:t>
            </a:r>
          </a:p>
        </p:txBody>
      </p:sp>
    </p:spTree>
    <p:extLst>
      <p:ext uri="{BB962C8B-B14F-4D97-AF65-F5344CB8AC3E}">
        <p14:creationId xmlns:p14="http://schemas.microsoft.com/office/powerpoint/2010/main" val="247035471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SCA and YANG Modeling Languages</a:t>
            </a:r>
          </a:p>
        </p:txBody>
      </p:sp>
      <p:sp>
        <p:nvSpPr>
          <p:cNvPr id="4" name="Rectangle 3"/>
          <p:cNvSpPr/>
          <p:nvPr/>
        </p:nvSpPr>
        <p:spPr bwMode="auto">
          <a:xfrm>
            <a:off x="4031578" y="1835732"/>
            <a:ext cx="7172588" cy="822121"/>
          </a:xfrm>
          <a:prstGeom prst="rect">
            <a:avLst/>
          </a:prstGeom>
          <a:solidFill>
            <a:srgbClr val="00A9D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 name="Rectangle 4"/>
          <p:cNvSpPr/>
          <p:nvPr/>
        </p:nvSpPr>
        <p:spPr bwMode="auto">
          <a:xfrm>
            <a:off x="4031578" y="3137424"/>
            <a:ext cx="7172588" cy="822121"/>
          </a:xfrm>
          <a:prstGeom prst="rect">
            <a:avLst/>
          </a:prstGeom>
          <a:solidFill>
            <a:srgbClr val="89BA17"/>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 name="Rectangle 5"/>
          <p:cNvSpPr/>
          <p:nvPr/>
        </p:nvSpPr>
        <p:spPr bwMode="auto">
          <a:xfrm>
            <a:off x="4031578" y="4330058"/>
            <a:ext cx="7172588" cy="822121"/>
          </a:xfrm>
          <a:prstGeom prst="rect">
            <a:avLst/>
          </a:prstGeom>
          <a:solidFill>
            <a:srgbClr val="FABB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 name="TextBox 6"/>
          <p:cNvSpPr txBox="1"/>
          <p:nvPr/>
        </p:nvSpPr>
        <p:spPr>
          <a:xfrm>
            <a:off x="4031579" y="1781280"/>
            <a:ext cx="623889"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lice </a:t>
            </a:r>
            <a:br>
              <a:rPr kumimoji="0" lang="en-US" sz="1400" b="0" i="0" u="none" strike="noStrike" kern="0" cap="none" spc="0" normalizeH="0" baseline="0" noProof="0" dirty="0">
                <a:ln>
                  <a:noFill/>
                </a:ln>
                <a:solidFill>
                  <a:sysClr val="windowText" lastClr="000000"/>
                </a:solidFill>
                <a:effectLst/>
                <a:uLnTx/>
                <a:uFillTx/>
              </a:rPr>
            </a:br>
            <a:r>
              <a:rPr kumimoji="0" lang="en-US" sz="1400" b="0" i="0" u="none" strike="noStrike" kern="0" cap="none" spc="0" normalizeH="0" baseline="0" noProof="0" dirty="0">
                <a:ln>
                  <a:noFill/>
                </a:ln>
                <a:solidFill>
                  <a:sysClr val="windowText" lastClr="000000"/>
                </a:solidFill>
                <a:effectLst/>
                <a:uLnTx/>
                <a:uFillTx/>
              </a:rPr>
              <a:t>LCM</a:t>
            </a:r>
          </a:p>
        </p:txBody>
      </p:sp>
      <p:sp>
        <p:nvSpPr>
          <p:cNvPr id="8" name="TextBox 7"/>
          <p:cNvSpPr txBox="1"/>
          <p:nvPr/>
        </p:nvSpPr>
        <p:spPr>
          <a:xfrm>
            <a:off x="4031579" y="3158473"/>
            <a:ext cx="851515"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omain </a:t>
            </a:r>
            <a:br>
              <a:rPr kumimoji="0" lang="en-US" sz="1400" b="0" i="0" u="none" strike="noStrike" kern="0" cap="none" spc="0" normalizeH="0" baseline="0" noProof="0" dirty="0">
                <a:ln>
                  <a:noFill/>
                </a:ln>
                <a:solidFill>
                  <a:sysClr val="windowText" lastClr="000000"/>
                </a:solidFill>
                <a:effectLst/>
                <a:uLnTx/>
                <a:uFillTx/>
              </a:rPr>
            </a:br>
            <a:r>
              <a:rPr kumimoji="0" lang="en-US" sz="1400" b="0" i="0" u="none" strike="noStrike" kern="0" cap="none" spc="0" normalizeH="0" baseline="0" noProof="0" dirty="0" err="1">
                <a:ln>
                  <a:noFill/>
                </a:ln>
                <a:solidFill>
                  <a:sysClr val="windowText" lastClr="000000"/>
                </a:solidFill>
                <a:effectLst/>
                <a:uLnTx/>
                <a:uFillTx/>
              </a:rPr>
              <a:t>Mgr</a:t>
            </a:r>
            <a:endParaRPr kumimoji="0" lang="en-US" sz="1400" b="0" i="0" u="none" strike="noStrike" kern="0" cap="none" spc="0" normalizeH="0" baseline="0" noProof="0" dirty="0">
              <a:ln>
                <a:noFill/>
              </a:ln>
              <a:solidFill>
                <a:sysClr val="windowText" lastClr="000000"/>
              </a:solidFill>
              <a:effectLst/>
              <a:uLnTx/>
              <a:uFillTx/>
            </a:endParaRPr>
          </a:p>
        </p:txBody>
      </p:sp>
      <p:sp>
        <p:nvSpPr>
          <p:cNvPr id="9" name="TextBox 8"/>
          <p:cNvSpPr txBox="1"/>
          <p:nvPr/>
        </p:nvSpPr>
        <p:spPr>
          <a:xfrm>
            <a:off x="4031578" y="4330058"/>
            <a:ext cx="72327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NF/NE</a:t>
            </a:r>
          </a:p>
        </p:txBody>
      </p:sp>
      <p:sp>
        <p:nvSpPr>
          <p:cNvPr id="10" name="Rectangle 9"/>
          <p:cNvSpPr/>
          <p:nvPr/>
        </p:nvSpPr>
        <p:spPr bwMode="auto">
          <a:xfrm>
            <a:off x="2907455" y="2042890"/>
            <a:ext cx="763398" cy="34651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TOSCA</a:t>
            </a:r>
          </a:p>
        </p:txBody>
      </p:sp>
      <p:sp>
        <p:nvSpPr>
          <p:cNvPr id="11" name="Arrow: Right 10"/>
          <p:cNvSpPr/>
          <p:nvPr/>
        </p:nvSpPr>
        <p:spPr bwMode="auto">
          <a:xfrm>
            <a:off x="3763131" y="2171290"/>
            <a:ext cx="201336" cy="133210"/>
          </a:xfrm>
          <a:prstGeom prst="rightArrow">
            <a:avLst/>
          </a:prstGeom>
          <a:solidFill>
            <a:srgbClr val="8F3F7B"/>
          </a:solidFill>
          <a:ln w="12700" cap="flat" cmpd="sng" algn="ctr">
            <a:solidFill>
              <a:srgbClr val="B1B3B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F3F7B"/>
              </a:solidFill>
              <a:effectLst/>
              <a:uLnTx/>
              <a:uFillTx/>
            </a:endParaRPr>
          </a:p>
        </p:txBody>
      </p:sp>
      <p:sp>
        <p:nvSpPr>
          <p:cNvPr id="12" name="Rectangle 11"/>
          <p:cNvSpPr/>
          <p:nvPr/>
        </p:nvSpPr>
        <p:spPr bwMode="auto">
          <a:xfrm>
            <a:off x="2900465" y="3384338"/>
            <a:ext cx="763398" cy="34651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YANG</a:t>
            </a:r>
          </a:p>
        </p:txBody>
      </p:sp>
      <p:sp>
        <p:nvSpPr>
          <p:cNvPr id="13" name="Arrow: Right 12"/>
          <p:cNvSpPr/>
          <p:nvPr/>
        </p:nvSpPr>
        <p:spPr bwMode="auto">
          <a:xfrm>
            <a:off x="3756141" y="3512738"/>
            <a:ext cx="201336" cy="133210"/>
          </a:xfrm>
          <a:prstGeom prst="rightArrow">
            <a:avLst/>
          </a:prstGeom>
          <a:solidFill>
            <a:srgbClr val="8F3F7B"/>
          </a:solidFill>
          <a:ln w="12700" cap="flat" cmpd="sng" algn="ctr">
            <a:solidFill>
              <a:srgbClr val="B1B3B4"/>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F3F7B"/>
              </a:solidFill>
              <a:effectLst/>
              <a:uLnTx/>
              <a:uFillTx/>
            </a:endParaRPr>
          </a:p>
        </p:txBody>
      </p:sp>
      <p:cxnSp>
        <p:nvCxnSpPr>
          <p:cNvPr id="14" name="Straight Arrow Connector 13"/>
          <p:cNvCxnSpPr>
            <a:cxnSpLocks/>
          </p:cNvCxnSpPr>
          <p:nvPr/>
        </p:nvCxnSpPr>
        <p:spPr bwMode="auto">
          <a:xfrm>
            <a:off x="3763132" y="5837279"/>
            <a:ext cx="7734649" cy="0"/>
          </a:xfrm>
          <a:prstGeom prst="straightConnector1">
            <a:avLst/>
          </a:prstGeom>
          <a:solidFill>
            <a:schemeClr val="accent1"/>
          </a:solidFill>
          <a:ln w="57150" cap="flat" cmpd="sng" algn="ctr">
            <a:solidFill>
              <a:schemeClr val="tx1"/>
            </a:solidFill>
            <a:prstDash val="solid"/>
            <a:round/>
            <a:headEnd type="none" w="med" len="med"/>
            <a:tailEnd type="triangle"/>
          </a:ln>
          <a:effectLst/>
        </p:spPr>
      </p:cxnSp>
      <p:sp>
        <p:nvSpPr>
          <p:cNvPr id="15" name="TextBox 14"/>
          <p:cNvSpPr txBox="1"/>
          <p:nvPr/>
        </p:nvSpPr>
        <p:spPr>
          <a:xfrm>
            <a:off x="11044776" y="5915075"/>
            <a:ext cx="745845"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ime</a:t>
            </a:r>
          </a:p>
        </p:txBody>
      </p:sp>
      <p:sp>
        <p:nvSpPr>
          <p:cNvPr id="16" name="TextBox 15"/>
          <p:cNvSpPr txBox="1"/>
          <p:nvPr/>
        </p:nvSpPr>
        <p:spPr>
          <a:xfrm>
            <a:off x="3414185" y="5838293"/>
            <a:ext cx="155683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figuration</a:t>
            </a:r>
          </a:p>
        </p:txBody>
      </p:sp>
      <p:sp>
        <p:nvSpPr>
          <p:cNvPr id="17" name="TextBox 16"/>
          <p:cNvSpPr txBox="1"/>
          <p:nvPr/>
        </p:nvSpPr>
        <p:spPr>
          <a:xfrm>
            <a:off x="8301575" y="5951513"/>
            <a:ext cx="1140056"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Runtime</a:t>
            </a:r>
          </a:p>
        </p:txBody>
      </p:sp>
      <p:cxnSp>
        <p:nvCxnSpPr>
          <p:cNvPr id="18" name="Straight Connector 17"/>
          <p:cNvCxnSpPr/>
          <p:nvPr/>
        </p:nvCxnSpPr>
        <p:spPr bwMode="auto">
          <a:xfrm>
            <a:off x="6204327" y="5639631"/>
            <a:ext cx="0" cy="39529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 name="Straight Arrow Connector 18"/>
          <p:cNvCxnSpPr>
            <a:cxnSpLocks/>
          </p:cNvCxnSpPr>
          <p:nvPr/>
        </p:nvCxnSpPr>
        <p:spPr bwMode="auto">
          <a:xfrm>
            <a:off x="5021480" y="1592451"/>
            <a:ext cx="0" cy="48619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20" name="Rectangle 19"/>
          <p:cNvSpPr/>
          <p:nvPr/>
        </p:nvSpPr>
        <p:spPr bwMode="auto">
          <a:xfrm>
            <a:off x="4845341" y="2078645"/>
            <a:ext cx="796954" cy="2819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Workflow</a:t>
            </a:r>
          </a:p>
        </p:txBody>
      </p:sp>
      <p:cxnSp>
        <p:nvCxnSpPr>
          <p:cNvPr id="21" name="Straight Arrow Connector 20"/>
          <p:cNvCxnSpPr>
            <a:cxnSpLocks/>
          </p:cNvCxnSpPr>
          <p:nvPr/>
        </p:nvCxnSpPr>
        <p:spPr bwMode="auto">
          <a:xfrm>
            <a:off x="5022879" y="2389405"/>
            <a:ext cx="0" cy="769069"/>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2" name="Straight Arrow Connector 21"/>
          <p:cNvCxnSpPr>
            <a:cxnSpLocks/>
          </p:cNvCxnSpPr>
          <p:nvPr/>
        </p:nvCxnSpPr>
        <p:spPr bwMode="auto">
          <a:xfrm>
            <a:off x="5323484" y="3948861"/>
            <a:ext cx="1399" cy="364831"/>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23" name="TextBox 22"/>
          <p:cNvSpPr txBox="1"/>
          <p:nvPr/>
        </p:nvSpPr>
        <p:spPr>
          <a:xfrm>
            <a:off x="3497618" y="3941296"/>
            <a:ext cx="80182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ysClr val="windowText" lastClr="000000"/>
                </a:solidFill>
                <a:effectLst/>
                <a:uLnTx/>
                <a:uFillTx/>
              </a:rPr>
              <a:t>Netconf</a:t>
            </a:r>
            <a:endParaRPr kumimoji="0" lang="en-US" sz="1400" b="0" i="0" u="none" strike="noStrike" kern="0" cap="none" spc="0" normalizeH="0" baseline="0" noProof="0" dirty="0">
              <a:ln>
                <a:noFill/>
              </a:ln>
              <a:solidFill>
                <a:sysClr val="windowText" lastClr="000000"/>
              </a:solidFill>
              <a:effectLst/>
              <a:uLnTx/>
              <a:uFillTx/>
            </a:endParaRPr>
          </a:p>
        </p:txBody>
      </p:sp>
      <p:sp>
        <p:nvSpPr>
          <p:cNvPr id="24" name="Oval 23"/>
          <p:cNvSpPr/>
          <p:nvPr/>
        </p:nvSpPr>
        <p:spPr bwMode="auto">
          <a:xfrm>
            <a:off x="7302604" y="3387654"/>
            <a:ext cx="1468073" cy="258294"/>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25" name="Straight Arrow Connector 24"/>
          <p:cNvCxnSpPr>
            <a:cxnSpLocks/>
          </p:cNvCxnSpPr>
          <p:nvPr/>
        </p:nvCxnSpPr>
        <p:spPr bwMode="auto">
          <a:xfrm>
            <a:off x="8981084" y="2400767"/>
            <a:ext cx="0" cy="736656"/>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6" name="Straight Arrow Connector 25"/>
          <p:cNvCxnSpPr>
            <a:cxnSpLocks/>
          </p:cNvCxnSpPr>
          <p:nvPr/>
        </p:nvCxnSpPr>
        <p:spPr bwMode="auto">
          <a:xfrm flipH="1">
            <a:off x="7849968" y="3383592"/>
            <a:ext cx="124436"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7" name="Straight Arrow Connector 26"/>
          <p:cNvCxnSpPr>
            <a:cxnSpLocks/>
          </p:cNvCxnSpPr>
          <p:nvPr/>
        </p:nvCxnSpPr>
        <p:spPr bwMode="auto">
          <a:xfrm>
            <a:off x="7722735" y="3628271"/>
            <a:ext cx="0" cy="685421"/>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8" name="Straight Arrow Connector 27"/>
          <p:cNvCxnSpPr>
            <a:cxnSpLocks/>
          </p:cNvCxnSpPr>
          <p:nvPr/>
        </p:nvCxnSpPr>
        <p:spPr bwMode="auto">
          <a:xfrm flipV="1">
            <a:off x="8100239" y="2389404"/>
            <a:ext cx="0" cy="994188"/>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29" name="Rectangle 28"/>
          <p:cNvSpPr/>
          <p:nvPr/>
        </p:nvSpPr>
        <p:spPr bwMode="auto">
          <a:xfrm>
            <a:off x="7722735" y="2118845"/>
            <a:ext cx="1577130" cy="2819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Workflow</a:t>
            </a:r>
          </a:p>
        </p:txBody>
      </p:sp>
      <p:sp>
        <p:nvSpPr>
          <p:cNvPr id="30" name="TextBox 29"/>
          <p:cNvSpPr txBox="1"/>
          <p:nvPr/>
        </p:nvSpPr>
        <p:spPr>
          <a:xfrm>
            <a:off x="8091523" y="2379840"/>
            <a:ext cx="619080"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trigger</a:t>
            </a:r>
          </a:p>
        </p:txBody>
      </p:sp>
      <p:cxnSp>
        <p:nvCxnSpPr>
          <p:cNvPr id="31" name="Straight Arrow Connector 30"/>
          <p:cNvCxnSpPr>
            <a:cxnSpLocks/>
          </p:cNvCxnSpPr>
          <p:nvPr/>
        </p:nvCxnSpPr>
        <p:spPr bwMode="auto">
          <a:xfrm flipV="1">
            <a:off x="8301576" y="3628270"/>
            <a:ext cx="125835" cy="17678"/>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32" name="TextBox 31"/>
          <p:cNvSpPr txBox="1"/>
          <p:nvPr/>
        </p:nvSpPr>
        <p:spPr>
          <a:xfrm>
            <a:off x="7547845" y="3431011"/>
            <a:ext cx="853119"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COMPA loop”</a:t>
            </a:r>
          </a:p>
        </p:txBody>
      </p:sp>
      <p:cxnSp>
        <p:nvCxnSpPr>
          <p:cNvPr id="33" name="Straight Arrow Connector 32"/>
          <p:cNvCxnSpPr>
            <a:cxnSpLocks/>
          </p:cNvCxnSpPr>
          <p:nvPr/>
        </p:nvCxnSpPr>
        <p:spPr bwMode="auto">
          <a:xfrm>
            <a:off x="9141874" y="3948860"/>
            <a:ext cx="0" cy="384694"/>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34" name="Straight Arrow Connector 33"/>
          <p:cNvCxnSpPr>
            <a:cxnSpLocks/>
          </p:cNvCxnSpPr>
          <p:nvPr/>
        </p:nvCxnSpPr>
        <p:spPr bwMode="auto">
          <a:xfrm>
            <a:off x="8985282" y="3154040"/>
            <a:ext cx="156593" cy="794821"/>
          </a:xfrm>
          <a:prstGeom prst="straightConnector1">
            <a:avLst/>
          </a:prstGeom>
          <a:solidFill>
            <a:schemeClr val="accent1"/>
          </a:solidFill>
          <a:ln w="12700" cap="flat" cmpd="sng" algn="ctr">
            <a:solidFill>
              <a:schemeClr val="tx1"/>
            </a:solidFill>
            <a:prstDash val="dash"/>
            <a:round/>
            <a:headEnd type="none" w="med" len="med"/>
            <a:tailEnd type="triangle"/>
          </a:ln>
          <a:effectLst/>
        </p:spPr>
      </p:cxnSp>
      <p:cxnSp>
        <p:nvCxnSpPr>
          <p:cNvPr id="35" name="Straight Arrow Connector 34"/>
          <p:cNvCxnSpPr>
            <a:cxnSpLocks/>
          </p:cNvCxnSpPr>
          <p:nvPr/>
        </p:nvCxnSpPr>
        <p:spPr bwMode="auto">
          <a:xfrm>
            <a:off x="5048421" y="3104746"/>
            <a:ext cx="294298" cy="854798"/>
          </a:xfrm>
          <a:prstGeom prst="straightConnector1">
            <a:avLst/>
          </a:prstGeom>
          <a:solidFill>
            <a:schemeClr val="accent1"/>
          </a:solidFill>
          <a:ln w="12700" cap="flat" cmpd="sng" algn="ctr">
            <a:solidFill>
              <a:schemeClr val="tx1"/>
            </a:solidFill>
            <a:prstDash val="dash"/>
            <a:round/>
            <a:headEnd type="none" w="med" len="med"/>
            <a:tailEnd type="triangle"/>
          </a:ln>
          <a:effectLst/>
        </p:spPr>
      </p:cxnSp>
      <p:sp>
        <p:nvSpPr>
          <p:cNvPr id="36" name="Rectangle 35"/>
          <p:cNvSpPr/>
          <p:nvPr/>
        </p:nvSpPr>
        <p:spPr bwMode="auto">
          <a:xfrm>
            <a:off x="9639807" y="2132785"/>
            <a:ext cx="1004934" cy="28192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Workflow</a:t>
            </a:r>
          </a:p>
        </p:txBody>
      </p:sp>
      <p:cxnSp>
        <p:nvCxnSpPr>
          <p:cNvPr id="37" name="Straight Arrow Connector 36"/>
          <p:cNvCxnSpPr>
            <a:cxnSpLocks/>
          </p:cNvCxnSpPr>
          <p:nvPr/>
        </p:nvCxnSpPr>
        <p:spPr bwMode="auto">
          <a:xfrm>
            <a:off x="10105208" y="1632651"/>
            <a:ext cx="0" cy="48619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38" name="Straight Arrow Connector 37"/>
          <p:cNvCxnSpPr>
            <a:cxnSpLocks/>
          </p:cNvCxnSpPr>
          <p:nvPr/>
        </p:nvCxnSpPr>
        <p:spPr bwMode="auto">
          <a:xfrm>
            <a:off x="10080041" y="2414754"/>
            <a:ext cx="0" cy="689992"/>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39" name="Straight Arrow Connector 38"/>
          <p:cNvCxnSpPr>
            <a:cxnSpLocks/>
          </p:cNvCxnSpPr>
          <p:nvPr/>
        </p:nvCxnSpPr>
        <p:spPr bwMode="auto">
          <a:xfrm>
            <a:off x="10106487" y="3114238"/>
            <a:ext cx="156593" cy="794821"/>
          </a:xfrm>
          <a:prstGeom prst="straightConnector1">
            <a:avLst/>
          </a:prstGeom>
          <a:solidFill>
            <a:schemeClr val="accent1"/>
          </a:solidFill>
          <a:ln w="12700" cap="flat" cmpd="sng" algn="ctr">
            <a:solidFill>
              <a:schemeClr val="tx1"/>
            </a:solidFill>
            <a:prstDash val="dash"/>
            <a:round/>
            <a:headEnd type="none" w="med" len="med"/>
            <a:tailEnd type="triangle"/>
          </a:ln>
          <a:effectLst/>
        </p:spPr>
      </p:cxnSp>
      <p:cxnSp>
        <p:nvCxnSpPr>
          <p:cNvPr id="40" name="Straight Arrow Connector 39"/>
          <p:cNvCxnSpPr>
            <a:cxnSpLocks/>
          </p:cNvCxnSpPr>
          <p:nvPr/>
        </p:nvCxnSpPr>
        <p:spPr bwMode="auto">
          <a:xfrm>
            <a:off x="10263079" y="3959544"/>
            <a:ext cx="0" cy="384694"/>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41" name="TextBox 40"/>
          <p:cNvSpPr txBox="1"/>
          <p:nvPr/>
        </p:nvSpPr>
        <p:spPr>
          <a:xfrm>
            <a:off x="3634864" y="2698354"/>
            <a:ext cx="1083951" cy="43088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rPr>
              <a:t>REST</a:t>
            </a:r>
            <a:br>
              <a:rPr kumimoji="0" lang="en-US" sz="1100" b="0" i="0" u="none" strike="noStrike" kern="0" cap="none" spc="0" normalizeH="0" baseline="0" noProof="0" dirty="0">
                <a:ln>
                  <a:noFill/>
                </a:ln>
                <a:solidFill>
                  <a:sysClr val="windowText" lastClr="000000"/>
                </a:solidFill>
                <a:effectLst/>
                <a:uLnTx/>
                <a:uFillTx/>
              </a:rPr>
            </a:br>
            <a:r>
              <a:rPr kumimoji="0" lang="en-US" sz="1100" b="0" i="0" u="none" strike="noStrike" kern="0" cap="none" spc="0" normalizeH="0" baseline="0" noProof="0" dirty="0">
                <a:ln>
                  <a:noFill/>
                </a:ln>
                <a:solidFill>
                  <a:sysClr val="windowText" lastClr="000000"/>
                </a:solidFill>
                <a:effectLst/>
                <a:uLnTx/>
                <a:uFillTx/>
              </a:rPr>
              <a:t>(e.g. Bulk CM)</a:t>
            </a:r>
          </a:p>
        </p:txBody>
      </p:sp>
      <p:sp>
        <p:nvSpPr>
          <p:cNvPr id="42" name="TextBox 41"/>
          <p:cNvSpPr txBox="1"/>
          <p:nvPr/>
        </p:nvSpPr>
        <p:spPr>
          <a:xfrm>
            <a:off x="4253006" y="1393889"/>
            <a:ext cx="66396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REST</a:t>
            </a:r>
          </a:p>
        </p:txBody>
      </p:sp>
      <p:sp>
        <p:nvSpPr>
          <p:cNvPr id="43" name="TextBox 42"/>
          <p:cNvSpPr txBox="1"/>
          <p:nvPr/>
        </p:nvSpPr>
        <p:spPr>
          <a:xfrm>
            <a:off x="190559" y="4413515"/>
            <a:ext cx="2983253" cy="1492716"/>
          </a:xfrm>
          <a:prstGeom prst="rect">
            <a:avLst/>
          </a:prstGeom>
          <a:noFill/>
        </p:spPr>
        <p:txBody>
          <a:bodyPr wrap="none" rtlCol="0">
            <a:spAutoFit/>
          </a:bodyPr>
          <a:lstStyle/>
          <a:p>
            <a:r>
              <a:rPr lang="en-US" sz="1400" b="1" dirty="0"/>
              <a:t>TOSCA:</a:t>
            </a:r>
            <a:br>
              <a:rPr lang="en-US" sz="1400" dirty="0"/>
            </a:br>
            <a:r>
              <a:rPr lang="en-US" sz="1400" dirty="0"/>
              <a:t>Topology and Orchestration</a:t>
            </a:r>
            <a:br>
              <a:rPr lang="en-US" sz="1400" dirty="0"/>
            </a:br>
            <a:r>
              <a:rPr lang="en-US" sz="1400" dirty="0"/>
              <a:t>Specification for Cloud Applications</a:t>
            </a:r>
          </a:p>
          <a:p>
            <a:r>
              <a:rPr lang="en-US" sz="1400" b="1" dirty="0"/>
              <a:t>YANG:</a:t>
            </a:r>
            <a:br>
              <a:rPr lang="en-US" sz="1400" b="1" dirty="0"/>
            </a:br>
            <a:r>
              <a:rPr lang="en-US" sz="1400" dirty="0"/>
              <a:t>Yet Another Next Generation</a:t>
            </a:r>
            <a:br>
              <a:rPr lang="en-US" sz="1400" dirty="0"/>
            </a:br>
            <a:r>
              <a:rPr lang="en-US" sz="1400" dirty="0"/>
              <a:t>(RFC 6020)</a:t>
            </a:r>
          </a:p>
        </p:txBody>
      </p:sp>
      <p:sp>
        <p:nvSpPr>
          <p:cNvPr id="3" name="TextBox 2"/>
          <p:cNvSpPr txBox="1"/>
          <p:nvPr/>
        </p:nvSpPr>
        <p:spPr>
          <a:xfrm>
            <a:off x="7611063" y="1440146"/>
            <a:ext cx="1590500" cy="276999"/>
          </a:xfrm>
          <a:prstGeom prst="rect">
            <a:avLst/>
          </a:prstGeom>
          <a:noFill/>
        </p:spPr>
        <p:txBody>
          <a:bodyPr wrap="none" rtlCol="0">
            <a:spAutoFit/>
          </a:bodyPr>
          <a:lstStyle/>
          <a:p>
            <a:r>
              <a:rPr lang="en-US" sz="1200" b="1" dirty="0"/>
              <a:t>Auto Configuration</a:t>
            </a:r>
          </a:p>
        </p:txBody>
      </p:sp>
      <p:sp>
        <p:nvSpPr>
          <p:cNvPr id="44" name="TextBox 43"/>
          <p:cNvSpPr txBox="1"/>
          <p:nvPr/>
        </p:nvSpPr>
        <p:spPr>
          <a:xfrm>
            <a:off x="9257256" y="1291367"/>
            <a:ext cx="1770036" cy="276999"/>
          </a:xfrm>
          <a:prstGeom prst="rect">
            <a:avLst/>
          </a:prstGeom>
          <a:noFill/>
        </p:spPr>
        <p:txBody>
          <a:bodyPr wrap="none" rtlCol="0">
            <a:spAutoFit/>
          </a:bodyPr>
          <a:lstStyle/>
          <a:p>
            <a:r>
              <a:rPr lang="en-US" sz="1200" b="1" dirty="0"/>
              <a:t>Manual Configuration</a:t>
            </a:r>
          </a:p>
        </p:txBody>
      </p:sp>
    </p:spTree>
    <p:extLst>
      <p:ext uri="{BB962C8B-B14F-4D97-AF65-F5344CB8AC3E}">
        <p14:creationId xmlns:p14="http://schemas.microsoft.com/office/powerpoint/2010/main" val="161162119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10315344" cy="1085371"/>
          </a:xfrm>
        </p:spPr>
        <p:txBody>
          <a:bodyPr>
            <a:normAutofit/>
          </a:bodyPr>
          <a:lstStyle/>
          <a:p>
            <a:r>
              <a:rPr lang="en-US" sz="4000" dirty="0"/>
              <a:t>How many blueprints/Instances?</a:t>
            </a:r>
          </a:p>
        </p:txBody>
      </p:sp>
      <p:sp>
        <p:nvSpPr>
          <p:cNvPr id="4" name="Rounded Rectangle 51"/>
          <p:cNvSpPr/>
          <p:nvPr/>
        </p:nvSpPr>
        <p:spPr bwMode="auto">
          <a:xfrm>
            <a:off x="10397757" y="1183605"/>
            <a:ext cx="1429540" cy="4563943"/>
          </a:xfrm>
          <a:prstGeom prst="roundRect">
            <a:avLst>
              <a:gd name="adj" fmla="val 10726"/>
            </a:avLst>
          </a:prstGeom>
          <a:solidFill>
            <a:schemeClr val="bg2">
              <a:lumMod val="60000"/>
              <a:lumOff val="40000"/>
              <a:alpha val="5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5" name="Rounded Rectangle 23"/>
          <p:cNvSpPr/>
          <p:nvPr/>
        </p:nvSpPr>
        <p:spPr bwMode="auto">
          <a:xfrm>
            <a:off x="360159" y="1183605"/>
            <a:ext cx="2043903" cy="4685558"/>
          </a:xfrm>
          <a:prstGeom prst="roundRect">
            <a:avLst>
              <a:gd name="adj" fmla="val 10726"/>
            </a:avLst>
          </a:prstGeom>
          <a:solidFill>
            <a:schemeClr val="bg2">
              <a:lumMod val="60000"/>
              <a:lumOff val="40000"/>
              <a:alpha val="5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6" name="TextBox 5"/>
          <p:cNvSpPr txBox="1"/>
          <p:nvPr/>
        </p:nvSpPr>
        <p:spPr>
          <a:xfrm>
            <a:off x="342726" y="1205710"/>
            <a:ext cx="1853392"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Basic example</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slice types:</a:t>
            </a: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67291" y="1971618"/>
            <a:ext cx="911501" cy="1488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4408" y="1959109"/>
            <a:ext cx="929511" cy="1488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464" y="3953220"/>
            <a:ext cx="931801" cy="1517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74656" y="3956839"/>
            <a:ext cx="929406" cy="1517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Freeform 3"/>
          <p:cNvSpPr>
            <a:spLocks noChangeAspect="1"/>
          </p:cNvSpPr>
          <p:nvPr/>
        </p:nvSpPr>
        <p:spPr bwMode="auto">
          <a:xfrm>
            <a:off x="2473473" y="3549912"/>
            <a:ext cx="679011" cy="679011"/>
          </a:xfrm>
          <a:custGeom>
            <a:avLst/>
            <a:gdLst>
              <a:gd name="T0" fmla="*/ 2147483647 w 346"/>
              <a:gd name="T1" fmla="*/ 2147483647 h 346"/>
              <a:gd name="T2" fmla="*/ 2147483647 w 346"/>
              <a:gd name="T3" fmla="*/ 2147483647 h 346"/>
              <a:gd name="T4" fmla="*/ 2147483647 w 346"/>
              <a:gd name="T5" fmla="*/ 2147483647 h 346"/>
              <a:gd name="T6" fmla="*/ 2147483647 w 346"/>
              <a:gd name="T7" fmla="*/ 2147483647 h 346"/>
              <a:gd name="T8" fmla="*/ 2147483647 w 346"/>
              <a:gd name="T9" fmla="*/ 2147483647 h 346"/>
              <a:gd name="T10" fmla="*/ 2147483647 w 346"/>
              <a:gd name="T11" fmla="*/ 2147483647 h 346"/>
              <a:gd name="T12" fmla="*/ 2147483647 w 346"/>
              <a:gd name="T13" fmla="*/ 2147483647 h 346"/>
              <a:gd name="T14" fmla="*/ 2147483647 w 346"/>
              <a:gd name="T15" fmla="*/ 2147483647 h 346"/>
              <a:gd name="T16" fmla="*/ 2147483647 w 346"/>
              <a:gd name="T17" fmla="*/ 2147483647 h 346"/>
              <a:gd name="T18" fmla="*/ 2147483647 w 346"/>
              <a:gd name="T19" fmla="*/ 2147483647 h 346"/>
              <a:gd name="T20" fmla="*/ 2147483647 w 346"/>
              <a:gd name="T21" fmla="*/ 2147483647 h 346"/>
              <a:gd name="T22" fmla="*/ 2147483647 w 346"/>
              <a:gd name="T23" fmla="*/ 2147483647 h 346"/>
              <a:gd name="T24" fmla="*/ 2147483647 w 346"/>
              <a:gd name="T25" fmla="*/ 2147483647 h 346"/>
              <a:gd name="T26" fmla="*/ 2147483647 w 346"/>
              <a:gd name="T27" fmla="*/ 2147483647 h 346"/>
              <a:gd name="T28" fmla="*/ 2147483647 w 346"/>
              <a:gd name="T29" fmla="*/ 2147483647 h 346"/>
              <a:gd name="T30" fmla="*/ 2147483647 w 346"/>
              <a:gd name="T31" fmla="*/ 2147483647 h 346"/>
              <a:gd name="T32" fmla="*/ 2147483647 w 346"/>
              <a:gd name="T33" fmla="*/ 2147483647 h 346"/>
              <a:gd name="T34" fmla="*/ 2147483647 w 346"/>
              <a:gd name="T35" fmla="*/ 2147483647 h 346"/>
              <a:gd name="T36" fmla="*/ 2147483647 w 346"/>
              <a:gd name="T37" fmla="*/ 2147483647 h 346"/>
              <a:gd name="T38" fmla="*/ 2147483647 w 346"/>
              <a:gd name="T39" fmla="*/ 2147483647 h 346"/>
              <a:gd name="T40" fmla="*/ 2147483647 w 346"/>
              <a:gd name="T41" fmla="*/ 2147483647 h 346"/>
              <a:gd name="T42" fmla="*/ 2147483647 w 346"/>
              <a:gd name="T43" fmla="*/ 2147483647 h 346"/>
              <a:gd name="T44" fmla="*/ 2147483647 w 346"/>
              <a:gd name="T45" fmla="*/ 2147483647 h 346"/>
              <a:gd name="T46" fmla="*/ 2147483647 w 346"/>
              <a:gd name="T47" fmla="*/ 2147483647 h 346"/>
              <a:gd name="T48" fmla="*/ 2147483647 w 346"/>
              <a:gd name="T49" fmla="*/ 2147483647 h 346"/>
              <a:gd name="T50" fmla="*/ 2147483647 w 346"/>
              <a:gd name="T51" fmla="*/ 2147483647 h 346"/>
              <a:gd name="T52" fmla="*/ 2147483647 w 346"/>
              <a:gd name="T53" fmla="*/ 2147483647 h 346"/>
              <a:gd name="T54" fmla="*/ 2147483647 w 346"/>
              <a:gd name="T55" fmla="*/ 2147483647 h 346"/>
              <a:gd name="T56" fmla="*/ 2147483647 w 346"/>
              <a:gd name="T57" fmla="*/ 2147483647 h 346"/>
              <a:gd name="T58" fmla="*/ 2147483647 w 346"/>
              <a:gd name="T59" fmla="*/ 2147483647 h 346"/>
              <a:gd name="T60" fmla="*/ 2147483647 w 346"/>
              <a:gd name="T61" fmla="*/ 2147483647 h 346"/>
              <a:gd name="T62" fmla="*/ 2147483647 w 346"/>
              <a:gd name="T63" fmla="*/ 0 h 346"/>
              <a:gd name="T64" fmla="*/ 2147483647 w 346"/>
              <a:gd name="T65" fmla="*/ 0 h 346"/>
              <a:gd name="T66" fmla="*/ 2147483647 w 346"/>
              <a:gd name="T67" fmla="*/ 2147483647 h 346"/>
              <a:gd name="T68" fmla="*/ 2147483647 w 346"/>
              <a:gd name="T69" fmla="*/ 2147483647 h 346"/>
              <a:gd name="T70" fmla="*/ 2147483647 w 346"/>
              <a:gd name="T71" fmla="*/ 2147483647 h 346"/>
              <a:gd name="T72" fmla="*/ 0 w 346"/>
              <a:gd name="T73" fmla="*/ 2147483647 h 346"/>
              <a:gd name="T74" fmla="*/ 0 w 346"/>
              <a:gd name="T75" fmla="*/ 2147483647 h 346"/>
              <a:gd name="T76" fmla="*/ 2147483647 w 346"/>
              <a:gd name="T77" fmla="*/ 2147483647 h 346"/>
              <a:gd name="T78" fmla="*/ 2147483647 w 346"/>
              <a:gd name="T79" fmla="*/ 2147483647 h 346"/>
              <a:gd name="T80" fmla="*/ 2147483647 w 346"/>
              <a:gd name="T81" fmla="*/ 2147483647 h 346"/>
              <a:gd name="T82" fmla="*/ 2147483647 w 346"/>
              <a:gd name="T83" fmla="*/ 2147483647 h 346"/>
              <a:gd name="T84" fmla="*/ 2147483647 w 346"/>
              <a:gd name="T85" fmla="*/ 2147483647 h 346"/>
              <a:gd name="T86" fmla="*/ 2147483647 w 346"/>
              <a:gd name="T87" fmla="*/ 2147483647 h 346"/>
              <a:gd name="T88" fmla="*/ 2147483647 w 346"/>
              <a:gd name="T89" fmla="*/ 2147483647 h 346"/>
              <a:gd name="T90" fmla="*/ 2147483647 w 346"/>
              <a:gd name="T91" fmla="*/ 2147483647 h 346"/>
              <a:gd name="T92" fmla="*/ 2147483647 w 346"/>
              <a:gd name="T93" fmla="*/ 2147483647 h 346"/>
              <a:gd name="T94" fmla="*/ 2147483647 w 346"/>
              <a:gd name="T95" fmla="*/ 2147483647 h 346"/>
              <a:gd name="T96" fmla="*/ 2147483647 w 346"/>
              <a:gd name="T97" fmla="*/ 2147483647 h 3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46" h="346">
                <a:moveTo>
                  <a:pt x="330" y="105"/>
                </a:moveTo>
                <a:cubicBezTo>
                  <a:pt x="241" y="105"/>
                  <a:pt x="241" y="105"/>
                  <a:pt x="241" y="105"/>
                </a:cubicBezTo>
                <a:cubicBezTo>
                  <a:pt x="241" y="69"/>
                  <a:pt x="241" y="69"/>
                  <a:pt x="241" y="69"/>
                </a:cubicBezTo>
                <a:cubicBezTo>
                  <a:pt x="241" y="65"/>
                  <a:pt x="237" y="61"/>
                  <a:pt x="233" y="61"/>
                </a:cubicBezTo>
                <a:cubicBezTo>
                  <a:pt x="229" y="61"/>
                  <a:pt x="225" y="65"/>
                  <a:pt x="225" y="69"/>
                </a:cubicBezTo>
                <a:cubicBezTo>
                  <a:pt x="225" y="113"/>
                  <a:pt x="225" y="113"/>
                  <a:pt x="225" y="113"/>
                </a:cubicBezTo>
                <a:cubicBezTo>
                  <a:pt x="225" y="115"/>
                  <a:pt x="226" y="117"/>
                  <a:pt x="227" y="119"/>
                </a:cubicBezTo>
                <a:cubicBezTo>
                  <a:pt x="229" y="120"/>
                  <a:pt x="231" y="121"/>
                  <a:pt x="233" y="121"/>
                </a:cubicBezTo>
                <a:cubicBezTo>
                  <a:pt x="330" y="121"/>
                  <a:pt x="330" y="121"/>
                  <a:pt x="330" y="121"/>
                </a:cubicBezTo>
                <a:cubicBezTo>
                  <a:pt x="330" y="225"/>
                  <a:pt x="330" y="225"/>
                  <a:pt x="330" y="225"/>
                </a:cubicBezTo>
                <a:cubicBezTo>
                  <a:pt x="233" y="225"/>
                  <a:pt x="233" y="225"/>
                  <a:pt x="233" y="225"/>
                </a:cubicBezTo>
                <a:cubicBezTo>
                  <a:pt x="231" y="225"/>
                  <a:pt x="229" y="225"/>
                  <a:pt x="227" y="227"/>
                </a:cubicBezTo>
                <a:cubicBezTo>
                  <a:pt x="226" y="228"/>
                  <a:pt x="225" y="230"/>
                  <a:pt x="225" y="233"/>
                </a:cubicBezTo>
                <a:cubicBezTo>
                  <a:pt x="225" y="330"/>
                  <a:pt x="225" y="330"/>
                  <a:pt x="225" y="330"/>
                </a:cubicBezTo>
                <a:cubicBezTo>
                  <a:pt x="121" y="330"/>
                  <a:pt x="121" y="330"/>
                  <a:pt x="121" y="330"/>
                </a:cubicBezTo>
                <a:cubicBezTo>
                  <a:pt x="121" y="233"/>
                  <a:pt x="121" y="233"/>
                  <a:pt x="121" y="233"/>
                </a:cubicBezTo>
                <a:cubicBezTo>
                  <a:pt x="121" y="230"/>
                  <a:pt x="121" y="228"/>
                  <a:pt x="119" y="227"/>
                </a:cubicBezTo>
                <a:cubicBezTo>
                  <a:pt x="118" y="225"/>
                  <a:pt x="116" y="225"/>
                  <a:pt x="113" y="225"/>
                </a:cubicBezTo>
                <a:cubicBezTo>
                  <a:pt x="16" y="225"/>
                  <a:pt x="16" y="225"/>
                  <a:pt x="16" y="225"/>
                </a:cubicBezTo>
                <a:cubicBezTo>
                  <a:pt x="16" y="121"/>
                  <a:pt x="16" y="121"/>
                  <a:pt x="16" y="121"/>
                </a:cubicBezTo>
                <a:cubicBezTo>
                  <a:pt x="16" y="121"/>
                  <a:pt x="16" y="121"/>
                  <a:pt x="16" y="121"/>
                </a:cubicBezTo>
                <a:cubicBezTo>
                  <a:pt x="113" y="121"/>
                  <a:pt x="113" y="121"/>
                  <a:pt x="113" y="121"/>
                </a:cubicBezTo>
                <a:cubicBezTo>
                  <a:pt x="116" y="121"/>
                  <a:pt x="118" y="120"/>
                  <a:pt x="119" y="119"/>
                </a:cubicBezTo>
                <a:cubicBezTo>
                  <a:pt x="121" y="117"/>
                  <a:pt x="121" y="115"/>
                  <a:pt x="121" y="113"/>
                </a:cubicBezTo>
                <a:cubicBezTo>
                  <a:pt x="121" y="16"/>
                  <a:pt x="121" y="16"/>
                  <a:pt x="121" y="16"/>
                </a:cubicBezTo>
                <a:cubicBezTo>
                  <a:pt x="225" y="16"/>
                  <a:pt x="225" y="16"/>
                  <a:pt x="225" y="16"/>
                </a:cubicBezTo>
                <a:cubicBezTo>
                  <a:pt x="225" y="37"/>
                  <a:pt x="225" y="37"/>
                  <a:pt x="225" y="37"/>
                </a:cubicBezTo>
                <a:cubicBezTo>
                  <a:pt x="225" y="42"/>
                  <a:pt x="229" y="45"/>
                  <a:pt x="233" y="45"/>
                </a:cubicBezTo>
                <a:cubicBezTo>
                  <a:pt x="237" y="45"/>
                  <a:pt x="241" y="42"/>
                  <a:pt x="241" y="37"/>
                </a:cubicBezTo>
                <a:cubicBezTo>
                  <a:pt x="241" y="37"/>
                  <a:pt x="241" y="37"/>
                  <a:pt x="241" y="37"/>
                </a:cubicBezTo>
                <a:cubicBezTo>
                  <a:pt x="241" y="16"/>
                  <a:pt x="241" y="16"/>
                  <a:pt x="241" y="16"/>
                </a:cubicBezTo>
                <a:cubicBezTo>
                  <a:pt x="241" y="7"/>
                  <a:pt x="234" y="0"/>
                  <a:pt x="225" y="0"/>
                </a:cubicBezTo>
                <a:cubicBezTo>
                  <a:pt x="121" y="0"/>
                  <a:pt x="121" y="0"/>
                  <a:pt x="121" y="0"/>
                </a:cubicBezTo>
                <a:cubicBezTo>
                  <a:pt x="113" y="0"/>
                  <a:pt x="105" y="7"/>
                  <a:pt x="105" y="16"/>
                </a:cubicBezTo>
                <a:cubicBezTo>
                  <a:pt x="105" y="105"/>
                  <a:pt x="105" y="105"/>
                  <a:pt x="105" y="105"/>
                </a:cubicBezTo>
                <a:cubicBezTo>
                  <a:pt x="16" y="105"/>
                  <a:pt x="16" y="105"/>
                  <a:pt x="16" y="105"/>
                </a:cubicBezTo>
                <a:cubicBezTo>
                  <a:pt x="7" y="105"/>
                  <a:pt x="0" y="112"/>
                  <a:pt x="0" y="121"/>
                </a:cubicBezTo>
                <a:cubicBezTo>
                  <a:pt x="0" y="225"/>
                  <a:pt x="0" y="225"/>
                  <a:pt x="0" y="225"/>
                </a:cubicBezTo>
                <a:cubicBezTo>
                  <a:pt x="0" y="233"/>
                  <a:pt x="7" y="241"/>
                  <a:pt x="16" y="241"/>
                </a:cubicBezTo>
                <a:cubicBezTo>
                  <a:pt x="105" y="241"/>
                  <a:pt x="105" y="241"/>
                  <a:pt x="105" y="241"/>
                </a:cubicBezTo>
                <a:cubicBezTo>
                  <a:pt x="105" y="330"/>
                  <a:pt x="105" y="330"/>
                  <a:pt x="105" y="330"/>
                </a:cubicBezTo>
                <a:cubicBezTo>
                  <a:pt x="105" y="339"/>
                  <a:pt x="113" y="346"/>
                  <a:pt x="121" y="346"/>
                </a:cubicBezTo>
                <a:cubicBezTo>
                  <a:pt x="225" y="346"/>
                  <a:pt x="225" y="346"/>
                  <a:pt x="225" y="346"/>
                </a:cubicBezTo>
                <a:cubicBezTo>
                  <a:pt x="234" y="346"/>
                  <a:pt x="241" y="339"/>
                  <a:pt x="241" y="330"/>
                </a:cubicBezTo>
                <a:cubicBezTo>
                  <a:pt x="241" y="241"/>
                  <a:pt x="241" y="241"/>
                  <a:pt x="241" y="241"/>
                </a:cubicBezTo>
                <a:cubicBezTo>
                  <a:pt x="330" y="241"/>
                  <a:pt x="330" y="241"/>
                  <a:pt x="330" y="241"/>
                </a:cubicBezTo>
                <a:cubicBezTo>
                  <a:pt x="339" y="241"/>
                  <a:pt x="346" y="233"/>
                  <a:pt x="346" y="225"/>
                </a:cubicBezTo>
                <a:cubicBezTo>
                  <a:pt x="346" y="121"/>
                  <a:pt x="346" y="121"/>
                  <a:pt x="346" y="121"/>
                </a:cubicBezTo>
                <a:cubicBezTo>
                  <a:pt x="346" y="112"/>
                  <a:pt x="339" y="105"/>
                  <a:pt x="330" y="105"/>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ounded Rectangle 25"/>
          <p:cNvSpPr/>
          <p:nvPr/>
        </p:nvSpPr>
        <p:spPr bwMode="auto">
          <a:xfrm>
            <a:off x="3239513" y="1183605"/>
            <a:ext cx="2702716" cy="4685558"/>
          </a:xfrm>
          <a:prstGeom prst="roundRect">
            <a:avLst>
              <a:gd name="adj" fmla="val 10726"/>
            </a:avLst>
          </a:prstGeom>
          <a:solidFill>
            <a:schemeClr val="bg2">
              <a:lumMod val="60000"/>
              <a:lumOff val="40000"/>
              <a:alpha val="5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13" name="TextBox 12"/>
          <p:cNvSpPr txBox="1"/>
          <p:nvPr/>
        </p:nvSpPr>
        <p:spPr>
          <a:xfrm>
            <a:off x="3182475" y="1384017"/>
            <a:ext cx="2036135"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Operational/</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business factors</a:t>
            </a:r>
          </a:p>
        </p:txBody>
      </p:sp>
      <p:sp>
        <p:nvSpPr>
          <p:cNvPr id="14" name="TextBox 13"/>
          <p:cNvSpPr txBox="1"/>
          <p:nvPr/>
        </p:nvSpPr>
        <p:spPr>
          <a:xfrm>
            <a:off x="3295350" y="2120480"/>
            <a:ext cx="2646878" cy="3739485"/>
          </a:xfrm>
          <a:prstGeom prst="rect">
            <a:avLst/>
          </a:prstGeom>
          <a:noFill/>
        </p:spPr>
        <p:txBody>
          <a:bodyPr wrap="none" rtlCol="0">
            <a:spAutoFit/>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Customer size/</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capacity need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Bundled capabilities</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applications, cloud) </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Business model</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Sharing vs isolation</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Management </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capabilitie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External connectivity</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a:t>
            </a:r>
          </a:p>
        </p:txBody>
      </p:sp>
      <p:sp>
        <p:nvSpPr>
          <p:cNvPr id="15" name="Rounded Rectangle 29"/>
          <p:cNvSpPr/>
          <p:nvPr/>
        </p:nvSpPr>
        <p:spPr bwMode="auto">
          <a:xfrm>
            <a:off x="6752313" y="1183604"/>
            <a:ext cx="2753994" cy="4563943"/>
          </a:xfrm>
          <a:prstGeom prst="roundRect">
            <a:avLst>
              <a:gd name="adj" fmla="val 10726"/>
            </a:avLst>
          </a:prstGeom>
          <a:solidFill>
            <a:schemeClr val="bg2">
              <a:lumMod val="60000"/>
              <a:lumOff val="40000"/>
              <a:alpha val="50000"/>
            </a:schemeClr>
          </a:solidFill>
          <a:ln w="28575">
            <a:noFill/>
            <a:headEnd type="none" w="med" len="med"/>
            <a:tailEnd type="none" w="med" len="med"/>
          </a:ln>
        </p:spPr>
        <p:style>
          <a:lnRef idx="1">
            <a:schemeClr val="dk1"/>
          </a:lnRef>
          <a:fillRef idx="3">
            <a:schemeClr val="dk1"/>
          </a:fillRef>
          <a:effectRef idx="2">
            <a:schemeClr val="dk1"/>
          </a:effectRef>
          <a:fontRef idx="minor">
            <a:schemeClr val="lt1"/>
          </a:fontRef>
        </p:style>
        <p:txBody>
          <a:bodyPr wrap="square" lIns="54000" tIns="34290" rIns="54000" bIns="3429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342900" marR="0" lvl="0" indent="-342900" defTabSz="914400" eaLnBrk="1" fontAlgn="auto" latinLnBrk="0" hangingPunct="1">
              <a:lnSpc>
                <a:spcPct val="100000"/>
              </a:lnSpc>
              <a:spcBef>
                <a:spcPct val="50000"/>
              </a:spcBef>
              <a:spcAft>
                <a:spcPts val="0"/>
              </a:spcAft>
              <a:buClrTx/>
              <a:buSzTx/>
              <a:buFont typeface="Arial"/>
              <a:buChar char="•"/>
              <a:tabLst/>
              <a:defRPr/>
            </a:pPr>
            <a:endParaRPr kumimoji="0" lang="en-US" sz="1800" b="0" i="0" u="none" strike="noStrike" kern="0" cap="none" spc="0" normalizeH="0" baseline="0" noProof="0" dirty="0">
              <a:ln>
                <a:noFill/>
              </a:ln>
              <a:solidFill>
                <a:schemeClr val="bg1"/>
              </a:solidFill>
              <a:effectLst/>
              <a:uLnTx/>
              <a:uFillTx/>
            </a:endParaRPr>
          </a:p>
        </p:txBody>
      </p:sp>
      <p:sp>
        <p:nvSpPr>
          <p:cNvPr id="16" name="TextBox 15"/>
          <p:cNvSpPr txBox="1"/>
          <p:nvPr/>
        </p:nvSpPr>
        <p:spPr>
          <a:xfrm>
            <a:off x="6891409" y="1276224"/>
            <a:ext cx="1922321"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any potential </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blueprints</a:t>
            </a:r>
          </a:p>
        </p:txBody>
      </p:sp>
      <p:sp>
        <p:nvSpPr>
          <p:cNvPr id="17" name="Freeform 3"/>
          <p:cNvSpPr>
            <a:spLocks noChangeAspect="1" noEditPoints="1"/>
          </p:cNvSpPr>
          <p:nvPr/>
        </p:nvSpPr>
        <p:spPr bwMode="auto">
          <a:xfrm flipH="1">
            <a:off x="6891409" y="2170848"/>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3"/>
          <p:cNvSpPr>
            <a:spLocks noChangeAspect="1" noEditPoints="1"/>
          </p:cNvSpPr>
          <p:nvPr/>
        </p:nvSpPr>
        <p:spPr bwMode="auto">
          <a:xfrm flipH="1">
            <a:off x="6907624" y="2906898"/>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3"/>
          <p:cNvSpPr>
            <a:spLocks noChangeAspect="1" noEditPoints="1"/>
          </p:cNvSpPr>
          <p:nvPr/>
        </p:nvSpPr>
        <p:spPr bwMode="auto">
          <a:xfrm flipH="1">
            <a:off x="6904384" y="3604038"/>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3"/>
          <p:cNvSpPr>
            <a:spLocks noChangeAspect="1" noEditPoints="1"/>
          </p:cNvSpPr>
          <p:nvPr/>
        </p:nvSpPr>
        <p:spPr bwMode="auto">
          <a:xfrm flipH="1">
            <a:off x="6888169" y="4249293"/>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3"/>
          <p:cNvSpPr>
            <a:spLocks noChangeAspect="1" noEditPoints="1"/>
          </p:cNvSpPr>
          <p:nvPr/>
        </p:nvSpPr>
        <p:spPr bwMode="auto">
          <a:xfrm flipH="1">
            <a:off x="6904384" y="4985343"/>
            <a:ext cx="526941" cy="533350"/>
          </a:xfrm>
          <a:custGeom>
            <a:avLst/>
            <a:gdLst>
              <a:gd name="T0" fmla="*/ 2147483647 w 235"/>
              <a:gd name="T1" fmla="*/ 2147483647 h 317"/>
              <a:gd name="T2" fmla="*/ 2147483647 w 235"/>
              <a:gd name="T3" fmla="*/ 2147483647 h 317"/>
              <a:gd name="T4" fmla="*/ 2147483647 w 235"/>
              <a:gd name="T5" fmla="*/ 2147483647 h 317"/>
              <a:gd name="T6" fmla="*/ 2147483647 w 235"/>
              <a:gd name="T7" fmla="*/ 2147483647 h 317"/>
              <a:gd name="T8" fmla="*/ 2147483647 w 235"/>
              <a:gd name="T9" fmla="*/ 2147483647 h 317"/>
              <a:gd name="T10" fmla="*/ 2147483647 w 235"/>
              <a:gd name="T11" fmla="*/ 2147483647 h 317"/>
              <a:gd name="T12" fmla="*/ 2147483647 w 235"/>
              <a:gd name="T13" fmla="*/ 2147483647 h 317"/>
              <a:gd name="T14" fmla="*/ 2147483647 w 235"/>
              <a:gd name="T15" fmla="*/ 2147483647 h 317"/>
              <a:gd name="T16" fmla="*/ 2147483647 w 235"/>
              <a:gd name="T17" fmla="*/ 2147483647 h 317"/>
              <a:gd name="T18" fmla="*/ 2147483647 w 235"/>
              <a:gd name="T19" fmla="*/ 2147483647 h 317"/>
              <a:gd name="T20" fmla="*/ 2147483647 w 235"/>
              <a:gd name="T21" fmla="*/ 0 h 317"/>
              <a:gd name="T22" fmla="*/ 2147483647 w 235"/>
              <a:gd name="T23" fmla="*/ 0 h 317"/>
              <a:gd name="T24" fmla="*/ 0 w 235"/>
              <a:gd name="T25" fmla="*/ 2147483647 h 317"/>
              <a:gd name="T26" fmla="*/ 0 w 235"/>
              <a:gd name="T27" fmla="*/ 2147483647 h 317"/>
              <a:gd name="T28" fmla="*/ 2147483647 w 235"/>
              <a:gd name="T29" fmla="*/ 2147483647 h 317"/>
              <a:gd name="T30" fmla="*/ 2147483647 w 235"/>
              <a:gd name="T31" fmla="*/ 2147483647 h 317"/>
              <a:gd name="T32" fmla="*/ 2147483647 w 235"/>
              <a:gd name="T33" fmla="*/ 2147483647 h 317"/>
              <a:gd name="T34" fmla="*/ 2147483647 w 235"/>
              <a:gd name="T35" fmla="*/ 2147483647 h 317"/>
              <a:gd name="T36" fmla="*/ 2147483647 w 235"/>
              <a:gd name="T37" fmla="*/ 2147483647 h 317"/>
              <a:gd name="T38" fmla="*/ 2147483647 w 235"/>
              <a:gd name="T39" fmla="*/ 2147483647 h 317"/>
              <a:gd name="T40" fmla="*/ 2147483647 w 235"/>
              <a:gd name="T41" fmla="*/ 2147483647 h 317"/>
              <a:gd name="T42" fmla="*/ 2147483647 w 235"/>
              <a:gd name="T43" fmla="*/ 2147483647 h 317"/>
              <a:gd name="T44" fmla="*/ 2147483647 w 235"/>
              <a:gd name="T45" fmla="*/ 2147483647 h 317"/>
              <a:gd name="T46" fmla="*/ 2147483647 w 235"/>
              <a:gd name="T47" fmla="*/ 2147483647 h 317"/>
              <a:gd name="T48" fmla="*/ 2147483647 w 235"/>
              <a:gd name="T49" fmla="*/ 2147483647 h 317"/>
              <a:gd name="T50" fmla="*/ 2147483647 w 235"/>
              <a:gd name="T51" fmla="*/ 2147483647 h 317"/>
              <a:gd name="T52" fmla="*/ 2147483647 w 235"/>
              <a:gd name="T53" fmla="*/ 2147483647 h 317"/>
              <a:gd name="T54" fmla="*/ 2147483647 w 235"/>
              <a:gd name="T55" fmla="*/ 2147483647 h 317"/>
              <a:gd name="T56" fmla="*/ 2147483647 w 235"/>
              <a:gd name="T57" fmla="*/ 2147483647 h 317"/>
              <a:gd name="T58" fmla="*/ 2147483647 w 235"/>
              <a:gd name="T59" fmla="*/ 2147483647 h 317"/>
              <a:gd name="T60" fmla="*/ 2147483647 w 235"/>
              <a:gd name="T61" fmla="*/ 2147483647 h 317"/>
              <a:gd name="T62" fmla="*/ 2147483647 w 235"/>
              <a:gd name="T63" fmla="*/ 2147483647 h 317"/>
              <a:gd name="T64" fmla="*/ 2147483647 w 235"/>
              <a:gd name="T65" fmla="*/ 2147483647 h 317"/>
              <a:gd name="T66" fmla="*/ 2147483647 w 235"/>
              <a:gd name="T67" fmla="*/ 2147483647 h 317"/>
              <a:gd name="T68" fmla="*/ 2147483647 w 235"/>
              <a:gd name="T69" fmla="*/ 2147483647 h 317"/>
              <a:gd name="T70" fmla="*/ 2147483647 w 235"/>
              <a:gd name="T71" fmla="*/ 2147483647 h 317"/>
              <a:gd name="T72" fmla="*/ 2147483647 w 235"/>
              <a:gd name="T73" fmla="*/ 2147483647 h 317"/>
              <a:gd name="T74" fmla="*/ 2147483647 w 235"/>
              <a:gd name="T75" fmla="*/ 2147483647 h 317"/>
              <a:gd name="T76" fmla="*/ 2147483647 w 235"/>
              <a:gd name="T77" fmla="*/ 2147483647 h 317"/>
              <a:gd name="T78" fmla="*/ 2147483647 w 235"/>
              <a:gd name="T79" fmla="*/ 2147483647 h 317"/>
              <a:gd name="T80" fmla="*/ 2147483647 w 235"/>
              <a:gd name="T81" fmla="*/ 2147483647 h 317"/>
              <a:gd name="T82" fmla="*/ 2147483647 w 235"/>
              <a:gd name="T83" fmla="*/ 2147483647 h 317"/>
              <a:gd name="T84" fmla="*/ 2147483647 w 235"/>
              <a:gd name="T85" fmla="*/ 2147483647 h 317"/>
              <a:gd name="T86" fmla="*/ 2147483647 w 235"/>
              <a:gd name="T87" fmla="*/ 2147483647 h 3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35" h="317">
                <a:moveTo>
                  <a:pt x="180" y="151"/>
                </a:moveTo>
                <a:cubicBezTo>
                  <a:pt x="54" y="151"/>
                  <a:pt x="54" y="151"/>
                  <a:pt x="54" y="151"/>
                </a:cubicBezTo>
                <a:cubicBezTo>
                  <a:pt x="50" y="151"/>
                  <a:pt x="46" y="154"/>
                  <a:pt x="46" y="159"/>
                </a:cubicBezTo>
                <a:cubicBezTo>
                  <a:pt x="46" y="163"/>
                  <a:pt x="50" y="167"/>
                  <a:pt x="54" y="167"/>
                </a:cubicBezTo>
                <a:cubicBezTo>
                  <a:pt x="180" y="167"/>
                  <a:pt x="180" y="167"/>
                  <a:pt x="180" y="167"/>
                </a:cubicBezTo>
                <a:cubicBezTo>
                  <a:pt x="185" y="167"/>
                  <a:pt x="188" y="163"/>
                  <a:pt x="188" y="159"/>
                </a:cubicBezTo>
                <a:cubicBezTo>
                  <a:pt x="188" y="154"/>
                  <a:pt x="185" y="151"/>
                  <a:pt x="180" y="151"/>
                </a:cubicBezTo>
                <a:close/>
                <a:moveTo>
                  <a:pt x="227" y="48"/>
                </a:moveTo>
                <a:cubicBezTo>
                  <a:pt x="231" y="48"/>
                  <a:pt x="235" y="44"/>
                  <a:pt x="235" y="40"/>
                </a:cubicBezTo>
                <a:cubicBezTo>
                  <a:pt x="235" y="26"/>
                  <a:pt x="235" y="26"/>
                  <a:pt x="235" y="26"/>
                </a:cubicBezTo>
                <a:cubicBezTo>
                  <a:pt x="235" y="16"/>
                  <a:pt x="228" y="0"/>
                  <a:pt x="209" y="0"/>
                </a:cubicBezTo>
                <a:cubicBezTo>
                  <a:pt x="25" y="0"/>
                  <a:pt x="25" y="0"/>
                  <a:pt x="25" y="0"/>
                </a:cubicBezTo>
                <a:cubicBezTo>
                  <a:pt x="15" y="0"/>
                  <a:pt x="0" y="7"/>
                  <a:pt x="0" y="26"/>
                </a:cubicBezTo>
                <a:cubicBezTo>
                  <a:pt x="0" y="292"/>
                  <a:pt x="0" y="292"/>
                  <a:pt x="0" y="292"/>
                </a:cubicBezTo>
                <a:cubicBezTo>
                  <a:pt x="0" y="302"/>
                  <a:pt x="7" y="317"/>
                  <a:pt x="25" y="317"/>
                </a:cubicBezTo>
                <a:cubicBezTo>
                  <a:pt x="209" y="317"/>
                  <a:pt x="209" y="317"/>
                  <a:pt x="209" y="317"/>
                </a:cubicBezTo>
                <a:cubicBezTo>
                  <a:pt x="219" y="317"/>
                  <a:pt x="235" y="311"/>
                  <a:pt x="235" y="292"/>
                </a:cubicBezTo>
                <a:cubicBezTo>
                  <a:pt x="235" y="72"/>
                  <a:pt x="235" y="72"/>
                  <a:pt x="235" y="72"/>
                </a:cubicBezTo>
                <a:cubicBezTo>
                  <a:pt x="235" y="67"/>
                  <a:pt x="231" y="64"/>
                  <a:pt x="227" y="64"/>
                </a:cubicBezTo>
                <a:cubicBezTo>
                  <a:pt x="222" y="64"/>
                  <a:pt x="219" y="67"/>
                  <a:pt x="219" y="72"/>
                </a:cubicBezTo>
                <a:cubicBezTo>
                  <a:pt x="219" y="292"/>
                  <a:pt x="219" y="292"/>
                  <a:pt x="219" y="292"/>
                </a:cubicBezTo>
                <a:cubicBezTo>
                  <a:pt x="219" y="300"/>
                  <a:pt x="212" y="301"/>
                  <a:pt x="209" y="301"/>
                </a:cubicBezTo>
                <a:cubicBezTo>
                  <a:pt x="25" y="301"/>
                  <a:pt x="25" y="301"/>
                  <a:pt x="25" y="301"/>
                </a:cubicBezTo>
                <a:cubicBezTo>
                  <a:pt x="17" y="301"/>
                  <a:pt x="16" y="295"/>
                  <a:pt x="16" y="292"/>
                </a:cubicBezTo>
                <a:cubicBezTo>
                  <a:pt x="16" y="26"/>
                  <a:pt x="16" y="26"/>
                  <a:pt x="16" y="26"/>
                </a:cubicBezTo>
                <a:cubicBezTo>
                  <a:pt x="16" y="18"/>
                  <a:pt x="22" y="16"/>
                  <a:pt x="25" y="16"/>
                </a:cubicBezTo>
                <a:cubicBezTo>
                  <a:pt x="209" y="16"/>
                  <a:pt x="209" y="16"/>
                  <a:pt x="209" y="16"/>
                </a:cubicBezTo>
                <a:cubicBezTo>
                  <a:pt x="217" y="16"/>
                  <a:pt x="218" y="22"/>
                  <a:pt x="219" y="26"/>
                </a:cubicBezTo>
                <a:cubicBezTo>
                  <a:pt x="219" y="40"/>
                  <a:pt x="219" y="40"/>
                  <a:pt x="219" y="40"/>
                </a:cubicBezTo>
                <a:cubicBezTo>
                  <a:pt x="219" y="44"/>
                  <a:pt x="222" y="48"/>
                  <a:pt x="227" y="48"/>
                </a:cubicBezTo>
                <a:close/>
                <a:moveTo>
                  <a:pt x="180" y="104"/>
                </a:moveTo>
                <a:cubicBezTo>
                  <a:pt x="54" y="104"/>
                  <a:pt x="54" y="104"/>
                  <a:pt x="54" y="104"/>
                </a:cubicBezTo>
                <a:cubicBezTo>
                  <a:pt x="50" y="104"/>
                  <a:pt x="46" y="108"/>
                  <a:pt x="46" y="112"/>
                </a:cubicBezTo>
                <a:cubicBezTo>
                  <a:pt x="46" y="117"/>
                  <a:pt x="50" y="120"/>
                  <a:pt x="54" y="120"/>
                </a:cubicBezTo>
                <a:cubicBezTo>
                  <a:pt x="180" y="120"/>
                  <a:pt x="180" y="120"/>
                  <a:pt x="180" y="120"/>
                </a:cubicBezTo>
                <a:cubicBezTo>
                  <a:pt x="185" y="120"/>
                  <a:pt x="188" y="117"/>
                  <a:pt x="188" y="112"/>
                </a:cubicBezTo>
                <a:cubicBezTo>
                  <a:pt x="188" y="108"/>
                  <a:pt x="185" y="104"/>
                  <a:pt x="180" y="104"/>
                </a:cubicBezTo>
                <a:close/>
                <a:moveTo>
                  <a:pt x="180" y="197"/>
                </a:moveTo>
                <a:cubicBezTo>
                  <a:pt x="54" y="197"/>
                  <a:pt x="54" y="197"/>
                  <a:pt x="54" y="197"/>
                </a:cubicBezTo>
                <a:cubicBezTo>
                  <a:pt x="50" y="197"/>
                  <a:pt x="46" y="201"/>
                  <a:pt x="46" y="205"/>
                </a:cubicBezTo>
                <a:cubicBezTo>
                  <a:pt x="46" y="210"/>
                  <a:pt x="50" y="213"/>
                  <a:pt x="54" y="213"/>
                </a:cubicBezTo>
                <a:cubicBezTo>
                  <a:pt x="180" y="213"/>
                  <a:pt x="180" y="213"/>
                  <a:pt x="180" y="213"/>
                </a:cubicBezTo>
                <a:cubicBezTo>
                  <a:pt x="185" y="213"/>
                  <a:pt x="188" y="210"/>
                  <a:pt x="188" y="205"/>
                </a:cubicBezTo>
                <a:cubicBezTo>
                  <a:pt x="188" y="201"/>
                  <a:pt x="185" y="197"/>
                  <a:pt x="180" y="19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TextBox 21"/>
          <p:cNvSpPr txBox="1"/>
          <p:nvPr/>
        </p:nvSpPr>
        <p:spPr>
          <a:xfrm>
            <a:off x="7434565" y="2108414"/>
            <a:ext cx="1544012"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VNO small/</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shared CN</a:t>
            </a:r>
          </a:p>
        </p:txBody>
      </p:sp>
      <p:sp>
        <p:nvSpPr>
          <p:cNvPr id="23" name="TextBox 22"/>
          <p:cNvSpPr txBox="1"/>
          <p:nvPr/>
        </p:nvSpPr>
        <p:spPr>
          <a:xfrm>
            <a:off x="7434565" y="2805879"/>
            <a:ext cx="1582484"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VNO large/</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dedicated CN</a:t>
            </a:r>
          </a:p>
        </p:txBody>
      </p:sp>
      <p:sp>
        <p:nvSpPr>
          <p:cNvPr id="24" name="TextBox 23"/>
          <p:cNvSpPr txBox="1"/>
          <p:nvPr/>
        </p:nvSpPr>
        <p:spPr>
          <a:xfrm>
            <a:off x="7434565" y="3586904"/>
            <a:ext cx="1992853"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ritical MTC with </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cloud hosting</a:t>
            </a:r>
          </a:p>
        </p:txBody>
      </p:sp>
      <p:sp>
        <p:nvSpPr>
          <p:cNvPr id="25" name="TextBox 24"/>
          <p:cNvSpPr txBox="1"/>
          <p:nvPr/>
        </p:nvSpPr>
        <p:spPr>
          <a:xfrm>
            <a:off x="7462157" y="4272090"/>
            <a:ext cx="1915909"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Dedicated Enter-</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err="1">
                <a:ln>
                  <a:noFill/>
                </a:ln>
                <a:solidFill>
                  <a:sysClr val="windowText" lastClr="000000"/>
                </a:solidFill>
                <a:effectLst/>
                <a:uLnTx/>
                <a:uFillTx/>
              </a:rPr>
              <a:t>prise</a:t>
            </a:r>
            <a:r>
              <a:rPr kumimoji="0" lang="en-US" sz="1800" b="0" i="0" u="none" strike="noStrike" kern="0" cap="none" spc="0" normalizeH="0" baseline="0" noProof="0" dirty="0">
                <a:ln>
                  <a:noFill/>
                </a:ln>
                <a:solidFill>
                  <a:sysClr val="windowText" lastClr="000000"/>
                </a:solidFill>
                <a:effectLst/>
                <a:uLnTx/>
                <a:uFillTx/>
              </a:rPr>
              <a:t> with WAN</a:t>
            </a:r>
          </a:p>
        </p:txBody>
      </p:sp>
      <p:sp>
        <p:nvSpPr>
          <p:cNvPr id="26" name="TextBox 25"/>
          <p:cNvSpPr txBox="1"/>
          <p:nvPr/>
        </p:nvSpPr>
        <p:spPr>
          <a:xfrm>
            <a:off x="7462157" y="4988613"/>
            <a:ext cx="2044149"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obile only Enter-</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err="1">
                <a:ln>
                  <a:noFill/>
                </a:ln>
                <a:solidFill>
                  <a:sysClr val="windowText" lastClr="000000"/>
                </a:solidFill>
                <a:effectLst/>
                <a:uLnTx/>
                <a:uFillTx/>
              </a:rPr>
              <a:t>prise</a:t>
            </a:r>
            <a:r>
              <a:rPr kumimoji="0" lang="en-US" sz="1800" b="0" i="0" u="none" strike="noStrike" kern="0" cap="none" spc="0" normalizeH="0" baseline="0" noProof="0" dirty="0">
                <a:ln>
                  <a:noFill/>
                </a:ln>
                <a:solidFill>
                  <a:sysClr val="windowText" lastClr="000000"/>
                </a:solidFill>
                <a:effectLst/>
                <a:uLnTx/>
                <a:uFillTx/>
              </a:rPr>
              <a:t> shared</a:t>
            </a:r>
          </a:p>
        </p:txBody>
      </p:sp>
      <p:sp>
        <p:nvSpPr>
          <p:cNvPr id="27" name="Rounded Rectangle 1"/>
          <p:cNvSpPr/>
          <p:nvPr/>
        </p:nvSpPr>
        <p:spPr bwMode="auto">
          <a:xfrm>
            <a:off x="10545860" y="2021166"/>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8" name="Rounded Rectangle 37"/>
          <p:cNvSpPr/>
          <p:nvPr/>
        </p:nvSpPr>
        <p:spPr bwMode="auto">
          <a:xfrm>
            <a:off x="10623829" y="2099135"/>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29" name="Rounded Rectangle 43"/>
          <p:cNvSpPr/>
          <p:nvPr/>
        </p:nvSpPr>
        <p:spPr bwMode="auto">
          <a:xfrm>
            <a:off x="10733697" y="2166471"/>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0" name="Rounded Rectangle 44"/>
          <p:cNvSpPr/>
          <p:nvPr/>
        </p:nvSpPr>
        <p:spPr bwMode="auto">
          <a:xfrm>
            <a:off x="10854198" y="2255073"/>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1" name="Rounded Rectangle 45"/>
          <p:cNvSpPr/>
          <p:nvPr/>
        </p:nvSpPr>
        <p:spPr bwMode="auto">
          <a:xfrm>
            <a:off x="10482236" y="2819650"/>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2" name="Rounded Rectangle 48"/>
          <p:cNvSpPr/>
          <p:nvPr/>
        </p:nvSpPr>
        <p:spPr bwMode="auto">
          <a:xfrm>
            <a:off x="10601166" y="2895794"/>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3" name="Freeform 49"/>
          <p:cNvSpPr>
            <a:spLocks noChangeAspect="1"/>
          </p:cNvSpPr>
          <p:nvPr/>
        </p:nvSpPr>
        <p:spPr bwMode="auto">
          <a:xfrm flipH="1">
            <a:off x="6005962" y="3568318"/>
            <a:ext cx="705409" cy="610604"/>
          </a:xfrm>
          <a:custGeom>
            <a:avLst/>
            <a:gdLst>
              <a:gd name="T0" fmla="*/ 2147483647 w 350"/>
              <a:gd name="T1" fmla="*/ 2147483647 h 300"/>
              <a:gd name="T2" fmla="*/ 2147483647 w 350"/>
              <a:gd name="T3" fmla="*/ 2147483647 h 300"/>
              <a:gd name="T4" fmla="*/ 2147483647 w 350"/>
              <a:gd name="T5" fmla="*/ 2147483647 h 300"/>
              <a:gd name="T6" fmla="*/ 2147483647 w 350"/>
              <a:gd name="T7" fmla="*/ 2147483647 h 300"/>
              <a:gd name="T8" fmla="*/ 2147483647 w 350"/>
              <a:gd name="T9" fmla="*/ 0 h 300"/>
              <a:gd name="T10" fmla="*/ 2147483647 w 350"/>
              <a:gd name="T11" fmla="*/ 2147483647 h 300"/>
              <a:gd name="T12" fmla="*/ 2147483647 w 350"/>
              <a:gd name="T13" fmla="*/ 2147483647 h 300"/>
              <a:gd name="T14" fmla="*/ 2147483647 w 350"/>
              <a:gd name="T15" fmla="*/ 2147483647 h 300"/>
              <a:gd name="T16" fmla="*/ 2147483647 w 350"/>
              <a:gd name="T17" fmla="*/ 2147483647 h 300"/>
              <a:gd name="T18" fmla="*/ 2147483647 w 350"/>
              <a:gd name="T19" fmla="*/ 2147483647 h 300"/>
              <a:gd name="T20" fmla="*/ 2147483647 w 350"/>
              <a:gd name="T21" fmla="*/ 2147483647 h 300"/>
              <a:gd name="T22" fmla="*/ 2147483647 w 350"/>
              <a:gd name="T23" fmla="*/ 2147483647 h 300"/>
              <a:gd name="T24" fmla="*/ 2147483647 w 350"/>
              <a:gd name="T25" fmla="*/ 2147483647 h 300"/>
              <a:gd name="T26" fmla="*/ 2147483647 w 350"/>
              <a:gd name="T27" fmla="*/ 2147483647 h 300"/>
              <a:gd name="T28" fmla="*/ 2147483647 w 350"/>
              <a:gd name="T29" fmla="*/ 2147483647 h 300"/>
              <a:gd name="T30" fmla="*/ 2147483647 w 350"/>
              <a:gd name="T31" fmla="*/ 2147483647 h 300"/>
              <a:gd name="T32" fmla="*/ 2147483647 w 350"/>
              <a:gd name="T33" fmla="*/ 2147483647 h 300"/>
              <a:gd name="T34" fmla="*/ 2147483647 w 350"/>
              <a:gd name="T35" fmla="*/ 2147483647 h 300"/>
              <a:gd name="T36" fmla="*/ 2147483647 w 350"/>
              <a:gd name="T37" fmla="*/ 2147483647 h 300"/>
              <a:gd name="T38" fmla="*/ 2147483647 w 350"/>
              <a:gd name="T39" fmla="*/ 2147483647 h 300"/>
              <a:gd name="T40" fmla="*/ 2147483647 w 350"/>
              <a:gd name="T41" fmla="*/ 2147483647 h 300"/>
              <a:gd name="T42" fmla="*/ 2147483647 w 350"/>
              <a:gd name="T43" fmla="*/ 2147483647 h 300"/>
              <a:gd name="T44" fmla="*/ 2147483647 w 350"/>
              <a:gd name="T45" fmla="*/ 2147483647 h 300"/>
              <a:gd name="T46" fmla="*/ 2147483647 w 350"/>
              <a:gd name="T47" fmla="*/ 2147483647 h 300"/>
              <a:gd name="T48" fmla="*/ 2147483647 w 350"/>
              <a:gd name="T49" fmla="*/ 2147483647 h 300"/>
              <a:gd name="T50" fmla="*/ 2147483647 w 350"/>
              <a:gd name="T51" fmla="*/ 2147483647 h 300"/>
              <a:gd name="T52" fmla="*/ 2147483647 w 350"/>
              <a:gd name="T53" fmla="*/ 2147483647 h 300"/>
              <a:gd name="T54" fmla="*/ 2147483647 w 350"/>
              <a:gd name="T55" fmla="*/ 2147483647 h 300"/>
              <a:gd name="T56" fmla="*/ 2147483647 w 350"/>
              <a:gd name="T57" fmla="*/ 2147483647 h 300"/>
              <a:gd name="T58" fmla="*/ 2147483647 w 350"/>
              <a:gd name="T59" fmla="*/ 2147483647 h 300"/>
              <a:gd name="T60" fmla="*/ 2147483647 w 350"/>
              <a:gd name="T61" fmla="*/ 2147483647 h 300"/>
              <a:gd name="T62" fmla="*/ 2147483647 w 350"/>
              <a:gd name="T63" fmla="*/ 2147483647 h 300"/>
              <a:gd name="T64" fmla="*/ 2147483647 w 350"/>
              <a:gd name="T65" fmla="*/ 2147483647 h 300"/>
              <a:gd name="T66" fmla="*/ 2147483647 w 350"/>
              <a:gd name="T67" fmla="*/ 2147483647 h 300"/>
              <a:gd name="T68" fmla="*/ 0 w 350"/>
              <a:gd name="T69" fmla="*/ 2147483647 h 300"/>
              <a:gd name="T70" fmla="*/ 2147483647 w 350"/>
              <a:gd name="T71" fmla="*/ 2147483647 h 300"/>
              <a:gd name="T72" fmla="*/ 2147483647 w 350"/>
              <a:gd name="T73" fmla="*/ 2147483647 h 300"/>
              <a:gd name="T74" fmla="*/ 2147483647 w 350"/>
              <a:gd name="T75" fmla="*/ 2147483647 h 300"/>
              <a:gd name="T76" fmla="*/ 2147483647 w 350"/>
              <a:gd name="T77" fmla="*/ 2147483647 h 300"/>
              <a:gd name="T78" fmla="*/ 2147483647 w 350"/>
              <a:gd name="T79" fmla="*/ 2147483647 h 300"/>
              <a:gd name="T80" fmla="*/ 2147483647 w 350"/>
              <a:gd name="T81" fmla="*/ 2147483647 h 300"/>
              <a:gd name="T82" fmla="*/ 2147483647 w 350"/>
              <a:gd name="T83" fmla="*/ 2147483647 h 300"/>
              <a:gd name="T84" fmla="*/ 2147483647 w 350"/>
              <a:gd name="T85" fmla="*/ 2147483647 h 300"/>
              <a:gd name="T86" fmla="*/ 2147483647 w 350"/>
              <a:gd name="T87" fmla="*/ 2147483647 h 300"/>
              <a:gd name="T88" fmla="*/ 2147483647 w 350"/>
              <a:gd name="T89" fmla="*/ 2147483647 h 300"/>
              <a:gd name="T90" fmla="*/ 2147483647 w 350"/>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0" h="300">
                <a:moveTo>
                  <a:pt x="331" y="47"/>
                </a:moveTo>
                <a:cubicBezTo>
                  <a:pt x="203" y="47"/>
                  <a:pt x="203" y="47"/>
                  <a:pt x="203" y="47"/>
                </a:cubicBezTo>
                <a:cubicBezTo>
                  <a:pt x="203" y="42"/>
                  <a:pt x="203" y="37"/>
                  <a:pt x="203" y="33"/>
                </a:cubicBezTo>
                <a:cubicBezTo>
                  <a:pt x="203" y="24"/>
                  <a:pt x="201" y="16"/>
                  <a:pt x="197" y="10"/>
                </a:cubicBezTo>
                <a:cubicBezTo>
                  <a:pt x="193" y="3"/>
                  <a:pt x="186" y="0"/>
                  <a:pt x="179" y="0"/>
                </a:cubicBezTo>
                <a:cubicBezTo>
                  <a:pt x="171" y="0"/>
                  <a:pt x="163" y="4"/>
                  <a:pt x="156" y="10"/>
                </a:cubicBezTo>
                <a:cubicBezTo>
                  <a:pt x="156" y="10"/>
                  <a:pt x="134" y="27"/>
                  <a:pt x="117" y="41"/>
                </a:cubicBezTo>
                <a:cubicBezTo>
                  <a:pt x="113" y="43"/>
                  <a:pt x="113" y="48"/>
                  <a:pt x="115" y="52"/>
                </a:cubicBezTo>
                <a:cubicBezTo>
                  <a:pt x="118" y="55"/>
                  <a:pt x="123" y="56"/>
                  <a:pt x="127" y="53"/>
                </a:cubicBezTo>
                <a:cubicBezTo>
                  <a:pt x="127" y="53"/>
                  <a:pt x="127" y="53"/>
                  <a:pt x="127" y="53"/>
                </a:cubicBezTo>
                <a:cubicBezTo>
                  <a:pt x="145" y="39"/>
                  <a:pt x="165" y="23"/>
                  <a:pt x="166" y="22"/>
                </a:cubicBezTo>
                <a:cubicBezTo>
                  <a:pt x="171" y="17"/>
                  <a:pt x="176" y="16"/>
                  <a:pt x="179" y="16"/>
                </a:cubicBezTo>
                <a:cubicBezTo>
                  <a:pt x="181" y="16"/>
                  <a:pt x="182" y="16"/>
                  <a:pt x="184" y="19"/>
                </a:cubicBezTo>
                <a:cubicBezTo>
                  <a:pt x="185" y="21"/>
                  <a:pt x="187" y="26"/>
                  <a:pt x="187" y="33"/>
                </a:cubicBezTo>
                <a:cubicBezTo>
                  <a:pt x="187" y="39"/>
                  <a:pt x="187" y="46"/>
                  <a:pt x="187" y="56"/>
                </a:cubicBezTo>
                <a:cubicBezTo>
                  <a:pt x="187" y="60"/>
                  <a:pt x="191" y="63"/>
                  <a:pt x="195" y="63"/>
                </a:cubicBezTo>
                <a:cubicBezTo>
                  <a:pt x="331" y="63"/>
                  <a:pt x="331" y="63"/>
                  <a:pt x="331" y="63"/>
                </a:cubicBezTo>
                <a:cubicBezTo>
                  <a:pt x="333" y="63"/>
                  <a:pt x="334" y="65"/>
                  <a:pt x="334" y="67"/>
                </a:cubicBezTo>
                <a:cubicBezTo>
                  <a:pt x="334" y="233"/>
                  <a:pt x="334" y="233"/>
                  <a:pt x="334" y="233"/>
                </a:cubicBezTo>
                <a:cubicBezTo>
                  <a:pt x="334" y="235"/>
                  <a:pt x="333" y="236"/>
                  <a:pt x="331" y="236"/>
                </a:cubicBezTo>
                <a:cubicBezTo>
                  <a:pt x="195" y="236"/>
                  <a:pt x="195" y="236"/>
                  <a:pt x="195" y="236"/>
                </a:cubicBezTo>
                <a:cubicBezTo>
                  <a:pt x="193" y="236"/>
                  <a:pt x="191" y="237"/>
                  <a:pt x="189" y="238"/>
                </a:cubicBezTo>
                <a:cubicBezTo>
                  <a:pt x="188" y="240"/>
                  <a:pt x="187" y="242"/>
                  <a:pt x="187" y="244"/>
                </a:cubicBezTo>
                <a:cubicBezTo>
                  <a:pt x="187" y="253"/>
                  <a:pt x="187" y="261"/>
                  <a:pt x="187" y="267"/>
                </a:cubicBezTo>
                <a:cubicBezTo>
                  <a:pt x="187" y="274"/>
                  <a:pt x="185" y="279"/>
                  <a:pt x="184" y="281"/>
                </a:cubicBezTo>
                <a:cubicBezTo>
                  <a:pt x="182" y="283"/>
                  <a:pt x="181" y="284"/>
                  <a:pt x="178" y="284"/>
                </a:cubicBezTo>
                <a:cubicBezTo>
                  <a:pt x="176" y="284"/>
                  <a:pt x="171" y="282"/>
                  <a:pt x="166" y="278"/>
                </a:cubicBezTo>
                <a:cubicBezTo>
                  <a:pt x="150" y="265"/>
                  <a:pt x="40" y="179"/>
                  <a:pt x="25" y="166"/>
                </a:cubicBezTo>
                <a:cubicBezTo>
                  <a:pt x="19" y="161"/>
                  <a:pt x="16" y="157"/>
                  <a:pt x="16" y="150"/>
                </a:cubicBezTo>
                <a:cubicBezTo>
                  <a:pt x="16" y="143"/>
                  <a:pt x="19" y="139"/>
                  <a:pt x="25" y="134"/>
                </a:cubicBezTo>
                <a:cubicBezTo>
                  <a:pt x="29" y="131"/>
                  <a:pt x="64" y="103"/>
                  <a:pt x="102" y="73"/>
                </a:cubicBezTo>
                <a:cubicBezTo>
                  <a:pt x="105" y="70"/>
                  <a:pt x="106" y="65"/>
                  <a:pt x="103" y="62"/>
                </a:cubicBezTo>
                <a:cubicBezTo>
                  <a:pt x="100" y="58"/>
                  <a:pt x="95" y="58"/>
                  <a:pt x="92" y="60"/>
                </a:cubicBezTo>
                <a:cubicBezTo>
                  <a:pt x="54" y="90"/>
                  <a:pt x="19" y="118"/>
                  <a:pt x="15" y="121"/>
                </a:cubicBezTo>
                <a:cubicBezTo>
                  <a:pt x="6" y="128"/>
                  <a:pt x="0" y="138"/>
                  <a:pt x="0" y="150"/>
                </a:cubicBezTo>
                <a:cubicBezTo>
                  <a:pt x="0" y="162"/>
                  <a:pt x="6" y="172"/>
                  <a:pt x="15" y="179"/>
                </a:cubicBezTo>
                <a:cubicBezTo>
                  <a:pt x="31" y="191"/>
                  <a:pt x="140" y="277"/>
                  <a:pt x="156" y="290"/>
                </a:cubicBezTo>
                <a:cubicBezTo>
                  <a:pt x="163" y="296"/>
                  <a:pt x="170" y="300"/>
                  <a:pt x="178" y="300"/>
                </a:cubicBezTo>
                <a:cubicBezTo>
                  <a:pt x="179" y="300"/>
                  <a:pt x="179" y="300"/>
                  <a:pt x="179" y="300"/>
                </a:cubicBezTo>
                <a:cubicBezTo>
                  <a:pt x="186" y="300"/>
                  <a:pt x="192" y="296"/>
                  <a:pt x="197" y="290"/>
                </a:cubicBezTo>
                <a:cubicBezTo>
                  <a:pt x="201" y="284"/>
                  <a:pt x="203" y="276"/>
                  <a:pt x="203" y="267"/>
                </a:cubicBezTo>
                <a:cubicBezTo>
                  <a:pt x="203" y="263"/>
                  <a:pt x="203" y="258"/>
                  <a:pt x="203" y="252"/>
                </a:cubicBezTo>
                <a:cubicBezTo>
                  <a:pt x="331" y="252"/>
                  <a:pt x="331" y="252"/>
                  <a:pt x="331" y="252"/>
                </a:cubicBezTo>
                <a:cubicBezTo>
                  <a:pt x="342" y="252"/>
                  <a:pt x="350" y="243"/>
                  <a:pt x="350" y="233"/>
                </a:cubicBezTo>
                <a:cubicBezTo>
                  <a:pt x="350" y="67"/>
                  <a:pt x="350" y="67"/>
                  <a:pt x="350" y="67"/>
                </a:cubicBezTo>
                <a:cubicBezTo>
                  <a:pt x="350" y="56"/>
                  <a:pt x="342" y="47"/>
                  <a:pt x="331" y="4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10375732" y="1233692"/>
            <a:ext cx="1524776" cy="70788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nd slice </a:t>
            </a:r>
            <a:br>
              <a:rPr kumimoji="0" lang="en-US" sz="1800" b="0" i="0" u="none" strike="noStrike" kern="0" cap="none" spc="0" normalizeH="0" baseline="0" noProof="0" dirty="0">
                <a:ln>
                  <a:noFill/>
                </a:ln>
                <a:solidFill>
                  <a:sysClr val="windowText" lastClr="000000"/>
                </a:solidFill>
                <a:effectLst/>
                <a:uLnTx/>
                <a:uFillTx/>
              </a:rPr>
            </a:br>
            <a:r>
              <a:rPr kumimoji="0" lang="en-US" sz="1800" b="0" i="0" u="none" strike="noStrike" kern="0" cap="none" spc="0" normalizeH="0" baseline="0" noProof="0" dirty="0">
                <a:ln>
                  <a:noFill/>
                </a:ln>
                <a:solidFill>
                  <a:sysClr val="windowText" lastClr="000000"/>
                </a:solidFill>
                <a:effectLst/>
                <a:uLnTx/>
                <a:uFillTx/>
              </a:rPr>
              <a:t>instances</a:t>
            </a:r>
          </a:p>
        </p:txBody>
      </p:sp>
      <p:sp>
        <p:nvSpPr>
          <p:cNvPr id="35" name="Rounded Rectangle 53"/>
          <p:cNvSpPr/>
          <p:nvPr/>
        </p:nvSpPr>
        <p:spPr bwMode="auto">
          <a:xfrm>
            <a:off x="10513257" y="3485219"/>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6" name="Rounded Rectangle 54"/>
          <p:cNvSpPr/>
          <p:nvPr/>
        </p:nvSpPr>
        <p:spPr bwMode="auto">
          <a:xfrm>
            <a:off x="10579022" y="3529464"/>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7" name="Rounded Rectangle 59"/>
          <p:cNvSpPr/>
          <p:nvPr/>
        </p:nvSpPr>
        <p:spPr bwMode="auto">
          <a:xfrm>
            <a:off x="10528132" y="4023708"/>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8" name="Rounded Rectangle 60"/>
          <p:cNvSpPr/>
          <p:nvPr/>
        </p:nvSpPr>
        <p:spPr bwMode="auto">
          <a:xfrm>
            <a:off x="10646214" y="4076135"/>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39" name="Rounded Rectangle 61"/>
          <p:cNvSpPr/>
          <p:nvPr/>
        </p:nvSpPr>
        <p:spPr bwMode="auto">
          <a:xfrm>
            <a:off x="10726602" y="4169013"/>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0" name="Rounded Rectangle 62"/>
          <p:cNvSpPr/>
          <p:nvPr/>
        </p:nvSpPr>
        <p:spPr bwMode="auto">
          <a:xfrm>
            <a:off x="10815204" y="4257615"/>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1" name="Rounded Rectangle 63"/>
          <p:cNvSpPr/>
          <p:nvPr/>
        </p:nvSpPr>
        <p:spPr bwMode="auto">
          <a:xfrm>
            <a:off x="10489138" y="4845987"/>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2" name="Rounded Rectangle 64"/>
          <p:cNvSpPr/>
          <p:nvPr/>
        </p:nvSpPr>
        <p:spPr bwMode="auto">
          <a:xfrm>
            <a:off x="10607220" y="4898414"/>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3" name="Rounded Rectangle 65"/>
          <p:cNvSpPr/>
          <p:nvPr/>
        </p:nvSpPr>
        <p:spPr bwMode="auto">
          <a:xfrm>
            <a:off x="10687608" y="4991292"/>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4" name="Rounded Rectangle 66"/>
          <p:cNvSpPr/>
          <p:nvPr/>
        </p:nvSpPr>
        <p:spPr bwMode="auto">
          <a:xfrm>
            <a:off x="10776210" y="5079894"/>
            <a:ext cx="849745" cy="208293"/>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latin typeface="Arial" charset="0"/>
            </a:endParaRPr>
          </a:p>
        </p:txBody>
      </p:sp>
      <p:sp>
        <p:nvSpPr>
          <p:cNvPr id="45" name="Freeform 28"/>
          <p:cNvSpPr>
            <a:spLocks noChangeAspect="1"/>
          </p:cNvSpPr>
          <p:nvPr/>
        </p:nvSpPr>
        <p:spPr bwMode="auto">
          <a:xfrm flipH="1">
            <a:off x="9567640" y="3526167"/>
            <a:ext cx="761394" cy="652755"/>
          </a:xfrm>
          <a:custGeom>
            <a:avLst/>
            <a:gdLst>
              <a:gd name="T0" fmla="*/ 2147483647 w 350"/>
              <a:gd name="T1" fmla="*/ 2147483647 h 300"/>
              <a:gd name="T2" fmla="*/ 2147483647 w 350"/>
              <a:gd name="T3" fmla="*/ 2147483647 h 300"/>
              <a:gd name="T4" fmla="*/ 2147483647 w 350"/>
              <a:gd name="T5" fmla="*/ 2147483647 h 300"/>
              <a:gd name="T6" fmla="*/ 2147483647 w 350"/>
              <a:gd name="T7" fmla="*/ 2147483647 h 300"/>
              <a:gd name="T8" fmla="*/ 2147483647 w 350"/>
              <a:gd name="T9" fmla="*/ 0 h 300"/>
              <a:gd name="T10" fmla="*/ 2147483647 w 350"/>
              <a:gd name="T11" fmla="*/ 2147483647 h 300"/>
              <a:gd name="T12" fmla="*/ 2147483647 w 350"/>
              <a:gd name="T13" fmla="*/ 2147483647 h 300"/>
              <a:gd name="T14" fmla="*/ 2147483647 w 350"/>
              <a:gd name="T15" fmla="*/ 2147483647 h 300"/>
              <a:gd name="T16" fmla="*/ 2147483647 w 350"/>
              <a:gd name="T17" fmla="*/ 2147483647 h 300"/>
              <a:gd name="T18" fmla="*/ 2147483647 w 350"/>
              <a:gd name="T19" fmla="*/ 2147483647 h 300"/>
              <a:gd name="T20" fmla="*/ 2147483647 w 350"/>
              <a:gd name="T21" fmla="*/ 2147483647 h 300"/>
              <a:gd name="T22" fmla="*/ 2147483647 w 350"/>
              <a:gd name="T23" fmla="*/ 2147483647 h 300"/>
              <a:gd name="T24" fmla="*/ 2147483647 w 350"/>
              <a:gd name="T25" fmla="*/ 2147483647 h 300"/>
              <a:gd name="T26" fmla="*/ 2147483647 w 350"/>
              <a:gd name="T27" fmla="*/ 2147483647 h 300"/>
              <a:gd name="T28" fmla="*/ 2147483647 w 350"/>
              <a:gd name="T29" fmla="*/ 2147483647 h 300"/>
              <a:gd name="T30" fmla="*/ 2147483647 w 350"/>
              <a:gd name="T31" fmla="*/ 2147483647 h 300"/>
              <a:gd name="T32" fmla="*/ 2147483647 w 350"/>
              <a:gd name="T33" fmla="*/ 2147483647 h 300"/>
              <a:gd name="T34" fmla="*/ 2147483647 w 350"/>
              <a:gd name="T35" fmla="*/ 2147483647 h 300"/>
              <a:gd name="T36" fmla="*/ 2147483647 w 350"/>
              <a:gd name="T37" fmla="*/ 2147483647 h 300"/>
              <a:gd name="T38" fmla="*/ 2147483647 w 350"/>
              <a:gd name="T39" fmla="*/ 2147483647 h 300"/>
              <a:gd name="T40" fmla="*/ 2147483647 w 350"/>
              <a:gd name="T41" fmla="*/ 2147483647 h 300"/>
              <a:gd name="T42" fmla="*/ 2147483647 w 350"/>
              <a:gd name="T43" fmla="*/ 2147483647 h 300"/>
              <a:gd name="T44" fmla="*/ 2147483647 w 350"/>
              <a:gd name="T45" fmla="*/ 2147483647 h 300"/>
              <a:gd name="T46" fmla="*/ 2147483647 w 350"/>
              <a:gd name="T47" fmla="*/ 2147483647 h 300"/>
              <a:gd name="T48" fmla="*/ 2147483647 w 350"/>
              <a:gd name="T49" fmla="*/ 2147483647 h 300"/>
              <a:gd name="T50" fmla="*/ 2147483647 w 350"/>
              <a:gd name="T51" fmla="*/ 2147483647 h 300"/>
              <a:gd name="T52" fmla="*/ 2147483647 w 350"/>
              <a:gd name="T53" fmla="*/ 2147483647 h 300"/>
              <a:gd name="T54" fmla="*/ 2147483647 w 350"/>
              <a:gd name="T55" fmla="*/ 2147483647 h 300"/>
              <a:gd name="T56" fmla="*/ 2147483647 w 350"/>
              <a:gd name="T57" fmla="*/ 2147483647 h 300"/>
              <a:gd name="T58" fmla="*/ 2147483647 w 350"/>
              <a:gd name="T59" fmla="*/ 2147483647 h 300"/>
              <a:gd name="T60" fmla="*/ 2147483647 w 350"/>
              <a:gd name="T61" fmla="*/ 2147483647 h 300"/>
              <a:gd name="T62" fmla="*/ 2147483647 w 350"/>
              <a:gd name="T63" fmla="*/ 2147483647 h 300"/>
              <a:gd name="T64" fmla="*/ 2147483647 w 350"/>
              <a:gd name="T65" fmla="*/ 2147483647 h 300"/>
              <a:gd name="T66" fmla="*/ 2147483647 w 350"/>
              <a:gd name="T67" fmla="*/ 2147483647 h 300"/>
              <a:gd name="T68" fmla="*/ 0 w 350"/>
              <a:gd name="T69" fmla="*/ 2147483647 h 300"/>
              <a:gd name="T70" fmla="*/ 2147483647 w 350"/>
              <a:gd name="T71" fmla="*/ 2147483647 h 300"/>
              <a:gd name="T72" fmla="*/ 2147483647 w 350"/>
              <a:gd name="T73" fmla="*/ 2147483647 h 300"/>
              <a:gd name="T74" fmla="*/ 2147483647 w 350"/>
              <a:gd name="T75" fmla="*/ 2147483647 h 300"/>
              <a:gd name="T76" fmla="*/ 2147483647 w 350"/>
              <a:gd name="T77" fmla="*/ 2147483647 h 300"/>
              <a:gd name="T78" fmla="*/ 2147483647 w 350"/>
              <a:gd name="T79" fmla="*/ 2147483647 h 300"/>
              <a:gd name="T80" fmla="*/ 2147483647 w 350"/>
              <a:gd name="T81" fmla="*/ 2147483647 h 300"/>
              <a:gd name="T82" fmla="*/ 2147483647 w 350"/>
              <a:gd name="T83" fmla="*/ 2147483647 h 300"/>
              <a:gd name="T84" fmla="*/ 2147483647 w 350"/>
              <a:gd name="T85" fmla="*/ 2147483647 h 300"/>
              <a:gd name="T86" fmla="*/ 2147483647 w 350"/>
              <a:gd name="T87" fmla="*/ 2147483647 h 300"/>
              <a:gd name="T88" fmla="*/ 2147483647 w 350"/>
              <a:gd name="T89" fmla="*/ 2147483647 h 300"/>
              <a:gd name="T90" fmla="*/ 2147483647 w 350"/>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0" h="300">
                <a:moveTo>
                  <a:pt x="331" y="47"/>
                </a:moveTo>
                <a:cubicBezTo>
                  <a:pt x="203" y="47"/>
                  <a:pt x="203" y="47"/>
                  <a:pt x="203" y="47"/>
                </a:cubicBezTo>
                <a:cubicBezTo>
                  <a:pt x="203" y="42"/>
                  <a:pt x="203" y="37"/>
                  <a:pt x="203" y="33"/>
                </a:cubicBezTo>
                <a:cubicBezTo>
                  <a:pt x="203" y="24"/>
                  <a:pt x="201" y="16"/>
                  <a:pt x="197" y="10"/>
                </a:cubicBezTo>
                <a:cubicBezTo>
                  <a:pt x="193" y="3"/>
                  <a:pt x="186" y="0"/>
                  <a:pt x="179" y="0"/>
                </a:cubicBezTo>
                <a:cubicBezTo>
                  <a:pt x="171" y="0"/>
                  <a:pt x="163" y="4"/>
                  <a:pt x="156" y="10"/>
                </a:cubicBezTo>
                <a:cubicBezTo>
                  <a:pt x="156" y="10"/>
                  <a:pt x="134" y="27"/>
                  <a:pt x="117" y="41"/>
                </a:cubicBezTo>
                <a:cubicBezTo>
                  <a:pt x="113" y="43"/>
                  <a:pt x="113" y="48"/>
                  <a:pt x="115" y="52"/>
                </a:cubicBezTo>
                <a:cubicBezTo>
                  <a:pt x="118" y="55"/>
                  <a:pt x="123" y="56"/>
                  <a:pt x="127" y="53"/>
                </a:cubicBezTo>
                <a:cubicBezTo>
                  <a:pt x="127" y="53"/>
                  <a:pt x="127" y="53"/>
                  <a:pt x="127" y="53"/>
                </a:cubicBezTo>
                <a:cubicBezTo>
                  <a:pt x="145" y="39"/>
                  <a:pt x="165" y="23"/>
                  <a:pt x="166" y="22"/>
                </a:cubicBezTo>
                <a:cubicBezTo>
                  <a:pt x="171" y="17"/>
                  <a:pt x="176" y="16"/>
                  <a:pt x="179" y="16"/>
                </a:cubicBezTo>
                <a:cubicBezTo>
                  <a:pt x="181" y="16"/>
                  <a:pt x="182" y="16"/>
                  <a:pt x="184" y="19"/>
                </a:cubicBezTo>
                <a:cubicBezTo>
                  <a:pt x="185" y="21"/>
                  <a:pt x="187" y="26"/>
                  <a:pt x="187" y="33"/>
                </a:cubicBezTo>
                <a:cubicBezTo>
                  <a:pt x="187" y="39"/>
                  <a:pt x="187" y="46"/>
                  <a:pt x="187" y="56"/>
                </a:cubicBezTo>
                <a:cubicBezTo>
                  <a:pt x="187" y="60"/>
                  <a:pt x="191" y="63"/>
                  <a:pt x="195" y="63"/>
                </a:cubicBezTo>
                <a:cubicBezTo>
                  <a:pt x="331" y="63"/>
                  <a:pt x="331" y="63"/>
                  <a:pt x="331" y="63"/>
                </a:cubicBezTo>
                <a:cubicBezTo>
                  <a:pt x="333" y="63"/>
                  <a:pt x="334" y="65"/>
                  <a:pt x="334" y="67"/>
                </a:cubicBezTo>
                <a:cubicBezTo>
                  <a:pt x="334" y="233"/>
                  <a:pt x="334" y="233"/>
                  <a:pt x="334" y="233"/>
                </a:cubicBezTo>
                <a:cubicBezTo>
                  <a:pt x="334" y="235"/>
                  <a:pt x="333" y="236"/>
                  <a:pt x="331" y="236"/>
                </a:cubicBezTo>
                <a:cubicBezTo>
                  <a:pt x="195" y="236"/>
                  <a:pt x="195" y="236"/>
                  <a:pt x="195" y="236"/>
                </a:cubicBezTo>
                <a:cubicBezTo>
                  <a:pt x="193" y="236"/>
                  <a:pt x="191" y="237"/>
                  <a:pt x="189" y="238"/>
                </a:cubicBezTo>
                <a:cubicBezTo>
                  <a:pt x="188" y="240"/>
                  <a:pt x="187" y="242"/>
                  <a:pt x="187" y="244"/>
                </a:cubicBezTo>
                <a:cubicBezTo>
                  <a:pt x="187" y="253"/>
                  <a:pt x="187" y="261"/>
                  <a:pt x="187" y="267"/>
                </a:cubicBezTo>
                <a:cubicBezTo>
                  <a:pt x="187" y="274"/>
                  <a:pt x="185" y="279"/>
                  <a:pt x="184" y="281"/>
                </a:cubicBezTo>
                <a:cubicBezTo>
                  <a:pt x="182" y="283"/>
                  <a:pt x="181" y="284"/>
                  <a:pt x="178" y="284"/>
                </a:cubicBezTo>
                <a:cubicBezTo>
                  <a:pt x="176" y="284"/>
                  <a:pt x="171" y="282"/>
                  <a:pt x="166" y="278"/>
                </a:cubicBezTo>
                <a:cubicBezTo>
                  <a:pt x="150" y="265"/>
                  <a:pt x="40" y="179"/>
                  <a:pt x="25" y="166"/>
                </a:cubicBezTo>
                <a:cubicBezTo>
                  <a:pt x="19" y="161"/>
                  <a:pt x="16" y="157"/>
                  <a:pt x="16" y="150"/>
                </a:cubicBezTo>
                <a:cubicBezTo>
                  <a:pt x="16" y="143"/>
                  <a:pt x="19" y="139"/>
                  <a:pt x="25" y="134"/>
                </a:cubicBezTo>
                <a:cubicBezTo>
                  <a:pt x="29" y="131"/>
                  <a:pt x="64" y="103"/>
                  <a:pt x="102" y="73"/>
                </a:cubicBezTo>
                <a:cubicBezTo>
                  <a:pt x="105" y="70"/>
                  <a:pt x="106" y="65"/>
                  <a:pt x="103" y="62"/>
                </a:cubicBezTo>
                <a:cubicBezTo>
                  <a:pt x="100" y="58"/>
                  <a:pt x="95" y="58"/>
                  <a:pt x="92" y="60"/>
                </a:cubicBezTo>
                <a:cubicBezTo>
                  <a:pt x="54" y="90"/>
                  <a:pt x="19" y="118"/>
                  <a:pt x="15" y="121"/>
                </a:cubicBezTo>
                <a:cubicBezTo>
                  <a:pt x="6" y="128"/>
                  <a:pt x="0" y="138"/>
                  <a:pt x="0" y="150"/>
                </a:cubicBezTo>
                <a:cubicBezTo>
                  <a:pt x="0" y="162"/>
                  <a:pt x="6" y="172"/>
                  <a:pt x="15" y="179"/>
                </a:cubicBezTo>
                <a:cubicBezTo>
                  <a:pt x="31" y="191"/>
                  <a:pt x="140" y="277"/>
                  <a:pt x="156" y="290"/>
                </a:cubicBezTo>
                <a:cubicBezTo>
                  <a:pt x="163" y="296"/>
                  <a:pt x="170" y="300"/>
                  <a:pt x="178" y="300"/>
                </a:cubicBezTo>
                <a:cubicBezTo>
                  <a:pt x="179" y="300"/>
                  <a:pt x="179" y="300"/>
                  <a:pt x="179" y="300"/>
                </a:cubicBezTo>
                <a:cubicBezTo>
                  <a:pt x="186" y="300"/>
                  <a:pt x="192" y="296"/>
                  <a:pt x="197" y="290"/>
                </a:cubicBezTo>
                <a:cubicBezTo>
                  <a:pt x="201" y="284"/>
                  <a:pt x="203" y="276"/>
                  <a:pt x="203" y="267"/>
                </a:cubicBezTo>
                <a:cubicBezTo>
                  <a:pt x="203" y="263"/>
                  <a:pt x="203" y="258"/>
                  <a:pt x="203" y="252"/>
                </a:cubicBezTo>
                <a:cubicBezTo>
                  <a:pt x="331" y="252"/>
                  <a:pt x="331" y="252"/>
                  <a:pt x="331" y="252"/>
                </a:cubicBezTo>
                <a:cubicBezTo>
                  <a:pt x="342" y="252"/>
                  <a:pt x="350" y="243"/>
                  <a:pt x="350" y="233"/>
                </a:cubicBezTo>
                <a:cubicBezTo>
                  <a:pt x="350" y="67"/>
                  <a:pt x="350" y="67"/>
                  <a:pt x="350" y="67"/>
                </a:cubicBezTo>
                <a:cubicBezTo>
                  <a:pt x="350" y="56"/>
                  <a:pt x="342" y="47"/>
                  <a:pt x="331" y="47"/>
                </a:cubicBez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TextBox 45"/>
          <p:cNvSpPr txBox="1"/>
          <p:nvPr/>
        </p:nvSpPr>
        <p:spPr>
          <a:xfrm>
            <a:off x="1340794" y="6092456"/>
            <a:ext cx="10038517"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sng" strike="noStrike" kern="0" cap="none" spc="0" normalizeH="0" baseline="0" noProof="0" dirty="0">
                <a:ln>
                  <a:noFill/>
                </a:ln>
                <a:solidFill>
                  <a:sysClr val="windowText" lastClr="000000"/>
                </a:solidFill>
                <a:effectLst/>
                <a:uLnTx/>
                <a:uFillTx/>
              </a:rPr>
              <a:t>How many </a:t>
            </a:r>
            <a:r>
              <a:rPr kumimoji="0" lang="en-US" sz="1800" b="0" i="0" u="none" strike="noStrike" kern="0" cap="none" spc="0" normalizeH="0" baseline="0" noProof="0" dirty="0">
                <a:ln>
                  <a:noFill/>
                </a:ln>
                <a:solidFill>
                  <a:sysClr val="windowText" lastClr="000000"/>
                </a:solidFill>
                <a:effectLst/>
                <a:uLnTx/>
                <a:uFillTx/>
              </a:rPr>
              <a:t>is determined by business need and operational efficiency (ability to scale) !</a:t>
            </a:r>
          </a:p>
        </p:txBody>
      </p:sp>
      <p:sp>
        <p:nvSpPr>
          <p:cNvPr id="3" name="TextBox 2"/>
          <p:cNvSpPr txBox="1"/>
          <p:nvPr/>
        </p:nvSpPr>
        <p:spPr>
          <a:xfrm>
            <a:off x="9339395" y="6524178"/>
            <a:ext cx="2607252" cy="276999"/>
          </a:xfrm>
          <a:prstGeom prst="rect">
            <a:avLst/>
          </a:prstGeom>
          <a:noFill/>
        </p:spPr>
        <p:txBody>
          <a:bodyPr wrap="none" rtlCol="0">
            <a:spAutoFit/>
          </a:bodyPr>
          <a:lstStyle/>
          <a:p>
            <a:r>
              <a:rPr lang="en-US" sz="1200" dirty="0"/>
              <a:t>MVNO: Mobile Virtual NW Operator</a:t>
            </a:r>
          </a:p>
        </p:txBody>
      </p:sp>
    </p:spTree>
    <p:extLst>
      <p:ext uri="{BB962C8B-B14F-4D97-AF65-F5344CB8AC3E}">
        <p14:creationId xmlns:p14="http://schemas.microsoft.com/office/powerpoint/2010/main" val="3120524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17"/>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pPr lvl="0">
              <a:defRPr/>
            </a:pPr>
            <a:r>
              <a:rPr lang="en-US" altLang="en-US" dirty="0">
                <a:solidFill>
                  <a:schemeClr val="bg1"/>
                </a:solidFill>
                <a:latin typeface="Ericsson Capital TT" pitchFamily="2" charset="0"/>
              </a:rPr>
              <a:t>Ericsson 5g Core </a:t>
            </a:r>
            <a:r>
              <a:rPr lang="en-US" altLang="en-US" dirty="0" err="1">
                <a:solidFill>
                  <a:schemeClr val="bg1"/>
                </a:solidFill>
                <a:latin typeface="Ericsson Capital TT" pitchFamily="2" charset="0"/>
              </a:rPr>
              <a:t>SysTeM</a:t>
            </a:r>
            <a:br>
              <a:rPr lang="en-US" altLang="en-US" dirty="0">
                <a:solidFill>
                  <a:schemeClr val="bg1"/>
                </a:solidFill>
                <a:latin typeface="Ericsson Capital TT" pitchFamily="2" charset="0"/>
              </a:rPr>
            </a:br>
            <a:r>
              <a:rPr lang="en-US" altLang="en-US" sz="2800" dirty="0">
                <a:solidFill>
                  <a:schemeClr val="bg1"/>
                </a:solidFill>
                <a:latin typeface="+mn-lt"/>
              </a:rPr>
              <a:t>Key System Areas</a:t>
            </a:r>
          </a:p>
        </p:txBody>
      </p:sp>
      <p:pic>
        <p:nvPicPr>
          <p:cNvPr id="7204" name="Picture 6" descr="ECON_whit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6" name="Group 85"/>
          <p:cNvGrpSpPr>
            <a:grpSpLocks noChangeAspect="1"/>
          </p:cNvGrpSpPr>
          <p:nvPr/>
        </p:nvGrpSpPr>
        <p:grpSpPr>
          <a:xfrm>
            <a:off x="747656" y="5520782"/>
            <a:ext cx="654545" cy="614506"/>
            <a:chOff x="1052252" y="5550430"/>
            <a:chExt cx="720000" cy="675957"/>
          </a:xfrm>
        </p:grpSpPr>
        <p:sp>
          <p:nvSpPr>
            <p:cNvPr id="87" name="Oval 79"/>
            <p:cNvSpPr>
              <a:spLocks noChangeAspect="1"/>
            </p:cNvSpPr>
            <p:nvPr/>
          </p:nvSpPr>
          <p:spPr bwMode="auto">
            <a:xfrm>
              <a:off x="1052252" y="5550430"/>
              <a:ext cx="720000" cy="675957"/>
            </a:xfrm>
            <a:prstGeom prst="ellipse">
              <a:avLst/>
            </a:prstGeom>
            <a:solidFill>
              <a:schemeClr val="tx2">
                <a:lumMod val="10000"/>
                <a:lumOff val="90000"/>
                <a:alpha val="40000"/>
              </a:schemeClr>
            </a:solidFill>
            <a:ln>
              <a:noFill/>
            </a:ln>
            <a:extLst/>
          </p:spPr>
          <p:txBody>
            <a:bodyPr wrap="none" lIns="71996" tIns="45718" rIns="71996" bIns="45718"/>
            <a:lstStyle>
              <a:lvl1pPr eaLnBrk="0" hangingPunct="0">
                <a:spcBef>
                  <a:spcPct val="20000"/>
                </a:spcBef>
                <a:buClr>
                  <a:srgbClr val="00A9D4"/>
                </a:buClr>
                <a:buFont typeface="Arial" pitchFamily="34" charset="0"/>
                <a:buChar char="›"/>
                <a:defRPr>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15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15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15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15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9pPr>
            </a:lstStyle>
            <a:p>
              <a:pPr eaLnBrk="1" hangingPunct="1">
                <a:spcBef>
                  <a:spcPct val="50000"/>
                </a:spcBef>
                <a:buClrTx/>
                <a:buFontTx/>
                <a:buNone/>
              </a:pPr>
              <a:endParaRPr lang="sv-SE" altLang="sv-SE" sz="1300">
                <a:cs typeface="Arial" pitchFamily="34" charset="0"/>
              </a:endParaRPr>
            </a:p>
          </p:txBody>
        </p:sp>
        <p:sp>
          <p:nvSpPr>
            <p:cNvPr id="88" name="Freeform 2"/>
            <p:cNvSpPr>
              <a:spLocks noChangeAspect="1" noEditPoints="1"/>
            </p:cNvSpPr>
            <p:nvPr/>
          </p:nvSpPr>
          <p:spPr bwMode="auto">
            <a:xfrm>
              <a:off x="1193771" y="5645652"/>
              <a:ext cx="436963" cy="485513"/>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p:spPr>
          <p:txBody>
            <a:bodyPr lIns="91434" tIns="45718" rIns="91434" bIns="45718"/>
            <a:lstStyle/>
            <a:p>
              <a:endParaRPr lang="en-US" sz="1600"/>
            </a:p>
          </p:txBody>
        </p:sp>
      </p:grpSp>
      <p:grpSp>
        <p:nvGrpSpPr>
          <p:cNvPr id="89" name="Group 88"/>
          <p:cNvGrpSpPr>
            <a:grpSpLocks noChangeAspect="1"/>
          </p:cNvGrpSpPr>
          <p:nvPr/>
        </p:nvGrpSpPr>
        <p:grpSpPr>
          <a:xfrm>
            <a:off x="10781894" y="5520782"/>
            <a:ext cx="654545" cy="614506"/>
            <a:chOff x="10438971" y="5547924"/>
            <a:chExt cx="720000" cy="675957"/>
          </a:xfrm>
        </p:grpSpPr>
        <p:sp>
          <p:nvSpPr>
            <p:cNvPr id="90" name="Oval 79"/>
            <p:cNvSpPr>
              <a:spLocks noChangeAspect="1"/>
            </p:cNvSpPr>
            <p:nvPr/>
          </p:nvSpPr>
          <p:spPr bwMode="auto">
            <a:xfrm>
              <a:off x="10438971" y="5547924"/>
              <a:ext cx="720000" cy="675957"/>
            </a:xfrm>
            <a:prstGeom prst="ellipse">
              <a:avLst/>
            </a:prstGeom>
            <a:solidFill>
              <a:schemeClr val="tx2">
                <a:lumMod val="10000"/>
                <a:lumOff val="90000"/>
                <a:alpha val="40000"/>
              </a:schemeClr>
            </a:solidFill>
            <a:ln>
              <a:noFill/>
            </a:ln>
            <a:extLst/>
          </p:spPr>
          <p:txBody>
            <a:bodyPr wrap="none" lIns="71996" tIns="45718" rIns="71996" bIns="45718"/>
            <a:lstStyle>
              <a:lvl1pPr eaLnBrk="0" hangingPunct="0">
                <a:spcBef>
                  <a:spcPct val="20000"/>
                </a:spcBef>
                <a:buClr>
                  <a:srgbClr val="00A9D4"/>
                </a:buClr>
                <a:buFont typeface="Arial" pitchFamily="34" charset="0"/>
                <a:buChar char="›"/>
                <a:defRPr>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15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15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15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15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1500">
                  <a:solidFill>
                    <a:schemeClr val="tx1"/>
                  </a:solidFill>
                  <a:latin typeface="Arial" pitchFamily="34" charset="0"/>
                </a:defRPr>
              </a:lvl9pPr>
            </a:lstStyle>
            <a:p>
              <a:pPr eaLnBrk="1" hangingPunct="1">
                <a:spcBef>
                  <a:spcPct val="50000"/>
                </a:spcBef>
                <a:buClrTx/>
                <a:buFontTx/>
                <a:buNone/>
              </a:pPr>
              <a:endParaRPr lang="sv-SE" altLang="sv-SE" sz="1300">
                <a:cs typeface="Arial" pitchFamily="34" charset="0"/>
              </a:endParaRPr>
            </a:p>
          </p:txBody>
        </p:sp>
        <p:sp>
          <p:nvSpPr>
            <p:cNvPr id="91" name="Freeform 3"/>
            <p:cNvSpPr>
              <a:spLocks noChangeAspect="1" noEditPoints="1"/>
            </p:cNvSpPr>
            <p:nvPr/>
          </p:nvSpPr>
          <p:spPr bwMode="auto">
            <a:xfrm>
              <a:off x="10611498" y="5650406"/>
              <a:ext cx="374947" cy="470992"/>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chemeClr val="accent3"/>
            </a:solidFill>
            <a:ln>
              <a:noFill/>
            </a:ln>
            <a:extLst/>
          </p:spPr>
          <p:txBody>
            <a:bodyPr lIns="91434" tIns="45718" rIns="91434" bIns="45718"/>
            <a:lstStyle/>
            <a:p>
              <a:pPr>
                <a:defRPr/>
              </a:pPr>
              <a:endParaRPr lang="en-US" sz="1300">
                <a:cs typeface="Arial" charset="0"/>
              </a:endParaRPr>
            </a:p>
          </p:txBody>
        </p:sp>
      </p:grpSp>
      <p:grpSp>
        <p:nvGrpSpPr>
          <p:cNvPr id="92" name="Group 91"/>
          <p:cNvGrpSpPr>
            <a:grpSpLocks noChangeAspect="1"/>
          </p:cNvGrpSpPr>
          <p:nvPr/>
        </p:nvGrpSpPr>
        <p:grpSpPr>
          <a:xfrm>
            <a:off x="1638893" y="3048937"/>
            <a:ext cx="8902431" cy="3086351"/>
            <a:chOff x="1193771" y="1940100"/>
            <a:chExt cx="9792674" cy="3394986"/>
          </a:xfrm>
        </p:grpSpPr>
        <p:sp>
          <p:nvSpPr>
            <p:cNvPr id="93" name="Rounded Rectangle 251"/>
            <p:cNvSpPr>
              <a:spLocks noChangeArrowheads="1"/>
            </p:cNvSpPr>
            <p:nvPr/>
          </p:nvSpPr>
          <p:spPr bwMode="auto">
            <a:xfrm>
              <a:off x="7038972" y="1940100"/>
              <a:ext cx="1800000" cy="3386372"/>
            </a:xfrm>
            <a:prstGeom prst="roundRect">
              <a:avLst>
                <a:gd name="adj" fmla="val 7319"/>
              </a:avLst>
            </a:prstGeom>
            <a:solidFill>
              <a:srgbClr val="FFFFFF">
                <a:alpha val="50000"/>
              </a:srgbClr>
            </a:solidFill>
            <a:ln w="12700">
              <a:solidFill>
                <a:schemeClr val="bg1"/>
              </a:solidFill>
              <a:round/>
              <a:headEnd/>
              <a:tailEnd/>
            </a:ln>
            <a:extLst/>
          </p:spPr>
          <p:txBody>
            <a:bodyPr wrap="square" lIns="71988" tIns="45718" rIns="71988" bIns="45718"/>
            <a:lstStyle/>
            <a:p>
              <a:pPr algn="ctr"/>
              <a:r>
                <a:rPr lang="en-US" sz="1600">
                  <a:solidFill>
                    <a:schemeClr val="bg1"/>
                  </a:solidFill>
                </a:rPr>
                <a:t>National sites</a:t>
              </a:r>
              <a:endParaRPr lang="en-US" sz="1600" dirty="0">
                <a:solidFill>
                  <a:schemeClr val="bg1"/>
                </a:solidFill>
              </a:endParaRPr>
            </a:p>
          </p:txBody>
        </p:sp>
        <p:sp>
          <p:nvSpPr>
            <p:cNvPr id="94" name="Rounded Rectangle 1"/>
            <p:cNvSpPr>
              <a:spLocks noChangeArrowheads="1"/>
            </p:cNvSpPr>
            <p:nvPr/>
          </p:nvSpPr>
          <p:spPr bwMode="auto">
            <a:xfrm>
              <a:off x="4974344" y="1940767"/>
              <a:ext cx="1800000" cy="3391063"/>
            </a:xfrm>
            <a:prstGeom prst="roundRect">
              <a:avLst>
                <a:gd name="adj" fmla="val 7319"/>
              </a:avLst>
            </a:prstGeom>
            <a:solidFill>
              <a:srgbClr val="FFFFFF">
                <a:alpha val="50000"/>
              </a:srgbClr>
            </a:solidFill>
            <a:ln w="12700">
              <a:solidFill>
                <a:schemeClr val="bg1"/>
              </a:solidFill>
              <a:round/>
              <a:headEnd/>
              <a:tailEnd/>
            </a:ln>
            <a:extLst/>
          </p:spPr>
          <p:txBody>
            <a:bodyPr wrap="square" lIns="71988" tIns="45718" rIns="71988" bIns="45718"/>
            <a:lstStyle/>
            <a:p>
              <a:pPr algn="ctr"/>
              <a:r>
                <a:rPr lang="en-US" sz="1600">
                  <a:solidFill>
                    <a:schemeClr val="bg1"/>
                  </a:solidFill>
                </a:rPr>
                <a:t>Distributed sites</a:t>
              </a:r>
              <a:endParaRPr lang="en-US" sz="1600" dirty="0">
                <a:solidFill>
                  <a:schemeClr val="bg1"/>
                </a:solidFill>
              </a:endParaRPr>
            </a:p>
          </p:txBody>
        </p:sp>
        <p:sp>
          <p:nvSpPr>
            <p:cNvPr id="95" name="Rounded Rectangle 1"/>
            <p:cNvSpPr>
              <a:spLocks noChangeArrowheads="1"/>
            </p:cNvSpPr>
            <p:nvPr/>
          </p:nvSpPr>
          <p:spPr bwMode="auto">
            <a:xfrm>
              <a:off x="2909716" y="1941173"/>
              <a:ext cx="1800000" cy="3393913"/>
            </a:xfrm>
            <a:prstGeom prst="roundRect">
              <a:avLst>
                <a:gd name="adj" fmla="val 7319"/>
              </a:avLst>
            </a:prstGeom>
            <a:solidFill>
              <a:srgbClr val="FFFFFF">
                <a:alpha val="50000"/>
              </a:srgbClr>
            </a:solidFill>
            <a:ln w="12700">
              <a:solidFill>
                <a:schemeClr val="bg1"/>
              </a:solidFill>
              <a:round/>
              <a:headEnd/>
              <a:tailEnd/>
            </a:ln>
            <a:extLst/>
          </p:spPr>
          <p:txBody>
            <a:bodyPr wrap="square" lIns="71988" tIns="45718" rIns="71988" bIns="45718"/>
            <a:lstStyle/>
            <a:p>
              <a:pPr algn="ctr"/>
              <a:r>
                <a:rPr lang="en-US" sz="1600">
                  <a:solidFill>
                    <a:schemeClr val="bg1"/>
                  </a:solidFill>
                </a:rPr>
                <a:t>Access sites</a:t>
              </a:r>
              <a:endParaRPr lang="en-US" sz="1600" dirty="0">
                <a:solidFill>
                  <a:schemeClr val="bg1"/>
                </a:solidFill>
              </a:endParaRPr>
            </a:p>
          </p:txBody>
        </p:sp>
        <p:sp>
          <p:nvSpPr>
            <p:cNvPr id="96" name="Rounded Rectangle 103"/>
            <p:cNvSpPr/>
            <p:nvPr/>
          </p:nvSpPr>
          <p:spPr bwMode="auto">
            <a:xfrm>
              <a:off x="1193771" y="1941155"/>
              <a:ext cx="1451318" cy="3393783"/>
            </a:xfrm>
            <a:prstGeom prst="roundRect">
              <a:avLst>
                <a:gd name="adj" fmla="val 11444"/>
              </a:avLst>
            </a:prstGeom>
            <a:solidFill>
              <a:srgbClr val="FFFFFF">
                <a:alpha val="30196"/>
              </a:srgbClr>
            </a:solidFill>
            <a:ln w="12700" cap="flat" cmpd="sng" algn="ctr">
              <a:solidFill>
                <a:srgbClr val="FFFFFF"/>
              </a:solidFill>
              <a:prstDash val="solid"/>
              <a:round/>
              <a:headEnd type="none" w="med" len="med"/>
              <a:tailEnd type="none" w="med" len="med"/>
            </a:ln>
            <a:effectLst/>
          </p:spPr>
          <p:txBody>
            <a:bodyPr wrap="none" lIns="71988" tIns="45718" rIns="71988" bIns="45718"/>
            <a:lstStyle/>
            <a:p>
              <a:pPr algn="ctr"/>
              <a:r>
                <a:rPr lang="en-US" sz="1600" dirty="0">
                  <a:solidFill>
                    <a:srgbClr val="FFFFFF"/>
                  </a:solidFill>
                </a:rPr>
                <a:t>Devices / </a:t>
              </a:r>
              <a:br>
                <a:rPr lang="en-US" sz="1600" dirty="0">
                  <a:solidFill>
                    <a:srgbClr val="FFFFFF"/>
                  </a:solidFill>
                </a:rPr>
              </a:br>
              <a:r>
                <a:rPr lang="en-US" sz="1600" dirty="0">
                  <a:solidFill>
                    <a:srgbClr val="FFFFFF"/>
                  </a:solidFill>
                </a:rPr>
                <a:t>Local NW</a:t>
              </a:r>
            </a:p>
          </p:txBody>
        </p:sp>
        <p:sp>
          <p:nvSpPr>
            <p:cNvPr id="97" name="Rounded Rectangle 56"/>
            <p:cNvSpPr>
              <a:spLocks noChangeArrowheads="1"/>
            </p:cNvSpPr>
            <p:nvPr/>
          </p:nvSpPr>
          <p:spPr bwMode="auto">
            <a:xfrm>
              <a:off x="9103599" y="1941173"/>
              <a:ext cx="1882846" cy="3393911"/>
            </a:xfrm>
            <a:prstGeom prst="roundRect">
              <a:avLst>
                <a:gd name="adj" fmla="val 9616"/>
              </a:avLst>
            </a:prstGeom>
            <a:solidFill>
              <a:srgbClr val="FFFFFF">
                <a:alpha val="50000"/>
              </a:srgbClr>
            </a:solidFill>
            <a:ln w="12700">
              <a:solidFill>
                <a:schemeClr val="bg1"/>
              </a:solidFill>
              <a:round/>
              <a:headEnd/>
              <a:tailEnd/>
            </a:ln>
            <a:extLst/>
          </p:spPr>
          <p:txBody>
            <a:bodyPr wrap="square" lIns="71988" tIns="45718" rIns="71988" bIns="45718"/>
            <a:lstStyle/>
            <a:p>
              <a:pPr algn="ctr"/>
              <a:r>
                <a:rPr lang="en-US" sz="1600" dirty="0">
                  <a:solidFill>
                    <a:srgbClr val="FFFFFF"/>
                  </a:solidFill>
                </a:rPr>
                <a:t>Global sites</a:t>
              </a:r>
            </a:p>
          </p:txBody>
        </p:sp>
        <p:sp>
          <p:nvSpPr>
            <p:cNvPr id="98" name="Rounded Rectangle 59"/>
            <p:cNvSpPr>
              <a:spLocks noChangeArrowheads="1"/>
            </p:cNvSpPr>
            <p:nvPr/>
          </p:nvSpPr>
          <p:spPr bwMode="auto">
            <a:xfrm>
              <a:off x="2532565" y="2383675"/>
              <a:ext cx="7004199" cy="464791"/>
            </a:xfrm>
            <a:prstGeom prst="roundRect">
              <a:avLst>
                <a:gd name="adj" fmla="val 11787"/>
              </a:avLst>
            </a:prstGeom>
            <a:solidFill>
              <a:srgbClr val="58585A">
                <a:alpha val="49000"/>
              </a:srgbClr>
            </a:solidFill>
            <a:ln w="12700" cmpd="sng">
              <a:solidFill>
                <a:srgbClr val="FFFFFF"/>
              </a:solidFill>
              <a:prstDash val="dash"/>
              <a:round/>
              <a:headEnd/>
              <a:tailEnd/>
            </a:ln>
          </p:spPr>
          <p:txBody>
            <a:bodyPr wrap="none" lIns="71988" tIns="45718" rIns="71988" bIns="45718" anchor="ctr"/>
            <a:lstStyle/>
            <a:p>
              <a:pPr algn="ctr"/>
              <a:r>
                <a:rPr lang="en-US" sz="1600" dirty="0">
                  <a:solidFill>
                    <a:schemeClr val="bg1"/>
                  </a:solidFill>
                </a:rPr>
                <a:t>Application Cloud</a:t>
              </a:r>
            </a:p>
          </p:txBody>
        </p:sp>
        <p:sp>
          <p:nvSpPr>
            <p:cNvPr id="99" name="Rounded Rectangle 44"/>
            <p:cNvSpPr>
              <a:spLocks noChangeArrowheads="1"/>
            </p:cNvSpPr>
            <p:nvPr/>
          </p:nvSpPr>
          <p:spPr bwMode="auto">
            <a:xfrm>
              <a:off x="2529210" y="4820506"/>
              <a:ext cx="7007554" cy="444260"/>
            </a:xfrm>
            <a:prstGeom prst="roundRect">
              <a:avLst>
                <a:gd name="adj" fmla="val 11444"/>
              </a:avLst>
            </a:prstGeom>
            <a:solidFill>
              <a:srgbClr val="58585A">
                <a:alpha val="55000"/>
              </a:srgbClr>
            </a:solidFill>
            <a:ln w="12700" cmpd="sng">
              <a:solidFill>
                <a:srgbClr val="FFFFFF"/>
              </a:solidFill>
              <a:round/>
              <a:headEnd/>
              <a:tailEnd/>
            </a:ln>
          </p:spPr>
          <p:txBody>
            <a:bodyPr wrap="none" lIns="71998" tIns="45719" rIns="71998" bIns="45719" anchor="ctr"/>
            <a:lstStyle/>
            <a:p>
              <a:pPr algn="ctr">
                <a:spcBef>
                  <a:spcPct val="50000"/>
                </a:spcBef>
                <a:defRPr/>
              </a:pPr>
              <a:r>
                <a:rPr lang="en-US" sz="1600" dirty="0">
                  <a:solidFill>
                    <a:srgbClr val="FFFFFF"/>
                  </a:solidFill>
                  <a:ea typeface="MS PGothic" charset="0"/>
                  <a:cs typeface="Arial" charset="0"/>
                </a:rPr>
                <a:t>Transport</a:t>
              </a:r>
            </a:p>
          </p:txBody>
        </p:sp>
        <p:sp>
          <p:nvSpPr>
            <p:cNvPr id="100" name="Rounded Rectangle 59"/>
            <p:cNvSpPr>
              <a:spLocks noChangeArrowheads="1"/>
            </p:cNvSpPr>
            <p:nvPr/>
          </p:nvSpPr>
          <p:spPr bwMode="auto">
            <a:xfrm>
              <a:off x="4418861" y="4277046"/>
              <a:ext cx="5117903" cy="444260"/>
            </a:xfrm>
            <a:prstGeom prst="roundRect">
              <a:avLst>
                <a:gd name="adj" fmla="val 11787"/>
              </a:avLst>
            </a:prstGeom>
            <a:solidFill>
              <a:srgbClr val="58585A">
                <a:alpha val="49000"/>
              </a:srgbClr>
            </a:solidFill>
            <a:ln w="12700" cmpd="sng">
              <a:solidFill>
                <a:srgbClr val="FFFFFF"/>
              </a:solidFill>
              <a:round/>
              <a:headEnd/>
              <a:tailEnd/>
            </a:ln>
          </p:spPr>
          <p:txBody>
            <a:bodyPr wrap="none" lIns="71988" tIns="45718" rIns="71988" bIns="45718" anchor="ctr"/>
            <a:lstStyle/>
            <a:p>
              <a:pPr algn="ctr"/>
              <a:r>
                <a:rPr lang="en-US" sz="1600" dirty="0">
                  <a:solidFill>
                    <a:schemeClr val="bg1"/>
                  </a:solidFill>
                </a:rPr>
                <a:t>Cloud Infrastructure</a:t>
              </a:r>
            </a:p>
          </p:txBody>
        </p:sp>
        <p:sp>
          <p:nvSpPr>
            <p:cNvPr id="101" name="Rounded Rectangle 59"/>
            <p:cNvSpPr>
              <a:spLocks noChangeArrowheads="1"/>
            </p:cNvSpPr>
            <p:nvPr/>
          </p:nvSpPr>
          <p:spPr bwMode="auto">
            <a:xfrm>
              <a:off x="2525505" y="2934314"/>
              <a:ext cx="7007555" cy="442800"/>
            </a:xfrm>
            <a:prstGeom prst="roundRect">
              <a:avLst>
                <a:gd name="adj" fmla="val 11787"/>
              </a:avLst>
            </a:prstGeom>
            <a:solidFill>
              <a:srgbClr val="58585A">
                <a:alpha val="49000"/>
              </a:srgbClr>
            </a:solidFill>
            <a:ln w="12700" cmpd="sng">
              <a:solidFill>
                <a:srgbClr val="FFFFFF"/>
              </a:solidFill>
              <a:round/>
              <a:headEnd/>
              <a:tailEnd/>
            </a:ln>
          </p:spPr>
          <p:txBody>
            <a:bodyPr wrap="none" lIns="71988" tIns="45718" rIns="71988" bIns="45718" anchor="ctr"/>
            <a:lstStyle/>
            <a:p>
              <a:pPr algn="ctr" eaLnBrk="1" hangingPunct="1">
                <a:defRPr/>
              </a:pPr>
              <a:r>
                <a:rPr lang="en-US" sz="1600" dirty="0">
                  <a:solidFill>
                    <a:schemeClr val="bg1"/>
                  </a:solidFill>
                </a:rPr>
                <a:t>Management &amp; Monetization</a:t>
              </a:r>
            </a:p>
          </p:txBody>
        </p:sp>
        <p:sp>
          <p:nvSpPr>
            <p:cNvPr id="102" name="Freeform 7"/>
            <p:cNvSpPr>
              <a:spLocks noChangeAspect="1" noEditPoints="1"/>
            </p:cNvSpPr>
            <p:nvPr/>
          </p:nvSpPr>
          <p:spPr bwMode="auto">
            <a:xfrm>
              <a:off x="1692691" y="2842209"/>
              <a:ext cx="266167" cy="382259"/>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solidFill>
              <a:srgbClr val="FFFFFF"/>
            </a:solidFill>
            <a:ln>
              <a:noFill/>
            </a:ln>
            <a:extLst/>
          </p:spPr>
          <p:txBody>
            <a:bodyPr lIns="68579" tIns="34289" rIns="68579" bIns="34289"/>
            <a:lstStyle/>
            <a:p>
              <a:endParaRPr lang="en-US" sz="1800"/>
            </a:p>
          </p:txBody>
        </p:sp>
        <p:sp>
          <p:nvSpPr>
            <p:cNvPr id="103" name="Freeform 3"/>
            <p:cNvSpPr>
              <a:spLocks noChangeAspect="1" noEditPoints="1"/>
            </p:cNvSpPr>
            <p:nvPr/>
          </p:nvSpPr>
          <p:spPr bwMode="auto">
            <a:xfrm>
              <a:off x="1513592" y="3477071"/>
              <a:ext cx="612937" cy="276441"/>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solidFill>
              <a:srgbClr val="FFFFFF"/>
            </a:solidFill>
            <a:ln>
              <a:noFill/>
            </a:ln>
            <a:extLst/>
          </p:spPr>
          <p:txBody>
            <a:bodyPr lIns="68532" tIns="34268" rIns="68532" bIns="34268"/>
            <a:lstStyle/>
            <a:p>
              <a:endParaRPr lang="en-US" sz="1800"/>
            </a:p>
          </p:txBody>
        </p:sp>
        <p:sp>
          <p:nvSpPr>
            <p:cNvPr id="104" name="Freeform 7"/>
            <p:cNvSpPr>
              <a:spLocks noChangeAspect="1" noEditPoints="1"/>
            </p:cNvSpPr>
            <p:nvPr/>
          </p:nvSpPr>
          <p:spPr bwMode="auto">
            <a:xfrm>
              <a:off x="1632987" y="4006115"/>
              <a:ext cx="383757" cy="38384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FFFFFF"/>
            </a:solidFill>
            <a:ln>
              <a:noFill/>
            </a:ln>
            <a:extLst/>
          </p:spPr>
          <p:txBody>
            <a:bodyPr lIns="68580" tIns="34290" rIns="68580" bIns="34290"/>
            <a:lstStyle/>
            <a:p>
              <a:endParaRPr lang="en-US" sz="1800"/>
            </a:p>
          </p:txBody>
        </p:sp>
        <p:sp>
          <p:nvSpPr>
            <p:cNvPr id="105" name="Freeform 3"/>
            <p:cNvSpPr>
              <a:spLocks noChangeAspect="1" noEditPoints="1"/>
            </p:cNvSpPr>
            <p:nvPr/>
          </p:nvSpPr>
          <p:spPr bwMode="auto">
            <a:xfrm>
              <a:off x="1612351" y="4642563"/>
              <a:ext cx="399492" cy="333938"/>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FFFFFF"/>
            </a:solidFill>
            <a:ln>
              <a:noFill/>
            </a:ln>
            <a:extLst/>
          </p:spPr>
          <p:txBody>
            <a:bodyPr lIns="68532" tIns="34268" rIns="68532" bIns="34268"/>
            <a:lstStyle/>
            <a:p>
              <a:endParaRPr lang="en-US" sz="1800"/>
            </a:p>
          </p:txBody>
        </p:sp>
        <p:sp>
          <p:nvSpPr>
            <p:cNvPr id="106" name="Freeform: Shape 73"/>
            <p:cNvSpPr>
              <a:spLocks noChangeArrowheads="1"/>
            </p:cNvSpPr>
            <p:nvPr/>
          </p:nvSpPr>
          <p:spPr bwMode="auto">
            <a:xfrm>
              <a:off x="2532566" y="3721979"/>
              <a:ext cx="7004198" cy="993183"/>
            </a:xfrm>
            <a:custGeom>
              <a:avLst/>
              <a:gdLst>
                <a:gd name="connsiteX0" fmla="*/ 52366 w 6987111"/>
                <a:gd name="connsiteY0" fmla="*/ 0 h 993183"/>
                <a:gd name="connsiteX1" fmla="*/ 2561818 w 6987111"/>
                <a:gd name="connsiteY1" fmla="*/ 0 h 993183"/>
                <a:gd name="connsiteX2" fmla="*/ 2856687 w 6987111"/>
                <a:gd name="connsiteY2" fmla="*/ 0 h 993183"/>
                <a:gd name="connsiteX3" fmla="*/ 6934746 w 6987111"/>
                <a:gd name="connsiteY3" fmla="*/ 0 h 993183"/>
                <a:gd name="connsiteX4" fmla="*/ 6987111 w 6987111"/>
                <a:gd name="connsiteY4" fmla="*/ 52365 h 993183"/>
                <a:gd name="connsiteX5" fmla="*/ 6987111 w 6987111"/>
                <a:gd name="connsiteY5" fmla="*/ 391895 h 993183"/>
                <a:gd name="connsiteX6" fmla="*/ 6934746 w 6987111"/>
                <a:gd name="connsiteY6" fmla="*/ 444260 h 993183"/>
                <a:gd name="connsiteX7" fmla="*/ 2561818 w 6987111"/>
                <a:gd name="connsiteY7" fmla="*/ 444260 h 993183"/>
                <a:gd name="connsiteX8" fmla="*/ 2558683 w 6987111"/>
                <a:gd name="connsiteY8" fmla="*/ 443627 h 993183"/>
                <a:gd name="connsiteX9" fmla="*/ 1821835 w 6987111"/>
                <a:gd name="connsiteY9" fmla="*/ 443627 h 993183"/>
                <a:gd name="connsiteX10" fmla="*/ 1769763 w 6987111"/>
                <a:gd name="connsiteY10" fmla="*/ 495699 h 993183"/>
                <a:gd name="connsiteX11" fmla="*/ 1769763 w 6987111"/>
                <a:gd name="connsiteY11" fmla="*/ 833331 h 993183"/>
                <a:gd name="connsiteX12" fmla="*/ 1770085 w 6987111"/>
                <a:gd name="connsiteY12" fmla="*/ 834108 h 993183"/>
                <a:gd name="connsiteX13" fmla="*/ 1770085 w 6987111"/>
                <a:gd name="connsiteY13" fmla="*/ 940818 h 993183"/>
                <a:gd name="connsiteX14" fmla="*/ 1717720 w 6987111"/>
                <a:gd name="connsiteY14" fmla="*/ 993183 h 993183"/>
                <a:gd name="connsiteX15" fmla="*/ 52366 w 6987111"/>
                <a:gd name="connsiteY15" fmla="*/ 993183 h 993183"/>
                <a:gd name="connsiteX16" fmla="*/ 1 w 6987111"/>
                <a:gd name="connsiteY16" fmla="*/ 940818 h 993183"/>
                <a:gd name="connsiteX17" fmla="*/ 1 w 6987111"/>
                <a:gd name="connsiteY17" fmla="*/ 648961 h 993183"/>
                <a:gd name="connsiteX18" fmla="*/ 0 w 6987111"/>
                <a:gd name="connsiteY18" fmla="*/ 648958 h 993183"/>
                <a:gd name="connsiteX19" fmla="*/ 0 w 6987111"/>
                <a:gd name="connsiteY19" fmla="*/ 309428 h 993183"/>
                <a:gd name="connsiteX20" fmla="*/ 1 w 6987111"/>
                <a:gd name="connsiteY20" fmla="*/ 309425 h 993183"/>
                <a:gd name="connsiteX21" fmla="*/ 1 w 6987111"/>
                <a:gd name="connsiteY21" fmla="*/ 52365 h 993183"/>
                <a:gd name="connsiteX22" fmla="*/ 52366 w 6987111"/>
                <a:gd name="connsiteY22" fmla="*/ 0 h 99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87111" h="993183">
                  <a:moveTo>
                    <a:pt x="52366" y="0"/>
                  </a:moveTo>
                  <a:lnTo>
                    <a:pt x="2561818" y="0"/>
                  </a:lnTo>
                  <a:lnTo>
                    <a:pt x="2856687" y="0"/>
                  </a:lnTo>
                  <a:lnTo>
                    <a:pt x="6934746" y="0"/>
                  </a:lnTo>
                  <a:cubicBezTo>
                    <a:pt x="6963666" y="0"/>
                    <a:pt x="6987111" y="23445"/>
                    <a:pt x="6987111" y="52365"/>
                  </a:cubicBezTo>
                  <a:lnTo>
                    <a:pt x="6987111" y="391895"/>
                  </a:lnTo>
                  <a:cubicBezTo>
                    <a:pt x="6987111" y="420815"/>
                    <a:pt x="6963666" y="444260"/>
                    <a:pt x="6934746" y="444260"/>
                  </a:cubicBezTo>
                  <a:lnTo>
                    <a:pt x="2561818" y="444260"/>
                  </a:lnTo>
                  <a:lnTo>
                    <a:pt x="2558683" y="443627"/>
                  </a:lnTo>
                  <a:lnTo>
                    <a:pt x="1821835" y="443627"/>
                  </a:lnTo>
                  <a:cubicBezTo>
                    <a:pt x="1793076" y="443627"/>
                    <a:pt x="1769763" y="466940"/>
                    <a:pt x="1769763" y="495699"/>
                  </a:cubicBezTo>
                  <a:lnTo>
                    <a:pt x="1769763" y="833331"/>
                  </a:lnTo>
                  <a:lnTo>
                    <a:pt x="1770085" y="834108"/>
                  </a:lnTo>
                  <a:lnTo>
                    <a:pt x="1770085" y="940818"/>
                  </a:lnTo>
                  <a:cubicBezTo>
                    <a:pt x="1770085" y="969738"/>
                    <a:pt x="1746640" y="993183"/>
                    <a:pt x="1717720" y="993183"/>
                  </a:cubicBezTo>
                  <a:lnTo>
                    <a:pt x="52366" y="993183"/>
                  </a:lnTo>
                  <a:cubicBezTo>
                    <a:pt x="23446" y="993183"/>
                    <a:pt x="1" y="969738"/>
                    <a:pt x="1" y="940818"/>
                  </a:cubicBezTo>
                  <a:lnTo>
                    <a:pt x="1" y="648961"/>
                  </a:lnTo>
                  <a:lnTo>
                    <a:pt x="0" y="648958"/>
                  </a:lnTo>
                  <a:lnTo>
                    <a:pt x="0" y="309428"/>
                  </a:lnTo>
                  <a:lnTo>
                    <a:pt x="1" y="309425"/>
                  </a:lnTo>
                  <a:lnTo>
                    <a:pt x="1" y="52365"/>
                  </a:lnTo>
                  <a:cubicBezTo>
                    <a:pt x="1" y="23445"/>
                    <a:pt x="23446" y="0"/>
                    <a:pt x="52366" y="0"/>
                  </a:cubicBezTo>
                  <a:close/>
                </a:path>
              </a:pathLst>
            </a:custGeom>
            <a:solidFill>
              <a:srgbClr val="58585A">
                <a:alpha val="49000"/>
              </a:srgbClr>
            </a:solidFill>
            <a:ln w="12700" cmpd="sng">
              <a:solidFill>
                <a:srgbClr val="FFFFFF"/>
              </a:solidFill>
              <a:round/>
              <a:headEnd/>
              <a:tailEnd/>
            </a:ln>
          </p:spPr>
          <p:txBody>
            <a:bodyPr wrap="square" lIns="71988" tIns="108000" rIns="71988" bIns="45718" anchor="t">
              <a:noAutofit/>
            </a:bodyPr>
            <a:lstStyle/>
            <a:p>
              <a:pPr algn="ctr"/>
              <a:r>
                <a:rPr lang="en-US" sz="1600" dirty="0">
                  <a:solidFill>
                    <a:srgbClr val="FFFFFF"/>
                  </a:solidFill>
                  <a:ea typeface="MS PGothic" charset="0"/>
                  <a:cs typeface="Arial" charset="0"/>
                </a:rPr>
                <a:t>Access, Mobility, Network applications</a:t>
              </a:r>
            </a:p>
          </p:txBody>
        </p:sp>
        <p:sp>
          <p:nvSpPr>
            <p:cNvPr id="107" name="Rounded Rectangle 2"/>
            <p:cNvSpPr/>
            <p:nvPr/>
          </p:nvSpPr>
          <p:spPr bwMode="auto">
            <a:xfrm>
              <a:off x="3141162" y="3821191"/>
              <a:ext cx="936000" cy="342000"/>
            </a:xfrm>
            <a:prstGeom prst="roundRect">
              <a:avLst/>
            </a:prstGeom>
            <a:solidFill>
              <a:schemeClr val="tx1">
                <a:lumMod val="60000"/>
                <a:lumOff val="40000"/>
                <a:alpha val="53000"/>
              </a:schemeClr>
            </a:solid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defTabSz="914354">
                <a:spcBef>
                  <a:spcPct val="50000"/>
                </a:spcBef>
              </a:pPr>
              <a:r>
                <a:rPr lang="en-US" sz="1600" dirty="0">
                  <a:solidFill>
                    <a:schemeClr val="bg1"/>
                  </a:solidFill>
                </a:rPr>
                <a:t>Mobile</a:t>
              </a:r>
              <a:endParaRPr lang="en-US" sz="1600" dirty="0"/>
            </a:p>
          </p:txBody>
        </p:sp>
        <p:sp>
          <p:nvSpPr>
            <p:cNvPr id="108" name="Rounded Rectangle 51"/>
            <p:cNvSpPr/>
            <p:nvPr/>
          </p:nvSpPr>
          <p:spPr bwMode="auto">
            <a:xfrm>
              <a:off x="3133341" y="4266508"/>
              <a:ext cx="936000" cy="342000"/>
            </a:xfrm>
            <a:prstGeom prst="roundRect">
              <a:avLst/>
            </a:prstGeom>
            <a:solidFill>
              <a:schemeClr val="tx1">
                <a:lumMod val="60000"/>
                <a:lumOff val="40000"/>
                <a:alpha val="53000"/>
              </a:schemeClr>
            </a:solid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defTabSz="914354">
                <a:spcBef>
                  <a:spcPct val="50000"/>
                </a:spcBef>
              </a:pPr>
              <a:r>
                <a:rPr lang="en-US" sz="1600" dirty="0">
                  <a:solidFill>
                    <a:schemeClr val="bg1"/>
                  </a:solidFill>
                </a:rPr>
                <a:t>Fixed</a:t>
              </a:r>
            </a:p>
          </p:txBody>
        </p:sp>
        <p:grpSp>
          <p:nvGrpSpPr>
            <p:cNvPr id="109" name="Group 108"/>
            <p:cNvGrpSpPr/>
            <p:nvPr/>
          </p:nvGrpSpPr>
          <p:grpSpPr>
            <a:xfrm>
              <a:off x="8379069" y="2488865"/>
              <a:ext cx="519183" cy="309003"/>
              <a:chOff x="10155963" y="2847119"/>
              <a:chExt cx="956740" cy="569424"/>
            </a:xfrm>
            <a:solidFill>
              <a:schemeClr val="bg1"/>
            </a:solidFill>
          </p:grpSpPr>
          <p:sp>
            <p:nvSpPr>
              <p:cNvPr id="148" name="Freeform 9"/>
              <p:cNvSpPr>
                <a:spLocks noChangeAspect="1"/>
              </p:cNvSpPr>
              <p:nvPr/>
            </p:nvSpPr>
            <p:spPr bwMode="auto">
              <a:xfrm>
                <a:off x="10155963" y="2847119"/>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49" name="Freeform 7"/>
              <p:cNvSpPr>
                <a:spLocks noChangeAspect="1" noEditPoints="1"/>
              </p:cNvSpPr>
              <p:nvPr/>
            </p:nvSpPr>
            <p:spPr bwMode="auto">
              <a:xfrm>
                <a:off x="10537777" y="3020669"/>
                <a:ext cx="207184" cy="297550"/>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grpFill/>
              <a:ln>
                <a:noFill/>
              </a:ln>
              <a:extLst/>
            </p:spPr>
            <p:txBody>
              <a:bodyPr lIns="68579" tIns="34289" rIns="68579" bIns="34289"/>
              <a:lstStyle/>
              <a:p>
                <a:endParaRPr lang="en-US" sz="1800"/>
              </a:p>
            </p:txBody>
          </p:sp>
        </p:grpSp>
        <p:grpSp>
          <p:nvGrpSpPr>
            <p:cNvPr id="110" name="Group 109"/>
            <p:cNvGrpSpPr/>
            <p:nvPr/>
          </p:nvGrpSpPr>
          <p:grpSpPr>
            <a:xfrm>
              <a:off x="4294353" y="2447921"/>
              <a:ext cx="519183" cy="309003"/>
              <a:chOff x="10155966" y="3447516"/>
              <a:chExt cx="956740" cy="569424"/>
            </a:xfrm>
            <a:solidFill>
              <a:schemeClr val="bg1"/>
            </a:solidFill>
          </p:grpSpPr>
          <p:sp>
            <p:nvSpPr>
              <p:cNvPr id="146" name="Freeform 3"/>
              <p:cNvSpPr>
                <a:spLocks noChangeAspect="1" noEditPoints="1"/>
              </p:cNvSpPr>
              <p:nvPr/>
            </p:nvSpPr>
            <p:spPr bwMode="auto">
              <a:xfrm>
                <a:off x="10385407" y="3687039"/>
                <a:ext cx="474097" cy="21382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grpFill/>
              <a:ln>
                <a:noFill/>
              </a:ln>
              <a:extLst/>
            </p:spPr>
            <p:txBody>
              <a:bodyPr lIns="68532" tIns="34268" rIns="68532" bIns="34268"/>
              <a:lstStyle/>
              <a:p>
                <a:endParaRPr lang="en-US" sz="1800"/>
              </a:p>
            </p:txBody>
          </p:sp>
          <p:sp>
            <p:nvSpPr>
              <p:cNvPr id="147" name="Freeform 9"/>
              <p:cNvSpPr>
                <a:spLocks noChangeAspect="1"/>
              </p:cNvSpPr>
              <p:nvPr/>
            </p:nvSpPr>
            <p:spPr bwMode="auto">
              <a:xfrm>
                <a:off x="10155966" y="3447516"/>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grpSp>
        <p:grpSp>
          <p:nvGrpSpPr>
            <p:cNvPr id="111" name="Group 110"/>
            <p:cNvGrpSpPr/>
            <p:nvPr/>
          </p:nvGrpSpPr>
          <p:grpSpPr>
            <a:xfrm>
              <a:off x="7174586" y="2475217"/>
              <a:ext cx="519183" cy="309003"/>
              <a:chOff x="10155969" y="4090974"/>
              <a:chExt cx="956740" cy="569424"/>
            </a:xfrm>
            <a:solidFill>
              <a:schemeClr val="bg1"/>
            </a:solidFill>
          </p:grpSpPr>
          <p:sp>
            <p:nvSpPr>
              <p:cNvPr id="144" name="Freeform 9"/>
              <p:cNvSpPr>
                <a:spLocks noChangeAspect="1"/>
              </p:cNvSpPr>
              <p:nvPr/>
            </p:nvSpPr>
            <p:spPr bwMode="auto">
              <a:xfrm>
                <a:off x="10155969" y="4090974"/>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45" name="Freeform 7"/>
              <p:cNvSpPr>
                <a:spLocks noChangeAspect="1" noEditPoints="1"/>
              </p:cNvSpPr>
              <p:nvPr/>
            </p:nvSpPr>
            <p:spPr bwMode="auto">
              <a:xfrm>
                <a:off x="10510583" y="4247298"/>
                <a:ext cx="302110" cy="30217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p:spPr>
            <p:txBody>
              <a:bodyPr lIns="68580" tIns="34290" rIns="68580" bIns="34290"/>
              <a:lstStyle/>
              <a:p>
                <a:endParaRPr lang="en-US" sz="1800"/>
              </a:p>
            </p:txBody>
          </p:sp>
        </p:grpSp>
        <p:grpSp>
          <p:nvGrpSpPr>
            <p:cNvPr id="112" name="Group 111"/>
            <p:cNvGrpSpPr/>
            <p:nvPr/>
          </p:nvGrpSpPr>
          <p:grpSpPr>
            <a:xfrm>
              <a:off x="3085177" y="2461569"/>
              <a:ext cx="519183" cy="309003"/>
              <a:chOff x="10172905" y="4734431"/>
              <a:chExt cx="956740" cy="569424"/>
            </a:xfrm>
            <a:solidFill>
              <a:schemeClr val="bg1"/>
            </a:solidFill>
          </p:grpSpPr>
          <p:sp>
            <p:nvSpPr>
              <p:cNvPr id="142" name="Freeform 9"/>
              <p:cNvSpPr>
                <a:spLocks noChangeAspect="1"/>
              </p:cNvSpPr>
              <p:nvPr/>
            </p:nvSpPr>
            <p:spPr bwMode="auto">
              <a:xfrm>
                <a:off x="10172905" y="4734431"/>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43" name="Freeform 3"/>
              <p:cNvSpPr>
                <a:spLocks noChangeAspect="1" noEditPoints="1"/>
              </p:cNvSpPr>
              <p:nvPr/>
            </p:nvSpPr>
            <p:spPr bwMode="auto">
              <a:xfrm>
                <a:off x="10438375" y="4888160"/>
                <a:ext cx="409235" cy="342082"/>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grpFill/>
              <a:ln>
                <a:noFill/>
              </a:ln>
              <a:extLst/>
            </p:spPr>
            <p:txBody>
              <a:bodyPr lIns="68532" tIns="34268" rIns="68532" bIns="34268"/>
              <a:lstStyle/>
              <a:p>
                <a:endParaRPr lang="en-US" sz="1800"/>
              </a:p>
            </p:txBody>
          </p:sp>
        </p:grpSp>
        <p:grpSp>
          <p:nvGrpSpPr>
            <p:cNvPr id="113" name="Group 112"/>
            <p:cNvGrpSpPr/>
            <p:nvPr/>
          </p:nvGrpSpPr>
          <p:grpSpPr>
            <a:xfrm>
              <a:off x="2550997" y="3450373"/>
              <a:ext cx="2596956" cy="187210"/>
              <a:chOff x="2550997" y="3450373"/>
              <a:chExt cx="2794726" cy="187210"/>
            </a:xfrm>
          </p:grpSpPr>
          <p:cxnSp>
            <p:nvCxnSpPr>
              <p:cNvPr id="139" name="Straight Connector 60"/>
              <p:cNvCxnSpPr>
                <a:cxnSpLocks noChangeShapeType="1"/>
              </p:cNvCxnSpPr>
              <p:nvPr>
                <p:custDataLst>
                  <p:tags r:id="rId12"/>
                </p:custDataLst>
              </p:nvPr>
            </p:nvCxnSpPr>
            <p:spPr bwMode="auto">
              <a:xfrm>
                <a:off x="2550997" y="3450373"/>
                <a:ext cx="2794726" cy="459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40" name="Straight Connector 61"/>
              <p:cNvCxnSpPr>
                <a:cxnSpLocks noChangeShapeType="1"/>
              </p:cNvCxnSpPr>
              <p:nvPr>
                <p:custDataLst>
                  <p:tags r:id="rId13"/>
                </p:custDataLst>
              </p:nvPr>
            </p:nvCxnSpPr>
            <p:spPr bwMode="auto">
              <a:xfrm>
                <a:off x="2550997" y="3543979"/>
                <a:ext cx="2794726" cy="8113"/>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41" name="Straight Connector 62"/>
              <p:cNvCxnSpPr>
                <a:cxnSpLocks noChangeShapeType="1"/>
              </p:cNvCxnSpPr>
              <p:nvPr>
                <p:custDataLst>
                  <p:tags r:id="rId14"/>
                </p:custDataLst>
              </p:nvPr>
            </p:nvCxnSpPr>
            <p:spPr bwMode="auto">
              <a:xfrm>
                <a:off x="2550997" y="3637583"/>
                <a:ext cx="2793718"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sp>
          <p:nvSpPr>
            <p:cNvPr id="114" name="TextBox 113"/>
            <p:cNvSpPr txBox="1"/>
            <p:nvPr/>
          </p:nvSpPr>
          <p:spPr>
            <a:xfrm>
              <a:off x="4974343" y="3373952"/>
              <a:ext cx="1817172" cy="338555"/>
            </a:xfrm>
            <a:prstGeom prst="rect">
              <a:avLst/>
            </a:prstGeom>
            <a:noFill/>
          </p:spPr>
          <p:txBody>
            <a:bodyPr wrap="square" lIns="36000" rIns="36000" rtlCol="0">
              <a:spAutoFit/>
            </a:bodyPr>
            <a:lstStyle/>
            <a:p>
              <a:pPr algn="ctr"/>
              <a:r>
                <a:rPr lang="en-US" sz="1400" dirty="0">
                  <a:solidFill>
                    <a:schemeClr val="bg1"/>
                  </a:solidFill>
                </a:rPr>
                <a:t>Network Slices</a:t>
              </a:r>
            </a:p>
          </p:txBody>
        </p:sp>
        <p:grpSp>
          <p:nvGrpSpPr>
            <p:cNvPr id="115" name="Group 114"/>
            <p:cNvGrpSpPr/>
            <p:nvPr/>
          </p:nvGrpSpPr>
          <p:grpSpPr>
            <a:xfrm>
              <a:off x="9898947" y="2734606"/>
              <a:ext cx="843335" cy="501929"/>
              <a:chOff x="10155963" y="2847119"/>
              <a:chExt cx="956740" cy="569424"/>
            </a:xfrm>
            <a:solidFill>
              <a:schemeClr val="bg1"/>
            </a:solidFill>
          </p:grpSpPr>
          <p:sp>
            <p:nvSpPr>
              <p:cNvPr id="137" name="Freeform 9"/>
              <p:cNvSpPr>
                <a:spLocks noChangeAspect="1"/>
              </p:cNvSpPr>
              <p:nvPr/>
            </p:nvSpPr>
            <p:spPr bwMode="auto">
              <a:xfrm>
                <a:off x="10155963" y="2847119"/>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38" name="Freeform 7"/>
              <p:cNvSpPr>
                <a:spLocks noChangeAspect="1" noEditPoints="1"/>
              </p:cNvSpPr>
              <p:nvPr/>
            </p:nvSpPr>
            <p:spPr bwMode="auto">
              <a:xfrm>
                <a:off x="10537777" y="3020669"/>
                <a:ext cx="207184" cy="297550"/>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grpFill/>
              <a:ln>
                <a:noFill/>
              </a:ln>
              <a:extLst/>
            </p:spPr>
            <p:txBody>
              <a:bodyPr lIns="68579" tIns="34289" rIns="68579" bIns="34289"/>
              <a:lstStyle/>
              <a:p>
                <a:endParaRPr lang="en-US" sz="1800"/>
              </a:p>
            </p:txBody>
          </p:sp>
        </p:grpSp>
        <p:grpSp>
          <p:nvGrpSpPr>
            <p:cNvPr id="116" name="Group 115"/>
            <p:cNvGrpSpPr/>
            <p:nvPr/>
          </p:nvGrpSpPr>
          <p:grpSpPr>
            <a:xfrm>
              <a:off x="9898950" y="3330252"/>
              <a:ext cx="843335" cy="501929"/>
              <a:chOff x="10155966" y="3447516"/>
              <a:chExt cx="956740" cy="569424"/>
            </a:xfrm>
            <a:solidFill>
              <a:schemeClr val="bg1"/>
            </a:solidFill>
          </p:grpSpPr>
          <p:sp>
            <p:nvSpPr>
              <p:cNvPr id="135" name="Freeform 3"/>
              <p:cNvSpPr>
                <a:spLocks noChangeAspect="1" noEditPoints="1"/>
              </p:cNvSpPr>
              <p:nvPr/>
            </p:nvSpPr>
            <p:spPr bwMode="auto">
              <a:xfrm>
                <a:off x="10385407" y="3687039"/>
                <a:ext cx="474097" cy="21382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grpFill/>
              <a:ln>
                <a:noFill/>
              </a:ln>
              <a:extLst/>
            </p:spPr>
            <p:txBody>
              <a:bodyPr lIns="68532" tIns="34268" rIns="68532" bIns="34268"/>
              <a:lstStyle/>
              <a:p>
                <a:endParaRPr lang="en-US" sz="1800"/>
              </a:p>
            </p:txBody>
          </p:sp>
          <p:sp>
            <p:nvSpPr>
              <p:cNvPr id="136" name="Freeform 9"/>
              <p:cNvSpPr>
                <a:spLocks noChangeAspect="1"/>
              </p:cNvSpPr>
              <p:nvPr/>
            </p:nvSpPr>
            <p:spPr bwMode="auto">
              <a:xfrm>
                <a:off x="10155966" y="3447516"/>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grpSp>
        <p:grpSp>
          <p:nvGrpSpPr>
            <p:cNvPr id="117" name="Group 116"/>
            <p:cNvGrpSpPr/>
            <p:nvPr/>
          </p:nvGrpSpPr>
          <p:grpSpPr>
            <a:xfrm>
              <a:off x="9898953" y="3925898"/>
              <a:ext cx="843335" cy="501929"/>
              <a:chOff x="10155969" y="4090974"/>
              <a:chExt cx="956740" cy="569424"/>
            </a:xfrm>
            <a:solidFill>
              <a:schemeClr val="bg1"/>
            </a:solidFill>
          </p:grpSpPr>
          <p:sp>
            <p:nvSpPr>
              <p:cNvPr id="133" name="Freeform 9"/>
              <p:cNvSpPr>
                <a:spLocks noChangeAspect="1"/>
              </p:cNvSpPr>
              <p:nvPr/>
            </p:nvSpPr>
            <p:spPr bwMode="auto">
              <a:xfrm>
                <a:off x="10155969" y="4090974"/>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34" name="Freeform 7"/>
              <p:cNvSpPr>
                <a:spLocks noChangeAspect="1" noEditPoints="1"/>
              </p:cNvSpPr>
              <p:nvPr/>
            </p:nvSpPr>
            <p:spPr bwMode="auto">
              <a:xfrm>
                <a:off x="10510583" y="4247298"/>
                <a:ext cx="302110" cy="30217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p:spPr>
            <p:txBody>
              <a:bodyPr lIns="68580" tIns="34290" rIns="68580" bIns="34290"/>
              <a:lstStyle/>
              <a:p>
                <a:endParaRPr lang="en-US" sz="1800"/>
              </a:p>
            </p:txBody>
          </p:sp>
        </p:grpSp>
        <p:grpSp>
          <p:nvGrpSpPr>
            <p:cNvPr id="118" name="Group 117"/>
            <p:cNvGrpSpPr/>
            <p:nvPr/>
          </p:nvGrpSpPr>
          <p:grpSpPr>
            <a:xfrm>
              <a:off x="9913881" y="4521543"/>
              <a:ext cx="843335" cy="501929"/>
              <a:chOff x="10172905" y="4734431"/>
              <a:chExt cx="956740" cy="569424"/>
            </a:xfrm>
            <a:solidFill>
              <a:schemeClr val="bg1"/>
            </a:solidFill>
          </p:grpSpPr>
          <p:sp>
            <p:nvSpPr>
              <p:cNvPr id="131" name="Freeform 9"/>
              <p:cNvSpPr>
                <a:spLocks noChangeAspect="1"/>
              </p:cNvSpPr>
              <p:nvPr/>
            </p:nvSpPr>
            <p:spPr bwMode="auto">
              <a:xfrm>
                <a:off x="10172905" y="4734431"/>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132" name="Freeform 3"/>
              <p:cNvSpPr>
                <a:spLocks noChangeAspect="1" noEditPoints="1"/>
              </p:cNvSpPr>
              <p:nvPr/>
            </p:nvSpPr>
            <p:spPr bwMode="auto">
              <a:xfrm>
                <a:off x="10438375" y="4888160"/>
                <a:ext cx="409235" cy="342082"/>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grpFill/>
              <a:ln>
                <a:noFill/>
              </a:ln>
              <a:extLst/>
            </p:spPr>
            <p:txBody>
              <a:bodyPr lIns="68532" tIns="34268" rIns="68532" bIns="34268"/>
              <a:lstStyle/>
              <a:p>
                <a:endParaRPr lang="en-US" sz="1800"/>
              </a:p>
            </p:txBody>
          </p:sp>
        </p:grpSp>
        <p:cxnSp>
          <p:nvCxnSpPr>
            <p:cNvPr id="119" name="Straight Connector 118"/>
            <p:cNvCxnSpPr>
              <a:cxnSpLocks noChangeShapeType="1"/>
            </p:cNvCxnSpPr>
            <p:nvPr>
              <p:custDataLst>
                <p:tags r:id="rId1"/>
              </p:custDataLst>
            </p:nvPr>
          </p:nvCxnSpPr>
          <p:spPr bwMode="auto">
            <a:xfrm flipH="1" flipV="1">
              <a:off x="9594770" y="3753512"/>
              <a:ext cx="329186" cy="9035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0" name="Straight Connector 119"/>
            <p:cNvCxnSpPr>
              <a:cxnSpLocks noChangeShapeType="1"/>
            </p:cNvCxnSpPr>
            <p:nvPr>
              <p:custDataLst>
                <p:tags r:id="rId2"/>
              </p:custDataLst>
            </p:nvPr>
          </p:nvCxnSpPr>
          <p:spPr bwMode="auto">
            <a:xfrm flipH="1" flipV="1">
              <a:off x="9655792" y="3683577"/>
              <a:ext cx="334369" cy="32253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1" name="Straight Connector 120"/>
            <p:cNvCxnSpPr>
              <a:cxnSpLocks noChangeShapeType="1"/>
            </p:cNvCxnSpPr>
            <p:nvPr>
              <p:custDataLst>
                <p:tags r:id="rId3"/>
              </p:custDataLst>
            </p:nvPr>
          </p:nvCxnSpPr>
          <p:spPr bwMode="auto">
            <a:xfrm flipH="1" flipV="1">
              <a:off x="9655791" y="3553122"/>
              <a:ext cx="225987" cy="6216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2" name="Straight Connector 121"/>
            <p:cNvCxnSpPr>
              <a:cxnSpLocks noChangeShapeType="1"/>
            </p:cNvCxnSpPr>
            <p:nvPr>
              <p:custDataLst>
                <p:tags r:id="rId4"/>
              </p:custDataLst>
            </p:nvPr>
          </p:nvCxnSpPr>
          <p:spPr bwMode="auto">
            <a:xfrm flipH="1">
              <a:off x="9594770" y="3155714"/>
              <a:ext cx="287008" cy="26506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nvGrpSpPr>
            <p:cNvPr id="123" name="Group 122"/>
            <p:cNvGrpSpPr/>
            <p:nvPr/>
          </p:nvGrpSpPr>
          <p:grpSpPr>
            <a:xfrm>
              <a:off x="6644244" y="3451947"/>
              <a:ext cx="2896059" cy="187210"/>
              <a:chOff x="6644244" y="3442422"/>
              <a:chExt cx="2903074" cy="187210"/>
            </a:xfrm>
          </p:grpSpPr>
          <p:cxnSp>
            <p:nvCxnSpPr>
              <p:cNvPr id="128" name="Straight Connector 60"/>
              <p:cNvCxnSpPr>
                <a:cxnSpLocks noChangeShapeType="1"/>
              </p:cNvCxnSpPr>
              <p:nvPr>
                <p:custDataLst>
                  <p:tags r:id="rId9"/>
                </p:custDataLst>
              </p:nvPr>
            </p:nvCxnSpPr>
            <p:spPr bwMode="auto">
              <a:xfrm>
                <a:off x="6644244" y="3442422"/>
                <a:ext cx="2903074" cy="15139"/>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9" name="Straight Connector 61"/>
              <p:cNvCxnSpPr>
                <a:cxnSpLocks noChangeShapeType="1"/>
              </p:cNvCxnSpPr>
              <p:nvPr>
                <p:custDataLst>
                  <p:tags r:id="rId10"/>
                </p:custDataLst>
              </p:nvPr>
            </p:nvCxnSpPr>
            <p:spPr bwMode="auto">
              <a:xfrm>
                <a:off x="6644244" y="3543597"/>
                <a:ext cx="29030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30" name="Straight Connector 62"/>
              <p:cNvCxnSpPr>
                <a:cxnSpLocks noChangeShapeType="1"/>
              </p:cNvCxnSpPr>
              <p:nvPr>
                <p:custDataLst>
                  <p:tags r:id="rId11"/>
                </p:custDataLst>
              </p:nvPr>
            </p:nvCxnSpPr>
            <p:spPr bwMode="auto">
              <a:xfrm>
                <a:off x="6644244" y="3629632"/>
                <a:ext cx="29030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cxnSp>
          <p:nvCxnSpPr>
            <p:cNvPr id="124" name="Straight Connector 19"/>
            <p:cNvCxnSpPr>
              <a:cxnSpLocks noChangeShapeType="1"/>
            </p:cNvCxnSpPr>
            <p:nvPr>
              <p:custDataLst>
                <p:tags r:id="rId5"/>
              </p:custDataLst>
            </p:nvPr>
          </p:nvCxnSpPr>
          <p:spPr bwMode="auto">
            <a:xfrm flipV="1">
              <a:off x="2010087" y="3737983"/>
              <a:ext cx="416406" cy="792204"/>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5" name="Straight Connector 37"/>
            <p:cNvCxnSpPr>
              <a:cxnSpLocks noChangeShapeType="1"/>
            </p:cNvCxnSpPr>
            <p:nvPr>
              <p:custDataLst>
                <p:tags r:id="rId6"/>
              </p:custDataLst>
            </p:nvPr>
          </p:nvCxnSpPr>
          <p:spPr bwMode="auto">
            <a:xfrm flipV="1">
              <a:off x="2016744" y="3643744"/>
              <a:ext cx="409749" cy="34844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6" name="Straight Connector 39"/>
            <p:cNvCxnSpPr>
              <a:cxnSpLocks noChangeShapeType="1"/>
            </p:cNvCxnSpPr>
            <p:nvPr>
              <p:custDataLst>
                <p:tags r:id="rId7"/>
              </p:custDataLst>
            </p:nvPr>
          </p:nvCxnSpPr>
          <p:spPr bwMode="auto">
            <a:xfrm flipV="1">
              <a:off x="2199555" y="3546275"/>
              <a:ext cx="226938" cy="69016"/>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27" name="Straight Connector 41"/>
            <p:cNvCxnSpPr>
              <a:cxnSpLocks noChangeShapeType="1"/>
            </p:cNvCxnSpPr>
            <p:nvPr>
              <p:custDataLst>
                <p:tags r:id="rId8"/>
              </p:custDataLst>
            </p:nvPr>
          </p:nvCxnSpPr>
          <p:spPr bwMode="auto">
            <a:xfrm>
              <a:off x="2016744" y="3155714"/>
              <a:ext cx="409749" cy="26506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cxnSp>
        <p:nvCxnSpPr>
          <p:cNvPr id="150" name="Straight Connector 149"/>
          <p:cNvCxnSpPr/>
          <p:nvPr/>
        </p:nvCxnSpPr>
        <p:spPr bwMode="auto">
          <a:xfrm>
            <a:off x="1232123" y="2560691"/>
            <a:ext cx="0" cy="1593024"/>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151" name="Straight Connector 150"/>
          <p:cNvCxnSpPr/>
          <p:nvPr/>
        </p:nvCxnSpPr>
        <p:spPr bwMode="auto">
          <a:xfrm>
            <a:off x="1219306" y="4153715"/>
            <a:ext cx="2004109" cy="0"/>
          </a:xfrm>
          <a:prstGeom prst="line">
            <a:avLst/>
          </a:prstGeom>
          <a:solidFill>
            <a:schemeClr val="accent1"/>
          </a:solidFill>
          <a:ln w="25400" cap="flat" cmpd="sng" algn="ctr">
            <a:solidFill>
              <a:schemeClr val="bg1"/>
            </a:solidFill>
            <a:prstDash val="solid"/>
            <a:round/>
            <a:headEnd type="none" w="med" len="med"/>
            <a:tailEnd type="oval" w="lg" len="lg"/>
          </a:ln>
          <a:effectLst/>
        </p:spPr>
      </p:cxnSp>
      <p:sp>
        <p:nvSpPr>
          <p:cNvPr id="152" name="Rectangle 151"/>
          <p:cNvSpPr/>
          <p:nvPr/>
        </p:nvSpPr>
        <p:spPr>
          <a:xfrm>
            <a:off x="659388" y="1832341"/>
            <a:ext cx="1827466" cy="630942"/>
          </a:xfrm>
          <a:prstGeom prst="rect">
            <a:avLst/>
          </a:prstGeom>
        </p:spPr>
        <p:txBody>
          <a:bodyPr wrap="square">
            <a:spAutoFit/>
          </a:bodyPr>
          <a:lstStyle/>
          <a:p>
            <a:pPr lvl="0"/>
            <a:r>
              <a:rPr lang="en-US" sz="1400" dirty="0">
                <a:solidFill>
                  <a:srgbClr val="FFFFFF"/>
                </a:solidFill>
                <a:latin typeface="+mn-lt"/>
                <a:ea typeface="Arial Hebrew" charset="0"/>
                <a:cs typeface="Arial Hebrew" charset="0"/>
              </a:rPr>
              <a:t>Automation</a:t>
            </a:r>
          </a:p>
          <a:p>
            <a:pPr lvl="0"/>
            <a:r>
              <a:rPr lang="en-US" sz="1400" dirty="0">
                <a:solidFill>
                  <a:srgbClr val="FFFFFF"/>
                </a:solidFill>
                <a:latin typeface="+mn-lt"/>
                <a:ea typeface="Arial Hebrew" charset="0"/>
                <a:cs typeface="Arial Hebrew" charset="0"/>
              </a:rPr>
              <a:t>Actionable insights</a:t>
            </a:r>
          </a:p>
        </p:txBody>
      </p:sp>
      <p:cxnSp>
        <p:nvCxnSpPr>
          <p:cNvPr id="153" name="Straight Connector 152"/>
          <p:cNvCxnSpPr/>
          <p:nvPr/>
        </p:nvCxnSpPr>
        <p:spPr bwMode="auto">
          <a:xfrm rot="5400000">
            <a:off x="3157318" y="3523043"/>
            <a:ext cx="1944000" cy="0"/>
          </a:xfrm>
          <a:prstGeom prst="line">
            <a:avLst/>
          </a:prstGeom>
          <a:solidFill>
            <a:schemeClr val="accent1"/>
          </a:solidFill>
          <a:ln w="25400" cap="flat" cmpd="sng" algn="ctr">
            <a:solidFill>
              <a:schemeClr val="bg1"/>
            </a:solidFill>
            <a:prstDash val="solid"/>
            <a:round/>
            <a:headEnd type="none" w="med" len="med"/>
            <a:tailEnd type="oval" w="lg" len="lg"/>
          </a:ln>
          <a:effectLst/>
        </p:spPr>
      </p:cxnSp>
      <p:cxnSp>
        <p:nvCxnSpPr>
          <p:cNvPr id="154" name="Straight Connector 153"/>
          <p:cNvCxnSpPr/>
          <p:nvPr/>
        </p:nvCxnSpPr>
        <p:spPr bwMode="auto">
          <a:xfrm>
            <a:off x="5236227" y="2551043"/>
            <a:ext cx="0" cy="2200672"/>
          </a:xfrm>
          <a:prstGeom prst="line">
            <a:avLst/>
          </a:prstGeom>
          <a:solidFill>
            <a:schemeClr val="accent1"/>
          </a:solidFill>
          <a:ln w="25400" cap="flat" cmpd="sng" algn="ctr">
            <a:solidFill>
              <a:schemeClr val="bg1"/>
            </a:solidFill>
            <a:prstDash val="solid"/>
            <a:round/>
            <a:headEnd type="none" w="med" len="med"/>
            <a:tailEnd type="oval" w="lg" len="lg"/>
          </a:ln>
          <a:effectLst/>
        </p:spPr>
      </p:cxnSp>
      <p:cxnSp>
        <p:nvCxnSpPr>
          <p:cNvPr id="155" name="Straight Connector 154"/>
          <p:cNvCxnSpPr/>
          <p:nvPr/>
        </p:nvCxnSpPr>
        <p:spPr bwMode="auto">
          <a:xfrm>
            <a:off x="8709342" y="2560691"/>
            <a:ext cx="0" cy="2806015"/>
          </a:xfrm>
          <a:prstGeom prst="line">
            <a:avLst/>
          </a:prstGeom>
          <a:solidFill>
            <a:schemeClr val="accent1"/>
          </a:solidFill>
          <a:ln w="25400" cap="flat" cmpd="sng" algn="ctr">
            <a:solidFill>
              <a:schemeClr val="bg1"/>
            </a:solidFill>
            <a:prstDash val="solid"/>
            <a:round/>
            <a:headEnd type="none" w="med" len="med"/>
            <a:tailEnd type="oval" w="lg" len="lg"/>
          </a:ln>
          <a:effectLst/>
        </p:spPr>
      </p:cxnSp>
      <p:cxnSp>
        <p:nvCxnSpPr>
          <p:cNvPr id="156" name="Straight Connector 155"/>
          <p:cNvCxnSpPr/>
          <p:nvPr/>
        </p:nvCxnSpPr>
        <p:spPr bwMode="auto">
          <a:xfrm>
            <a:off x="689084" y="2550254"/>
            <a:ext cx="1739198"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sp>
        <p:nvSpPr>
          <p:cNvPr id="157" name="Rectangle 156"/>
          <p:cNvSpPr/>
          <p:nvPr/>
        </p:nvSpPr>
        <p:spPr>
          <a:xfrm>
            <a:off x="2961281" y="1940063"/>
            <a:ext cx="1827466" cy="523220"/>
          </a:xfrm>
          <a:prstGeom prst="rect">
            <a:avLst/>
          </a:prstGeom>
        </p:spPr>
        <p:txBody>
          <a:bodyPr wrap="square">
            <a:spAutoFit/>
          </a:bodyPr>
          <a:lstStyle/>
          <a:p>
            <a:pPr lvl="0"/>
            <a:r>
              <a:rPr lang="en-US" sz="1400">
                <a:solidFill>
                  <a:srgbClr val="FFFFFF"/>
                </a:solidFill>
                <a:latin typeface="+mn-lt"/>
                <a:ea typeface="Arial Hebrew" charset="0"/>
                <a:cs typeface="Arial Hebrew" charset="0"/>
              </a:rPr>
              <a:t>Service optimized connectivity</a:t>
            </a:r>
            <a:endParaRPr lang="en-US" sz="1400" dirty="0">
              <a:solidFill>
                <a:srgbClr val="FFFFFF"/>
              </a:solidFill>
              <a:latin typeface="+mn-lt"/>
              <a:ea typeface="Arial Hebrew" charset="0"/>
              <a:cs typeface="Arial Hebrew" charset="0"/>
            </a:endParaRPr>
          </a:p>
        </p:txBody>
      </p:sp>
      <p:cxnSp>
        <p:nvCxnSpPr>
          <p:cNvPr id="158" name="Straight Connector 157"/>
          <p:cNvCxnSpPr/>
          <p:nvPr/>
        </p:nvCxnSpPr>
        <p:spPr bwMode="auto">
          <a:xfrm>
            <a:off x="2990977" y="2550254"/>
            <a:ext cx="1739198"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sp>
        <p:nvSpPr>
          <p:cNvPr id="159" name="Rectangle 158"/>
          <p:cNvSpPr/>
          <p:nvPr/>
        </p:nvSpPr>
        <p:spPr>
          <a:xfrm>
            <a:off x="4980227" y="1832341"/>
            <a:ext cx="1768894" cy="630942"/>
          </a:xfrm>
          <a:prstGeom prst="rect">
            <a:avLst/>
          </a:prstGeom>
        </p:spPr>
        <p:txBody>
          <a:bodyPr wrap="square">
            <a:spAutoFit/>
          </a:bodyPr>
          <a:lstStyle/>
          <a:p>
            <a:pPr lvl="0"/>
            <a:r>
              <a:rPr lang="en-US" sz="1400" dirty="0">
                <a:solidFill>
                  <a:schemeClr val="bg1"/>
                </a:solidFill>
                <a:ea typeface="Arial Hebrew" charset="0"/>
                <a:cs typeface="Arial Hebrew" charset="0"/>
              </a:rPr>
              <a:t>Agility</a:t>
            </a:r>
          </a:p>
          <a:p>
            <a:pPr lvl="0"/>
            <a:r>
              <a:rPr lang="en-US" sz="1400" dirty="0">
                <a:solidFill>
                  <a:schemeClr val="bg1"/>
                </a:solidFill>
                <a:ea typeface="Arial Hebrew" charset="0"/>
                <a:cs typeface="Arial Hebrew" charset="0"/>
              </a:rPr>
              <a:t>Efficiency</a:t>
            </a:r>
          </a:p>
        </p:txBody>
      </p:sp>
      <p:cxnSp>
        <p:nvCxnSpPr>
          <p:cNvPr id="160" name="Straight Connector 159"/>
          <p:cNvCxnSpPr/>
          <p:nvPr/>
        </p:nvCxnSpPr>
        <p:spPr bwMode="auto">
          <a:xfrm>
            <a:off x="5009923" y="2550254"/>
            <a:ext cx="891841" cy="10437"/>
          </a:xfrm>
          <a:prstGeom prst="line">
            <a:avLst/>
          </a:prstGeom>
          <a:solidFill>
            <a:schemeClr val="accent1"/>
          </a:solidFill>
          <a:ln w="25400" cap="flat" cmpd="sng" algn="ctr">
            <a:solidFill>
              <a:schemeClr val="bg1"/>
            </a:solidFill>
            <a:prstDash val="solid"/>
            <a:round/>
            <a:headEnd type="none" w="med" len="med"/>
            <a:tailEnd type="none" w="med" len="med"/>
          </a:ln>
          <a:effectLst/>
        </p:spPr>
      </p:cxnSp>
      <p:sp>
        <p:nvSpPr>
          <p:cNvPr id="161" name="Rectangle 160"/>
          <p:cNvSpPr/>
          <p:nvPr/>
        </p:nvSpPr>
        <p:spPr>
          <a:xfrm>
            <a:off x="8075405" y="1509176"/>
            <a:ext cx="1768894" cy="954107"/>
          </a:xfrm>
          <a:prstGeom prst="rect">
            <a:avLst/>
          </a:prstGeom>
        </p:spPr>
        <p:txBody>
          <a:bodyPr wrap="square">
            <a:spAutoFit/>
          </a:bodyPr>
          <a:lstStyle/>
          <a:p>
            <a:pPr lvl="0"/>
            <a:r>
              <a:rPr lang="en-US" sz="1400" dirty="0">
                <a:solidFill>
                  <a:srgbClr val="FFFFFF"/>
                </a:solidFill>
                <a:ea typeface="Arial Hebrew" charset="0"/>
                <a:cs typeface="Arial Hebrew" charset="0"/>
              </a:rPr>
              <a:t>Efficiency</a:t>
            </a:r>
          </a:p>
          <a:p>
            <a:pPr lvl="0"/>
            <a:r>
              <a:rPr lang="en-US" sz="1400" dirty="0">
                <a:solidFill>
                  <a:srgbClr val="FFFFFF"/>
                </a:solidFill>
                <a:ea typeface="Arial Hebrew" charset="0"/>
                <a:cs typeface="Arial Hebrew" charset="0"/>
              </a:rPr>
              <a:t>Agility</a:t>
            </a:r>
          </a:p>
          <a:p>
            <a:pPr lvl="0"/>
            <a:r>
              <a:rPr lang="en-US" sz="1400" dirty="0">
                <a:solidFill>
                  <a:srgbClr val="FFFFFF"/>
                </a:solidFill>
                <a:ea typeface="Arial Hebrew" charset="0"/>
                <a:cs typeface="Arial Hebrew" charset="0"/>
              </a:rPr>
              <a:t>Scale</a:t>
            </a:r>
          </a:p>
        </p:txBody>
      </p:sp>
      <p:cxnSp>
        <p:nvCxnSpPr>
          <p:cNvPr id="162" name="Straight Connector 161"/>
          <p:cNvCxnSpPr/>
          <p:nvPr/>
        </p:nvCxnSpPr>
        <p:spPr bwMode="auto">
          <a:xfrm>
            <a:off x="8105101" y="2550254"/>
            <a:ext cx="1230295"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163" name="Straight Connector 162"/>
          <p:cNvCxnSpPr/>
          <p:nvPr/>
        </p:nvCxnSpPr>
        <p:spPr bwMode="auto">
          <a:xfrm>
            <a:off x="10137237" y="2550254"/>
            <a:ext cx="1163323" cy="789"/>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164" name="Straight Connector 163"/>
          <p:cNvCxnSpPr/>
          <p:nvPr/>
        </p:nvCxnSpPr>
        <p:spPr bwMode="auto">
          <a:xfrm flipH="1">
            <a:off x="8970485" y="5912208"/>
            <a:ext cx="1712677" cy="0"/>
          </a:xfrm>
          <a:prstGeom prst="line">
            <a:avLst/>
          </a:prstGeom>
          <a:solidFill>
            <a:schemeClr val="accent1"/>
          </a:solidFill>
          <a:ln w="25400" cap="flat" cmpd="sng" algn="ctr">
            <a:solidFill>
              <a:schemeClr val="bg1"/>
            </a:solidFill>
            <a:prstDash val="solid"/>
            <a:round/>
            <a:headEnd type="none" w="med" len="med"/>
            <a:tailEnd type="oval" w="lg" len="lg"/>
          </a:ln>
          <a:effectLst/>
        </p:spPr>
      </p:cxnSp>
      <p:sp>
        <p:nvSpPr>
          <p:cNvPr id="165" name="Rectangle 164"/>
          <p:cNvSpPr/>
          <p:nvPr/>
        </p:nvSpPr>
        <p:spPr>
          <a:xfrm>
            <a:off x="10117891" y="1509176"/>
            <a:ext cx="1768894" cy="954107"/>
          </a:xfrm>
          <a:prstGeom prst="rect">
            <a:avLst/>
          </a:prstGeom>
        </p:spPr>
        <p:txBody>
          <a:bodyPr wrap="square">
            <a:spAutoFit/>
          </a:bodyPr>
          <a:lstStyle/>
          <a:p>
            <a:pPr lvl="0"/>
            <a:r>
              <a:rPr lang="en-US" sz="1400" dirty="0">
                <a:solidFill>
                  <a:srgbClr val="FFFFFF"/>
                </a:solidFill>
                <a:ea typeface="Arial Hebrew" charset="0"/>
                <a:cs typeface="Arial Hebrew" charset="0"/>
              </a:rPr>
              <a:t>Capacity</a:t>
            </a:r>
          </a:p>
          <a:p>
            <a:pPr lvl="0"/>
            <a:r>
              <a:rPr lang="en-US" sz="1400" dirty="0">
                <a:solidFill>
                  <a:srgbClr val="FFFFFF"/>
                </a:solidFill>
                <a:ea typeface="Arial Hebrew" charset="0"/>
                <a:cs typeface="Arial Hebrew" charset="0"/>
              </a:rPr>
              <a:t>Speed</a:t>
            </a:r>
          </a:p>
          <a:p>
            <a:pPr lvl="0"/>
            <a:r>
              <a:rPr lang="en-US" sz="1400" dirty="0">
                <a:solidFill>
                  <a:srgbClr val="FFFFFF"/>
                </a:solidFill>
                <a:ea typeface="Arial Hebrew" charset="0"/>
                <a:cs typeface="Arial Hebrew" charset="0"/>
              </a:rPr>
              <a:t>Scale</a:t>
            </a:r>
          </a:p>
        </p:txBody>
      </p:sp>
      <p:cxnSp>
        <p:nvCxnSpPr>
          <p:cNvPr id="166" name="Straight Connector 165"/>
          <p:cNvCxnSpPr/>
          <p:nvPr/>
        </p:nvCxnSpPr>
        <p:spPr bwMode="auto">
          <a:xfrm>
            <a:off x="6919779" y="2554581"/>
            <a:ext cx="0" cy="1100336"/>
          </a:xfrm>
          <a:prstGeom prst="line">
            <a:avLst/>
          </a:prstGeom>
          <a:solidFill>
            <a:schemeClr val="accent1"/>
          </a:solidFill>
          <a:ln w="25400" cap="flat" cmpd="sng" algn="ctr">
            <a:solidFill>
              <a:schemeClr val="bg1"/>
            </a:solidFill>
            <a:prstDash val="solid"/>
            <a:round/>
            <a:headEnd type="none" w="med" len="med"/>
            <a:tailEnd type="oval" w="lg" len="lg"/>
          </a:ln>
          <a:effectLst/>
        </p:spPr>
      </p:cxnSp>
      <p:sp>
        <p:nvSpPr>
          <p:cNvPr id="167" name="Rectangle 166"/>
          <p:cNvSpPr/>
          <p:nvPr/>
        </p:nvSpPr>
        <p:spPr>
          <a:xfrm>
            <a:off x="6323523" y="1509176"/>
            <a:ext cx="1768894" cy="954107"/>
          </a:xfrm>
          <a:prstGeom prst="rect">
            <a:avLst/>
          </a:prstGeom>
        </p:spPr>
        <p:txBody>
          <a:bodyPr wrap="square">
            <a:spAutoFit/>
          </a:bodyPr>
          <a:lstStyle/>
          <a:p>
            <a:pPr lvl="0"/>
            <a:r>
              <a:rPr lang="en-US" sz="1400" dirty="0">
                <a:solidFill>
                  <a:schemeClr val="bg1"/>
                </a:solidFill>
                <a:ea typeface="Arial Hebrew" charset="0"/>
                <a:cs typeface="Arial Hebrew" charset="0"/>
              </a:rPr>
              <a:t>Exposure</a:t>
            </a:r>
          </a:p>
          <a:p>
            <a:pPr lvl="0"/>
            <a:r>
              <a:rPr lang="en-US" sz="1400" dirty="0">
                <a:solidFill>
                  <a:schemeClr val="bg1"/>
                </a:solidFill>
                <a:ea typeface="Arial Hebrew" charset="0"/>
                <a:cs typeface="Arial Hebrew" charset="0"/>
              </a:rPr>
              <a:t>Partnerships</a:t>
            </a:r>
          </a:p>
          <a:p>
            <a:pPr lvl="0"/>
            <a:r>
              <a:rPr lang="en-US" sz="1400" dirty="0">
                <a:solidFill>
                  <a:schemeClr val="bg1"/>
                </a:solidFill>
                <a:ea typeface="Arial Hebrew" charset="0"/>
                <a:cs typeface="Arial Hebrew" charset="0"/>
              </a:rPr>
              <a:t>New Business</a:t>
            </a:r>
          </a:p>
        </p:txBody>
      </p:sp>
      <p:cxnSp>
        <p:nvCxnSpPr>
          <p:cNvPr id="168" name="Straight Connector 167"/>
          <p:cNvCxnSpPr/>
          <p:nvPr/>
        </p:nvCxnSpPr>
        <p:spPr bwMode="auto">
          <a:xfrm flipV="1">
            <a:off x="6353219" y="2550254"/>
            <a:ext cx="1194764" cy="3538"/>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169" name="Straight Connector 168"/>
          <p:cNvCxnSpPr/>
          <p:nvPr/>
        </p:nvCxnSpPr>
        <p:spPr bwMode="auto">
          <a:xfrm>
            <a:off x="10683162" y="2550254"/>
            <a:ext cx="0" cy="3361954"/>
          </a:xfrm>
          <a:prstGeom prst="line">
            <a:avLst/>
          </a:prstGeom>
          <a:solidFill>
            <a:schemeClr val="accent1"/>
          </a:solidFill>
          <a:ln w="2540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35562236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SI NFV Architecture</a:t>
            </a:r>
          </a:p>
        </p:txBody>
      </p:sp>
      <p:cxnSp>
        <p:nvCxnSpPr>
          <p:cNvPr id="4" name="Straight Connector 3"/>
          <p:cNvCxnSpPr>
            <a:cxnSpLocks/>
            <a:stCxn id="10" idx="3"/>
            <a:endCxn id="23" idx="1"/>
          </p:cNvCxnSpPr>
          <p:nvPr/>
        </p:nvCxnSpPr>
        <p:spPr bwMode="auto">
          <a:xfrm>
            <a:off x="5274662" y="3238980"/>
            <a:ext cx="585325" cy="402082"/>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5" name="Straight Connector 4"/>
          <p:cNvCxnSpPr>
            <a:stCxn id="12" idx="3"/>
            <a:endCxn id="23" idx="1"/>
          </p:cNvCxnSpPr>
          <p:nvPr/>
        </p:nvCxnSpPr>
        <p:spPr bwMode="auto">
          <a:xfrm flipV="1">
            <a:off x="5274663" y="3641062"/>
            <a:ext cx="585324" cy="321794"/>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6" name="Straight Connector 5"/>
          <p:cNvCxnSpPr>
            <a:cxnSpLocks/>
            <a:stCxn id="19" idx="3"/>
            <a:endCxn id="24" idx="1"/>
          </p:cNvCxnSpPr>
          <p:nvPr/>
        </p:nvCxnSpPr>
        <p:spPr bwMode="auto">
          <a:xfrm flipV="1">
            <a:off x="5331437" y="5176915"/>
            <a:ext cx="528550" cy="16845"/>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7" name="Straight Connector 6"/>
          <p:cNvCxnSpPr>
            <a:cxnSpLocks/>
            <a:stCxn id="9" idx="2"/>
            <a:endCxn id="10" idx="0"/>
          </p:cNvCxnSpPr>
          <p:nvPr/>
        </p:nvCxnSpPr>
        <p:spPr bwMode="auto">
          <a:xfrm>
            <a:off x="3533241" y="2238211"/>
            <a:ext cx="0" cy="76067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8" name="Straight Connector 7"/>
          <p:cNvCxnSpPr>
            <a:cxnSpLocks/>
            <a:stCxn id="11" idx="0"/>
            <a:endCxn id="10" idx="2"/>
          </p:cNvCxnSpPr>
          <p:nvPr/>
        </p:nvCxnSpPr>
        <p:spPr bwMode="auto">
          <a:xfrm flipV="1">
            <a:off x="3533241" y="3479078"/>
            <a:ext cx="0" cy="261001"/>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9" name="Rectangle: Rounded Corners 8"/>
          <p:cNvSpPr/>
          <p:nvPr/>
        </p:nvSpPr>
        <p:spPr bwMode="auto">
          <a:xfrm>
            <a:off x="1791819" y="1787637"/>
            <a:ext cx="3482844" cy="450574"/>
          </a:xfrm>
          <a:prstGeom prst="roundRect">
            <a:avLst/>
          </a:prstGeom>
          <a:solidFill>
            <a:srgbClr val="F08A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OSS/BSS</a:t>
            </a:r>
          </a:p>
        </p:txBody>
      </p:sp>
      <p:sp>
        <p:nvSpPr>
          <p:cNvPr id="10" name="Rectangle: Rounded Corners 9"/>
          <p:cNvSpPr/>
          <p:nvPr/>
        </p:nvSpPr>
        <p:spPr bwMode="auto">
          <a:xfrm>
            <a:off x="1791819" y="2998881"/>
            <a:ext cx="3482843" cy="480197"/>
          </a:xfrm>
          <a:prstGeom prst="roundRect">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EM (Element Manager)</a:t>
            </a:r>
          </a:p>
        </p:txBody>
      </p:sp>
      <p:sp>
        <p:nvSpPr>
          <p:cNvPr id="11" name="Rectangle: Rounded Corners 10"/>
          <p:cNvSpPr/>
          <p:nvPr/>
        </p:nvSpPr>
        <p:spPr bwMode="auto">
          <a:xfrm>
            <a:off x="1791819" y="3740079"/>
            <a:ext cx="3482844" cy="41137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en-US" sz="1600" dirty="0">
                <a:solidFill>
                  <a:schemeClr val="bg1"/>
                </a:solidFill>
              </a:rPr>
              <a:t>VNF (Virtual Network Function)</a:t>
            </a:r>
          </a:p>
        </p:txBody>
      </p:sp>
      <p:sp>
        <p:nvSpPr>
          <p:cNvPr id="12" name="Rectangle 11"/>
          <p:cNvSpPr/>
          <p:nvPr/>
        </p:nvSpPr>
        <p:spPr>
          <a:xfrm>
            <a:off x="4359537" y="3832051"/>
            <a:ext cx="915126" cy="261610"/>
          </a:xfrm>
          <a:prstGeom prst="rect">
            <a:avLst/>
          </a:prstGeom>
        </p:spPr>
        <p:txBody>
          <a:bodyPr wrap="square">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sz="1100" dirty="0">
              <a:solidFill>
                <a:schemeClr val="bg1"/>
              </a:solidFill>
            </a:endParaRPr>
          </a:p>
        </p:txBody>
      </p:sp>
      <p:sp>
        <p:nvSpPr>
          <p:cNvPr id="13" name="Rectangle: Rounded Corners 12"/>
          <p:cNvSpPr/>
          <p:nvPr/>
        </p:nvSpPr>
        <p:spPr bwMode="auto">
          <a:xfrm>
            <a:off x="1802240" y="4577426"/>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Compute</a:t>
            </a:r>
          </a:p>
        </p:txBody>
      </p:sp>
      <p:sp>
        <p:nvSpPr>
          <p:cNvPr id="14" name="Rectangle: Rounded Corners 13"/>
          <p:cNvSpPr/>
          <p:nvPr/>
        </p:nvSpPr>
        <p:spPr bwMode="auto">
          <a:xfrm>
            <a:off x="3083866" y="4576593"/>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Storage</a:t>
            </a:r>
          </a:p>
        </p:txBody>
      </p:sp>
      <p:sp>
        <p:nvSpPr>
          <p:cNvPr id="15" name="Rectangle: Rounded Corners 14"/>
          <p:cNvSpPr/>
          <p:nvPr/>
        </p:nvSpPr>
        <p:spPr bwMode="auto">
          <a:xfrm>
            <a:off x="4386757" y="457659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Network</a:t>
            </a:r>
          </a:p>
        </p:txBody>
      </p:sp>
      <p:sp>
        <p:nvSpPr>
          <p:cNvPr id="16" name="Rectangle: Rounded Corners 15"/>
          <p:cNvSpPr/>
          <p:nvPr/>
        </p:nvSpPr>
        <p:spPr bwMode="auto">
          <a:xfrm>
            <a:off x="3094206" y="5378473"/>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a:t>
            </a:r>
          </a:p>
          <a:p>
            <a:pPr algn="ctr">
              <a:spcBef>
                <a:spcPts val="0"/>
              </a:spcBef>
            </a:pPr>
            <a:r>
              <a:rPr lang="en-US" sz="1000" dirty="0">
                <a:solidFill>
                  <a:schemeClr val="bg1"/>
                </a:solidFill>
              </a:rPr>
              <a:t>Storage</a:t>
            </a:r>
          </a:p>
        </p:txBody>
      </p:sp>
      <p:sp>
        <p:nvSpPr>
          <p:cNvPr id="17" name="Rectangle: Rounded Corners 16"/>
          <p:cNvSpPr/>
          <p:nvPr/>
        </p:nvSpPr>
        <p:spPr bwMode="auto">
          <a:xfrm>
            <a:off x="4386757" y="5378472"/>
            <a:ext cx="94468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Network</a:t>
            </a:r>
          </a:p>
        </p:txBody>
      </p:sp>
      <p:sp>
        <p:nvSpPr>
          <p:cNvPr id="18" name="Rectangle: Rounded Corners 17"/>
          <p:cNvSpPr/>
          <p:nvPr/>
        </p:nvSpPr>
        <p:spPr bwMode="auto">
          <a:xfrm>
            <a:off x="1802240" y="5375581"/>
            <a:ext cx="923415"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Compute</a:t>
            </a:r>
          </a:p>
        </p:txBody>
      </p:sp>
      <p:sp>
        <p:nvSpPr>
          <p:cNvPr id="19" name="Rectangle: Rounded Corners 18"/>
          <p:cNvSpPr/>
          <p:nvPr/>
        </p:nvSpPr>
        <p:spPr bwMode="auto">
          <a:xfrm>
            <a:off x="1802240" y="5086938"/>
            <a:ext cx="3529197" cy="213643"/>
          </a:xfrm>
          <a:prstGeom prst="roundRect">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rtualization Layer</a:t>
            </a:r>
          </a:p>
        </p:txBody>
      </p:sp>
      <p:sp>
        <p:nvSpPr>
          <p:cNvPr id="20" name="Rectangle: Rounded Corners 19"/>
          <p:cNvSpPr/>
          <p:nvPr/>
        </p:nvSpPr>
        <p:spPr bwMode="auto">
          <a:xfrm>
            <a:off x="1573932" y="4250467"/>
            <a:ext cx="3980715" cy="1698469"/>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1" name="TextBox 30"/>
          <p:cNvSpPr txBox="1"/>
          <p:nvPr/>
        </p:nvSpPr>
        <p:spPr>
          <a:xfrm>
            <a:off x="2411114" y="4234930"/>
            <a:ext cx="2525050" cy="33855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sz="1600" dirty="0"/>
              <a:t>NFVI (NFV Infrastructure)</a:t>
            </a:r>
          </a:p>
        </p:txBody>
      </p:sp>
      <p:sp>
        <p:nvSpPr>
          <p:cNvPr id="22" name="Rectangle: Rounded Corners 21"/>
          <p:cNvSpPr/>
          <p:nvPr/>
        </p:nvSpPr>
        <p:spPr bwMode="auto">
          <a:xfrm>
            <a:off x="5699988" y="1648783"/>
            <a:ext cx="1974504" cy="4300153"/>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3" name="Rectangle: Rounded Corners 22"/>
          <p:cNvSpPr/>
          <p:nvPr/>
        </p:nvSpPr>
        <p:spPr bwMode="auto">
          <a:xfrm>
            <a:off x="5859987" y="3363688"/>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M</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 Manager)</a:t>
            </a:r>
          </a:p>
        </p:txBody>
      </p:sp>
      <p:sp>
        <p:nvSpPr>
          <p:cNvPr id="24" name="Rectangle: Rounded Corners 23"/>
          <p:cNvSpPr/>
          <p:nvPr/>
        </p:nvSpPr>
        <p:spPr bwMode="auto">
          <a:xfrm>
            <a:off x="5859987" y="4577426"/>
            <a:ext cx="1478422" cy="119897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M</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a:t>
            </a:r>
            <a:r>
              <a:rPr kumimoji="0" lang="en-US" sz="1200" b="0" i="0" u="none" strike="noStrike" cap="none" normalizeH="0" baseline="0" dirty="0">
                <a:ln>
                  <a:noFill/>
                </a:ln>
                <a:solidFill>
                  <a:schemeClr val="bg1"/>
                </a:solidFill>
                <a:effectLst/>
                <a:latin typeface="Arial" charset="0"/>
              </a:rPr>
              <a:t>Virtual</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Infrastructure</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Manager)</a:t>
            </a:r>
          </a:p>
        </p:txBody>
      </p:sp>
      <p:sp>
        <p:nvSpPr>
          <p:cNvPr id="25" name="Rectangle: Rounded Corners 24"/>
          <p:cNvSpPr/>
          <p:nvPr/>
        </p:nvSpPr>
        <p:spPr bwMode="auto">
          <a:xfrm>
            <a:off x="5859987" y="2517417"/>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NFVO</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NFV Orchestrator)</a:t>
            </a:r>
            <a:endParaRPr kumimoji="0" lang="en-US" sz="1200" b="0" i="0" u="none" strike="noStrike" cap="none" normalizeH="0" baseline="0" dirty="0">
              <a:ln>
                <a:noFill/>
              </a:ln>
              <a:solidFill>
                <a:schemeClr val="bg1"/>
              </a:solidFill>
              <a:effectLst/>
              <a:latin typeface="Arial" charset="0"/>
            </a:endParaRPr>
          </a:p>
        </p:txBody>
      </p:sp>
      <p:cxnSp>
        <p:nvCxnSpPr>
          <p:cNvPr id="26" name="Straight Connector 25"/>
          <p:cNvCxnSpPr>
            <a:stCxn id="25" idx="3"/>
            <a:endCxn id="25" idx="3"/>
          </p:cNvCxnSpPr>
          <p:nvPr/>
        </p:nvCxnSpPr>
        <p:spPr bwMode="auto">
          <a:xfrm>
            <a:off x="7338409" y="2794791"/>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7" name="Connector: Elbow 26"/>
          <p:cNvCxnSpPr>
            <a:cxnSpLocks/>
            <a:stCxn id="25" idx="3"/>
            <a:endCxn id="24" idx="3"/>
          </p:cNvCxnSpPr>
          <p:nvPr/>
        </p:nvCxnSpPr>
        <p:spPr bwMode="auto">
          <a:xfrm>
            <a:off x="7338409" y="2794791"/>
            <a:ext cx="12700" cy="2382124"/>
          </a:xfrm>
          <a:prstGeom prst="bentConnector3">
            <a:avLst>
              <a:gd name="adj1" fmla="val 1800000"/>
            </a:avLst>
          </a:prstGeom>
          <a:solidFill>
            <a:schemeClr val="accent1"/>
          </a:solidFill>
          <a:ln w="19050" cap="flat" cmpd="sng" algn="ctr">
            <a:solidFill>
              <a:schemeClr val="tx1"/>
            </a:solidFill>
            <a:prstDash val="solid"/>
            <a:round/>
            <a:headEnd type="none" w="med" len="med"/>
            <a:tailEnd type="none" w="med" len="med"/>
          </a:ln>
          <a:effectLst/>
        </p:spPr>
      </p:cxnSp>
      <p:cxnSp>
        <p:nvCxnSpPr>
          <p:cNvPr id="28" name="Straight Connector 27"/>
          <p:cNvCxnSpPr>
            <a:cxnSpLocks/>
            <a:stCxn id="25" idx="2"/>
            <a:endCxn id="23" idx="0"/>
          </p:cNvCxnSpPr>
          <p:nvPr/>
        </p:nvCxnSpPr>
        <p:spPr bwMode="auto">
          <a:xfrm>
            <a:off x="6599198" y="3072165"/>
            <a:ext cx="0" cy="29152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29" name="Straight Connector 28"/>
          <p:cNvCxnSpPr>
            <a:cxnSpLocks/>
            <a:stCxn id="23" idx="2"/>
            <a:endCxn id="24" idx="0"/>
          </p:cNvCxnSpPr>
          <p:nvPr/>
        </p:nvCxnSpPr>
        <p:spPr bwMode="auto">
          <a:xfrm>
            <a:off x="6599198" y="3918436"/>
            <a:ext cx="0" cy="65899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0" name="TextBox 47"/>
          <p:cNvSpPr txBox="1"/>
          <p:nvPr/>
        </p:nvSpPr>
        <p:spPr>
          <a:xfrm>
            <a:off x="5701958" y="1717071"/>
            <a:ext cx="1837923" cy="769441"/>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dirty="0"/>
              <a:t>NFV MANO </a:t>
            </a:r>
          </a:p>
          <a:p>
            <a:pPr algn="ctr">
              <a:spcBef>
                <a:spcPts val="0"/>
              </a:spcBef>
            </a:pPr>
            <a:r>
              <a:rPr lang="en-US" sz="1200" dirty="0"/>
              <a:t>(Management and Orchestration)</a:t>
            </a:r>
          </a:p>
        </p:txBody>
      </p:sp>
      <p:cxnSp>
        <p:nvCxnSpPr>
          <p:cNvPr id="31" name="Connector: Elbow 30"/>
          <p:cNvCxnSpPr>
            <a:cxnSpLocks/>
            <a:stCxn id="9" idx="3"/>
            <a:endCxn id="25" idx="1"/>
          </p:cNvCxnSpPr>
          <p:nvPr/>
        </p:nvCxnSpPr>
        <p:spPr bwMode="auto">
          <a:xfrm>
            <a:off x="5274663" y="2012924"/>
            <a:ext cx="585324" cy="781867"/>
          </a:xfrm>
          <a:prstGeom prst="bentConnector3">
            <a:avLst>
              <a:gd name="adj1" fmla="val 50000"/>
            </a:avLst>
          </a:prstGeom>
          <a:solidFill>
            <a:schemeClr val="accent1"/>
          </a:solidFill>
          <a:ln w="19050" cap="flat" cmpd="sng" algn="ctr">
            <a:solidFill>
              <a:schemeClr val="tx1"/>
            </a:solidFill>
            <a:prstDash val="solid"/>
            <a:round/>
            <a:headEnd type="none" w="med" len="med"/>
            <a:tailEnd type="none" w="med" len="med"/>
          </a:ln>
          <a:effectLst/>
        </p:spPr>
      </p:cxnSp>
      <p:sp>
        <p:nvSpPr>
          <p:cNvPr id="32" name="Speech Bubble: Rectangle with Corners Rounded 31"/>
          <p:cNvSpPr/>
          <p:nvPr/>
        </p:nvSpPr>
        <p:spPr bwMode="auto">
          <a:xfrm>
            <a:off x="7674492" y="2238210"/>
            <a:ext cx="3835278" cy="727965"/>
          </a:xfrm>
          <a:prstGeom prst="wedgeRoundRectCallout">
            <a:avLst>
              <a:gd name="adj1" fmla="val -57471"/>
              <a:gd name="adj2" fmla="val 34702"/>
              <a:gd name="adj3" fmla="val 16667"/>
            </a:avLst>
          </a:prstGeom>
          <a:solidFill>
            <a:srgbClr val="F9FFAB"/>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1800" b="0" i="0" u="none" strike="noStrike" cap="none" normalizeH="0" baseline="0" dirty="0">
                <a:ln>
                  <a:noFill/>
                </a:ln>
                <a:solidFill>
                  <a:schemeClr val="tx1"/>
                </a:solidFill>
                <a:effectLst/>
              </a:rPr>
              <a:t>Orchestration of Network Services</a:t>
            </a:r>
            <a:br>
              <a:rPr lang="en-US" sz="1800" dirty="0"/>
            </a:br>
            <a:r>
              <a:rPr lang="en-US" sz="1800" dirty="0"/>
              <a:t>a</a:t>
            </a:r>
            <a:r>
              <a:rPr kumimoji="0" lang="en-US" sz="1800" b="0" i="0" u="none" strike="noStrike" cap="none" normalizeH="0" baseline="0" dirty="0">
                <a:ln>
                  <a:noFill/>
                </a:ln>
                <a:solidFill>
                  <a:schemeClr val="tx1"/>
                </a:solidFill>
                <a:effectLst/>
              </a:rPr>
              <a:t>cross multiple VIMs</a:t>
            </a:r>
          </a:p>
        </p:txBody>
      </p:sp>
      <p:sp>
        <p:nvSpPr>
          <p:cNvPr id="33" name="Speech Bubble: Rectangle with Corners Rounded 32"/>
          <p:cNvSpPr/>
          <p:nvPr/>
        </p:nvSpPr>
        <p:spPr bwMode="auto">
          <a:xfrm>
            <a:off x="7662846" y="3347706"/>
            <a:ext cx="3833608" cy="745955"/>
          </a:xfrm>
          <a:prstGeom prst="wedgeRoundRectCallout">
            <a:avLst>
              <a:gd name="adj1" fmla="val -57961"/>
              <a:gd name="adj2" fmla="val 1448"/>
              <a:gd name="adj3" fmla="val 16667"/>
            </a:avLst>
          </a:prstGeom>
          <a:solidFill>
            <a:srgbClr val="F9FFAB"/>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Lifecycle management of VNFs</a:t>
            </a:r>
            <a:br>
              <a:rPr kumimoji="0" lang="en-US" sz="1800" b="0" i="0" u="none" strike="noStrike" cap="none" normalizeH="0" baseline="0" dirty="0">
                <a:ln>
                  <a:noFill/>
                </a:ln>
                <a:solidFill>
                  <a:schemeClr val="tx1"/>
                </a:solidFill>
                <a:effectLst/>
                <a:latin typeface="Arial" charset="0"/>
              </a:rPr>
            </a:br>
            <a:r>
              <a:rPr kumimoji="0" lang="en-US" sz="1800" b="0" i="0" u="none" strike="noStrike" cap="none" normalizeH="0" baseline="0" dirty="0">
                <a:ln>
                  <a:noFill/>
                </a:ln>
                <a:solidFill>
                  <a:schemeClr val="tx1"/>
                </a:solidFill>
                <a:effectLst/>
                <a:latin typeface="Arial" charset="0"/>
              </a:rPr>
              <a:t>(instantiate, scale, …)</a:t>
            </a:r>
          </a:p>
        </p:txBody>
      </p:sp>
      <p:sp>
        <p:nvSpPr>
          <p:cNvPr id="34" name="Speech Bubble: Rectangle with Corners Rounded 33"/>
          <p:cNvSpPr/>
          <p:nvPr/>
        </p:nvSpPr>
        <p:spPr bwMode="auto">
          <a:xfrm>
            <a:off x="7687809" y="4655360"/>
            <a:ext cx="3821961" cy="1059954"/>
          </a:xfrm>
          <a:prstGeom prst="wedgeRoundRectCallout">
            <a:avLst>
              <a:gd name="adj1" fmla="val -58792"/>
              <a:gd name="adj2" fmla="val -11915"/>
              <a:gd name="adj3" fmla="val 16667"/>
            </a:avLst>
          </a:prstGeom>
          <a:solidFill>
            <a:srgbClr val="F9FFAB"/>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Management of virtual resources</a:t>
            </a:r>
            <a:br>
              <a:rPr kumimoji="0" lang="en-US" sz="1800" b="0" i="0" u="none" strike="noStrike" cap="none" normalizeH="0" baseline="0" dirty="0">
                <a:ln>
                  <a:noFill/>
                </a:ln>
                <a:solidFill>
                  <a:schemeClr val="tx1"/>
                </a:solidFill>
                <a:effectLst/>
                <a:latin typeface="Arial" charset="0"/>
              </a:rPr>
            </a:br>
            <a:r>
              <a:rPr kumimoji="0" lang="en-US" sz="1800" b="0" i="0" u="none" strike="noStrike" cap="none" normalizeH="0" baseline="0" dirty="0">
                <a:ln>
                  <a:noFill/>
                </a:ln>
                <a:solidFill>
                  <a:schemeClr val="tx1"/>
                </a:solidFill>
                <a:effectLst/>
                <a:latin typeface="Arial" charset="0"/>
              </a:rPr>
              <a:t>(VMs, virtual disks, virtual networks, …)</a:t>
            </a:r>
          </a:p>
        </p:txBody>
      </p:sp>
    </p:spTree>
    <p:custDataLst>
      <p:tags r:id="rId1"/>
    </p:custDataLst>
    <p:extLst>
      <p:ext uri="{BB962C8B-B14F-4D97-AF65-F5344CB8AC3E}">
        <p14:creationId xmlns:p14="http://schemas.microsoft.com/office/powerpoint/2010/main" val="1982173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icsson Full Stack</a:t>
            </a:r>
          </a:p>
        </p:txBody>
      </p:sp>
      <p:sp>
        <p:nvSpPr>
          <p:cNvPr id="5" name="Rectangle: Rounded Corners 4"/>
          <p:cNvSpPr/>
          <p:nvPr/>
        </p:nvSpPr>
        <p:spPr bwMode="auto">
          <a:xfrm>
            <a:off x="5918649" y="2429282"/>
            <a:ext cx="3159088" cy="76723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40" name="Freeform: Shape 39"/>
          <p:cNvSpPr/>
          <p:nvPr/>
        </p:nvSpPr>
        <p:spPr bwMode="auto">
          <a:xfrm>
            <a:off x="5396228" y="2482507"/>
            <a:ext cx="692055" cy="1509470"/>
          </a:xfrm>
          <a:custGeom>
            <a:avLst/>
            <a:gdLst>
              <a:gd name="connsiteX0" fmla="*/ 115600 w 870783"/>
              <a:gd name="connsiteY0" fmla="*/ 83055 h 1797612"/>
              <a:gd name="connsiteX1" fmla="*/ 186622 w 870783"/>
              <a:gd name="connsiteY1" fmla="*/ 109688 h 1797612"/>
              <a:gd name="connsiteX2" fmla="*/ 239888 w 870783"/>
              <a:gd name="connsiteY2" fmla="*/ 162954 h 1797612"/>
              <a:gd name="connsiteX3" fmla="*/ 275398 w 870783"/>
              <a:gd name="connsiteY3" fmla="*/ 225097 h 1797612"/>
              <a:gd name="connsiteX4" fmla="*/ 293154 w 870783"/>
              <a:gd name="connsiteY4" fmla="*/ 287241 h 1797612"/>
              <a:gd name="connsiteX5" fmla="*/ 399686 w 870783"/>
              <a:gd name="connsiteY5" fmla="*/ 873167 h 1797612"/>
              <a:gd name="connsiteX6" fmla="*/ 737037 w 870783"/>
              <a:gd name="connsiteY6" fmla="*/ 944189 h 1797612"/>
              <a:gd name="connsiteX7" fmla="*/ 870202 w 870783"/>
              <a:gd name="connsiteY7" fmla="*/ 944189 h 1797612"/>
              <a:gd name="connsiteX8" fmla="*/ 781426 w 870783"/>
              <a:gd name="connsiteY8" fmla="*/ 1725423 h 1797612"/>
              <a:gd name="connsiteX9" fmla="*/ 683771 w 870783"/>
              <a:gd name="connsiteY9" fmla="*/ 1707668 h 1797612"/>
              <a:gd name="connsiteX10" fmla="*/ 488462 w 870783"/>
              <a:gd name="connsiteY10" fmla="*/ 1237152 h 1797612"/>
              <a:gd name="connsiteX11" fmla="*/ 168866 w 870783"/>
              <a:gd name="connsiteY11" fmla="*/ 1254907 h 1797612"/>
              <a:gd name="connsiteX12" fmla="*/ 97845 w 870783"/>
              <a:gd name="connsiteY12" fmla="*/ 1272662 h 1797612"/>
              <a:gd name="connsiteX13" fmla="*/ 191 w 870783"/>
              <a:gd name="connsiteY13" fmla="*/ 1281540 h 1797612"/>
              <a:gd name="connsiteX14" fmla="*/ 115600 w 870783"/>
              <a:gd name="connsiteY14" fmla="*/ 83055 h 1797612"/>
              <a:gd name="connsiteX0" fmla="*/ 115600 w 870783"/>
              <a:gd name="connsiteY0" fmla="*/ 83055 h 1798495"/>
              <a:gd name="connsiteX1" fmla="*/ 186622 w 870783"/>
              <a:gd name="connsiteY1" fmla="*/ 109688 h 1798495"/>
              <a:gd name="connsiteX2" fmla="*/ 239888 w 870783"/>
              <a:gd name="connsiteY2" fmla="*/ 162954 h 1798495"/>
              <a:gd name="connsiteX3" fmla="*/ 275398 w 870783"/>
              <a:gd name="connsiteY3" fmla="*/ 225097 h 1798495"/>
              <a:gd name="connsiteX4" fmla="*/ 293154 w 870783"/>
              <a:gd name="connsiteY4" fmla="*/ 287241 h 1798495"/>
              <a:gd name="connsiteX5" fmla="*/ 399686 w 870783"/>
              <a:gd name="connsiteY5" fmla="*/ 873167 h 1798495"/>
              <a:gd name="connsiteX6" fmla="*/ 737037 w 870783"/>
              <a:gd name="connsiteY6" fmla="*/ 944189 h 1798495"/>
              <a:gd name="connsiteX7" fmla="*/ 870202 w 870783"/>
              <a:gd name="connsiteY7" fmla="*/ 944189 h 1798495"/>
              <a:gd name="connsiteX8" fmla="*/ 781426 w 870783"/>
              <a:gd name="connsiteY8" fmla="*/ 1725423 h 1798495"/>
              <a:gd name="connsiteX9" fmla="*/ 683771 w 870783"/>
              <a:gd name="connsiteY9" fmla="*/ 1707668 h 1798495"/>
              <a:gd name="connsiteX10" fmla="*/ 452951 w 870783"/>
              <a:gd name="connsiteY10" fmla="*/ 1219396 h 1798495"/>
              <a:gd name="connsiteX11" fmla="*/ 168866 w 870783"/>
              <a:gd name="connsiteY11" fmla="*/ 1254907 h 1798495"/>
              <a:gd name="connsiteX12" fmla="*/ 97845 w 870783"/>
              <a:gd name="connsiteY12" fmla="*/ 1272662 h 1798495"/>
              <a:gd name="connsiteX13" fmla="*/ 191 w 870783"/>
              <a:gd name="connsiteY13" fmla="*/ 1281540 h 1798495"/>
              <a:gd name="connsiteX14" fmla="*/ 115600 w 870783"/>
              <a:gd name="connsiteY14" fmla="*/ 83055 h 1798495"/>
              <a:gd name="connsiteX0" fmla="*/ 115600 w 870848"/>
              <a:gd name="connsiteY0" fmla="*/ 83055 h 1781320"/>
              <a:gd name="connsiteX1" fmla="*/ 186622 w 870848"/>
              <a:gd name="connsiteY1" fmla="*/ 109688 h 1781320"/>
              <a:gd name="connsiteX2" fmla="*/ 239888 w 870848"/>
              <a:gd name="connsiteY2" fmla="*/ 162954 h 1781320"/>
              <a:gd name="connsiteX3" fmla="*/ 275398 w 870848"/>
              <a:gd name="connsiteY3" fmla="*/ 225097 h 1781320"/>
              <a:gd name="connsiteX4" fmla="*/ 293154 w 870848"/>
              <a:gd name="connsiteY4" fmla="*/ 287241 h 1781320"/>
              <a:gd name="connsiteX5" fmla="*/ 399686 w 870848"/>
              <a:gd name="connsiteY5" fmla="*/ 873167 h 1781320"/>
              <a:gd name="connsiteX6" fmla="*/ 737037 w 870848"/>
              <a:gd name="connsiteY6" fmla="*/ 944189 h 1781320"/>
              <a:gd name="connsiteX7" fmla="*/ 870202 w 870848"/>
              <a:gd name="connsiteY7" fmla="*/ 944189 h 1781320"/>
              <a:gd name="connsiteX8" fmla="*/ 781426 w 870848"/>
              <a:gd name="connsiteY8" fmla="*/ 1725423 h 1781320"/>
              <a:gd name="connsiteX9" fmla="*/ 639383 w 870848"/>
              <a:gd name="connsiteY9" fmla="*/ 1663280 h 1781320"/>
              <a:gd name="connsiteX10" fmla="*/ 452951 w 870848"/>
              <a:gd name="connsiteY10" fmla="*/ 1219396 h 1781320"/>
              <a:gd name="connsiteX11" fmla="*/ 168866 w 870848"/>
              <a:gd name="connsiteY11" fmla="*/ 1254907 h 1781320"/>
              <a:gd name="connsiteX12" fmla="*/ 97845 w 870848"/>
              <a:gd name="connsiteY12" fmla="*/ 1272662 h 1781320"/>
              <a:gd name="connsiteX13" fmla="*/ 191 w 870848"/>
              <a:gd name="connsiteY13" fmla="*/ 1281540 h 1781320"/>
              <a:gd name="connsiteX14" fmla="*/ 115600 w 870848"/>
              <a:gd name="connsiteY14" fmla="*/ 83055 h 1781320"/>
              <a:gd name="connsiteX0" fmla="*/ 121416 w 876664"/>
              <a:gd name="connsiteY0" fmla="*/ 601 h 1698866"/>
              <a:gd name="connsiteX1" fmla="*/ 192438 w 876664"/>
              <a:gd name="connsiteY1" fmla="*/ 27234 h 1698866"/>
              <a:gd name="connsiteX2" fmla="*/ 245704 w 876664"/>
              <a:gd name="connsiteY2" fmla="*/ 80500 h 1698866"/>
              <a:gd name="connsiteX3" fmla="*/ 281214 w 876664"/>
              <a:gd name="connsiteY3" fmla="*/ 142643 h 1698866"/>
              <a:gd name="connsiteX4" fmla="*/ 298970 w 876664"/>
              <a:gd name="connsiteY4" fmla="*/ 204787 h 1698866"/>
              <a:gd name="connsiteX5" fmla="*/ 405502 w 876664"/>
              <a:gd name="connsiteY5" fmla="*/ 790713 h 1698866"/>
              <a:gd name="connsiteX6" fmla="*/ 742853 w 876664"/>
              <a:gd name="connsiteY6" fmla="*/ 861735 h 1698866"/>
              <a:gd name="connsiteX7" fmla="*/ 876018 w 876664"/>
              <a:gd name="connsiteY7" fmla="*/ 861735 h 1698866"/>
              <a:gd name="connsiteX8" fmla="*/ 787242 w 876664"/>
              <a:gd name="connsiteY8" fmla="*/ 1642969 h 1698866"/>
              <a:gd name="connsiteX9" fmla="*/ 645199 w 876664"/>
              <a:gd name="connsiteY9" fmla="*/ 1580826 h 1698866"/>
              <a:gd name="connsiteX10" fmla="*/ 458767 w 876664"/>
              <a:gd name="connsiteY10" fmla="*/ 1136942 h 1698866"/>
              <a:gd name="connsiteX11" fmla="*/ 174682 w 876664"/>
              <a:gd name="connsiteY11" fmla="*/ 1172453 h 1698866"/>
              <a:gd name="connsiteX12" fmla="*/ 103661 w 876664"/>
              <a:gd name="connsiteY12" fmla="*/ 1190208 h 1698866"/>
              <a:gd name="connsiteX13" fmla="*/ 6007 w 876664"/>
              <a:gd name="connsiteY13" fmla="*/ 1199086 h 1698866"/>
              <a:gd name="connsiteX14" fmla="*/ 121416 w 876664"/>
              <a:gd name="connsiteY14" fmla="*/ 601 h 1698866"/>
              <a:gd name="connsiteX0" fmla="*/ 219316 w 974564"/>
              <a:gd name="connsiteY0" fmla="*/ 601 h 1698866"/>
              <a:gd name="connsiteX1" fmla="*/ 290338 w 974564"/>
              <a:gd name="connsiteY1" fmla="*/ 27234 h 1698866"/>
              <a:gd name="connsiteX2" fmla="*/ 343604 w 974564"/>
              <a:gd name="connsiteY2" fmla="*/ 80500 h 1698866"/>
              <a:gd name="connsiteX3" fmla="*/ 379114 w 974564"/>
              <a:gd name="connsiteY3" fmla="*/ 142643 h 1698866"/>
              <a:gd name="connsiteX4" fmla="*/ 396870 w 974564"/>
              <a:gd name="connsiteY4" fmla="*/ 204787 h 1698866"/>
              <a:gd name="connsiteX5" fmla="*/ 503402 w 974564"/>
              <a:gd name="connsiteY5" fmla="*/ 790713 h 1698866"/>
              <a:gd name="connsiteX6" fmla="*/ 840753 w 974564"/>
              <a:gd name="connsiteY6" fmla="*/ 861735 h 1698866"/>
              <a:gd name="connsiteX7" fmla="*/ 973918 w 974564"/>
              <a:gd name="connsiteY7" fmla="*/ 861735 h 1698866"/>
              <a:gd name="connsiteX8" fmla="*/ 885142 w 974564"/>
              <a:gd name="connsiteY8" fmla="*/ 1642969 h 1698866"/>
              <a:gd name="connsiteX9" fmla="*/ 743099 w 974564"/>
              <a:gd name="connsiteY9" fmla="*/ 1580826 h 1698866"/>
              <a:gd name="connsiteX10" fmla="*/ 556667 w 974564"/>
              <a:gd name="connsiteY10" fmla="*/ 1136942 h 1698866"/>
              <a:gd name="connsiteX11" fmla="*/ 272582 w 974564"/>
              <a:gd name="connsiteY11" fmla="*/ 1172453 h 1698866"/>
              <a:gd name="connsiteX12" fmla="*/ 201561 w 974564"/>
              <a:gd name="connsiteY12" fmla="*/ 1190208 h 1698866"/>
              <a:gd name="connsiteX13" fmla="*/ 103907 w 974564"/>
              <a:gd name="connsiteY13" fmla="*/ 1199086 h 1698866"/>
              <a:gd name="connsiteX14" fmla="*/ 219316 w 974564"/>
              <a:gd name="connsiteY14" fmla="*/ 601 h 1698866"/>
              <a:gd name="connsiteX0" fmla="*/ 162944 w 918192"/>
              <a:gd name="connsiteY0" fmla="*/ 81730 h 1779995"/>
              <a:gd name="connsiteX1" fmla="*/ 233966 w 918192"/>
              <a:gd name="connsiteY1" fmla="*/ 108363 h 1779995"/>
              <a:gd name="connsiteX2" fmla="*/ 287232 w 918192"/>
              <a:gd name="connsiteY2" fmla="*/ 161629 h 1779995"/>
              <a:gd name="connsiteX3" fmla="*/ 322742 w 918192"/>
              <a:gd name="connsiteY3" fmla="*/ 223772 h 1779995"/>
              <a:gd name="connsiteX4" fmla="*/ 340498 w 918192"/>
              <a:gd name="connsiteY4" fmla="*/ 285916 h 1779995"/>
              <a:gd name="connsiteX5" fmla="*/ 447030 w 918192"/>
              <a:gd name="connsiteY5" fmla="*/ 871842 h 1779995"/>
              <a:gd name="connsiteX6" fmla="*/ 784381 w 918192"/>
              <a:gd name="connsiteY6" fmla="*/ 942864 h 1779995"/>
              <a:gd name="connsiteX7" fmla="*/ 917546 w 918192"/>
              <a:gd name="connsiteY7" fmla="*/ 942864 h 1779995"/>
              <a:gd name="connsiteX8" fmla="*/ 828770 w 918192"/>
              <a:gd name="connsiteY8" fmla="*/ 1724098 h 1779995"/>
              <a:gd name="connsiteX9" fmla="*/ 686727 w 918192"/>
              <a:gd name="connsiteY9" fmla="*/ 1661955 h 1779995"/>
              <a:gd name="connsiteX10" fmla="*/ 500295 w 918192"/>
              <a:gd name="connsiteY10" fmla="*/ 1218071 h 1779995"/>
              <a:gd name="connsiteX11" fmla="*/ 216210 w 918192"/>
              <a:gd name="connsiteY11" fmla="*/ 1253582 h 1779995"/>
              <a:gd name="connsiteX12" fmla="*/ 145189 w 918192"/>
              <a:gd name="connsiteY12" fmla="*/ 1271337 h 1779995"/>
              <a:gd name="connsiteX13" fmla="*/ 83394 w 918192"/>
              <a:gd name="connsiteY13" fmla="*/ 1262285 h 1779995"/>
              <a:gd name="connsiteX14" fmla="*/ 162944 w 918192"/>
              <a:gd name="connsiteY14" fmla="*/ 81730 h 1779995"/>
              <a:gd name="connsiteX0" fmla="*/ 183534 w 938782"/>
              <a:gd name="connsiteY0" fmla="*/ 57 h 1698322"/>
              <a:gd name="connsiteX1" fmla="*/ 254556 w 938782"/>
              <a:gd name="connsiteY1" fmla="*/ 26690 h 1698322"/>
              <a:gd name="connsiteX2" fmla="*/ 307822 w 938782"/>
              <a:gd name="connsiteY2" fmla="*/ 79956 h 1698322"/>
              <a:gd name="connsiteX3" fmla="*/ 343332 w 938782"/>
              <a:gd name="connsiteY3" fmla="*/ 142099 h 1698322"/>
              <a:gd name="connsiteX4" fmla="*/ 361088 w 938782"/>
              <a:gd name="connsiteY4" fmla="*/ 204243 h 1698322"/>
              <a:gd name="connsiteX5" fmla="*/ 467620 w 938782"/>
              <a:gd name="connsiteY5" fmla="*/ 790169 h 1698322"/>
              <a:gd name="connsiteX6" fmla="*/ 804971 w 938782"/>
              <a:gd name="connsiteY6" fmla="*/ 861191 h 1698322"/>
              <a:gd name="connsiteX7" fmla="*/ 938136 w 938782"/>
              <a:gd name="connsiteY7" fmla="*/ 861191 h 1698322"/>
              <a:gd name="connsiteX8" fmla="*/ 849360 w 938782"/>
              <a:gd name="connsiteY8" fmla="*/ 1642425 h 1698322"/>
              <a:gd name="connsiteX9" fmla="*/ 707317 w 938782"/>
              <a:gd name="connsiteY9" fmla="*/ 1580282 h 1698322"/>
              <a:gd name="connsiteX10" fmla="*/ 520885 w 938782"/>
              <a:gd name="connsiteY10" fmla="*/ 1136398 h 1698322"/>
              <a:gd name="connsiteX11" fmla="*/ 236800 w 938782"/>
              <a:gd name="connsiteY11" fmla="*/ 1171909 h 1698322"/>
              <a:gd name="connsiteX12" fmla="*/ 165779 w 938782"/>
              <a:gd name="connsiteY12" fmla="*/ 1189664 h 1698322"/>
              <a:gd name="connsiteX13" fmla="*/ 103984 w 938782"/>
              <a:gd name="connsiteY13" fmla="*/ 1180612 h 1698322"/>
              <a:gd name="connsiteX14" fmla="*/ 183534 w 938782"/>
              <a:gd name="connsiteY14" fmla="*/ 57 h 1698322"/>
              <a:gd name="connsiteX0" fmla="*/ 183534 w 985793"/>
              <a:gd name="connsiteY0" fmla="*/ 57 h 1698322"/>
              <a:gd name="connsiteX1" fmla="*/ 254556 w 985793"/>
              <a:gd name="connsiteY1" fmla="*/ 26690 h 1698322"/>
              <a:gd name="connsiteX2" fmla="*/ 307822 w 985793"/>
              <a:gd name="connsiteY2" fmla="*/ 79956 h 1698322"/>
              <a:gd name="connsiteX3" fmla="*/ 343332 w 985793"/>
              <a:gd name="connsiteY3" fmla="*/ 142099 h 1698322"/>
              <a:gd name="connsiteX4" fmla="*/ 361088 w 985793"/>
              <a:gd name="connsiteY4" fmla="*/ 204243 h 1698322"/>
              <a:gd name="connsiteX5" fmla="*/ 467620 w 985793"/>
              <a:gd name="connsiteY5" fmla="*/ 790169 h 1698322"/>
              <a:gd name="connsiteX6" fmla="*/ 804971 w 985793"/>
              <a:gd name="connsiteY6" fmla="*/ 861191 h 1698322"/>
              <a:gd name="connsiteX7" fmla="*/ 938136 w 985793"/>
              <a:gd name="connsiteY7" fmla="*/ 861191 h 1698322"/>
              <a:gd name="connsiteX8" fmla="*/ 849360 w 985793"/>
              <a:gd name="connsiteY8" fmla="*/ 1642425 h 1698322"/>
              <a:gd name="connsiteX9" fmla="*/ 707317 w 985793"/>
              <a:gd name="connsiteY9" fmla="*/ 1580282 h 1698322"/>
              <a:gd name="connsiteX10" fmla="*/ 520885 w 985793"/>
              <a:gd name="connsiteY10" fmla="*/ 1136398 h 1698322"/>
              <a:gd name="connsiteX11" fmla="*/ 236800 w 985793"/>
              <a:gd name="connsiteY11" fmla="*/ 1171909 h 1698322"/>
              <a:gd name="connsiteX12" fmla="*/ 165779 w 985793"/>
              <a:gd name="connsiteY12" fmla="*/ 1189664 h 1698322"/>
              <a:gd name="connsiteX13" fmla="*/ 103984 w 985793"/>
              <a:gd name="connsiteY13" fmla="*/ 1180612 h 1698322"/>
              <a:gd name="connsiteX14" fmla="*/ 183534 w 985793"/>
              <a:gd name="connsiteY14" fmla="*/ 57 h 1698322"/>
              <a:gd name="connsiteX0" fmla="*/ 183534 w 998708"/>
              <a:gd name="connsiteY0" fmla="*/ 57 h 1647860"/>
              <a:gd name="connsiteX1" fmla="*/ 254556 w 998708"/>
              <a:gd name="connsiteY1" fmla="*/ 26690 h 1647860"/>
              <a:gd name="connsiteX2" fmla="*/ 307822 w 998708"/>
              <a:gd name="connsiteY2" fmla="*/ 79956 h 1647860"/>
              <a:gd name="connsiteX3" fmla="*/ 343332 w 998708"/>
              <a:gd name="connsiteY3" fmla="*/ 142099 h 1647860"/>
              <a:gd name="connsiteX4" fmla="*/ 361088 w 998708"/>
              <a:gd name="connsiteY4" fmla="*/ 204243 h 1647860"/>
              <a:gd name="connsiteX5" fmla="*/ 467620 w 998708"/>
              <a:gd name="connsiteY5" fmla="*/ 790169 h 1647860"/>
              <a:gd name="connsiteX6" fmla="*/ 804971 w 998708"/>
              <a:gd name="connsiteY6" fmla="*/ 861191 h 1647860"/>
              <a:gd name="connsiteX7" fmla="*/ 938136 w 998708"/>
              <a:gd name="connsiteY7" fmla="*/ 861191 h 1647860"/>
              <a:gd name="connsiteX8" fmla="*/ 849360 w 998708"/>
              <a:gd name="connsiteY8" fmla="*/ 1642425 h 1647860"/>
              <a:gd name="connsiteX9" fmla="*/ 707317 w 998708"/>
              <a:gd name="connsiteY9" fmla="*/ 1580282 h 1647860"/>
              <a:gd name="connsiteX10" fmla="*/ 520885 w 998708"/>
              <a:gd name="connsiteY10" fmla="*/ 1136398 h 1647860"/>
              <a:gd name="connsiteX11" fmla="*/ 236800 w 998708"/>
              <a:gd name="connsiteY11" fmla="*/ 1171909 h 1647860"/>
              <a:gd name="connsiteX12" fmla="*/ 165779 w 998708"/>
              <a:gd name="connsiteY12" fmla="*/ 1189664 h 1647860"/>
              <a:gd name="connsiteX13" fmla="*/ 103984 w 998708"/>
              <a:gd name="connsiteY13" fmla="*/ 1180612 h 1647860"/>
              <a:gd name="connsiteX14" fmla="*/ 183534 w 998708"/>
              <a:gd name="connsiteY14" fmla="*/ 57 h 1647860"/>
              <a:gd name="connsiteX0" fmla="*/ 183534 w 998708"/>
              <a:gd name="connsiteY0" fmla="*/ 57 h 1650515"/>
              <a:gd name="connsiteX1" fmla="*/ 254556 w 998708"/>
              <a:gd name="connsiteY1" fmla="*/ 26690 h 1650515"/>
              <a:gd name="connsiteX2" fmla="*/ 307822 w 998708"/>
              <a:gd name="connsiteY2" fmla="*/ 79956 h 1650515"/>
              <a:gd name="connsiteX3" fmla="*/ 343332 w 998708"/>
              <a:gd name="connsiteY3" fmla="*/ 142099 h 1650515"/>
              <a:gd name="connsiteX4" fmla="*/ 361088 w 998708"/>
              <a:gd name="connsiteY4" fmla="*/ 204243 h 1650515"/>
              <a:gd name="connsiteX5" fmla="*/ 467620 w 998708"/>
              <a:gd name="connsiteY5" fmla="*/ 790169 h 1650515"/>
              <a:gd name="connsiteX6" fmla="*/ 804971 w 998708"/>
              <a:gd name="connsiteY6" fmla="*/ 861191 h 1650515"/>
              <a:gd name="connsiteX7" fmla="*/ 938136 w 998708"/>
              <a:gd name="connsiteY7" fmla="*/ 861191 h 1650515"/>
              <a:gd name="connsiteX8" fmla="*/ 849360 w 998708"/>
              <a:gd name="connsiteY8" fmla="*/ 1642425 h 1650515"/>
              <a:gd name="connsiteX9" fmla="*/ 707317 w 998708"/>
              <a:gd name="connsiteY9" fmla="*/ 1580282 h 1650515"/>
              <a:gd name="connsiteX10" fmla="*/ 520885 w 998708"/>
              <a:gd name="connsiteY10" fmla="*/ 1136398 h 1650515"/>
              <a:gd name="connsiteX11" fmla="*/ 236800 w 998708"/>
              <a:gd name="connsiteY11" fmla="*/ 1171909 h 1650515"/>
              <a:gd name="connsiteX12" fmla="*/ 165779 w 998708"/>
              <a:gd name="connsiteY12" fmla="*/ 1189664 h 1650515"/>
              <a:gd name="connsiteX13" fmla="*/ 103984 w 998708"/>
              <a:gd name="connsiteY13" fmla="*/ 1180612 h 1650515"/>
              <a:gd name="connsiteX14" fmla="*/ 183534 w 998708"/>
              <a:gd name="connsiteY14" fmla="*/ 57 h 1650515"/>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67620 w 997448"/>
              <a:gd name="connsiteY5" fmla="*/ 790169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21409 w 997448"/>
              <a:gd name="connsiteY5" fmla="*/ 796146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236800 w 997448"/>
              <a:gd name="connsiteY11" fmla="*/ 1171909 h 1643052"/>
              <a:gd name="connsiteX12" fmla="*/ 165779 w 997448"/>
              <a:gd name="connsiteY12" fmla="*/ 1189664 h 1643052"/>
              <a:gd name="connsiteX13" fmla="*/ 103984 w 997448"/>
              <a:gd name="connsiteY13" fmla="*/ 1180612 h 1643052"/>
              <a:gd name="connsiteX14" fmla="*/ 183534 w 997448"/>
              <a:gd name="connsiteY14" fmla="*/ 57 h 1643052"/>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165779 w 997448"/>
              <a:gd name="connsiteY11" fmla="*/ 1189664 h 1643052"/>
              <a:gd name="connsiteX12" fmla="*/ 103984 w 997448"/>
              <a:gd name="connsiteY12" fmla="*/ 1180612 h 1643052"/>
              <a:gd name="connsiteX13" fmla="*/ 183534 w 997448"/>
              <a:gd name="connsiteY13" fmla="*/ 57 h 1643052"/>
              <a:gd name="connsiteX0" fmla="*/ 40651 w 854565"/>
              <a:gd name="connsiteY0" fmla="*/ 82399 h 1725394"/>
              <a:gd name="connsiteX1" fmla="*/ 111673 w 854565"/>
              <a:gd name="connsiteY1" fmla="*/ 109032 h 1725394"/>
              <a:gd name="connsiteX2" fmla="*/ 164939 w 854565"/>
              <a:gd name="connsiteY2" fmla="*/ 162298 h 1725394"/>
              <a:gd name="connsiteX3" fmla="*/ 200449 w 854565"/>
              <a:gd name="connsiteY3" fmla="*/ 224441 h 1725394"/>
              <a:gd name="connsiteX4" fmla="*/ 218205 w 854565"/>
              <a:gd name="connsiteY4" fmla="*/ 286585 h 1725394"/>
              <a:gd name="connsiteX5" fmla="*/ 342667 w 854565"/>
              <a:gd name="connsiteY5" fmla="*/ 854582 h 1725394"/>
              <a:gd name="connsiteX6" fmla="*/ 662088 w 854565"/>
              <a:gd name="connsiteY6" fmla="*/ 943533 h 1725394"/>
              <a:gd name="connsiteX7" fmla="*/ 795253 w 854565"/>
              <a:gd name="connsiteY7" fmla="*/ 943533 h 1725394"/>
              <a:gd name="connsiteX8" fmla="*/ 706477 w 854565"/>
              <a:gd name="connsiteY8" fmla="*/ 1724767 h 1725394"/>
              <a:gd name="connsiteX9" fmla="*/ 564434 w 854565"/>
              <a:gd name="connsiteY9" fmla="*/ 1662624 h 1725394"/>
              <a:gd name="connsiteX10" fmla="*/ 366049 w 854565"/>
              <a:gd name="connsiteY10" fmla="*/ 1290457 h 1725394"/>
              <a:gd name="connsiteX11" fmla="*/ 22896 w 854565"/>
              <a:gd name="connsiteY11" fmla="*/ 1272006 h 1725394"/>
              <a:gd name="connsiteX12" fmla="*/ 40651 w 854565"/>
              <a:gd name="connsiteY12" fmla="*/ 82399 h 1725394"/>
              <a:gd name="connsiteX0" fmla="*/ 9797 w 841466"/>
              <a:gd name="connsiteY0" fmla="*/ 1236700 h 1690088"/>
              <a:gd name="connsiteX1" fmla="*/ 98574 w 841466"/>
              <a:gd name="connsiteY1" fmla="*/ 73726 h 1690088"/>
              <a:gd name="connsiteX2" fmla="*/ 151840 w 841466"/>
              <a:gd name="connsiteY2" fmla="*/ 126992 h 1690088"/>
              <a:gd name="connsiteX3" fmla="*/ 187350 w 841466"/>
              <a:gd name="connsiteY3" fmla="*/ 189135 h 1690088"/>
              <a:gd name="connsiteX4" fmla="*/ 205106 w 841466"/>
              <a:gd name="connsiteY4" fmla="*/ 251279 h 1690088"/>
              <a:gd name="connsiteX5" fmla="*/ 329568 w 841466"/>
              <a:gd name="connsiteY5" fmla="*/ 819276 h 1690088"/>
              <a:gd name="connsiteX6" fmla="*/ 648989 w 841466"/>
              <a:gd name="connsiteY6" fmla="*/ 908227 h 1690088"/>
              <a:gd name="connsiteX7" fmla="*/ 782154 w 841466"/>
              <a:gd name="connsiteY7" fmla="*/ 908227 h 1690088"/>
              <a:gd name="connsiteX8" fmla="*/ 693378 w 841466"/>
              <a:gd name="connsiteY8" fmla="*/ 1689461 h 1690088"/>
              <a:gd name="connsiteX9" fmla="*/ 551335 w 841466"/>
              <a:gd name="connsiteY9" fmla="*/ 1627318 h 1690088"/>
              <a:gd name="connsiteX10" fmla="*/ 352950 w 841466"/>
              <a:gd name="connsiteY10" fmla="*/ 1255151 h 1690088"/>
              <a:gd name="connsiteX11" fmla="*/ 9797 w 841466"/>
              <a:gd name="connsiteY11" fmla="*/ 1236700 h 1690088"/>
              <a:gd name="connsiteX0" fmla="*/ 9797 w 841466"/>
              <a:gd name="connsiteY0" fmla="*/ 1238625 h 1692013"/>
              <a:gd name="connsiteX1" fmla="*/ 98574 w 841466"/>
              <a:gd name="connsiteY1" fmla="*/ 75651 h 1692013"/>
              <a:gd name="connsiteX2" fmla="*/ 151840 w 841466"/>
              <a:gd name="connsiteY2" fmla="*/ 128917 h 1692013"/>
              <a:gd name="connsiteX3" fmla="*/ 205106 w 841466"/>
              <a:gd name="connsiteY3" fmla="*/ 253204 h 1692013"/>
              <a:gd name="connsiteX4" fmla="*/ 329568 w 841466"/>
              <a:gd name="connsiteY4" fmla="*/ 821201 h 1692013"/>
              <a:gd name="connsiteX5" fmla="*/ 648989 w 841466"/>
              <a:gd name="connsiteY5" fmla="*/ 910152 h 1692013"/>
              <a:gd name="connsiteX6" fmla="*/ 782154 w 841466"/>
              <a:gd name="connsiteY6" fmla="*/ 910152 h 1692013"/>
              <a:gd name="connsiteX7" fmla="*/ 693378 w 841466"/>
              <a:gd name="connsiteY7" fmla="*/ 1691386 h 1692013"/>
              <a:gd name="connsiteX8" fmla="*/ 551335 w 841466"/>
              <a:gd name="connsiteY8" fmla="*/ 1629243 h 1692013"/>
              <a:gd name="connsiteX9" fmla="*/ 352950 w 841466"/>
              <a:gd name="connsiteY9" fmla="*/ 1257076 h 1692013"/>
              <a:gd name="connsiteX10" fmla="*/ 9797 w 841466"/>
              <a:gd name="connsiteY10" fmla="*/ 1238625 h 1692013"/>
              <a:gd name="connsiteX0" fmla="*/ 9797 w 841466"/>
              <a:gd name="connsiteY0" fmla="*/ 1260168 h 1713556"/>
              <a:gd name="connsiteX1" fmla="*/ 98574 w 841466"/>
              <a:gd name="connsiteY1" fmla="*/ 97194 h 1713556"/>
              <a:gd name="connsiteX2" fmla="*/ 151840 w 841466"/>
              <a:gd name="connsiteY2" fmla="*/ 150460 h 1713556"/>
              <a:gd name="connsiteX3" fmla="*/ 329568 w 841466"/>
              <a:gd name="connsiteY3" fmla="*/ 842744 h 1713556"/>
              <a:gd name="connsiteX4" fmla="*/ 648989 w 841466"/>
              <a:gd name="connsiteY4" fmla="*/ 931695 h 1713556"/>
              <a:gd name="connsiteX5" fmla="*/ 782154 w 841466"/>
              <a:gd name="connsiteY5" fmla="*/ 931695 h 1713556"/>
              <a:gd name="connsiteX6" fmla="*/ 693378 w 841466"/>
              <a:gd name="connsiteY6" fmla="*/ 1712929 h 1713556"/>
              <a:gd name="connsiteX7" fmla="*/ 551335 w 841466"/>
              <a:gd name="connsiteY7" fmla="*/ 1650786 h 1713556"/>
              <a:gd name="connsiteX8" fmla="*/ 352950 w 841466"/>
              <a:gd name="connsiteY8" fmla="*/ 1278619 h 1713556"/>
              <a:gd name="connsiteX9" fmla="*/ 9797 w 841466"/>
              <a:gd name="connsiteY9" fmla="*/ 1260168 h 1713556"/>
              <a:gd name="connsiteX0" fmla="*/ 5728 w 837397"/>
              <a:gd name="connsiteY0" fmla="*/ 1115042 h 1568430"/>
              <a:gd name="connsiteX1" fmla="*/ 147771 w 837397"/>
              <a:gd name="connsiteY1" fmla="*/ 5334 h 1568430"/>
              <a:gd name="connsiteX2" fmla="*/ 325499 w 837397"/>
              <a:gd name="connsiteY2" fmla="*/ 697618 h 1568430"/>
              <a:gd name="connsiteX3" fmla="*/ 644920 w 837397"/>
              <a:gd name="connsiteY3" fmla="*/ 786569 h 1568430"/>
              <a:gd name="connsiteX4" fmla="*/ 778085 w 837397"/>
              <a:gd name="connsiteY4" fmla="*/ 786569 h 1568430"/>
              <a:gd name="connsiteX5" fmla="*/ 689309 w 837397"/>
              <a:gd name="connsiteY5" fmla="*/ 1567803 h 1568430"/>
              <a:gd name="connsiteX6" fmla="*/ 547266 w 837397"/>
              <a:gd name="connsiteY6" fmla="*/ 1505660 h 1568430"/>
              <a:gd name="connsiteX7" fmla="*/ 348881 w 837397"/>
              <a:gd name="connsiteY7" fmla="*/ 1133493 h 1568430"/>
              <a:gd name="connsiteX8" fmla="*/ 5728 w 837397"/>
              <a:gd name="connsiteY8" fmla="*/ 1115042 h 1568430"/>
              <a:gd name="connsiteX0" fmla="*/ 5926 w 831619"/>
              <a:gd name="connsiteY0" fmla="*/ 1115042 h 1568430"/>
              <a:gd name="connsiteX1" fmla="*/ 141993 w 831619"/>
              <a:gd name="connsiteY1" fmla="*/ 5334 h 1568430"/>
              <a:gd name="connsiteX2" fmla="*/ 319721 w 831619"/>
              <a:gd name="connsiteY2" fmla="*/ 697618 h 1568430"/>
              <a:gd name="connsiteX3" fmla="*/ 639142 w 831619"/>
              <a:gd name="connsiteY3" fmla="*/ 786569 h 1568430"/>
              <a:gd name="connsiteX4" fmla="*/ 772307 w 831619"/>
              <a:gd name="connsiteY4" fmla="*/ 786569 h 1568430"/>
              <a:gd name="connsiteX5" fmla="*/ 683531 w 831619"/>
              <a:gd name="connsiteY5" fmla="*/ 1567803 h 1568430"/>
              <a:gd name="connsiteX6" fmla="*/ 541488 w 831619"/>
              <a:gd name="connsiteY6" fmla="*/ 1505660 h 1568430"/>
              <a:gd name="connsiteX7" fmla="*/ 343103 w 831619"/>
              <a:gd name="connsiteY7" fmla="*/ 1133493 h 1568430"/>
              <a:gd name="connsiteX8" fmla="*/ 5926 w 831619"/>
              <a:gd name="connsiteY8" fmla="*/ 1115042 h 1568430"/>
              <a:gd name="connsiteX0" fmla="*/ 5926 w 692736"/>
              <a:gd name="connsiteY0" fmla="*/ 1115042 h 1568430"/>
              <a:gd name="connsiteX1" fmla="*/ 141993 w 692736"/>
              <a:gd name="connsiteY1" fmla="*/ 5334 h 1568430"/>
              <a:gd name="connsiteX2" fmla="*/ 319721 w 692736"/>
              <a:gd name="connsiteY2" fmla="*/ 697618 h 1568430"/>
              <a:gd name="connsiteX3" fmla="*/ 639142 w 692736"/>
              <a:gd name="connsiteY3" fmla="*/ 786569 h 1568430"/>
              <a:gd name="connsiteX4" fmla="*/ 683531 w 692736"/>
              <a:gd name="connsiteY4" fmla="*/ 1567803 h 1568430"/>
              <a:gd name="connsiteX5" fmla="*/ 541488 w 692736"/>
              <a:gd name="connsiteY5" fmla="*/ 1505660 h 1568430"/>
              <a:gd name="connsiteX6" fmla="*/ 343103 w 692736"/>
              <a:gd name="connsiteY6" fmla="*/ 1133493 h 1568430"/>
              <a:gd name="connsiteX7" fmla="*/ 5926 w 692736"/>
              <a:gd name="connsiteY7" fmla="*/ 1115042 h 1568430"/>
              <a:gd name="connsiteX0" fmla="*/ 5926 w 648171"/>
              <a:gd name="connsiteY0" fmla="*/ 1115042 h 1511846"/>
              <a:gd name="connsiteX1" fmla="*/ 141993 w 648171"/>
              <a:gd name="connsiteY1" fmla="*/ 5334 h 1511846"/>
              <a:gd name="connsiteX2" fmla="*/ 319721 w 648171"/>
              <a:gd name="connsiteY2" fmla="*/ 697618 h 1511846"/>
              <a:gd name="connsiteX3" fmla="*/ 639142 w 648171"/>
              <a:gd name="connsiteY3" fmla="*/ 786569 h 1511846"/>
              <a:gd name="connsiteX4" fmla="*/ 541488 w 648171"/>
              <a:gd name="connsiteY4" fmla="*/ 1505660 h 1511846"/>
              <a:gd name="connsiteX5" fmla="*/ 343103 w 648171"/>
              <a:gd name="connsiteY5" fmla="*/ 1133493 h 1511846"/>
              <a:gd name="connsiteX6" fmla="*/ 5926 w 648171"/>
              <a:gd name="connsiteY6" fmla="*/ 1115042 h 1511846"/>
              <a:gd name="connsiteX0" fmla="*/ 5926 w 664289"/>
              <a:gd name="connsiteY0" fmla="*/ 1115042 h 1511846"/>
              <a:gd name="connsiteX1" fmla="*/ 141993 w 664289"/>
              <a:gd name="connsiteY1" fmla="*/ 5334 h 1511846"/>
              <a:gd name="connsiteX2" fmla="*/ 319721 w 664289"/>
              <a:gd name="connsiteY2" fmla="*/ 697618 h 1511846"/>
              <a:gd name="connsiteX3" fmla="*/ 639142 w 664289"/>
              <a:gd name="connsiteY3" fmla="*/ 786569 h 1511846"/>
              <a:gd name="connsiteX4" fmla="*/ 541488 w 664289"/>
              <a:gd name="connsiteY4" fmla="*/ 1505660 h 1511846"/>
              <a:gd name="connsiteX5" fmla="*/ 343103 w 664289"/>
              <a:gd name="connsiteY5" fmla="*/ 1133493 h 1511846"/>
              <a:gd name="connsiteX6" fmla="*/ 5926 w 664289"/>
              <a:gd name="connsiteY6" fmla="*/ 1115042 h 1511846"/>
              <a:gd name="connsiteX0" fmla="*/ 5926 w 674588"/>
              <a:gd name="connsiteY0" fmla="*/ 1115042 h 1528233"/>
              <a:gd name="connsiteX1" fmla="*/ 141993 w 674588"/>
              <a:gd name="connsiteY1" fmla="*/ 5334 h 1528233"/>
              <a:gd name="connsiteX2" fmla="*/ 319721 w 674588"/>
              <a:gd name="connsiteY2" fmla="*/ 697618 h 1528233"/>
              <a:gd name="connsiteX3" fmla="*/ 639142 w 674588"/>
              <a:gd name="connsiteY3" fmla="*/ 786569 h 1528233"/>
              <a:gd name="connsiteX4" fmla="*/ 541488 w 674588"/>
              <a:gd name="connsiteY4" fmla="*/ 1505660 h 1528233"/>
              <a:gd name="connsiteX5" fmla="*/ 343103 w 674588"/>
              <a:gd name="connsiteY5" fmla="*/ 1133493 h 1528233"/>
              <a:gd name="connsiteX6" fmla="*/ 5926 w 674588"/>
              <a:gd name="connsiteY6" fmla="*/ 1115042 h 1528233"/>
              <a:gd name="connsiteX0" fmla="*/ 5367 w 691958"/>
              <a:gd name="connsiteY0" fmla="*/ 1108928 h 1528095"/>
              <a:gd name="connsiteX1" fmla="*/ 159363 w 691958"/>
              <a:gd name="connsiteY1" fmla="*/ 5196 h 1528095"/>
              <a:gd name="connsiteX2" fmla="*/ 337091 w 691958"/>
              <a:gd name="connsiteY2" fmla="*/ 697480 h 1528095"/>
              <a:gd name="connsiteX3" fmla="*/ 656512 w 691958"/>
              <a:gd name="connsiteY3" fmla="*/ 786431 h 1528095"/>
              <a:gd name="connsiteX4" fmla="*/ 558858 w 691958"/>
              <a:gd name="connsiteY4" fmla="*/ 1505522 h 1528095"/>
              <a:gd name="connsiteX5" fmla="*/ 360473 w 691958"/>
              <a:gd name="connsiteY5" fmla="*/ 1133355 h 1528095"/>
              <a:gd name="connsiteX6" fmla="*/ 5367 w 691958"/>
              <a:gd name="connsiteY6" fmla="*/ 1108928 h 1528095"/>
              <a:gd name="connsiteX0" fmla="*/ 5801 w 692392"/>
              <a:gd name="connsiteY0" fmla="*/ 1102989 h 1522156"/>
              <a:gd name="connsiteX1" fmla="*/ 147844 w 692392"/>
              <a:gd name="connsiteY1" fmla="*/ 5234 h 1522156"/>
              <a:gd name="connsiteX2" fmla="*/ 337525 w 692392"/>
              <a:gd name="connsiteY2" fmla="*/ 691541 h 1522156"/>
              <a:gd name="connsiteX3" fmla="*/ 656946 w 692392"/>
              <a:gd name="connsiteY3" fmla="*/ 780492 h 1522156"/>
              <a:gd name="connsiteX4" fmla="*/ 559292 w 692392"/>
              <a:gd name="connsiteY4" fmla="*/ 1499583 h 1522156"/>
              <a:gd name="connsiteX5" fmla="*/ 360907 w 692392"/>
              <a:gd name="connsiteY5" fmla="*/ 1127416 h 1522156"/>
              <a:gd name="connsiteX6" fmla="*/ 5801 w 692392"/>
              <a:gd name="connsiteY6" fmla="*/ 1102989 h 1522156"/>
              <a:gd name="connsiteX0" fmla="*/ 5577 w 692168"/>
              <a:gd name="connsiteY0" fmla="*/ 1102989 h 1522156"/>
              <a:gd name="connsiteX1" fmla="*/ 153596 w 692168"/>
              <a:gd name="connsiteY1" fmla="*/ 5234 h 1522156"/>
              <a:gd name="connsiteX2" fmla="*/ 337301 w 692168"/>
              <a:gd name="connsiteY2" fmla="*/ 691541 h 1522156"/>
              <a:gd name="connsiteX3" fmla="*/ 656722 w 692168"/>
              <a:gd name="connsiteY3" fmla="*/ 780492 h 1522156"/>
              <a:gd name="connsiteX4" fmla="*/ 559068 w 692168"/>
              <a:gd name="connsiteY4" fmla="*/ 1499583 h 1522156"/>
              <a:gd name="connsiteX5" fmla="*/ 360683 w 692168"/>
              <a:gd name="connsiteY5" fmla="*/ 1127416 h 1522156"/>
              <a:gd name="connsiteX6" fmla="*/ 5577 w 692168"/>
              <a:gd name="connsiteY6" fmla="*/ 1102989 h 1522156"/>
              <a:gd name="connsiteX0" fmla="*/ 7848 w 694439"/>
              <a:gd name="connsiteY0" fmla="*/ 1106972 h 1526139"/>
              <a:gd name="connsiteX1" fmla="*/ 155867 w 694439"/>
              <a:gd name="connsiteY1" fmla="*/ 9217 h 1526139"/>
              <a:gd name="connsiteX2" fmla="*/ 339572 w 694439"/>
              <a:gd name="connsiteY2" fmla="*/ 695524 h 1526139"/>
              <a:gd name="connsiteX3" fmla="*/ 658993 w 694439"/>
              <a:gd name="connsiteY3" fmla="*/ 784475 h 1526139"/>
              <a:gd name="connsiteX4" fmla="*/ 561339 w 694439"/>
              <a:gd name="connsiteY4" fmla="*/ 1503566 h 1526139"/>
              <a:gd name="connsiteX5" fmla="*/ 362954 w 694439"/>
              <a:gd name="connsiteY5" fmla="*/ 1131399 h 1526139"/>
              <a:gd name="connsiteX6" fmla="*/ 7848 w 694439"/>
              <a:gd name="connsiteY6" fmla="*/ 1106972 h 1526139"/>
              <a:gd name="connsiteX0" fmla="*/ 7848 w 696549"/>
              <a:gd name="connsiteY0" fmla="*/ 1106972 h 1526345"/>
              <a:gd name="connsiteX1" fmla="*/ 155867 w 696549"/>
              <a:gd name="connsiteY1" fmla="*/ 9217 h 1526345"/>
              <a:gd name="connsiteX2" fmla="*/ 339572 w 696549"/>
              <a:gd name="connsiteY2" fmla="*/ 695524 h 1526345"/>
              <a:gd name="connsiteX3" fmla="*/ 658993 w 696549"/>
              <a:gd name="connsiteY3" fmla="*/ 784475 h 1526345"/>
              <a:gd name="connsiteX4" fmla="*/ 561339 w 696549"/>
              <a:gd name="connsiteY4" fmla="*/ 1503566 h 1526345"/>
              <a:gd name="connsiteX5" fmla="*/ 362954 w 696549"/>
              <a:gd name="connsiteY5" fmla="*/ 1131399 h 1526345"/>
              <a:gd name="connsiteX6" fmla="*/ 7848 w 696549"/>
              <a:gd name="connsiteY6" fmla="*/ 1106972 h 1526345"/>
              <a:gd name="connsiteX0" fmla="*/ 7848 w 690312"/>
              <a:gd name="connsiteY0" fmla="*/ 1106972 h 1509617"/>
              <a:gd name="connsiteX1" fmla="*/ 155867 w 690312"/>
              <a:gd name="connsiteY1" fmla="*/ 9217 h 1509617"/>
              <a:gd name="connsiteX2" fmla="*/ 339572 w 690312"/>
              <a:gd name="connsiteY2" fmla="*/ 695524 h 1509617"/>
              <a:gd name="connsiteX3" fmla="*/ 663756 w 690312"/>
              <a:gd name="connsiteY3" fmla="*/ 789238 h 1509617"/>
              <a:gd name="connsiteX4" fmla="*/ 561339 w 690312"/>
              <a:gd name="connsiteY4" fmla="*/ 1503566 h 1509617"/>
              <a:gd name="connsiteX5" fmla="*/ 362954 w 690312"/>
              <a:gd name="connsiteY5" fmla="*/ 1131399 h 1509617"/>
              <a:gd name="connsiteX6" fmla="*/ 7848 w 690312"/>
              <a:gd name="connsiteY6" fmla="*/ 1106972 h 1509617"/>
              <a:gd name="connsiteX0" fmla="*/ 7848 w 697927"/>
              <a:gd name="connsiteY0" fmla="*/ 1106972 h 1512103"/>
              <a:gd name="connsiteX1" fmla="*/ 155867 w 697927"/>
              <a:gd name="connsiteY1" fmla="*/ 9217 h 1512103"/>
              <a:gd name="connsiteX2" fmla="*/ 339572 w 697927"/>
              <a:gd name="connsiteY2" fmla="*/ 695524 h 1512103"/>
              <a:gd name="connsiteX3" fmla="*/ 663756 w 697927"/>
              <a:gd name="connsiteY3" fmla="*/ 789238 h 1512103"/>
              <a:gd name="connsiteX4" fmla="*/ 561339 w 697927"/>
              <a:gd name="connsiteY4" fmla="*/ 1503566 h 1512103"/>
              <a:gd name="connsiteX5" fmla="*/ 362954 w 697927"/>
              <a:gd name="connsiteY5" fmla="*/ 1131399 h 1512103"/>
              <a:gd name="connsiteX6" fmla="*/ 7848 w 697927"/>
              <a:gd name="connsiteY6" fmla="*/ 1106972 h 1512103"/>
              <a:gd name="connsiteX0" fmla="*/ 7848 w 678909"/>
              <a:gd name="connsiteY0" fmla="*/ 1106972 h 1513591"/>
              <a:gd name="connsiteX1" fmla="*/ 155867 w 678909"/>
              <a:gd name="connsiteY1" fmla="*/ 9217 h 1513591"/>
              <a:gd name="connsiteX2" fmla="*/ 339572 w 678909"/>
              <a:gd name="connsiteY2" fmla="*/ 695524 h 1513591"/>
              <a:gd name="connsiteX3" fmla="*/ 663756 w 678909"/>
              <a:gd name="connsiteY3" fmla="*/ 789238 h 1513591"/>
              <a:gd name="connsiteX4" fmla="*/ 566102 w 678909"/>
              <a:gd name="connsiteY4" fmla="*/ 1503566 h 1513591"/>
              <a:gd name="connsiteX5" fmla="*/ 362954 w 678909"/>
              <a:gd name="connsiteY5" fmla="*/ 1131399 h 1513591"/>
              <a:gd name="connsiteX6" fmla="*/ 7848 w 678909"/>
              <a:gd name="connsiteY6" fmla="*/ 1106972 h 1513591"/>
              <a:gd name="connsiteX0" fmla="*/ 7848 w 695514"/>
              <a:gd name="connsiteY0" fmla="*/ 1106972 h 1512109"/>
              <a:gd name="connsiteX1" fmla="*/ 155867 w 695514"/>
              <a:gd name="connsiteY1" fmla="*/ 9217 h 1512109"/>
              <a:gd name="connsiteX2" fmla="*/ 339572 w 695514"/>
              <a:gd name="connsiteY2" fmla="*/ 695524 h 1512109"/>
              <a:gd name="connsiteX3" fmla="*/ 663756 w 695514"/>
              <a:gd name="connsiteY3" fmla="*/ 789238 h 1512109"/>
              <a:gd name="connsiteX4" fmla="*/ 566102 w 695514"/>
              <a:gd name="connsiteY4" fmla="*/ 1503566 h 1512109"/>
              <a:gd name="connsiteX5" fmla="*/ 362954 w 695514"/>
              <a:gd name="connsiteY5" fmla="*/ 1131399 h 1512109"/>
              <a:gd name="connsiteX6" fmla="*/ 7848 w 695514"/>
              <a:gd name="connsiteY6" fmla="*/ 1106972 h 1512109"/>
              <a:gd name="connsiteX0" fmla="*/ 7848 w 692055"/>
              <a:gd name="connsiteY0" fmla="*/ 1106972 h 1509470"/>
              <a:gd name="connsiteX1" fmla="*/ 155867 w 692055"/>
              <a:gd name="connsiteY1" fmla="*/ 9217 h 1509470"/>
              <a:gd name="connsiteX2" fmla="*/ 339572 w 692055"/>
              <a:gd name="connsiteY2" fmla="*/ 695524 h 1509470"/>
              <a:gd name="connsiteX3" fmla="*/ 668518 w 692055"/>
              <a:gd name="connsiteY3" fmla="*/ 794001 h 1509470"/>
              <a:gd name="connsiteX4" fmla="*/ 566102 w 692055"/>
              <a:gd name="connsiteY4" fmla="*/ 1503566 h 1509470"/>
              <a:gd name="connsiteX5" fmla="*/ 362954 w 692055"/>
              <a:gd name="connsiteY5" fmla="*/ 1131399 h 1509470"/>
              <a:gd name="connsiteX6" fmla="*/ 7848 w 692055"/>
              <a:gd name="connsiteY6" fmla="*/ 1106972 h 150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055" h="1509470">
                <a:moveTo>
                  <a:pt x="7848" y="1106972"/>
                </a:moveTo>
                <a:cubicBezTo>
                  <a:pt x="-25670" y="918946"/>
                  <a:pt x="52768" y="-107479"/>
                  <a:pt x="155867" y="9217"/>
                </a:cubicBezTo>
                <a:cubicBezTo>
                  <a:pt x="258966" y="125913"/>
                  <a:pt x="254130" y="564727"/>
                  <a:pt x="339572" y="695524"/>
                </a:cubicBezTo>
                <a:cubicBezTo>
                  <a:pt x="425014" y="826321"/>
                  <a:pt x="592663" y="792677"/>
                  <a:pt x="668518" y="794001"/>
                </a:cubicBezTo>
                <a:cubicBezTo>
                  <a:pt x="744373" y="795325"/>
                  <a:pt x="617029" y="1447333"/>
                  <a:pt x="566102" y="1503566"/>
                </a:cubicBezTo>
                <a:cubicBezTo>
                  <a:pt x="515175" y="1559799"/>
                  <a:pt x="455996" y="1197498"/>
                  <a:pt x="362954" y="1131399"/>
                </a:cubicBezTo>
                <a:cubicBezTo>
                  <a:pt x="269912" y="1065300"/>
                  <a:pt x="75339" y="1111556"/>
                  <a:pt x="7848" y="1106972"/>
                </a:cubicBezTo>
                <a:close/>
              </a:path>
            </a:pathLst>
          </a:custGeom>
          <a:solidFill>
            <a:srgbClr val="E0E1E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4" name="Rectangle: Rounded Corners 3"/>
          <p:cNvSpPr/>
          <p:nvPr/>
        </p:nvSpPr>
        <p:spPr bwMode="auto">
          <a:xfrm>
            <a:off x="5918647" y="3270315"/>
            <a:ext cx="3159089" cy="76723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6" name="Rectangle: Rounded Corners 5"/>
          <p:cNvSpPr/>
          <p:nvPr/>
        </p:nvSpPr>
        <p:spPr bwMode="auto">
          <a:xfrm>
            <a:off x="1660157" y="2404212"/>
            <a:ext cx="3936275" cy="118772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7" name="Rectangle: Rounded Corners 6"/>
          <p:cNvSpPr/>
          <p:nvPr/>
        </p:nvSpPr>
        <p:spPr bwMode="auto">
          <a:xfrm>
            <a:off x="1660158" y="4217581"/>
            <a:ext cx="7417578" cy="1758136"/>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8" name="Straight Connector 7"/>
          <p:cNvCxnSpPr>
            <a:cxnSpLocks/>
            <a:stCxn id="14" idx="3"/>
            <a:endCxn id="26" idx="1"/>
          </p:cNvCxnSpPr>
          <p:nvPr/>
        </p:nvCxnSpPr>
        <p:spPr bwMode="auto">
          <a:xfrm>
            <a:off x="5424696" y="3237098"/>
            <a:ext cx="585324" cy="40932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9" name="Straight Connector 8"/>
          <p:cNvCxnSpPr>
            <a:stCxn id="15" idx="3"/>
            <a:endCxn id="26" idx="1"/>
          </p:cNvCxnSpPr>
          <p:nvPr/>
        </p:nvCxnSpPr>
        <p:spPr bwMode="auto">
          <a:xfrm flipV="1">
            <a:off x="5424696" y="3646421"/>
            <a:ext cx="585324" cy="30470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0" name="Straight Connector 9"/>
          <p:cNvCxnSpPr>
            <a:cxnSpLocks/>
            <a:stCxn id="22" idx="3"/>
            <a:endCxn id="27" idx="1"/>
          </p:cNvCxnSpPr>
          <p:nvPr/>
        </p:nvCxnSpPr>
        <p:spPr bwMode="auto">
          <a:xfrm flipV="1">
            <a:off x="5481470" y="5189495"/>
            <a:ext cx="528550" cy="9624"/>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1" name="Straight Connector 10"/>
          <p:cNvCxnSpPr>
            <a:cxnSpLocks/>
            <a:stCxn id="13" idx="2"/>
            <a:endCxn id="14" idx="0"/>
          </p:cNvCxnSpPr>
          <p:nvPr/>
        </p:nvCxnSpPr>
        <p:spPr bwMode="auto">
          <a:xfrm>
            <a:off x="3683274" y="2243570"/>
            <a:ext cx="0" cy="753429"/>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12" name="Straight Connector 11"/>
          <p:cNvCxnSpPr>
            <a:cxnSpLocks/>
            <a:stCxn id="15" idx="0"/>
            <a:endCxn id="14" idx="2"/>
          </p:cNvCxnSpPr>
          <p:nvPr/>
        </p:nvCxnSpPr>
        <p:spPr bwMode="auto">
          <a:xfrm flipV="1">
            <a:off x="3683274" y="3477196"/>
            <a:ext cx="0" cy="26824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13" name="Rectangle: Rounded Corners 12"/>
          <p:cNvSpPr/>
          <p:nvPr/>
        </p:nvSpPr>
        <p:spPr bwMode="auto">
          <a:xfrm>
            <a:off x="1941852" y="1792996"/>
            <a:ext cx="3482844" cy="450574"/>
          </a:xfrm>
          <a:prstGeom prst="roundRect">
            <a:avLst/>
          </a:prstGeom>
          <a:solidFill>
            <a:srgbClr val="F08A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OSS/BSS</a:t>
            </a:r>
          </a:p>
        </p:txBody>
      </p:sp>
      <p:sp>
        <p:nvSpPr>
          <p:cNvPr id="14" name="Rectangle: Rounded Corners 13"/>
          <p:cNvSpPr/>
          <p:nvPr/>
        </p:nvSpPr>
        <p:spPr bwMode="auto">
          <a:xfrm>
            <a:off x="1941852" y="2996999"/>
            <a:ext cx="3482844" cy="480197"/>
          </a:xfrm>
          <a:prstGeom prst="roundRect">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EM (Element Manager)</a:t>
            </a:r>
          </a:p>
        </p:txBody>
      </p:sp>
      <p:sp>
        <p:nvSpPr>
          <p:cNvPr id="15" name="Rectangle: Rounded Corners 14"/>
          <p:cNvSpPr/>
          <p:nvPr/>
        </p:nvSpPr>
        <p:spPr bwMode="auto">
          <a:xfrm>
            <a:off x="1941852" y="3745438"/>
            <a:ext cx="3482844" cy="41137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en-US" sz="1600" dirty="0">
                <a:solidFill>
                  <a:schemeClr val="bg1"/>
                </a:solidFill>
              </a:rPr>
              <a:t>VNF (Virtual Network Function)</a:t>
            </a:r>
          </a:p>
        </p:txBody>
      </p:sp>
      <p:sp>
        <p:nvSpPr>
          <p:cNvPr id="16" name="Rectangle: Rounded Corners 15"/>
          <p:cNvSpPr/>
          <p:nvPr/>
        </p:nvSpPr>
        <p:spPr bwMode="auto">
          <a:xfrm>
            <a:off x="1952273" y="4582785"/>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Compute</a:t>
            </a:r>
          </a:p>
        </p:txBody>
      </p:sp>
      <p:sp>
        <p:nvSpPr>
          <p:cNvPr id="17" name="Rectangle: Rounded Corners 16"/>
          <p:cNvSpPr/>
          <p:nvPr/>
        </p:nvSpPr>
        <p:spPr bwMode="auto">
          <a:xfrm>
            <a:off x="3233899" y="458195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Storage</a:t>
            </a:r>
          </a:p>
        </p:txBody>
      </p:sp>
      <p:sp>
        <p:nvSpPr>
          <p:cNvPr id="18" name="Rectangle: Rounded Corners 17"/>
          <p:cNvSpPr/>
          <p:nvPr/>
        </p:nvSpPr>
        <p:spPr bwMode="auto">
          <a:xfrm>
            <a:off x="4536790" y="4581951"/>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Network</a:t>
            </a:r>
          </a:p>
        </p:txBody>
      </p:sp>
      <p:sp>
        <p:nvSpPr>
          <p:cNvPr id="19" name="Rectangle: Rounded Corners 18"/>
          <p:cNvSpPr/>
          <p:nvPr/>
        </p:nvSpPr>
        <p:spPr bwMode="auto">
          <a:xfrm>
            <a:off x="3244239" y="538383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a:t>
            </a:r>
          </a:p>
          <a:p>
            <a:pPr algn="ctr">
              <a:spcBef>
                <a:spcPts val="0"/>
              </a:spcBef>
            </a:pPr>
            <a:r>
              <a:rPr lang="en-US" sz="1000" dirty="0">
                <a:solidFill>
                  <a:schemeClr val="bg1"/>
                </a:solidFill>
              </a:rPr>
              <a:t>Storage</a:t>
            </a:r>
          </a:p>
        </p:txBody>
      </p:sp>
      <p:sp>
        <p:nvSpPr>
          <p:cNvPr id="20" name="Rectangle: Rounded Corners 19"/>
          <p:cNvSpPr/>
          <p:nvPr/>
        </p:nvSpPr>
        <p:spPr bwMode="auto">
          <a:xfrm>
            <a:off x="4536790" y="5383831"/>
            <a:ext cx="94468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Network</a:t>
            </a:r>
          </a:p>
        </p:txBody>
      </p:sp>
      <p:sp>
        <p:nvSpPr>
          <p:cNvPr id="21" name="Rectangle: Rounded Corners 20"/>
          <p:cNvSpPr/>
          <p:nvPr/>
        </p:nvSpPr>
        <p:spPr bwMode="auto">
          <a:xfrm>
            <a:off x="1952273" y="5380940"/>
            <a:ext cx="923415"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Compute</a:t>
            </a:r>
          </a:p>
        </p:txBody>
      </p:sp>
      <p:sp>
        <p:nvSpPr>
          <p:cNvPr id="22" name="Rectangle: Rounded Corners 21"/>
          <p:cNvSpPr/>
          <p:nvPr/>
        </p:nvSpPr>
        <p:spPr bwMode="auto">
          <a:xfrm>
            <a:off x="1952273" y="5092297"/>
            <a:ext cx="3529197" cy="213643"/>
          </a:xfrm>
          <a:prstGeom prst="roundRect">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rtualization Layer</a:t>
            </a:r>
          </a:p>
        </p:txBody>
      </p:sp>
      <p:sp>
        <p:nvSpPr>
          <p:cNvPr id="23" name="Rectangle: Rounded Corners 22"/>
          <p:cNvSpPr/>
          <p:nvPr/>
        </p:nvSpPr>
        <p:spPr bwMode="auto">
          <a:xfrm>
            <a:off x="1723965" y="4255826"/>
            <a:ext cx="3980715" cy="1698469"/>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4" name="TextBox 30"/>
          <p:cNvSpPr txBox="1"/>
          <p:nvPr/>
        </p:nvSpPr>
        <p:spPr>
          <a:xfrm>
            <a:off x="2561147" y="4240289"/>
            <a:ext cx="2525050" cy="33855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sz="1600" dirty="0"/>
              <a:t>NFVI (NFV Infrastructure)</a:t>
            </a:r>
          </a:p>
        </p:txBody>
      </p:sp>
      <p:sp>
        <p:nvSpPr>
          <p:cNvPr id="25" name="Rectangle: Rounded Corners 24"/>
          <p:cNvSpPr/>
          <p:nvPr/>
        </p:nvSpPr>
        <p:spPr bwMode="auto">
          <a:xfrm>
            <a:off x="5850021" y="1654142"/>
            <a:ext cx="1974504" cy="4300153"/>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6" name="Rectangle: Rounded Corners 25"/>
          <p:cNvSpPr/>
          <p:nvPr/>
        </p:nvSpPr>
        <p:spPr bwMode="auto">
          <a:xfrm>
            <a:off x="6010020" y="3369047"/>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M</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 Manager)</a:t>
            </a:r>
          </a:p>
        </p:txBody>
      </p:sp>
      <p:sp>
        <p:nvSpPr>
          <p:cNvPr id="27" name="Rectangle: Rounded Corners 26"/>
          <p:cNvSpPr/>
          <p:nvPr/>
        </p:nvSpPr>
        <p:spPr bwMode="auto">
          <a:xfrm>
            <a:off x="6010020" y="4597227"/>
            <a:ext cx="1478422" cy="1184535"/>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M</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a:t>
            </a:r>
            <a:r>
              <a:rPr kumimoji="0" lang="en-US" sz="1200" b="0" i="0" u="none" strike="noStrike" cap="none" normalizeH="0" baseline="0" dirty="0">
                <a:ln>
                  <a:noFill/>
                </a:ln>
                <a:solidFill>
                  <a:schemeClr val="bg1"/>
                </a:solidFill>
                <a:effectLst/>
                <a:latin typeface="Arial" charset="0"/>
              </a:rPr>
              <a:t>Virtual</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Infrastructure</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Manager)</a:t>
            </a:r>
          </a:p>
        </p:txBody>
      </p:sp>
      <p:sp>
        <p:nvSpPr>
          <p:cNvPr id="28" name="Rectangle: Rounded Corners 27"/>
          <p:cNvSpPr/>
          <p:nvPr/>
        </p:nvSpPr>
        <p:spPr bwMode="auto">
          <a:xfrm>
            <a:off x="6010020" y="2522776"/>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NFVO</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NFV Orchestrator)</a:t>
            </a:r>
            <a:endParaRPr kumimoji="0" lang="en-US" sz="1200" b="0" i="0" u="none" strike="noStrike" cap="none" normalizeH="0" baseline="0" dirty="0">
              <a:ln>
                <a:noFill/>
              </a:ln>
              <a:solidFill>
                <a:schemeClr val="bg1"/>
              </a:solidFill>
              <a:effectLst/>
              <a:latin typeface="Arial" charset="0"/>
            </a:endParaRPr>
          </a:p>
        </p:txBody>
      </p:sp>
      <p:cxnSp>
        <p:nvCxnSpPr>
          <p:cNvPr id="29" name="Straight Connector 28"/>
          <p:cNvCxnSpPr>
            <a:stCxn id="28" idx="3"/>
            <a:endCxn id="28" idx="3"/>
          </p:cNvCxnSpPr>
          <p:nvPr/>
        </p:nvCxnSpPr>
        <p:spPr bwMode="auto">
          <a:xfrm>
            <a:off x="7488442" y="2800150"/>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0" name="Connector: Elbow 29"/>
          <p:cNvCxnSpPr>
            <a:cxnSpLocks/>
            <a:stCxn id="28" idx="3"/>
            <a:endCxn id="27" idx="3"/>
          </p:cNvCxnSpPr>
          <p:nvPr/>
        </p:nvCxnSpPr>
        <p:spPr bwMode="auto">
          <a:xfrm>
            <a:off x="7488442" y="2800150"/>
            <a:ext cx="12700" cy="2389345"/>
          </a:xfrm>
          <a:prstGeom prst="bentConnector3">
            <a:avLst>
              <a:gd name="adj1" fmla="val 1800000"/>
            </a:avLst>
          </a:prstGeom>
          <a:solidFill>
            <a:schemeClr val="accent1"/>
          </a:solidFill>
          <a:ln w="19050" cap="flat" cmpd="sng" algn="ctr">
            <a:solidFill>
              <a:schemeClr val="tx1"/>
            </a:solidFill>
            <a:prstDash val="solid"/>
            <a:round/>
            <a:headEnd type="none" w="med" len="med"/>
            <a:tailEnd type="none" w="med" len="med"/>
          </a:ln>
          <a:effectLst/>
        </p:spPr>
      </p:cxnSp>
      <p:cxnSp>
        <p:nvCxnSpPr>
          <p:cNvPr id="31" name="Straight Connector 30"/>
          <p:cNvCxnSpPr>
            <a:cxnSpLocks/>
            <a:stCxn id="28" idx="2"/>
            <a:endCxn id="26" idx="0"/>
          </p:cNvCxnSpPr>
          <p:nvPr/>
        </p:nvCxnSpPr>
        <p:spPr bwMode="auto">
          <a:xfrm>
            <a:off x="6749231" y="3077524"/>
            <a:ext cx="0" cy="29152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32" name="Straight Connector 31"/>
          <p:cNvCxnSpPr>
            <a:cxnSpLocks/>
            <a:stCxn id="26" idx="2"/>
            <a:endCxn id="27" idx="0"/>
          </p:cNvCxnSpPr>
          <p:nvPr/>
        </p:nvCxnSpPr>
        <p:spPr bwMode="auto">
          <a:xfrm>
            <a:off x="6749231" y="3923795"/>
            <a:ext cx="0" cy="67343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3" name="TextBox 47"/>
          <p:cNvSpPr txBox="1"/>
          <p:nvPr/>
        </p:nvSpPr>
        <p:spPr>
          <a:xfrm>
            <a:off x="5851991" y="1722430"/>
            <a:ext cx="1837923" cy="769441"/>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dirty="0"/>
              <a:t>NFV MANO </a:t>
            </a:r>
          </a:p>
          <a:p>
            <a:pPr algn="ctr">
              <a:spcBef>
                <a:spcPts val="0"/>
              </a:spcBef>
            </a:pPr>
            <a:r>
              <a:rPr lang="en-US" sz="1200" dirty="0"/>
              <a:t>(Management and Orchestration)</a:t>
            </a:r>
          </a:p>
        </p:txBody>
      </p:sp>
      <p:cxnSp>
        <p:nvCxnSpPr>
          <p:cNvPr id="34" name="Connector: Elbow 33"/>
          <p:cNvCxnSpPr>
            <a:cxnSpLocks/>
            <a:stCxn id="13" idx="3"/>
            <a:endCxn id="28" idx="1"/>
          </p:cNvCxnSpPr>
          <p:nvPr/>
        </p:nvCxnSpPr>
        <p:spPr bwMode="auto">
          <a:xfrm>
            <a:off x="5424696" y="2018283"/>
            <a:ext cx="585324" cy="781867"/>
          </a:xfrm>
          <a:prstGeom prst="bentConnector3">
            <a:avLst>
              <a:gd name="adj1" fmla="val 50000"/>
            </a:avLst>
          </a:prstGeom>
          <a:solidFill>
            <a:schemeClr val="accent1"/>
          </a:solidFill>
          <a:ln w="19050" cap="flat" cmpd="sng" algn="ctr">
            <a:solidFill>
              <a:schemeClr val="tx1"/>
            </a:solidFill>
            <a:prstDash val="solid"/>
            <a:round/>
            <a:headEnd type="none" w="med" len="med"/>
            <a:tailEnd type="none" w="med" len="med"/>
          </a:ln>
          <a:effectLst/>
        </p:spPr>
      </p:cxnSp>
      <p:sp>
        <p:nvSpPr>
          <p:cNvPr id="35" name="TextBox 37"/>
          <p:cNvSpPr txBox="1"/>
          <p:nvPr/>
        </p:nvSpPr>
        <p:spPr>
          <a:xfrm>
            <a:off x="7707776" y="4597228"/>
            <a:ext cx="1369961" cy="1015663"/>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CEE</a:t>
            </a:r>
            <a:br>
              <a:rPr lang="en-US" b="1" dirty="0"/>
            </a:br>
            <a:r>
              <a:rPr lang="en-US" b="1" dirty="0"/>
              <a:t>(incl. Atlas)</a:t>
            </a:r>
            <a:endParaRPr lang="en-US" sz="1200" b="1" dirty="0"/>
          </a:p>
        </p:txBody>
      </p:sp>
      <p:sp>
        <p:nvSpPr>
          <p:cNvPr id="36" name="TextBox 38"/>
          <p:cNvSpPr txBox="1"/>
          <p:nvPr/>
        </p:nvSpPr>
        <p:spPr>
          <a:xfrm>
            <a:off x="7707775" y="2610432"/>
            <a:ext cx="1369962" cy="400110"/>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ECM</a:t>
            </a:r>
            <a:endParaRPr lang="en-US" sz="1200" b="1" dirty="0"/>
          </a:p>
        </p:txBody>
      </p:sp>
      <p:sp>
        <p:nvSpPr>
          <p:cNvPr id="37" name="TextBox 42"/>
          <p:cNvSpPr txBox="1"/>
          <p:nvPr/>
        </p:nvSpPr>
        <p:spPr>
          <a:xfrm>
            <a:off x="7648441" y="3448094"/>
            <a:ext cx="1429295" cy="400110"/>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VNF-LCM</a:t>
            </a:r>
            <a:endParaRPr lang="en-US" sz="1200" b="1" dirty="0"/>
          </a:p>
        </p:txBody>
      </p:sp>
      <p:sp>
        <p:nvSpPr>
          <p:cNvPr id="38" name="TextBox 44"/>
          <p:cNvSpPr txBox="1"/>
          <p:nvPr/>
        </p:nvSpPr>
        <p:spPr>
          <a:xfrm>
            <a:off x="1801906" y="2479586"/>
            <a:ext cx="3622790" cy="400110"/>
          </a:xfrm>
          <a:prstGeom prst="rect">
            <a:avLst/>
          </a:prstGeom>
          <a:solidFill>
            <a:schemeClr val="bg2">
              <a:lumMod val="40000"/>
              <a:lumOff val="60000"/>
            </a:schemeClr>
          </a:solid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OSS-RC/ENM</a:t>
            </a:r>
            <a:endParaRPr lang="en-US" sz="1200" b="1" dirty="0"/>
          </a:p>
        </p:txBody>
      </p:sp>
      <p:sp>
        <p:nvSpPr>
          <p:cNvPr id="3" name="TextBox 2"/>
          <p:cNvSpPr txBox="1"/>
          <p:nvPr/>
        </p:nvSpPr>
        <p:spPr>
          <a:xfrm>
            <a:off x="9387566" y="3144996"/>
            <a:ext cx="2321469" cy="1785104"/>
          </a:xfrm>
          <a:prstGeom prst="rect">
            <a:avLst/>
          </a:prstGeom>
          <a:noFill/>
        </p:spPr>
        <p:txBody>
          <a:bodyPr wrap="none" rtlCol="0">
            <a:spAutoFit/>
          </a:bodyPr>
          <a:lstStyle/>
          <a:p>
            <a:r>
              <a:rPr lang="en-US" dirty="0"/>
              <a:t>Ericsson Products:</a:t>
            </a:r>
          </a:p>
          <a:p>
            <a:pPr marL="342900" indent="-342900">
              <a:buFont typeface="Arial" panose="020B0604020202020204" pitchFamily="34" charset="0"/>
              <a:buChar char="•"/>
            </a:pPr>
            <a:r>
              <a:rPr lang="en-US" dirty="0"/>
              <a:t>OSS-RC/ENM</a:t>
            </a:r>
          </a:p>
          <a:p>
            <a:pPr marL="342900" indent="-342900">
              <a:buFont typeface="Arial" panose="020B0604020202020204" pitchFamily="34" charset="0"/>
              <a:buChar char="•"/>
            </a:pPr>
            <a:r>
              <a:rPr lang="en-US" dirty="0"/>
              <a:t>ECM</a:t>
            </a:r>
          </a:p>
          <a:p>
            <a:pPr marL="342900" indent="-342900">
              <a:buFont typeface="Arial" panose="020B0604020202020204" pitchFamily="34" charset="0"/>
              <a:buChar char="•"/>
            </a:pPr>
            <a:r>
              <a:rPr lang="en-US" dirty="0"/>
              <a:t>CEE</a:t>
            </a:r>
          </a:p>
        </p:txBody>
      </p:sp>
    </p:spTree>
    <p:custDataLst>
      <p:tags r:id="rId1"/>
    </p:custDataLst>
    <p:extLst>
      <p:ext uri="{BB962C8B-B14F-4D97-AF65-F5344CB8AC3E}">
        <p14:creationId xmlns:p14="http://schemas.microsoft.com/office/powerpoint/2010/main" val="241725157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Shape 34"/>
          <p:cNvSpPr/>
          <p:nvPr/>
        </p:nvSpPr>
        <p:spPr bwMode="auto">
          <a:xfrm>
            <a:off x="5400991" y="2477744"/>
            <a:ext cx="692055" cy="1509470"/>
          </a:xfrm>
          <a:custGeom>
            <a:avLst/>
            <a:gdLst>
              <a:gd name="connsiteX0" fmla="*/ 115600 w 870783"/>
              <a:gd name="connsiteY0" fmla="*/ 83055 h 1797612"/>
              <a:gd name="connsiteX1" fmla="*/ 186622 w 870783"/>
              <a:gd name="connsiteY1" fmla="*/ 109688 h 1797612"/>
              <a:gd name="connsiteX2" fmla="*/ 239888 w 870783"/>
              <a:gd name="connsiteY2" fmla="*/ 162954 h 1797612"/>
              <a:gd name="connsiteX3" fmla="*/ 275398 w 870783"/>
              <a:gd name="connsiteY3" fmla="*/ 225097 h 1797612"/>
              <a:gd name="connsiteX4" fmla="*/ 293154 w 870783"/>
              <a:gd name="connsiteY4" fmla="*/ 287241 h 1797612"/>
              <a:gd name="connsiteX5" fmla="*/ 399686 w 870783"/>
              <a:gd name="connsiteY5" fmla="*/ 873167 h 1797612"/>
              <a:gd name="connsiteX6" fmla="*/ 737037 w 870783"/>
              <a:gd name="connsiteY6" fmla="*/ 944189 h 1797612"/>
              <a:gd name="connsiteX7" fmla="*/ 870202 w 870783"/>
              <a:gd name="connsiteY7" fmla="*/ 944189 h 1797612"/>
              <a:gd name="connsiteX8" fmla="*/ 781426 w 870783"/>
              <a:gd name="connsiteY8" fmla="*/ 1725423 h 1797612"/>
              <a:gd name="connsiteX9" fmla="*/ 683771 w 870783"/>
              <a:gd name="connsiteY9" fmla="*/ 1707668 h 1797612"/>
              <a:gd name="connsiteX10" fmla="*/ 488462 w 870783"/>
              <a:gd name="connsiteY10" fmla="*/ 1237152 h 1797612"/>
              <a:gd name="connsiteX11" fmla="*/ 168866 w 870783"/>
              <a:gd name="connsiteY11" fmla="*/ 1254907 h 1797612"/>
              <a:gd name="connsiteX12" fmla="*/ 97845 w 870783"/>
              <a:gd name="connsiteY12" fmla="*/ 1272662 h 1797612"/>
              <a:gd name="connsiteX13" fmla="*/ 191 w 870783"/>
              <a:gd name="connsiteY13" fmla="*/ 1281540 h 1797612"/>
              <a:gd name="connsiteX14" fmla="*/ 115600 w 870783"/>
              <a:gd name="connsiteY14" fmla="*/ 83055 h 1797612"/>
              <a:gd name="connsiteX0" fmla="*/ 115600 w 870783"/>
              <a:gd name="connsiteY0" fmla="*/ 83055 h 1798495"/>
              <a:gd name="connsiteX1" fmla="*/ 186622 w 870783"/>
              <a:gd name="connsiteY1" fmla="*/ 109688 h 1798495"/>
              <a:gd name="connsiteX2" fmla="*/ 239888 w 870783"/>
              <a:gd name="connsiteY2" fmla="*/ 162954 h 1798495"/>
              <a:gd name="connsiteX3" fmla="*/ 275398 w 870783"/>
              <a:gd name="connsiteY3" fmla="*/ 225097 h 1798495"/>
              <a:gd name="connsiteX4" fmla="*/ 293154 w 870783"/>
              <a:gd name="connsiteY4" fmla="*/ 287241 h 1798495"/>
              <a:gd name="connsiteX5" fmla="*/ 399686 w 870783"/>
              <a:gd name="connsiteY5" fmla="*/ 873167 h 1798495"/>
              <a:gd name="connsiteX6" fmla="*/ 737037 w 870783"/>
              <a:gd name="connsiteY6" fmla="*/ 944189 h 1798495"/>
              <a:gd name="connsiteX7" fmla="*/ 870202 w 870783"/>
              <a:gd name="connsiteY7" fmla="*/ 944189 h 1798495"/>
              <a:gd name="connsiteX8" fmla="*/ 781426 w 870783"/>
              <a:gd name="connsiteY8" fmla="*/ 1725423 h 1798495"/>
              <a:gd name="connsiteX9" fmla="*/ 683771 w 870783"/>
              <a:gd name="connsiteY9" fmla="*/ 1707668 h 1798495"/>
              <a:gd name="connsiteX10" fmla="*/ 452951 w 870783"/>
              <a:gd name="connsiteY10" fmla="*/ 1219396 h 1798495"/>
              <a:gd name="connsiteX11" fmla="*/ 168866 w 870783"/>
              <a:gd name="connsiteY11" fmla="*/ 1254907 h 1798495"/>
              <a:gd name="connsiteX12" fmla="*/ 97845 w 870783"/>
              <a:gd name="connsiteY12" fmla="*/ 1272662 h 1798495"/>
              <a:gd name="connsiteX13" fmla="*/ 191 w 870783"/>
              <a:gd name="connsiteY13" fmla="*/ 1281540 h 1798495"/>
              <a:gd name="connsiteX14" fmla="*/ 115600 w 870783"/>
              <a:gd name="connsiteY14" fmla="*/ 83055 h 1798495"/>
              <a:gd name="connsiteX0" fmla="*/ 115600 w 870848"/>
              <a:gd name="connsiteY0" fmla="*/ 83055 h 1781320"/>
              <a:gd name="connsiteX1" fmla="*/ 186622 w 870848"/>
              <a:gd name="connsiteY1" fmla="*/ 109688 h 1781320"/>
              <a:gd name="connsiteX2" fmla="*/ 239888 w 870848"/>
              <a:gd name="connsiteY2" fmla="*/ 162954 h 1781320"/>
              <a:gd name="connsiteX3" fmla="*/ 275398 w 870848"/>
              <a:gd name="connsiteY3" fmla="*/ 225097 h 1781320"/>
              <a:gd name="connsiteX4" fmla="*/ 293154 w 870848"/>
              <a:gd name="connsiteY4" fmla="*/ 287241 h 1781320"/>
              <a:gd name="connsiteX5" fmla="*/ 399686 w 870848"/>
              <a:gd name="connsiteY5" fmla="*/ 873167 h 1781320"/>
              <a:gd name="connsiteX6" fmla="*/ 737037 w 870848"/>
              <a:gd name="connsiteY6" fmla="*/ 944189 h 1781320"/>
              <a:gd name="connsiteX7" fmla="*/ 870202 w 870848"/>
              <a:gd name="connsiteY7" fmla="*/ 944189 h 1781320"/>
              <a:gd name="connsiteX8" fmla="*/ 781426 w 870848"/>
              <a:gd name="connsiteY8" fmla="*/ 1725423 h 1781320"/>
              <a:gd name="connsiteX9" fmla="*/ 639383 w 870848"/>
              <a:gd name="connsiteY9" fmla="*/ 1663280 h 1781320"/>
              <a:gd name="connsiteX10" fmla="*/ 452951 w 870848"/>
              <a:gd name="connsiteY10" fmla="*/ 1219396 h 1781320"/>
              <a:gd name="connsiteX11" fmla="*/ 168866 w 870848"/>
              <a:gd name="connsiteY11" fmla="*/ 1254907 h 1781320"/>
              <a:gd name="connsiteX12" fmla="*/ 97845 w 870848"/>
              <a:gd name="connsiteY12" fmla="*/ 1272662 h 1781320"/>
              <a:gd name="connsiteX13" fmla="*/ 191 w 870848"/>
              <a:gd name="connsiteY13" fmla="*/ 1281540 h 1781320"/>
              <a:gd name="connsiteX14" fmla="*/ 115600 w 870848"/>
              <a:gd name="connsiteY14" fmla="*/ 83055 h 1781320"/>
              <a:gd name="connsiteX0" fmla="*/ 121416 w 876664"/>
              <a:gd name="connsiteY0" fmla="*/ 601 h 1698866"/>
              <a:gd name="connsiteX1" fmla="*/ 192438 w 876664"/>
              <a:gd name="connsiteY1" fmla="*/ 27234 h 1698866"/>
              <a:gd name="connsiteX2" fmla="*/ 245704 w 876664"/>
              <a:gd name="connsiteY2" fmla="*/ 80500 h 1698866"/>
              <a:gd name="connsiteX3" fmla="*/ 281214 w 876664"/>
              <a:gd name="connsiteY3" fmla="*/ 142643 h 1698866"/>
              <a:gd name="connsiteX4" fmla="*/ 298970 w 876664"/>
              <a:gd name="connsiteY4" fmla="*/ 204787 h 1698866"/>
              <a:gd name="connsiteX5" fmla="*/ 405502 w 876664"/>
              <a:gd name="connsiteY5" fmla="*/ 790713 h 1698866"/>
              <a:gd name="connsiteX6" fmla="*/ 742853 w 876664"/>
              <a:gd name="connsiteY6" fmla="*/ 861735 h 1698866"/>
              <a:gd name="connsiteX7" fmla="*/ 876018 w 876664"/>
              <a:gd name="connsiteY7" fmla="*/ 861735 h 1698866"/>
              <a:gd name="connsiteX8" fmla="*/ 787242 w 876664"/>
              <a:gd name="connsiteY8" fmla="*/ 1642969 h 1698866"/>
              <a:gd name="connsiteX9" fmla="*/ 645199 w 876664"/>
              <a:gd name="connsiteY9" fmla="*/ 1580826 h 1698866"/>
              <a:gd name="connsiteX10" fmla="*/ 458767 w 876664"/>
              <a:gd name="connsiteY10" fmla="*/ 1136942 h 1698866"/>
              <a:gd name="connsiteX11" fmla="*/ 174682 w 876664"/>
              <a:gd name="connsiteY11" fmla="*/ 1172453 h 1698866"/>
              <a:gd name="connsiteX12" fmla="*/ 103661 w 876664"/>
              <a:gd name="connsiteY12" fmla="*/ 1190208 h 1698866"/>
              <a:gd name="connsiteX13" fmla="*/ 6007 w 876664"/>
              <a:gd name="connsiteY13" fmla="*/ 1199086 h 1698866"/>
              <a:gd name="connsiteX14" fmla="*/ 121416 w 876664"/>
              <a:gd name="connsiteY14" fmla="*/ 601 h 1698866"/>
              <a:gd name="connsiteX0" fmla="*/ 219316 w 974564"/>
              <a:gd name="connsiteY0" fmla="*/ 601 h 1698866"/>
              <a:gd name="connsiteX1" fmla="*/ 290338 w 974564"/>
              <a:gd name="connsiteY1" fmla="*/ 27234 h 1698866"/>
              <a:gd name="connsiteX2" fmla="*/ 343604 w 974564"/>
              <a:gd name="connsiteY2" fmla="*/ 80500 h 1698866"/>
              <a:gd name="connsiteX3" fmla="*/ 379114 w 974564"/>
              <a:gd name="connsiteY3" fmla="*/ 142643 h 1698866"/>
              <a:gd name="connsiteX4" fmla="*/ 396870 w 974564"/>
              <a:gd name="connsiteY4" fmla="*/ 204787 h 1698866"/>
              <a:gd name="connsiteX5" fmla="*/ 503402 w 974564"/>
              <a:gd name="connsiteY5" fmla="*/ 790713 h 1698866"/>
              <a:gd name="connsiteX6" fmla="*/ 840753 w 974564"/>
              <a:gd name="connsiteY6" fmla="*/ 861735 h 1698866"/>
              <a:gd name="connsiteX7" fmla="*/ 973918 w 974564"/>
              <a:gd name="connsiteY7" fmla="*/ 861735 h 1698866"/>
              <a:gd name="connsiteX8" fmla="*/ 885142 w 974564"/>
              <a:gd name="connsiteY8" fmla="*/ 1642969 h 1698866"/>
              <a:gd name="connsiteX9" fmla="*/ 743099 w 974564"/>
              <a:gd name="connsiteY9" fmla="*/ 1580826 h 1698866"/>
              <a:gd name="connsiteX10" fmla="*/ 556667 w 974564"/>
              <a:gd name="connsiteY10" fmla="*/ 1136942 h 1698866"/>
              <a:gd name="connsiteX11" fmla="*/ 272582 w 974564"/>
              <a:gd name="connsiteY11" fmla="*/ 1172453 h 1698866"/>
              <a:gd name="connsiteX12" fmla="*/ 201561 w 974564"/>
              <a:gd name="connsiteY12" fmla="*/ 1190208 h 1698866"/>
              <a:gd name="connsiteX13" fmla="*/ 103907 w 974564"/>
              <a:gd name="connsiteY13" fmla="*/ 1199086 h 1698866"/>
              <a:gd name="connsiteX14" fmla="*/ 219316 w 974564"/>
              <a:gd name="connsiteY14" fmla="*/ 601 h 1698866"/>
              <a:gd name="connsiteX0" fmla="*/ 162944 w 918192"/>
              <a:gd name="connsiteY0" fmla="*/ 81730 h 1779995"/>
              <a:gd name="connsiteX1" fmla="*/ 233966 w 918192"/>
              <a:gd name="connsiteY1" fmla="*/ 108363 h 1779995"/>
              <a:gd name="connsiteX2" fmla="*/ 287232 w 918192"/>
              <a:gd name="connsiteY2" fmla="*/ 161629 h 1779995"/>
              <a:gd name="connsiteX3" fmla="*/ 322742 w 918192"/>
              <a:gd name="connsiteY3" fmla="*/ 223772 h 1779995"/>
              <a:gd name="connsiteX4" fmla="*/ 340498 w 918192"/>
              <a:gd name="connsiteY4" fmla="*/ 285916 h 1779995"/>
              <a:gd name="connsiteX5" fmla="*/ 447030 w 918192"/>
              <a:gd name="connsiteY5" fmla="*/ 871842 h 1779995"/>
              <a:gd name="connsiteX6" fmla="*/ 784381 w 918192"/>
              <a:gd name="connsiteY6" fmla="*/ 942864 h 1779995"/>
              <a:gd name="connsiteX7" fmla="*/ 917546 w 918192"/>
              <a:gd name="connsiteY7" fmla="*/ 942864 h 1779995"/>
              <a:gd name="connsiteX8" fmla="*/ 828770 w 918192"/>
              <a:gd name="connsiteY8" fmla="*/ 1724098 h 1779995"/>
              <a:gd name="connsiteX9" fmla="*/ 686727 w 918192"/>
              <a:gd name="connsiteY9" fmla="*/ 1661955 h 1779995"/>
              <a:gd name="connsiteX10" fmla="*/ 500295 w 918192"/>
              <a:gd name="connsiteY10" fmla="*/ 1218071 h 1779995"/>
              <a:gd name="connsiteX11" fmla="*/ 216210 w 918192"/>
              <a:gd name="connsiteY11" fmla="*/ 1253582 h 1779995"/>
              <a:gd name="connsiteX12" fmla="*/ 145189 w 918192"/>
              <a:gd name="connsiteY12" fmla="*/ 1271337 h 1779995"/>
              <a:gd name="connsiteX13" fmla="*/ 83394 w 918192"/>
              <a:gd name="connsiteY13" fmla="*/ 1262285 h 1779995"/>
              <a:gd name="connsiteX14" fmla="*/ 162944 w 918192"/>
              <a:gd name="connsiteY14" fmla="*/ 81730 h 1779995"/>
              <a:gd name="connsiteX0" fmla="*/ 183534 w 938782"/>
              <a:gd name="connsiteY0" fmla="*/ 57 h 1698322"/>
              <a:gd name="connsiteX1" fmla="*/ 254556 w 938782"/>
              <a:gd name="connsiteY1" fmla="*/ 26690 h 1698322"/>
              <a:gd name="connsiteX2" fmla="*/ 307822 w 938782"/>
              <a:gd name="connsiteY2" fmla="*/ 79956 h 1698322"/>
              <a:gd name="connsiteX3" fmla="*/ 343332 w 938782"/>
              <a:gd name="connsiteY3" fmla="*/ 142099 h 1698322"/>
              <a:gd name="connsiteX4" fmla="*/ 361088 w 938782"/>
              <a:gd name="connsiteY4" fmla="*/ 204243 h 1698322"/>
              <a:gd name="connsiteX5" fmla="*/ 467620 w 938782"/>
              <a:gd name="connsiteY5" fmla="*/ 790169 h 1698322"/>
              <a:gd name="connsiteX6" fmla="*/ 804971 w 938782"/>
              <a:gd name="connsiteY6" fmla="*/ 861191 h 1698322"/>
              <a:gd name="connsiteX7" fmla="*/ 938136 w 938782"/>
              <a:gd name="connsiteY7" fmla="*/ 861191 h 1698322"/>
              <a:gd name="connsiteX8" fmla="*/ 849360 w 938782"/>
              <a:gd name="connsiteY8" fmla="*/ 1642425 h 1698322"/>
              <a:gd name="connsiteX9" fmla="*/ 707317 w 938782"/>
              <a:gd name="connsiteY9" fmla="*/ 1580282 h 1698322"/>
              <a:gd name="connsiteX10" fmla="*/ 520885 w 938782"/>
              <a:gd name="connsiteY10" fmla="*/ 1136398 h 1698322"/>
              <a:gd name="connsiteX11" fmla="*/ 236800 w 938782"/>
              <a:gd name="connsiteY11" fmla="*/ 1171909 h 1698322"/>
              <a:gd name="connsiteX12" fmla="*/ 165779 w 938782"/>
              <a:gd name="connsiteY12" fmla="*/ 1189664 h 1698322"/>
              <a:gd name="connsiteX13" fmla="*/ 103984 w 938782"/>
              <a:gd name="connsiteY13" fmla="*/ 1180612 h 1698322"/>
              <a:gd name="connsiteX14" fmla="*/ 183534 w 938782"/>
              <a:gd name="connsiteY14" fmla="*/ 57 h 1698322"/>
              <a:gd name="connsiteX0" fmla="*/ 183534 w 985793"/>
              <a:gd name="connsiteY0" fmla="*/ 57 h 1698322"/>
              <a:gd name="connsiteX1" fmla="*/ 254556 w 985793"/>
              <a:gd name="connsiteY1" fmla="*/ 26690 h 1698322"/>
              <a:gd name="connsiteX2" fmla="*/ 307822 w 985793"/>
              <a:gd name="connsiteY2" fmla="*/ 79956 h 1698322"/>
              <a:gd name="connsiteX3" fmla="*/ 343332 w 985793"/>
              <a:gd name="connsiteY3" fmla="*/ 142099 h 1698322"/>
              <a:gd name="connsiteX4" fmla="*/ 361088 w 985793"/>
              <a:gd name="connsiteY4" fmla="*/ 204243 h 1698322"/>
              <a:gd name="connsiteX5" fmla="*/ 467620 w 985793"/>
              <a:gd name="connsiteY5" fmla="*/ 790169 h 1698322"/>
              <a:gd name="connsiteX6" fmla="*/ 804971 w 985793"/>
              <a:gd name="connsiteY6" fmla="*/ 861191 h 1698322"/>
              <a:gd name="connsiteX7" fmla="*/ 938136 w 985793"/>
              <a:gd name="connsiteY7" fmla="*/ 861191 h 1698322"/>
              <a:gd name="connsiteX8" fmla="*/ 849360 w 985793"/>
              <a:gd name="connsiteY8" fmla="*/ 1642425 h 1698322"/>
              <a:gd name="connsiteX9" fmla="*/ 707317 w 985793"/>
              <a:gd name="connsiteY9" fmla="*/ 1580282 h 1698322"/>
              <a:gd name="connsiteX10" fmla="*/ 520885 w 985793"/>
              <a:gd name="connsiteY10" fmla="*/ 1136398 h 1698322"/>
              <a:gd name="connsiteX11" fmla="*/ 236800 w 985793"/>
              <a:gd name="connsiteY11" fmla="*/ 1171909 h 1698322"/>
              <a:gd name="connsiteX12" fmla="*/ 165779 w 985793"/>
              <a:gd name="connsiteY12" fmla="*/ 1189664 h 1698322"/>
              <a:gd name="connsiteX13" fmla="*/ 103984 w 985793"/>
              <a:gd name="connsiteY13" fmla="*/ 1180612 h 1698322"/>
              <a:gd name="connsiteX14" fmla="*/ 183534 w 985793"/>
              <a:gd name="connsiteY14" fmla="*/ 57 h 1698322"/>
              <a:gd name="connsiteX0" fmla="*/ 183534 w 998708"/>
              <a:gd name="connsiteY0" fmla="*/ 57 h 1647860"/>
              <a:gd name="connsiteX1" fmla="*/ 254556 w 998708"/>
              <a:gd name="connsiteY1" fmla="*/ 26690 h 1647860"/>
              <a:gd name="connsiteX2" fmla="*/ 307822 w 998708"/>
              <a:gd name="connsiteY2" fmla="*/ 79956 h 1647860"/>
              <a:gd name="connsiteX3" fmla="*/ 343332 w 998708"/>
              <a:gd name="connsiteY3" fmla="*/ 142099 h 1647860"/>
              <a:gd name="connsiteX4" fmla="*/ 361088 w 998708"/>
              <a:gd name="connsiteY4" fmla="*/ 204243 h 1647860"/>
              <a:gd name="connsiteX5" fmla="*/ 467620 w 998708"/>
              <a:gd name="connsiteY5" fmla="*/ 790169 h 1647860"/>
              <a:gd name="connsiteX6" fmla="*/ 804971 w 998708"/>
              <a:gd name="connsiteY6" fmla="*/ 861191 h 1647860"/>
              <a:gd name="connsiteX7" fmla="*/ 938136 w 998708"/>
              <a:gd name="connsiteY7" fmla="*/ 861191 h 1647860"/>
              <a:gd name="connsiteX8" fmla="*/ 849360 w 998708"/>
              <a:gd name="connsiteY8" fmla="*/ 1642425 h 1647860"/>
              <a:gd name="connsiteX9" fmla="*/ 707317 w 998708"/>
              <a:gd name="connsiteY9" fmla="*/ 1580282 h 1647860"/>
              <a:gd name="connsiteX10" fmla="*/ 520885 w 998708"/>
              <a:gd name="connsiteY10" fmla="*/ 1136398 h 1647860"/>
              <a:gd name="connsiteX11" fmla="*/ 236800 w 998708"/>
              <a:gd name="connsiteY11" fmla="*/ 1171909 h 1647860"/>
              <a:gd name="connsiteX12" fmla="*/ 165779 w 998708"/>
              <a:gd name="connsiteY12" fmla="*/ 1189664 h 1647860"/>
              <a:gd name="connsiteX13" fmla="*/ 103984 w 998708"/>
              <a:gd name="connsiteY13" fmla="*/ 1180612 h 1647860"/>
              <a:gd name="connsiteX14" fmla="*/ 183534 w 998708"/>
              <a:gd name="connsiteY14" fmla="*/ 57 h 1647860"/>
              <a:gd name="connsiteX0" fmla="*/ 183534 w 998708"/>
              <a:gd name="connsiteY0" fmla="*/ 57 h 1650515"/>
              <a:gd name="connsiteX1" fmla="*/ 254556 w 998708"/>
              <a:gd name="connsiteY1" fmla="*/ 26690 h 1650515"/>
              <a:gd name="connsiteX2" fmla="*/ 307822 w 998708"/>
              <a:gd name="connsiteY2" fmla="*/ 79956 h 1650515"/>
              <a:gd name="connsiteX3" fmla="*/ 343332 w 998708"/>
              <a:gd name="connsiteY3" fmla="*/ 142099 h 1650515"/>
              <a:gd name="connsiteX4" fmla="*/ 361088 w 998708"/>
              <a:gd name="connsiteY4" fmla="*/ 204243 h 1650515"/>
              <a:gd name="connsiteX5" fmla="*/ 467620 w 998708"/>
              <a:gd name="connsiteY5" fmla="*/ 790169 h 1650515"/>
              <a:gd name="connsiteX6" fmla="*/ 804971 w 998708"/>
              <a:gd name="connsiteY6" fmla="*/ 861191 h 1650515"/>
              <a:gd name="connsiteX7" fmla="*/ 938136 w 998708"/>
              <a:gd name="connsiteY7" fmla="*/ 861191 h 1650515"/>
              <a:gd name="connsiteX8" fmla="*/ 849360 w 998708"/>
              <a:gd name="connsiteY8" fmla="*/ 1642425 h 1650515"/>
              <a:gd name="connsiteX9" fmla="*/ 707317 w 998708"/>
              <a:gd name="connsiteY9" fmla="*/ 1580282 h 1650515"/>
              <a:gd name="connsiteX10" fmla="*/ 520885 w 998708"/>
              <a:gd name="connsiteY10" fmla="*/ 1136398 h 1650515"/>
              <a:gd name="connsiteX11" fmla="*/ 236800 w 998708"/>
              <a:gd name="connsiteY11" fmla="*/ 1171909 h 1650515"/>
              <a:gd name="connsiteX12" fmla="*/ 165779 w 998708"/>
              <a:gd name="connsiteY12" fmla="*/ 1189664 h 1650515"/>
              <a:gd name="connsiteX13" fmla="*/ 103984 w 998708"/>
              <a:gd name="connsiteY13" fmla="*/ 1180612 h 1650515"/>
              <a:gd name="connsiteX14" fmla="*/ 183534 w 998708"/>
              <a:gd name="connsiteY14" fmla="*/ 57 h 1650515"/>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67620 w 997448"/>
              <a:gd name="connsiteY5" fmla="*/ 790169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21409 w 997448"/>
              <a:gd name="connsiteY5" fmla="*/ 796146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236800 w 997448"/>
              <a:gd name="connsiteY11" fmla="*/ 1171909 h 1643052"/>
              <a:gd name="connsiteX12" fmla="*/ 165779 w 997448"/>
              <a:gd name="connsiteY12" fmla="*/ 1189664 h 1643052"/>
              <a:gd name="connsiteX13" fmla="*/ 103984 w 997448"/>
              <a:gd name="connsiteY13" fmla="*/ 1180612 h 1643052"/>
              <a:gd name="connsiteX14" fmla="*/ 183534 w 997448"/>
              <a:gd name="connsiteY14" fmla="*/ 57 h 1643052"/>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165779 w 997448"/>
              <a:gd name="connsiteY11" fmla="*/ 1189664 h 1643052"/>
              <a:gd name="connsiteX12" fmla="*/ 103984 w 997448"/>
              <a:gd name="connsiteY12" fmla="*/ 1180612 h 1643052"/>
              <a:gd name="connsiteX13" fmla="*/ 183534 w 997448"/>
              <a:gd name="connsiteY13" fmla="*/ 57 h 1643052"/>
              <a:gd name="connsiteX0" fmla="*/ 40651 w 854565"/>
              <a:gd name="connsiteY0" fmla="*/ 82399 h 1725394"/>
              <a:gd name="connsiteX1" fmla="*/ 111673 w 854565"/>
              <a:gd name="connsiteY1" fmla="*/ 109032 h 1725394"/>
              <a:gd name="connsiteX2" fmla="*/ 164939 w 854565"/>
              <a:gd name="connsiteY2" fmla="*/ 162298 h 1725394"/>
              <a:gd name="connsiteX3" fmla="*/ 200449 w 854565"/>
              <a:gd name="connsiteY3" fmla="*/ 224441 h 1725394"/>
              <a:gd name="connsiteX4" fmla="*/ 218205 w 854565"/>
              <a:gd name="connsiteY4" fmla="*/ 286585 h 1725394"/>
              <a:gd name="connsiteX5" fmla="*/ 342667 w 854565"/>
              <a:gd name="connsiteY5" fmla="*/ 854582 h 1725394"/>
              <a:gd name="connsiteX6" fmla="*/ 662088 w 854565"/>
              <a:gd name="connsiteY6" fmla="*/ 943533 h 1725394"/>
              <a:gd name="connsiteX7" fmla="*/ 795253 w 854565"/>
              <a:gd name="connsiteY7" fmla="*/ 943533 h 1725394"/>
              <a:gd name="connsiteX8" fmla="*/ 706477 w 854565"/>
              <a:gd name="connsiteY8" fmla="*/ 1724767 h 1725394"/>
              <a:gd name="connsiteX9" fmla="*/ 564434 w 854565"/>
              <a:gd name="connsiteY9" fmla="*/ 1662624 h 1725394"/>
              <a:gd name="connsiteX10" fmla="*/ 366049 w 854565"/>
              <a:gd name="connsiteY10" fmla="*/ 1290457 h 1725394"/>
              <a:gd name="connsiteX11" fmla="*/ 22896 w 854565"/>
              <a:gd name="connsiteY11" fmla="*/ 1272006 h 1725394"/>
              <a:gd name="connsiteX12" fmla="*/ 40651 w 854565"/>
              <a:gd name="connsiteY12" fmla="*/ 82399 h 1725394"/>
              <a:gd name="connsiteX0" fmla="*/ 9797 w 841466"/>
              <a:gd name="connsiteY0" fmla="*/ 1236700 h 1690088"/>
              <a:gd name="connsiteX1" fmla="*/ 98574 w 841466"/>
              <a:gd name="connsiteY1" fmla="*/ 73726 h 1690088"/>
              <a:gd name="connsiteX2" fmla="*/ 151840 w 841466"/>
              <a:gd name="connsiteY2" fmla="*/ 126992 h 1690088"/>
              <a:gd name="connsiteX3" fmla="*/ 187350 w 841466"/>
              <a:gd name="connsiteY3" fmla="*/ 189135 h 1690088"/>
              <a:gd name="connsiteX4" fmla="*/ 205106 w 841466"/>
              <a:gd name="connsiteY4" fmla="*/ 251279 h 1690088"/>
              <a:gd name="connsiteX5" fmla="*/ 329568 w 841466"/>
              <a:gd name="connsiteY5" fmla="*/ 819276 h 1690088"/>
              <a:gd name="connsiteX6" fmla="*/ 648989 w 841466"/>
              <a:gd name="connsiteY6" fmla="*/ 908227 h 1690088"/>
              <a:gd name="connsiteX7" fmla="*/ 782154 w 841466"/>
              <a:gd name="connsiteY7" fmla="*/ 908227 h 1690088"/>
              <a:gd name="connsiteX8" fmla="*/ 693378 w 841466"/>
              <a:gd name="connsiteY8" fmla="*/ 1689461 h 1690088"/>
              <a:gd name="connsiteX9" fmla="*/ 551335 w 841466"/>
              <a:gd name="connsiteY9" fmla="*/ 1627318 h 1690088"/>
              <a:gd name="connsiteX10" fmla="*/ 352950 w 841466"/>
              <a:gd name="connsiteY10" fmla="*/ 1255151 h 1690088"/>
              <a:gd name="connsiteX11" fmla="*/ 9797 w 841466"/>
              <a:gd name="connsiteY11" fmla="*/ 1236700 h 1690088"/>
              <a:gd name="connsiteX0" fmla="*/ 9797 w 841466"/>
              <a:gd name="connsiteY0" fmla="*/ 1238625 h 1692013"/>
              <a:gd name="connsiteX1" fmla="*/ 98574 w 841466"/>
              <a:gd name="connsiteY1" fmla="*/ 75651 h 1692013"/>
              <a:gd name="connsiteX2" fmla="*/ 151840 w 841466"/>
              <a:gd name="connsiteY2" fmla="*/ 128917 h 1692013"/>
              <a:gd name="connsiteX3" fmla="*/ 205106 w 841466"/>
              <a:gd name="connsiteY3" fmla="*/ 253204 h 1692013"/>
              <a:gd name="connsiteX4" fmla="*/ 329568 w 841466"/>
              <a:gd name="connsiteY4" fmla="*/ 821201 h 1692013"/>
              <a:gd name="connsiteX5" fmla="*/ 648989 w 841466"/>
              <a:gd name="connsiteY5" fmla="*/ 910152 h 1692013"/>
              <a:gd name="connsiteX6" fmla="*/ 782154 w 841466"/>
              <a:gd name="connsiteY6" fmla="*/ 910152 h 1692013"/>
              <a:gd name="connsiteX7" fmla="*/ 693378 w 841466"/>
              <a:gd name="connsiteY7" fmla="*/ 1691386 h 1692013"/>
              <a:gd name="connsiteX8" fmla="*/ 551335 w 841466"/>
              <a:gd name="connsiteY8" fmla="*/ 1629243 h 1692013"/>
              <a:gd name="connsiteX9" fmla="*/ 352950 w 841466"/>
              <a:gd name="connsiteY9" fmla="*/ 1257076 h 1692013"/>
              <a:gd name="connsiteX10" fmla="*/ 9797 w 841466"/>
              <a:gd name="connsiteY10" fmla="*/ 1238625 h 1692013"/>
              <a:gd name="connsiteX0" fmla="*/ 9797 w 841466"/>
              <a:gd name="connsiteY0" fmla="*/ 1260168 h 1713556"/>
              <a:gd name="connsiteX1" fmla="*/ 98574 w 841466"/>
              <a:gd name="connsiteY1" fmla="*/ 97194 h 1713556"/>
              <a:gd name="connsiteX2" fmla="*/ 151840 w 841466"/>
              <a:gd name="connsiteY2" fmla="*/ 150460 h 1713556"/>
              <a:gd name="connsiteX3" fmla="*/ 329568 w 841466"/>
              <a:gd name="connsiteY3" fmla="*/ 842744 h 1713556"/>
              <a:gd name="connsiteX4" fmla="*/ 648989 w 841466"/>
              <a:gd name="connsiteY4" fmla="*/ 931695 h 1713556"/>
              <a:gd name="connsiteX5" fmla="*/ 782154 w 841466"/>
              <a:gd name="connsiteY5" fmla="*/ 931695 h 1713556"/>
              <a:gd name="connsiteX6" fmla="*/ 693378 w 841466"/>
              <a:gd name="connsiteY6" fmla="*/ 1712929 h 1713556"/>
              <a:gd name="connsiteX7" fmla="*/ 551335 w 841466"/>
              <a:gd name="connsiteY7" fmla="*/ 1650786 h 1713556"/>
              <a:gd name="connsiteX8" fmla="*/ 352950 w 841466"/>
              <a:gd name="connsiteY8" fmla="*/ 1278619 h 1713556"/>
              <a:gd name="connsiteX9" fmla="*/ 9797 w 841466"/>
              <a:gd name="connsiteY9" fmla="*/ 1260168 h 1713556"/>
              <a:gd name="connsiteX0" fmla="*/ 5728 w 837397"/>
              <a:gd name="connsiteY0" fmla="*/ 1115042 h 1568430"/>
              <a:gd name="connsiteX1" fmla="*/ 147771 w 837397"/>
              <a:gd name="connsiteY1" fmla="*/ 5334 h 1568430"/>
              <a:gd name="connsiteX2" fmla="*/ 325499 w 837397"/>
              <a:gd name="connsiteY2" fmla="*/ 697618 h 1568430"/>
              <a:gd name="connsiteX3" fmla="*/ 644920 w 837397"/>
              <a:gd name="connsiteY3" fmla="*/ 786569 h 1568430"/>
              <a:gd name="connsiteX4" fmla="*/ 778085 w 837397"/>
              <a:gd name="connsiteY4" fmla="*/ 786569 h 1568430"/>
              <a:gd name="connsiteX5" fmla="*/ 689309 w 837397"/>
              <a:gd name="connsiteY5" fmla="*/ 1567803 h 1568430"/>
              <a:gd name="connsiteX6" fmla="*/ 547266 w 837397"/>
              <a:gd name="connsiteY6" fmla="*/ 1505660 h 1568430"/>
              <a:gd name="connsiteX7" fmla="*/ 348881 w 837397"/>
              <a:gd name="connsiteY7" fmla="*/ 1133493 h 1568430"/>
              <a:gd name="connsiteX8" fmla="*/ 5728 w 837397"/>
              <a:gd name="connsiteY8" fmla="*/ 1115042 h 1568430"/>
              <a:gd name="connsiteX0" fmla="*/ 5926 w 831619"/>
              <a:gd name="connsiteY0" fmla="*/ 1115042 h 1568430"/>
              <a:gd name="connsiteX1" fmla="*/ 141993 w 831619"/>
              <a:gd name="connsiteY1" fmla="*/ 5334 h 1568430"/>
              <a:gd name="connsiteX2" fmla="*/ 319721 w 831619"/>
              <a:gd name="connsiteY2" fmla="*/ 697618 h 1568430"/>
              <a:gd name="connsiteX3" fmla="*/ 639142 w 831619"/>
              <a:gd name="connsiteY3" fmla="*/ 786569 h 1568430"/>
              <a:gd name="connsiteX4" fmla="*/ 772307 w 831619"/>
              <a:gd name="connsiteY4" fmla="*/ 786569 h 1568430"/>
              <a:gd name="connsiteX5" fmla="*/ 683531 w 831619"/>
              <a:gd name="connsiteY5" fmla="*/ 1567803 h 1568430"/>
              <a:gd name="connsiteX6" fmla="*/ 541488 w 831619"/>
              <a:gd name="connsiteY6" fmla="*/ 1505660 h 1568430"/>
              <a:gd name="connsiteX7" fmla="*/ 343103 w 831619"/>
              <a:gd name="connsiteY7" fmla="*/ 1133493 h 1568430"/>
              <a:gd name="connsiteX8" fmla="*/ 5926 w 831619"/>
              <a:gd name="connsiteY8" fmla="*/ 1115042 h 1568430"/>
              <a:gd name="connsiteX0" fmla="*/ 5926 w 692736"/>
              <a:gd name="connsiteY0" fmla="*/ 1115042 h 1568430"/>
              <a:gd name="connsiteX1" fmla="*/ 141993 w 692736"/>
              <a:gd name="connsiteY1" fmla="*/ 5334 h 1568430"/>
              <a:gd name="connsiteX2" fmla="*/ 319721 w 692736"/>
              <a:gd name="connsiteY2" fmla="*/ 697618 h 1568430"/>
              <a:gd name="connsiteX3" fmla="*/ 639142 w 692736"/>
              <a:gd name="connsiteY3" fmla="*/ 786569 h 1568430"/>
              <a:gd name="connsiteX4" fmla="*/ 683531 w 692736"/>
              <a:gd name="connsiteY4" fmla="*/ 1567803 h 1568430"/>
              <a:gd name="connsiteX5" fmla="*/ 541488 w 692736"/>
              <a:gd name="connsiteY5" fmla="*/ 1505660 h 1568430"/>
              <a:gd name="connsiteX6" fmla="*/ 343103 w 692736"/>
              <a:gd name="connsiteY6" fmla="*/ 1133493 h 1568430"/>
              <a:gd name="connsiteX7" fmla="*/ 5926 w 692736"/>
              <a:gd name="connsiteY7" fmla="*/ 1115042 h 1568430"/>
              <a:gd name="connsiteX0" fmla="*/ 5926 w 648171"/>
              <a:gd name="connsiteY0" fmla="*/ 1115042 h 1511846"/>
              <a:gd name="connsiteX1" fmla="*/ 141993 w 648171"/>
              <a:gd name="connsiteY1" fmla="*/ 5334 h 1511846"/>
              <a:gd name="connsiteX2" fmla="*/ 319721 w 648171"/>
              <a:gd name="connsiteY2" fmla="*/ 697618 h 1511846"/>
              <a:gd name="connsiteX3" fmla="*/ 639142 w 648171"/>
              <a:gd name="connsiteY3" fmla="*/ 786569 h 1511846"/>
              <a:gd name="connsiteX4" fmla="*/ 541488 w 648171"/>
              <a:gd name="connsiteY4" fmla="*/ 1505660 h 1511846"/>
              <a:gd name="connsiteX5" fmla="*/ 343103 w 648171"/>
              <a:gd name="connsiteY5" fmla="*/ 1133493 h 1511846"/>
              <a:gd name="connsiteX6" fmla="*/ 5926 w 648171"/>
              <a:gd name="connsiteY6" fmla="*/ 1115042 h 1511846"/>
              <a:gd name="connsiteX0" fmla="*/ 5926 w 664289"/>
              <a:gd name="connsiteY0" fmla="*/ 1115042 h 1511846"/>
              <a:gd name="connsiteX1" fmla="*/ 141993 w 664289"/>
              <a:gd name="connsiteY1" fmla="*/ 5334 h 1511846"/>
              <a:gd name="connsiteX2" fmla="*/ 319721 w 664289"/>
              <a:gd name="connsiteY2" fmla="*/ 697618 h 1511846"/>
              <a:gd name="connsiteX3" fmla="*/ 639142 w 664289"/>
              <a:gd name="connsiteY3" fmla="*/ 786569 h 1511846"/>
              <a:gd name="connsiteX4" fmla="*/ 541488 w 664289"/>
              <a:gd name="connsiteY4" fmla="*/ 1505660 h 1511846"/>
              <a:gd name="connsiteX5" fmla="*/ 343103 w 664289"/>
              <a:gd name="connsiteY5" fmla="*/ 1133493 h 1511846"/>
              <a:gd name="connsiteX6" fmla="*/ 5926 w 664289"/>
              <a:gd name="connsiteY6" fmla="*/ 1115042 h 1511846"/>
              <a:gd name="connsiteX0" fmla="*/ 5926 w 674588"/>
              <a:gd name="connsiteY0" fmla="*/ 1115042 h 1528233"/>
              <a:gd name="connsiteX1" fmla="*/ 141993 w 674588"/>
              <a:gd name="connsiteY1" fmla="*/ 5334 h 1528233"/>
              <a:gd name="connsiteX2" fmla="*/ 319721 w 674588"/>
              <a:gd name="connsiteY2" fmla="*/ 697618 h 1528233"/>
              <a:gd name="connsiteX3" fmla="*/ 639142 w 674588"/>
              <a:gd name="connsiteY3" fmla="*/ 786569 h 1528233"/>
              <a:gd name="connsiteX4" fmla="*/ 541488 w 674588"/>
              <a:gd name="connsiteY4" fmla="*/ 1505660 h 1528233"/>
              <a:gd name="connsiteX5" fmla="*/ 343103 w 674588"/>
              <a:gd name="connsiteY5" fmla="*/ 1133493 h 1528233"/>
              <a:gd name="connsiteX6" fmla="*/ 5926 w 674588"/>
              <a:gd name="connsiteY6" fmla="*/ 1115042 h 1528233"/>
              <a:gd name="connsiteX0" fmla="*/ 5367 w 691958"/>
              <a:gd name="connsiteY0" fmla="*/ 1108928 h 1528095"/>
              <a:gd name="connsiteX1" fmla="*/ 159363 w 691958"/>
              <a:gd name="connsiteY1" fmla="*/ 5196 h 1528095"/>
              <a:gd name="connsiteX2" fmla="*/ 337091 w 691958"/>
              <a:gd name="connsiteY2" fmla="*/ 697480 h 1528095"/>
              <a:gd name="connsiteX3" fmla="*/ 656512 w 691958"/>
              <a:gd name="connsiteY3" fmla="*/ 786431 h 1528095"/>
              <a:gd name="connsiteX4" fmla="*/ 558858 w 691958"/>
              <a:gd name="connsiteY4" fmla="*/ 1505522 h 1528095"/>
              <a:gd name="connsiteX5" fmla="*/ 360473 w 691958"/>
              <a:gd name="connsiteY5" fmla="*/ 1133355 h 1528095"/>
              <a:gd name="connsiteX6" fmla="*/ 5367 w 691958"/>
              <a:gd name="connsiteY6" fmla="*/ 1108928 h 1528095"/>
              <a:gd name="connsiteX0" fmla="*/ 5801 w 692392"/>
              <a:gd name="connsiteY0" fmla="*/ 1102989 h 1522156"/>
              <a:gd name="connsiteX1" fmla="*/ 147844 w 692392"/>
              <a:gd name="connsiteY1" fmla="*/ 5234 h 1522156"/>
              <a:gd name="connsiteX2" fmla="*/ 337525 w 692392"/>
              <a:gd name="connsiteY2" fmla="*/ 691541 h 1522156"/>
              <a:gd name="connsiteX3" fmla="*/ 656946 w 692392"/>
              <a:gd name="connsiteY3" fmla="*/ 780492 h 1522156"/>
              <a:gd name="connsiteX4" fmla="*/ 559292 w 692392"/>
              <a:gd name="connsiteY4" fmla="*/ 1499583 h 1522156"/>
              <a:gd name="connsiteX5" fmla="*/ 360907 w 692392"/>
              <a:gd name="connsiteY5" fmla="*/ 1127416 h 1522156"/>
              <a:gd name="connsiteX6" fmla="*/ 5801 w 692392"/>
              <a:gd name="connsiteY6" fmla="*/ 1102989 h 1522156"/>
              <a:gd name="connsiteX0" fmla="*/ 5577 w 692168"/>
              <a:gd name="connsiteY0" fmla="*/ 1102989 h 1522156"/>
              <a:gd name="connsiteX1" fmla="*/ 153596 w 692168"/>
              <a:gd name="connsiteY1" fmla="*/ 5234 h 1522156"/>
              <a:gd name="connsiteX2" fmla="*/ 337301 w 692168"/>
              <a:gd name="connsiteY2" fmla="*/ 691541 h 1522156"/>
              <a:gd name="connsiteX3" fmla="*/ 656722 w 692168"/>
              <a:gd name="connsiteY3" fmla="*/ 780492 h 1522156"/>
              <a:gd name="connsiteX4" fmla="*/ 559068 w 692168"/>
              <a:gd name="connsiteY4" fmla="*/ 1499583 h 1522156"/>
              <a:gd name="connsiteX5" fmla="*/ 360683 w 692168"/>
              <a:gd name="connsiteY5" fmla="*/ 1127416 h 1522156"/>
              <a:gd name="connsiteX6" fmla="*/ 5577 w 692168"/>
              <a:gd name="connsiteY6" fmla="*/ 1102989 h 1522156"/>
              <a:gd name="connsiteX0" fmla="*/ 7848 w 694439"/>
              <a:gd name="connsiteY0" fmla="*/ 1106972 h 1526139"/>
              <a:gd name="connsiteX1" fmla="*/ 155867 w 694439"/>
              <a:gd name="connsiteY1" fmla="*/ 9217 h 1526139"/>
              <a:gd name="connsiteX2" fmla="*/ 339572 w 694439"/>
              <a:gd name="connsiteY2" fmla="*/ 695524 h 1526139"/>
              <a:gd name="connsiteX3" fmla="*/ 658993 w 694439"/>
              <a:gd name="connsiteY3" fmla="*/ 784475 h 1526139"/>
              <a:gd name="connsiteX4" fmla="*/ 561339 w 694439"/>
              <a:gd name="connsiteY4" fmla="*/ 1503566 h 1526139"/>
              <a:gd name="connsiteX5" fmla="*/ 362954 w 694439"/>
              <a:gd name="connsiteY5" fmla="*/ 1131399 h 1526139"/>
              <a:gd name="connsiteX6" fmla="*/ 7848 w 694439"/>
              <a:gd name="connsiteY6" fmla="*/ 1106972 h 1526139"/>
              <a:gd name="connsiteX0" fmla="*/ 7848 w 696549"/>
              <a:gd name="connsiteY0" fmla="*/ 1106972 h 1526345"/>
              <a:gd name="connsiteX1" fmla="*/ 155867 w 696549"/>
              <a:gd name="connsiteY1" fmla="*/ 9217 h 1526345"/>
              <a:gd name="connsiteX2" fmla="*/ 339572 w 696549"/>
              <a:gd name="connsiteY2" fmla="*/ 695524 h 1526345"/>
              <a:gd name="connsiteX3" fmla="*/ 658993 w 696549"/>
              <a:gd name="connsiteY3" fmla="*/ 784475 h 1526345"/>
              <a:gd name="connsiteX4" fmla="*/ 561339 w 696549"/>
              <a:gd name="connsiteY4" fmla="*/ 1503566 h 1526345"/>
              <a:gd name="connsiteX5" fmla="*/ 362954 w 696549"/>
              <a:gd name="connsiteY5" fmla="*/ 1131399 h 1526345"/>
              <a:gd name="connsiteX6" fmla="*/ 7848 w 696549"/>
              <a:gd name="connsiteY6" fmla="*/ 1106972 h 1526345"/>
              <a:gd name="connsiteX0" fmla="*/ 7848 w 690312"/>
              <a:gd name="connsiteY0" fmla="*/ 1106972 h 1509617"/>
              <a:gd name="connsiteX1" fmla="*/ 155867 w 690312"/>
              <a:gd name="connsiteY1" fmla="*/ 9217 h 1509617"/>
              <a:gd name="connsiteX2" fmla="*/ 339572 w 690312"/>
              <a:gd name="connsiteY2" fmla="*/ 695524 h 1509617"/>
              <a:gd name="connsiteX3" fmla="*/ 663756 w 690312"/>
              <a:gd name="connsiteY3" fmla="*/ 789238 h 1509617"/>
              <a:gd name="connsiteX4" fmla="*/ 561339 w 690312"/>
              <a:gd name="connsiteY4" fmla="*/ 1503566 h 1509617"/>
              <a:gd name="connsiteX5" fmla="*/ 362954 w 690312"/>
              <a:gd name="connsiteY5" fmla="*/ 1131399 h 1509617"/>
              <a:gd name="connsiteX6" fmla="*/ 7848 w 690312"/>
              <a:gd name="connsiteY6" fmla="*/ 1106972 h 1509617"/>
              <a:gd name="connsiteX0" fmla="*/ 7848 w 697927"/>
              <a:gd name="connsiteY0" fmla="*/ 1106972 h 1512103"/>
              <a:gd name="connsiteX1" fmla="*/ 155867 w 697927"/>
              <a:gd name="connsiteY1" fmla="*/ 9217 h 1512103"/>
              <a:gd name="connsiteX2" fmla="*/ 339572 w 697927"/>
              <a:gd name="connsiteY2" fmla="*/ 695524 h 1512103"/>
              <a:gd name="connsiteX3" fmla="*/ 663756 w 697927"/>
              <a:gd name="connsiteY3" fmla="*/ 789238 h 1512103"/>
              <a:gd name="connsiteX4" fmla="*/ 561339 w 697927"/>
              <a:gd name="connsiteY4" fmla="*/ 1503566 h 1512103"/>
              <a:gd name="connsiteX5" fmla="*/ 362954 w 697927"/>
              <a:gd name="connsiteY5" fmla="*/ 1131399 h 1512103"/>
              <a:gd name="connsiteX6" fmla="*/ 7848 w 697927"/>
              <a:gd name="connsiteY6" fmla="*/ 1106972 h 1512103"/>
              <a:gd name="connsiteX0" fmla="*/ 7848 w 678909"/>
              <a:gd name="connsiteY0" fmla="*/ 1106972 h 1513591"/>
              <a:gd name="connsiteX1" fmla="*/ 155867 w 678909"/>
              <a:gd name="connsiteY1" fmla="*/ 9217 h 1513591"/>
              <a:gd name="connsiteX2" fmla="*/ 339572 w 678909"/>
              <a:gd name="connsiteY2" fmla="*/ 695524 h 1513591"/>
              <a:gd name="connsiteX3" fmla="*/ 663756 w 678909"/>
              <a:gd name="connsiteY3" fmla="*/ 789238 h 1513591"/>
              <a:gd name="connsiteX4" fmla="*/ 566102 w 678909"/>
              <a:gd name="connsiteY4" fmla="*/ 1503566 h 1513591"/>
              <a:gd name="connsiteX5" fmla="*/ 362954 w 678909"/>
              <a:gd name="connsiteY5" fmla="*/ 1131399 h 1513591"/>
              <a:gd name="connsiteX6" fmla="*/ 7848 w 678909"/>
              <a:gd name="connsiteY6" fmla="*/ 1106972 h 1513591"/>
              <a:gd name="connsiteX0" fmla="*/ 7848 w 695514"/>
              <a:gd name="connsiteY0" fmla="*/ 1106972 h 1512109"/>
              <a:gd name="connsiteX1" fmla="*/ 155867 w 695514"/>
              <a:gd name="connsiteY1" fmla="*/ 9217 h 1512109"/>
              <a:gd name="connsiteX2" fmla="*/ 339572 w 695514"/>
              <a:gd name="connsiteY2" fmla="*/ 695524 h 1512109"/>
              <a:gd name="connsiteX3" fmla="*/ 663756 w 695514"/>
              <a:gd name="connsiteY3" fmla="*/ 789238 h 1512109"/>
              <a:gd name="connsiteX4" fmla="*/ 566102 w 695514"/>
              <a:gd name="connsiteY4" fmla="*/ 1503566 h 1512109"/>
              <a:gd name="connsiteX5" fmla="*/ 362954 w 695514"/>
              <a:gd name="connsiteY5" fmla="*/ 1131399 h 1512109"/>
              <a:gd name="connsiteX6" fmla="*/ 7848 w 695514"/>
              <a:gd name="connsiteY6" fmla="*/ 1106972 h 1512109"/>
              <a:gd name="connsiteX0" fmla="*/ 7848 w 692055"/>
              <a:gd name="connsiteY0" fmla="*/ 1106972 h 1509470"/>
              <a:gd name="connsiteX1" fmla="*/ 155867 w 692055"/>
              <a:gd name="connsiteY1" fmla="*/ 9217 h 1509470"/>
              <a:gd name="connsiteX2" fmla="*/ 339572 w 692055"/>
              <a:gd name="connsiteY2" fmla="*/ 695524 h 1509470"/>
              <a:gd name="connsiteX3" fmla="*/ 668518 w 692055"/>
              <a:gd name="connsiteY3" fmla="*/ 794001 h 1509470"/>
              <a:gd name="connsiteX4" fmla="*/ 566102 w 692055"/>
              <a:gd name="connsiteY4" fmla="*/ 1503566 h 1509470"/>
              <a:gd name="connsiteX5" fmla="*/ 362954 w 692055"/>
              <a:gd name="connsiteY5" fmla="*/ 1131399 h 1509470"/>
              <a:gd name="connsiteX6" fmla="*/ 7848 w 692055"/>
              <a:gd name="connsiteY6" fmla="*/ 1106972 h 150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055" h="1509470">
                <a:moveTo>
                  <a:pt x="7848" y="1106972"/>
                </a:moveTo>
                <a:cubicBezTo>
                  <a:pt x="-25670" y="918946"/>
                  <a:pt x="52768" y="-107479"/>
                  <a:pt x="155867" y="9217"/>
                </a:cubicBezTo>
                <a:cubicBezTo>
                  <a:pt x="258966" y="125913"/>
                  <a:pt x="254130" y="564727"/>
                  <a:pt x="339572" y="695524"/>
                </a:cubicBezTo>
                <a:cubicBezTo>
                  <a:pt x="425014" y="826321"/>
                  <a:pt x="592663" y="792677"/>
                  <a:pt x="668518" y="794001"/>
                </a:cubicBezTo>
                <a:cubicBezTo>
                  <a:pt x="744373" y="795325"/>
                  <a:pt x="617029" y="1447333"/>
                  <a:pt x="566102" y="1503566"/>
                </a:cubicBezTo>
                <a:cubicBezTo>
                  <a:pt x="515175" y="1559799"/>
                  <a:pt x="455996" y="1197498"/>
                  <a:pt x="362954" y="1131399"/>
                </a:cubicBezTo>
                <a:cubicBezTo>
                  <a:pt x="269912" y="1065300"/>
                  <a:pt x="75339" y="1111556"/>
                  <a:pt x="7848" y="1106972"/>
                </a:cubicBezTo>
                <a:close/>
              </a:path>
            </a:pathLst>
          </a:custGeom>
          <a:solidFill>
            <a:srgbClr val="E0E1E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a:t>Ericsson small stack</a:t>
            </a:r>
          </a:p>
        </p:txBody>
      </p:sp>
      <p:sp>
        <p:nvSpPr>
          <p:cNvPr id="4" name="Rectangle: Rounded Corners 3"/>
          <p:cNvSpPr/>
          <p:nvPr/>
        </p:nvSpPr>
        <p:spPr bwMode="auto">
          <a:xfrm>
            <a:off x="5918647" y="3270315"/>
            <a:ext cx="3159089" cy="76723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5" name="Rectangle: Rounded Corners 4"/>
          <p:cNvSpPr/>
          <p:nvPr/>
        </p:nvSpPr>
        <p:spPr bwMode="auto">
          <a:xfrm>
            <a:off x="1660158" y="4217581"/>
            <a:ext cx="7417578" cy="1758136"/>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6" name="Straight Connector 5"/>
          <p:cNvCxnSpPr>
            <a:stCxn id="31" idx="3"/>
            <a:endCxn id="18" idx="1"/>
          </p:cNvCxnSpPr>
          <p:nvPr/>
        </p:nvCxnSpPr>
        <p:spPr bwMode="auto">
          <a:xfrm flipV="1">
            <a:off x="5424696" y="3646421"/>
            <a:ext cx="585324" cy="30470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7" name="Straight Connector 6"/>
          <p:cNvCxnSpPr>
            <a:cxnSpLocks/>
            <a:stCxn id="14" idx="3"/>
            <a:endCxn id="19" idx="1"/>
          </p:cNvCxnSpPr>
          <p:nvPr/>
        </p:nvCxnSpPr>
        <p:spPr bwMode="auto">
          <a:xfrm flipV="1">
            <a:off x="5481470" y="5189495"/>
            <a:ext cx="528550" cy="9624"/>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 name="Rectangle: Rounded Corners 7"/>
          <p:cNvSpPr/>
          <p:nvPr/>
        </p:nvSpPr>
        <p:spPr bwMode="auto">
          <a:xfrm>
            <a:off x="1952273" y="4582785"/>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Compute</a:t>
            </a:r>
          </a:p>
        </p:txBody>
      </p:sp>
      <p:sp>
        <p:nvSpPr>
          <p:cNvPr id="9" name="Rectangle: Rounded Corners 8"/>
          <p:cNvSpPr/>
          <p:nvPr/>
        </p:nvSpPr>
        <p:spPr bwMode="auto">
          <a:xfrm>
            <a:off x="3233899" y="458195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Storage</a:t>
            </a:r>
          </a:p>
        </p:txBody>
      </p:sp>
      <p:sp>
        <p:nvSpPr>
          <p:cNvPr id="10" name="Rectangle: Rounded Corners 9"/>
          <p:cNvSpPr/>
          <p:nvPr/>
        </p:nvSpPr>
        <p:spPr bwMode="auto">
          <a:xfrm>
            <a:off x="4536790" y="4581951"/>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Network</a:t>
            </a:r>
          </a:p>
        </p:txBody>
      </p:sp>
      <p:sp>
        <p:nvSpPr>
          <p:cNvPr id="11" name="Rectangle: Rounded Corners 10"/>
          <p:cNvSpPr/>
          <p:nvPr/>
        </p:nvSpPr>
        <p:spPr bwMode="auto">
          <a:xfrm>
            <a:off x="3244239" y="538383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a:t>
            </a:r>
          </a:p>
          <a:p>
            <a:pPr algn="ctr">
              <a:spcBef>
                <a:spcPts val="0"/>
              </a:spcBef>
            </a:pPr>
            <a:r>
              <a:rPr lang="en-US" sz="1000" dirty="0">
                <a:solidFill>
                  <a:schemeClr val="bg1"/>
                </a:solidFill>
              </a:rPr>
              <a:t>Storage</a:t>
            </a:r>
          </a:p>
        </p:txBody>
      </p:sp>
      <p:sp>
        <p:nvSpPr>
          <p:cNvPr id="12" name="Rectangle: Rounded Corners 11"/>
          <p:cNvSpPr/>
          <p:nvPr/>
        </p:nvSpPr>
        <p:spPr bwMode="auto">
          <a:xfrm>
            <a:off x="4536790" y="5383831"/>
            <a:ext cx="94468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Network</a:t>
            </a:r>
          </a:p>
        </p:txBody>
      </p:sp>
      <p:sp>
        <p:nvSpPr>
          <p:cNvPr id="13" name="Rectangle: Rounded Corners 12"/>
          <p:cNvSpPr/>
          <p:nvPr/>
        </p:nvSpPr>
        <p:spPr bwMode="auto">
          <a:xfrm>
            <a:off x="1952273" y="5380940"/>
            <a:ext cx="923415"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Compute</a:t>
            </a:r>
          </a:p>
        </p:txBody>
      </p:sp>
      <p:sp>
        <p:nvSpPr>
          <p:cNvPr id="14" name="Rectangle: Rounded Corners 13"/>
          <p:cNvSpPr/>
          <p:nvPr/>
        </p:nvSpPr>
        <p:spPr bwMode="auto">
          <a:xfrm>
            <a:off x="1952273" y="5092297"/>
            <a:ext cx="3529197" cy="213643"/>
          </a:xfrm>
          <a:prstGeom prst="roundRect">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rtualization Layer</a:t>
            </a:r>
          </a:p>
        </p:txBody>
      </p:sp>
      <p:sp>
        <p:nvSpPr>
          <p:cNvPr id="15" name="Rectangle: Rounded Corners 14"/>
          <p:cNvSpPr/>
          <p:nvPr/>
        </p:nvSpPr>
        <p:spPr bwMode="auto">
          <a:xfrm>
            <a:off x="1723965" y="4255826"/>
            <a:ext cx="3980715" cy="1698469"/>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TextBox 30"/>
          <p:cNvSpPr txBox="1"/>
          <p:nvPr/>
        </p:nvSpPr>
        <p:spPr>
          <a:xfrm>
            <a:off x="2561147" y="4240289"/>
            <a:ext cx="2525050" cy="33855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sz="1600" dirty="0"/>
              <a:t>NFVI (NFV Infrastructure)</a:t>
            </a:r>
          </a:p>
        </p:txBody>
      </p:sp>
      <p:sp>
        <p:nvSpPr>
          <p:cNvPr id="17" name="Rectangle: Rounded Corners 16"/>
          <p:cNvSpPr/>
          <p:nvPr/>
        </p:nvSpPr>
        <p:spPr bwMode="auto">
          <a:xfrm>
            <a:off x="5850021" y="1654142"/>
            <a:ext cx="1974504" cy="4300153"/>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Rectangle: Rounded Corners 17"/>
          <p:cNvSpPr/>
          <p:nvPr/>
        </p:nvSpPr>
        <p:spPr bwMode="auto">
          <a:xfrm>
            <a:off x="6010020" y="3369047"/>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M</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 Manager)</a:t>
            </a:r>
          </a:p>
        </p:txBody>
      </p:sp>
      <p:sp>
        <p:nvSpPr>
          <p:cNvPr id="19" name="Rectangle: Rounded Corners 18"/>
          <p:cNvSpPr/>
          <p:nvPr/>
        </p:nvSpPr>
        <p:spPr bwMode="auto">
          <a:xfrm>
            <a:off x="6010020" y="4597227"/>
            <a:ext cx="1478422" cy="1184535"/>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M</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a:t>
            </a:r>
            <a:r>
              <a:rPr kumimoji="0" lang="en-US" sz="1200" b="0" i="0" u="none" strike="noStrike" cap="none" normalizeH="0" baseline="0" dirty="0">
                <a:ln>
                  <a:noFill/>
                </a:ln>
                <a:solidFill>
                  <a:schemeClr val="bg1"/>
                </a:solidFill>
                <a:effectLst/>
                <a:latin typeface="Arial" charset="0"/>
              </a:rPr>
              <a:t>Virtual</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Infrastructure</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Manager)</a:t>
            </a:r>
          </a:p>
        </p:txBody>
      </p:sp>
      <p:sp>
        <p:nvSpPr>
          <p:cNvPr id="20" name="Rectangle: Rounded Corners 19"/>
          <p:cNvSpPr/>
          <p:nvPr/>
        </p:nvSpPr>
        <p:spPr bwMode="auto">
          <a:xfrm>
            <a:off x="6010020" y="2522776"/>
            <a:ext cx="1478422" cy="554748"/>
          </a:xfrm>
          <a:prstGeom prst="roundRect">
            <a:avLst/>
          </a:prstGeom>
          <a:no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effectLst/>
                <a:latin typeface="Arial" charset="0"/>
              </a:rPr>
              <a:t>NFVO</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t>(NFV Orchestrator)</a:t>
            </a:r>
            <a:endParaRPr kumimoji="0" lang="en-US" sz="1200" b="0" i="0" u="none" strike="noStrike" cap="none" normalizeH="0" baseline="0" dirty="0">
              <a:ln>
                <a:noFill/>
              </a:ln>
              <a:effectLst/>
            </a:endParaRPr>
          </a:p>
        </p:txBody>
      </p:sp>
      <p:cxnSp>
        <p:nvCxnSpPr>
          <p:cNvPr id="21" name="Straight Connector 20"/>
          <p:cNvCxnSpPr>
            <a:stCxn id="20" idx="3"/>
            <a:endCxn id="20" idx="3"/>
          </p:cNvCxnSpPr>
          <p:nvPr/>
        </p:nvCxnSpPr>
        <p:spPr bwMode="auto">
          <a:xfrm>
            <a:off x="7488442" y="2800150"/>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Straight Connector 21"/>
          <p:cNvCxnSpPr>
            <a:cxnSpLocks/>
            <a:stCxn id="18" idx="2"/>
            <a:endCxn id="19" idx="0"/>
          </p:cNvCxnSpPr>
          <p:nvPr/>
        </p:nvCxnSpPr>
        <p:spPr bwMode="auto">
          <a:xfrm>
            <a:off x="6749231" y="3923795"/>
            <a:ext cx="0" cy="67343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3" name="TextBox 47"/>
          <p:cNvSpPr txBox="1"/>
          <p:nvPr/>
        </p:nvSpPr>
        <p:spPr>
          <a:xfrm>
            <a:off x="5851991" y="1722430"/>
            <a:ext cx="1837923" cy="769441"/>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dirty="0"/>
              <a:t>NFV MANO </a:t>
            </a:r>
          </a:p>
          <a:p>
            <a:pPr algn="ctr">
              <a:spcBef>
                <a:spcPts val="0"/>
              </a:spcBef>
            </a:pPr>
            <a:r>
              <a:rPr lang="en-US" sz="1200" dirty="0"/>
              <a:t>(Management and Orchestration)</a:t>
            </a:r>
          </a:p>
        </p:txBody>
      </p:sp>
      <p:sp>
        <p:nvSpPr>
          <p:cNvPr id="24" name="TextBox 37"/>
          <p:cNvSpPr txBox="1"/>
          <p:nvPr/>
        </p:nvSpPr>
        <p:spPr>
          <a:xfrm>
            <a:off x="7707776" y="4597228"/>
            <a:ext cx="1369961" cy="1015663"/>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CEE</a:t>
            </a:r>
            <a:br>
              <a:rPr lang="en-US" b="1" dirty="0"/>
            </a:br>
            <a:r>
              <a:rPr lang="en-US" b="1" dirty="0"/>
              <a:t>(incl. Atlas)</a:t>
            </a:r>
            <a:endParaRPr lang="en-US" sz="1200" b="1" dirty="0"/>
          </a:p>
        </p:txBody>
      </p:sp>
      <p:sp>
        <p:nvSpPr>
          <p:cNvPr id="25" name="TextBox 42"/>
          <p:cNvSpPr txBox="1"/>
          <p:nvPr/>
        </p:nvSpPr>
        <p:spPr>
          <a:xfrm>
            <a:off x="7654791" y="3456579"/>
            <a:ext cx="1429295" cy="400110"/>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VNF-LCM</a:t>
            </a:r>
            <a:endParaRPr lang="en-US" sz="1200" b="1" dirty="0"/>
          </a:p>
        </p:txBody>
      </p:sp>
      <p:sp>
        <p:nvSpPr>
          <p:cNvPr id="26" name="Rectangle: Rounded Corners 25"/>
          <p:cNvSpPr/>
          <p:nvPr/>
        </p:nvSpPr>
        <p:spPr bwMode="auto">
          <a:xfrm>
            <a:off x="1660157" y="2404212"/>
            <a:ext cx="3936275" cy="118772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27" name="Straight Connector 26"/>
          <p:cNvCxnSpPr>
            <a:cxnSpLocks/>
            <a:stCxn id="29" idx="2"/>
            <a:endCxn id="30" idx="0"/>
          </p:cNvCxnSpPr>
          <p:nvPr/>
        </p:nvCxnSpPr>
        <p:spPr bwMode="auto">
          <a:xfrm>
            <a:off x="3683274" y="2243570"/>
            <a:ext cx="0" cy="753429"/>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28" name="Straight Connector 27"/>
          <p:cNvCxnSpPr>
            <a:cxnSpLocks/>
            <a:stCxn id="31" idx="0"/>
            <a:endCxn id="30" idx="2"/>
          </p:cNvCxnSpPr>
          <p:nvPr/>
        </p:nvCxnSpPr>
        <p:spPr bwMode="auto">
          <a:xfrm flipV="1">
            <a:off x="3683274" y="3477196"/>
            <a:ext cx="0" cy="26824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9" name="Rectangle: Rounded Corners 28"/>
          <p:cNvSpPr/>
          <p:nvPr/>
        </p:nvSpPr>
        <p:spPr bwMode="auto">
          <a:xfrm>
            <a:off x="1941852" y="1792996"/>
            <a:ext cx="3482844" cy="450574"/>
          </a:xfrm>
          <a:prstGeom prst="roundRect">
            <a:avLst/>
          </a:prstGeom>
          <a:solidFill>
            <a:srgbClr val="F08A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OSS/BSS</a:t>
            </a:r>
          </a:p>
        </p:txBody>
      </p:sp>
      <p:sp>
        <p:nvSpPr>
          <p:cNvPr id="30" name="Rectangle: Rounded Corners 29"/>
          <p:cNvSpPr/>
          <p:nvPr/>
        </p:nvSpPr>
        <p:spPr bwMode="auto">
          <a:xfrm>
            <a:off x="1941852" y="2996999"/>
            <a:ext cx="3482844" cy="480197"/>
          </a:xfrm>
          <a:prstGeom prst="roundRect">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EM (Element Manager)</a:t>
            </a:r>
          </a:p>
        </p:txBody>
      </p:sp>
      <p:sp>
        <p:nvSpPr>
          <p:cNvPr id="31" name="Rectangle: Rounded Corners 30"/>
          <p:cNvSpPr/>
          <p:nvPr/>
        </p:nvSpPr>
        <p:spPr bwMode="auto">
          <a:xfrm>
            <a:off x="1941852" y="3745438"/>
            <a:ext cx="3482844" cy="41137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en-US" sz="1600" dirty="0">
                <a:solidFill>
                  <a:schemeClr val="bg1"/>
                </a:solidFill>
              </a:rPr>
              <a:t>VNF (Virtual Network Function)</a:t>
            </a:r>
          </a:p>
        </p:txBody>
      </p:sp>
      <p:sp>
        <p:nvSpPr>
          <p:cNvPr id="32" name="TextBox 31"/>
          <p:cNvSpPr txBox="1"/>
          <p:nvPr/>
        </p:nvSpPr>
        <p:spPr>
          <a:xfrm>
            <a:off x="1801906" y="2479586"/>
            <a:ext cx="3622790" cy="400110"/>
          </a:xfrm>
          <a:prstGeom prst="rect">
            <a:avLst/>
          </a:prstGeom>
          <a:solidFill>
            <a:schemeClr val="bg2">
              <a:lumMod val="40000"/>
              <a:lumOff val="60000"/>
            </a:schemeClr>
          </a:solid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OSS-RC/ENM</a:t>
            </a:r>
            <a:endParaRPr lang="en-US" sz="1200" b="1" dirty="0"/>
          </a:p>
        </p:txBody>
      </p:sp>
      <p:cxnSp>
        <p:nvCxnSpPr>
          <p:cNvPr id="33" name="Straight Connector 32"/>
          <p:cNvCxnSpPr>
            <a:cxnSpLocks/>
            <a:stCxn id="30" idx="3"/>
            <a:endCxn id="18" idx="1"/>
          </p:cNvCxnSpPr>
          <p:nvPr/>
        </p:nvCxnSpPr>
        <p:spPr bwMode="auto">
          <a:xfrm>
            <a:off x="5424696" y="3237098"/>
            <a:ext cx="585324" cy="409323"/>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4" name="TextBox 33"/>
          <p:cNvSpPr txBox="1"/>
          <p:nvPr/>
        </p:nvSpPr>
        <p:spPr>
          <a:xfrm>
            <a:off x="9387566" y="3144996"/>
            <a:ext cx="2321469" cy="1323439"/>
          </a:xfrm>
          <a:prstGeom prst="rect">
            <a:avLst/>
          </a:prstGeom>
          <a:noFill/>
        </p:spPr>
        <p:txBody>
          <a:bodyPr wrap="none" rtlCol="0">
            <a:spAutoFit/>
          </a:bodyPr>
          <a:lstStyle/>
          <a:p>
            <a:r>
              <a:rPr lang="en-US" dirty="0"/>
              <a:t>Ericsson Products:</a:t>
            </a:r>
          </a:p>
          <a:p>
            <a:pPr marL="342900" indent="-342900">
              <a:buFont typeface="Arial" panose="020B0604020202020204" pitchFamily="34" charset="0"/>
              <a:buChar char="•"/>
            </a:pPr>
            <a:r>
              <a:rPr lang="en-US" dirty="0"/>
              <a:t>OSS-RC/ENM</a:t>
            </a:r>
          </a:p>
          <a:p>
            <a:pPr marL="342900" indent="-342900">
              <a:buFont typeface="Arial" panose="020B0604020202020204" pitchFamily="34" charset="0"/>
              <a:buChar char="•"/>
            </a:pPr>
            <a:r>
              <a:rPr lang="en-US" dirty="0"/>
              <a:t>CEE</a:t>
            </a:r>
          </a:p>
        </p:txBody>
      </p:sp>
    </p:spTree>
    <p:custDataLst>
      <p:tags r:id="rId1"/>
    </p:custDataLst>
    <p:extLst>
      <p:ext uri="{BB962C8B-B14F-4D97-AF65-F5344CB8AC3E}">
        <p14:creationId xmlns:p14="http://schemas.microsoft.com/office/powerpoint/2010/main" val="15782295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Shape 38"/>
          <p:cNvSpPr/>
          <p:nvPr/>
        </p:nvSpPr>
        <p:spPr bwMode="auto">
          <a:xfrm>
            <a:off x="5400991" y="2477744"/>
            <a:ext cx="692055" cy="1509470"/>
          </a:xfrm>
          <a:custGeom>
            <a:avLst/>
            <a:gdLst>
              <a:gd name="connsiteX0" fmla="*/ 115600 w 870783"/>
              <a:gd name="connsiteY0" fmla="*/ 83055 h 1797612"/>
              <a:gd name="connsiteX1" fmla="*/ 186622 w 870783"/>
              <a:gd name="connsiteY1" fmla="*/ 109688 h 1797612"/>
              <a:gd name="connsiteX2" fmla="*/ 239888 w 870783"/>
              <a:gd name="connsiteY2" fmla="*/ 162954 h 1797612"/>
              <a:gd name="connsiteX3" fmla="*/ 275398 w 870783"/>
              <a:gd name="connsiteY3" fmla="*/ 225097 h 1797612"/>
              <a:gd name="connsiteX4" fmla="*/ 293154 w 870783"/>
              <a:gd name="connsiteY4" fmla="*/ 287241 h 1797612"/>
              <a:gd name="connsiteX5" fmla="*/ 399686 w 870783"/>
              <a:gd name="connsiteY5" fmla="*/ 873167 h 1797612"/>
              <a:gd name="connsiteX6" fmla="*/ 737037 w 870783"/>
              <a:gd name="connsiteY6" fmla="*/ 944189 h 1797612"/>
              <a:gd name="connsiteX7" fmla="*/ 870202 w 870783"/>
              <a:gd name="connsiteY7" fmla="*/ 944189 h 1797612"/>
              <a:gd name="connsiteX8" fmla="*/ 781426 w 870783"/>
              <a:gd name="connsiteY8" fmla="*/ 1725423 h 1797612"/>
              <a:gd name="connsiteX9" fmla="*/ 683771 w 870783"/>
              <a:gd name="connsiteY9" fmla="*/ 1707668 h 1797612"/>
              <a:gd name="connsiteX10" fmla="*/ 488462 w 870783"/>
              <a:gd name="connsiteY10" fmla="*/ 1237152 h 1797612"/>
              <a:gd name="connsiteX11" fmla="*/ 168866 w 870783"/>
              <a:gd name="connsiteY11" fmla="*/ 1254907 h 1797612"/>
              <a:gd name="connsiteX12" fmla="*/ 97845 w 870783"/>
              <a:gd name="connsiteY12" fmla="*/ 1272662 h 1797612"/>
              <a:gd name="connsiteX13" fmla="*/ 191 w 870783"/>
              <a:gd name="connsiteY13" fmla="*/ 1281540 h 1797612"/>
              <a:gd name="connsiteX14" fmla="*/ 115600 w 870783"/>
              <a:gd name="connsiteY14" fmla="*/ 83055 h 1797612"/>
              <a:gd name="connsiteX0" fmla="*/ 115600 w 870783"/>
              <a:gd name="connsiteY0" fmla="*/ 83055 h 1798495"/>
              <a:gd name="connsiteX1" fmla="*/ 186622 w 870783"/>
              <a:gd name="connsiteY1" fmla="*/ 109688 h 1798495"/>
              <a:gd name="connsiteX2" fmla="*/ 239888 w 870783"/>
              <a:gd name="connsiteY2" fmla="*/ 162954 h 1798495"/>
              <a:gd name="connsiteX3" fmla="*/ 275398 w 870783"/>
              <a:gd name="connsiteY3" fmla="*/ 225097 h 1798495"/>
              <a:gd name="connsiteX4" fmla="*/ 293154 w 870783"/>
              <a:gd name="connsiteY4" fmla="*/ 287241 h 1798495"/>
              <a:gd name="connsiteX5" fmla="*/ 399686 w 870783"/>
              <a:gd name="connsiteY5" fmla="*/ 873167 h 1798495"/>
              <a:gd name="connsiteX6" fmla="*/ 737037 w 870783"/>
              <a:gd name="connsiteY6" fmla="*/ 944189 h 1798495"/>
              <a:gd name="connsiteX7" fmla="*/ 870202 w 870783"/>
              <a:gd name="connsiteY7" fmla="*/ 944189 h 1798495"/>
              <a:gd name="connsiteX8" fmla="*/ 781426 w 870783"/>
              <a:gd name="connsiteY8" fmla="*/ 1725423 h 1798495"/>
              <a:gd name="connsiteX9" fmla="*/ 683771 w 870783"/>
              <a:gd name="connsiteY9" fmla="*/ 1707668 h 1798495"/>
              <a:gd name="connsiteX10" fmla="*/ 452951 w 870783"/>
              <a:gd name="connsiteY10" fmla="*/ 1219396 h 1798495"/>
              <a:gd name="connsiteX11" fmla="*/ 168866 w 870783"/>
              <a:gd name="connsiteY11" fmla="*/ 1254907 h 1798495"/>
              <a:gd name="connsiteX12" fmla="*/ 97845 w 870783"/>
              <a:gd name="connsiteY12" fmla="*/ 1272662 h 1798495"/>
              <a:gd name="connsiteX13" fmla="*/ 191 w 870783"/>
              <a:gd name="connsiteY13" fmla="*/ 1281540 h 1798495"/>
              <a:gd name="connsiteX14" fmla="*/ 115600 w 870783"/>
              <a:gd name="connsiteY14" fmla="*/ 83055 h 1798495"/>
              <a:gd name="connsiteX0" fmla="*/ 115600 w 870848"/>
              <a:gd name="connsiteY0" fmla="*/ 83055 h 1781320"/>
              <a:gd name="connsiteX1" fmla="*/ 186622 w 870848"/>
              <a:gd name="connsiteY1" fmla="*/ 109688 h 1781320"/>
              <a:gd name="connsiteX2" fmla="*/ 239888 w 870848"/>
              <a:gd name="connsiteY2" fmla="*/ 162954 h 1781320"/>
              <a:gd name="connsiteX3" fmla="*/ 275398 w 870848"/>
              <a:gd name="connsiteY3" fmla="*/ 225097 h 1781320"/>
              <a:gd name="connsiteX4" fmla="*/ 293154 w 870848"/>
              <a:gd name="connsiteY4" fmla="*/ 287241 h 1781320"/>
              <a:gd name="connsiteX5" fmla="*/ 399686 w 870848"/>
              <a:gd name="connsiteY5" fmla="*/ 873167 h 1781320"/>
              <a:gd name="connsiteX6" fmla="*/ 737037 w 870848"/>
              <a:gd name="connsiteY6" fmla="*/ 944189 h 1781320"/>
              <a:gd name="connsiteX7" fmla="*/ 870202 w 870848"/>
              <a:gd name="connsiteY7" fmla="*/ 944189 h 1781320"/>
              <a:gd name="connsiteX8" fmla="*/ 781426 w 870848"/>
              <a:gd name="connsiteY8" fmla="*/ 1725423 h 1781320"/>
              <a:gd name="connsiteX9" fmla="*/ 639383 w 870848"/>
              <a:gd name="connsiteY9" fmla="*/ 1663280 h 1781320"/>
              <a:gd name="connsiteX10" fmla="*/ 452951 w 870848"/>
              <a:gd name="connsiteY10" fmla="*/ 1219396 h 1781320"/>
              <a:gd name="connsiteX11" fmla="*/ 168866 w 870848"/>
              <a:gd name="connsiteY11" fmla="*/ 1254907 h 1781320"/>
              <a:gd name="connsiteX12" fmla="*/ 97845 w 870848"/>
              <a:gd name="connsiteY12" fmla="*/ 1272662 h 1781320"/>
              <a:gd name="connsiteX13" fmla="*/ 191 w 870848"/>
              <a:gd name="connsiteY13" fmla="*/ 1281540 h 1781320"/>
              <a:gd name="connsiteX14" fmla="*/ 115600 w 870848"/>
              <a:gd name="connsiteY14" fmla="*/ 83055 h 1781320"/>
              <a:gd name="connsiteX0" fmla="*/ 121416 w 876664"/>
              <a:gd name="connsiteY0" fmla="*/ 601 h 1698866"/>
              <a:gd name="connsiteX1" fmla="*/ 192438 w 876664"/>
              <a:gd name="connsiteY1" fmla="*/ 27234 h 1698866"/>
              <a:gd name="connsiteX2" fmla="*/ 245704 w 876664"/>
              <a:gd name="connsiteY2" fmla="*/ 80500 h 1698866"/>
              <a:gd name="connsiteX3" fmla="*/ 281214 w 876664"/>
              <a:gd name="connsiteY3" fmla="*/ 142643 h 1698866"/>
              <a:gd name="connsiteX4" fmla="*/ 298970 w 876664"/>
              <a:gd name="connsiteY4" fmla="*/ 204787 h 1698866"/>
              <a:gd name="connsiteX5" fmla="*/ 405502 w 876664"/>
              <a:gd name="connsiteY5" fmla="*/ 790713 h 1698866"/>
              <a:gd name="connsiteX6" fmla="*/ 742853 w 876664"/>
              <a:gd name="connsiteY6" fmla="*/ 861735 h 1698866"/>
              <a:gd name="connsiteX7" fmla="*/ 876018 w 876664"/>
              <a:gd name="connsiteY7" fmla="*/ 861735 h 1698866"/>
              <a:gd name="connsiteX8" fmla="*/ 787242 w 876664"/>
              <a:gd name="connsiteY8" fmla="*/ 1642969 h 1698866"/>
              <a:gd name="connsiteX9" fmla="*/ 645199 w 876664"/>
              <a:gd name="connsiteY9" fmla="*/ 1580826 h 1698866"/>
              <a:gd name="connsiteX10" fmla="*/ 458767 w 876664"/>
              <a:gd name="connsiteY10" fmla="*/ 1136942 h 1698866"/>
              <a:gd name="connsiteX11" fmla="*/ 174682 w 876664"/>
              <a:gd name="connsiteY11" fmla="*/ 1172453 h 1698866"/>
              <a:gd name="connsiteX12" fmla="*/ 103661 w 876664"/>
              <a:gd name="connsiteY12" fmla="*/ 1190208 h 1698866"/>
              <a:gd name="connsiteX13" fmla="*/ 6007 w 876664"/>
              <a:gd name="connsiteY13" fmla="*/ 1199086 h 1698866"/>
              <a:gd name="connsiteX14" fmla="*/ 121416 w 876664"/>
              <a:gd name="connsiteY14" fmla="*/ 601 h 1698866"/>
              <a:gd name="connsiteX0" fmla="*/ 219316 w 974564"/>
              <a:gd name="connsiteY0" fmla="*/ 601 h 1698866"/>
              <a:gd name="connsiteX1" fmla="*/ 290338 w 974564"/>
              <a:gd name="connsiteY1" fmla="*/ 27234 h 1698866"/>
              <a:gd name="connsiteX2" fmla="*/ 343604 w 974564"/>
              <a:gd name="connsiteY2" fmla="*/ 80500 h 1698866"/>
              <a:gd name="connsiteX3" fmla="*/ 379114 w 974564"/>
              <a:gd name="connsiteY3" fmla="*/ 142643 h 1698866"/>
              <a:gd name="connsiteX4" fmla="*/ 396870 w 974564"/>
              <a:gd name="connsiteY4" fmla="*/ 204787 h 1698866"/>
              <a:gd name="connsiteX5" fmla="*/ 503402 w 974564"/>
              <a:gd name="connsiteY5" fmla="*/ 790713 h 1698866"/>
              <a:gd name="connsiteX6" fmla="*/ 840753 w 974564"/>
              <a:gd name="connsiteY6" fmla="*/ 861735 h 1698866"/>
              <a:gd name="connsiteX7" fmla="*/ 973918 w 974564"/>
              <a:gd name="connsiteY7" fmla="*/ 861735 h 1698866"/>
              <a:gd name="connsiteX8" fmla="*/ 885142 w 974564"/>
              <a:gd name="connsiteY8" fmla="*/ 1642969 h 1698866"/>
              <a:gd name="connsiteX9" fmla="*/ 743099 w 974564"/>
              <a:gd name="connsiteY9" fmla="*/ 1580826 h 1698866"/>
              <a:gd name="connsiteX10" fmla="*/ 556667 w 974564"/>
              <a:gd name="connsiteY10" fmla="*/ 1136942 h 1698866"/>
              <a:gd name="connsiteX11" fmla="*/ 272582 w 974564"/>
              <a:gd name="connsiteY11" fmla="*/ 1172453 h 1698866"/>
              <a:gd name="connsiteX12" fmla="*/ 201561 w 974564"/>
              <a:gd name="connsiteY12" fmla="*/ 1190208 h 1698866"/>
              <a:gd name="connsiteX13" fmla="*/ 103907 w 974564"/>
              <a:gd name="connsiteY13" fmla="*/ 1199086 h 1698866"/>
              <a:gd name="connsiteX14" fmla="*/ 219316 w 974564"/>
              <a:gd name="connsiteY14" fmla="*/ 601 h 1698866"/>
              <a:gd name="connsiteX0" fmla="*/ 162944 w 918192"/>
              <a:gd name="connsiteY0" fmla="*/ 81730 h 1779995"/>
              <a:gd name="connsiteX1" fmla="*/ 233966 w 918192"/>
              <a:gd name="connsiteY1" fmla="*/ 108363 h 1779995"/>
              <a:gd name="connsiteX2" fmla="*/ 287232 w 918192"/>
              <a:gd name="connsiteY2" fmla="*/ 161629 h 1779995"/>
              <a:gd name="connsiteX3" fmla="*/ 322742 w 918192"/>
              <a:gd name="connsiteY3" fmla="*/ 223772 h 1779995"/>
              <a:gd name="connsiteX4" fmla="*/ 340498 w 918192"/>
              <a:gd name="connsiteY4" fmla="*/ 285916 h 1779995"/>
              <a:gd name="connsiteX5" fmla="*/ 447030 w 918192"/>
              <a:gd name="connsiteY5" fmla="*/ 871842 h 1779995"/>
              <a:gd name="connsiteX6" fmla="*/ 784381 w 918192"/>
              <a:gd name="connsiteY6" fmla="*/ 942864 h 1779995"/>
              <a:gd name="connsiteX7" fmla="*/ 917546 w 918192"/>
              <a:gd name="connsiteY7" fmla="*/ 942864 h 1779995"/>
              <a:gd name="connsiteX8" fmla="*/ 828770 w 918192"/>
              <a:gd name="connsiteY8" fmla="*/ 1724098 h 1779995"/>
              <a:gd name="connsiteX9" fmla="*/ 686727 w 918192"/>
              <a:gd name="connsiteY9" fmla="*/ 1661955 h 1779995"/>
              <a:gd name="connsiteX10" fmla="*/ 500295 w 918192"/>
              <a:gd name="connsiteY10" fmla="*/ 1218071 h 1779995"/>
              <a:gd name="connsiteX11" fmla="*/ 216210 w 918192"/>
              <a:gd name="connsiteY11" fmla="*/ 1253582 h 1779995"/>
              <a:gd name="connsiteX12" fmla="*/ 145189 w 918192"/>
              <a:gd name="connsiteY12" fmla="*/ 1271337 h 1779995"/>
              <a:gd name="connsiteX13" fmla="*/ 83394 w 918192"/>
              <a:gd name="connsiteY13" fmla="*/ 1262285 h 1779995"/>
              <a:gd name="connsiteX14" fmla="*/ 162944 w 918192"/>
              <a:gd name="connsiteY14" fmla="*/ 81730 h 1779995"/>
              <a:gd name="connsiteX0" fmla="*/ 183534 w 938782"/>
              <a:gd name="connsiteY0" fmla="*/ 57 h 1698322"/>
              <a:gd name="connsiteX1" fmla="*/ 254556 w 938782"/>
              <a:gd name="connsiteY1" fmla="*/ 26690 h 1698322"/>
              <a:gd name="connsiteX2" fmla="*/ 307822 w 938782"/>
              <a:gd name="connsiteY2" fmla="*/ 79956 h 1698322"/>
              <a:gd name="connsiteX3" fmla="*/ 343332 w 938782"/>
              <a:gd name="connsiteY3" fmla="*/ 142099 h 1698322"/>
              <a:gd name="connsiteX4" fmla="*/ 361088 w 938782"/>
              <a:gd name="connsiteY4" fmla="*/ 204243 h 1698322"/>
              <a:gd name="connsiteX5" fmla="*/ 467620 w 938782"/>
              <a:gd name="connsiteY5" fmla="*/ 790169 h 1698322"/>
              <a:gd name="connsiteX6" fmla="*/ 804971 w 938782"/>
              <a:gd name="connsiteY6" fmla="*/ 861191 h 1698322"/>
              <a:gd name="connsiteX7" fmla="*/ 938136 w 938782"/>
              <a:gd name="connsiteY7" fmla="*/ 861191 h 1698322"/>
              <a:gd name="connsiteX8" fmla="*/ 849360 w 938782"/>
              <a:gd name="connsiteY8" fmla="*/ 1642425 h 1698322"/>
              <a:gd name="connsiteX9" fmla="*/ 707317 w 938782"/>
              <a:gd name="connsiteY9" fmla="*/ 1580282 h 1698322"/>
              <a:gd name="connsiteX10" fmla="*/ 520885 w 938782"/>
              <a:gd name="connsiteY10" fmla="*/ 1136398 h 1698322"/>
              <a:gd name="connsiteX11" fmla="*/ 236800 w 938782"/>
              <a:gd name="connsiteY11" fmla="*/ 1171909 h 1698322"/>
              <a:gd name="connsiteX12" fmla="*/ 165779 w 938782"/>
              <a:gd name="connsiteY12" fmla="*/ 1189664 h 1698322"/>
              <a:gd name="connsiteX13" fmla="*/ 103984 w 938782"/>
              <a:gd name="connsiteY13" fmla="*/ 1180612 h 1698322"/>
              <a:gd name="connsiteX14" fmla="*/ 183534 w 938782"/>
              <a:gd name="connsiteY14" fmla="*/ 57 h 1698322"/>
              <a:gd name="connsiteX0" fmla="*/ 183534 w 985793"/>
              <a:gd name="connsiteY0" fmla="*/ 57 h 1698322"/>
              <a:gd name="connsiteX1" fmla="*/ 254556 w 985793"/>
              <a:gd name="connsiteY1" fmla="*/ 26690 h 1698322"/>
              <a:gd name="connsiteX2" fmla="*/ 307822 w 985793"/>
              <a:gd name="connsiteY2" fmla="*/ 79956 h 1698322"/>
              <a:gd name="connsiteX3" fmla="*/ 343332 w 985793"/>
              <a:gd name="connsiteY3" fmla="*/ 142099 h 1698322"/>
              <a:gd name="connsiteX4" fmla="*/ 361088 w 985793"/>
              <a:gd name="connsiteY4" fmla="*/ 204243 h 1698322"/>
              <a:gd name="connsiteX5" fmla="*/ 467620 w 985793"/>
              <a:gd name="connsiteY5" fmla="*/ 790169 h 1698322"/>
              <a:gd name="connsiteX6" fmla="*/ 804971 w 985793"/>
              <a:gd name="connsiteY6" fmla="*/ 861191 h 1698322"/>
              <a:gd name="connsiteX7" fmla="*/ 938136 w 985793"/>
              <a:gd name="connsiteY7" fmla="*/ 861191 h 1698322"/>
              <a:gd name="connsiteX8" fmla="*/ 849360 w 985793"/>
              <a:gd name="connsiteY8" fmla="*/ 1642425 h 1698322"/>
              <a:gd name="connsiteX9" fmla="*/ 707317 w 985793"/>
              <a:gd name="connsiteY9" fmla="*/ 1580282 h 1698322"/>
              <a:gd name="connsiteX10" fmla="*/ 520885 w 985793"/>
              <a:gd name="connsiteY10" fmla="*/ 1136398 h 1698322"/>
              <a:gd name="connsiteX11" fmla="*/ 236800 w 985793"/>
              <a:gd name="connsiteY11" fmla="*/ 1171909 h 1698322"/>
              <a:gd name="connsiteX12" fmla="*/ 165779 w 985793"/>
              <a:gd name="connsiteY12" fmla="*/ 1189664 h 1698322"/>
              <a:gd name="connsiteX13" fmla="*/ 103984 w 985793"/>
              <a:gd name="connsiteY13" fmla="*/ 1180612 h 1698322"/>
              <a:gd name="connsiteX14" fmla="*/ 183534 w 985793"/>
              <a:gd name="connsiteY14" fmla="*/ 57 h 1698322"/>
              <a:gd name="connsiteX0" fmla="*/ 183534 w 998708"/>
              <a:gd name="connsiteY0" fmla="*/ 57 h 1647860"/>
              <a:gd name="connsiteX1" fmla="*/ 254556 w 998708"/>
              <a:gd name="connsiteY1" fmla="*/ 26690 h 1647860"/>
              <a:gd name="connsiteX2" fmla="*/ 307822 w 998708"/>
              <a:gd name="connsiteY2" fmla="*/ 79956 h 1647860"/>
              <a:gd name="connsiteX3" fmla="*/ 343332 w 998708"/>
              <a:gd name="connsiteY3" fmla="*/ 142099 h 1647860"/>
              <a:gd name="connsiteX4" fmla="*/ 361088 w 998708"/>
              <a:gd name="connsiteY4" fmla="*/ 204243 h 1647860"/>
              <a:gd name="connsiteX5" fmla="*/ 467620 w 998708"/>
              <a:gd name="connsiteY5" fmla="*/ 790169 h 1647860"/>
              <a:gd name="connsiteX6" fmla="*/ 804971 w 998708"/>
              <a:gd name="connsiteY6" fmla="*/ 861191 h 1647860"/>
              <a:gd name="connsiteX7" fmla="*/ 938136 w 998708"/>
              <a:gd name="connsiteY7" fmla="*/ 861191 h 1647860"/>
              <a:gd name="connsiteX8" fmla="*/ 849360 w 998708"/>
              <a:gd name="connsiteY8" fmla="*/ 1642425 h 1647860"/>
              <a:gd name="connsiteX9" fmla="*/ 707317 w 998708"/>
              <a:gd name="connsiteY9" fmla="*/ 1580282 h 1647860"/>
              <a:gd name="connsiteX10" fmla="*/ 520885 w 998708"/>
              <a:gd name="connsiteY10" fmla="*/ 1136398 h 1647860"/>
              <a:gd name="connsiteX11" fmla="*/ 236800 w 998708"/>
              <a:gd name="connsiteY11" fmla="*/ 1171909 h 1647860"/>
              <a:gd name="connsiteX12" fmla="*/ 165779 w 998708"/>
              <a:gd name="connsiteY12" fmla="*/ 1189664 h 1647860"/>
              <a:gd name="connsiteX13" fmla="*/ 103984 w 998708"/>
              <a:gd name="connsiteY13" fmla="*/ 1180612 h 1647860"/>
              <a:gd name="connsiteX14" fmla="*/ 183534 w 998708"/>
              <a:gd name="connsiteY14" fmla="*/ 57 h 1647860"/>
              <a:gd name="connsiteX0" fmla="*/ 183534 w 998708"/>
              <a:gd name="connsiteY0" fmla="*/ 57 h 1650515"/>
              <a:gd name="connsiteX1" fmla="*/ 254556 w 998708"/>
              <a:gd name="connsiteY1" fmla="*/ 26690 h 1650515"/>
              <a:gd name="connsiteX2" fmla="*/ 307822 w 998708"/>
              <a:gd name="connsiteY2" fmla="*/ 79956 h 1650515"/>
              <a:gd name="connsiteX3" fmla="*/ 343332 w 998708"/>
              <a:gd name="connsiteY3" fmla="*/ 142099 h 1650515"/>
              <a:gd name="connsiteX4" fmla="*/ 361088 w 998708"/>
              <a:gd name="connsiteY4" fmla="*/ 204243 h 1650515"/>
              <a:gd name="connsiteX5" fmla="*/ 467620 w 998708"/>
              <a:gd name="connsiteY5" fmla="*/ 790169 h 1650515"/>
              <a:gd name="connsiteX6" fmla="*/ 804971 w 998708"/>
              <a:gd name="connsiteY6" fmla="*/ 861191 h 1650515"/>
              <a:gd name="connsiteX7" fmla="*/ 938136 w 998708"/>
              <a:gd name="connsiteY7" fmla="*/ 861191 h 1650515"/>
              <a:gd name="connsiteX8" fmla="*/ 849360 w 998708"/>
              <a:gd name="connsiteY8" fmla="*/ 1642425 h 1650515"/>
              <a:gd name="connsiteX9" fmla="*/ 707317 w 998708"/>
              <a:gd name="connsiteY9" fmla="*/ 1580282 h 1650515"/>
              <a:gd name="connsiteX10" fmla="*/ 520885 w 998708"/>
              <a:gd name="connsiteY10" fmla="*/ 1136398 h 1650515"/>
              <a:gd name="connsiteX11" fmla="*/ 236800 w 998708"/>
              <a:gd name="connsiteY11" fmla="*/ 1171909 h 1650515"/>
              <a:gd name="connsiteX12" fmla="*/ 165779 w 998708"/>
              <a:gd name="connsiteY12" fmla="*/ 1189664 h 1650515"/>
              <a:gd name="connsiteX13" fmla="*/ 103984 w 998708"/>
              <a:gd name="connsiteY13" fmla="*/ 1180612 h 1650515"/>
              <a:gd name="connsiteX14" fmla="*/ 183534 w 998708"/>
              <a:gd name="connsiteY14" fmla="*/ 57 h 1650515"/>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67620 w 997448"/>
              <a:gd name="connsiteY5" fmla="*/ 790169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21409 w 997448"/>
              <a:gd name="connsiteY5" fmla="*/ 796146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236800 w 997448"/>
              <a:gd name="connsiteY11" fmla="*/ 1171909 h 1643052"/>
              <a:gd name="connsiteX12" fmla="*/ 165779 w 997448"/>
              <a:gd name="connsiteY12" fmla="*/ 1189664 h 1643052"/>
              <a:gd name="connsiteX13" fmla="*/ 103984 w 997448"/>
              <a:gd name="connsiteY13" fmla="*/ 1180612 h 1643052"/>
              <a:gd name="connsiteX14" fmla="*/ 183534 w 997448"/>
              <a:gd name="connsiteY14" fmla="*/ 57 h 1643052"/>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165779 w 997448"/>
              <a:gd name="connsiteY11" fmla="*/ 1189664 h 1643052"/>
              <a:gd name="connsiteX12" fmla="*/ 103984 w 997448"/>
              <a:gd name="connsiteY12" fmla="*/ 1180612 h 1643052"/>
              <a:gd name="connsiteX13" fmla="*/ 183534 w 997448"/>
              <a:gd name="connsiteY13" fmla="*/ 57 h 1643052"/>
              <a:gd name="connsiteX0" fmla="*/ 40651 w 854565"/>
              <a:gd name="connsiteY0" fmla="*/ 82399 h 1725394"/>
              <a:gd name="connsiteX1" fmla="*/ 111673 w 854565"/>
              <a:gd name="connsiteY1" fmla="*/ 109032 h 1725394"/>
              <a:gd name="connsiteX2" fmla="*/ 164939 w 854565"/>
              <a:gd name="connsiteY2" fmla="*/ 162298 h 1725394"/>
              <a:gd name="connsiteX3" fmla="*/ 200449 w 854565"/>
              <a:gd name="connsiteY3" fmla="*/ 224441 h 1725394"/>
              <a:gd name="connsiteX4" fmla="*/ 218205 w 854565"/>
              <a:gd name="connsiteY4" fmla="*/ 286585 h 1725394"/>
              <a:gd name="connsiteX5" fmla="*/ 342667 w 854565"/>
              <a:gd name="connsiteY5" fmla="*/ 854582 h 1725394"/>
              <a:gd name="connsiteX6" fmla="*/ 662088 w 854565"/>
              <a:gd name="connsiteY6" fmla="*/ 943533 h 1725394"/>
              <a:gd name="connsiteX7" fmla="*/ 795253 w 854565"/>
              <a:gd name="connsiteY7" fmla="*/ 943533 h 1725394"/>
              <a:gd name="connsiteX8" fmla="*/ 706477 w 854565"/>
              <a:gd name="connsiteY8" fmla="*/ 1724767 h 1725394"/>
              <a:gd name="connsiteX9" fmla="*/ 564434 w 854565"/>
              <a:gd name="connsiteY9" fmla="*/ 1662624 h 1725394"/>
              <a:gd name="connsiteX10" fmla="*/ 366049 w 854565"/>
              <a:gd name="connsiteY10" fmla="*/ 1290457 h 1725394"/>
              <a:gd name="connsiteX11" fmla="*/ 22896 w 854565"/>
              <a:gd name="connsiteY11" fmla="*/ 1272006 h 1725394"/>
              <a:gd name="connsiteX12" fmla="*/ 40651 w 854565"/>
              <a:gd name="connsiteY12" fmla="*/ 82399 h 1725394"/>
              <a:gd name="connsiteX0" fmla="*/ 9797 w 841466"/>
              <a:gd name="connsiteY0" fmla="*/ 1236700 h 1690088"/>
              <a:gd name="connsiteX1" fmla="*/ 98574 w 841466"/>
              <a:gd name="connsiteY1" fmla="*/ 73726 h 1690088"/>
              <a:gd name="connsiteX2" fmla="*/ 151840 w 841466"/>
              <a:gd name="connsiteY2" fmla="*/ 126992 h 1690088"/>
              <a:gd name="connsiteX3" fmla="*/ 187350 w 841466"/>
              <a:gd name="connsiteY3" fmla="*/ 189135 h 1690088"/>
              <a:gd name="connsiteX4" fmla="*/ 205106 w 841466"/>
              <a:gd name="connsiteY4" fmla="*/ 251279 h 1690088"/>
              <a:gd name="connsiteX5" fmla="*/ 329568 w 841466"/>
              <a:gd name="connsiteY5" fmla="*/ 819276 h 1690088"/>
              <a:gd name="connsiteX6" fmla="*/ 648989 w 841466"/>
              <a:gd name="connsiteY6" fmla="*/ 908227 h 1690088"/>
              <a:gd name="connsiteX7" fmla="*/ 782154 w 841466"/>
              <a:gd name="connsiteY7" fmla="*/ 908227 h 1690088"/>
              <a:gd name="connsiteX8" fmla="*/ 693378 w 841466"/>
              <a:gd name="connsiteY8" fmla="*/ 1689461 h 1690088"/>
              <a:gd name="connsiteX9" fmla="*/ 551335 w 841466"/>
              <a:gd name="connsiteY9" fmla="*/ 1627318 h 1690088"/>
              <a:gd name="connsiteX10" fmla="*/ 352950 w 841466"/>
              <a:gd name="connsiteY10" fmla="*/ 1255151 h 1690088"/>
              <a:gd name="connsiteX11" fmla="*/ 9797 w 841466"/>
              <a:gd name="connsiteY11" fmla="*/ 1236700 h 1690088"/>
              <a:gd name="connsiteX0" fmla="*/ 9797 w 841466"/>
              <a:gd name="connsiteY0" fmla="*/ 1238625 h 1692013"/>
              <a:gd name="connsiteX1" fmla="*/ 98574 w 841466"/>
              <a:gd name="connsiteY1" fmla="*/ 75651 h 1692013"/>
              <a:gd name="connsiteX2" fmla="*/ 151840 w 841466"/>
              <a:gd name="connsiteY2" fmla="*/ 128917 h 1692013"/>
              <a:gd name="connsiteX3" fmla="*/ 205106 w 841466"/>
              <a:gd name="connsiteY3" fmla="*/ 253204 h 1692013"/>
              <a:gd name="connsiteX4" fmla="*/ 329568 w 841466"/>
              <a:gd name="connsiteY4" fmla="*/ 821201 h 1692013"/>
              <a:gd name="connsiteX5" fmla="*/ 648989 w 841466"/>
              <a:gd name="connsiteY5" fmla="*/ 910152 h 1692013"/>
              <a:gd name="connsiteX6" fmla="*/ 782154 w 841466"/>
              <a:gd name="connsiteY6" fmla="*/ 910152 h 1692013"/>
              <a:gd name="connsiteX7" fmla="*/ 693378 w 841466"/>
              <a:gd name="connsiteY7" fmla="*/ 1691386 h 1692013"/>
              <a:gd name="connsiteX8" fmla="*/ 551335 w 841466"/>
              <a:gd name="connsiteY8" fmla="*/ 1629243 h 1692013"/>
              <a:gd name="connsiteX9" fmla="*/ 352950 w 841466"/>
              <a:gd name="connsiteY9" fmla="*/ 1257076 h 1692013"/>
              <a:gd name="connsiteX10" fmla="*/ 9797 w 841466"/>
              <a:gd name="connsiteY10" fmla="*/ 1238625 h 1692013"/>
              <a:gd name="connsiteX0" fmla="*/ 9797 w 841466"/>
              <a:gd name="connsiteY0" fmla="*/ 1260168 h 1713556"/>
              <a:gd name="connsiteX1" fmla="*/ 98574 w 841466"/>
              <a:gd name="connsiteY1" fmla="*/ 97194 h 1713556"/>
              <a:gd name="connsiteX2" fmla="*/ 151840 w 841466"/>
              <a:gd name="connsiteY2" fmla="*/ 150460 h 1713556"/>
              <a:gd name="connsiteX3" fmla="*/ 329568 w 841466"/>
              <a:gd name="connsiteY3" fmla="*/ 842744 h 1713556"/>
              <a:gd name="connsiteX4" fmla="*/ 648989 w 841466"/>
              <a:gd name="connsiteY4" fmla="*/ 931695 h 1713556"/>
              <a:gd name="connsiteX5" fmla="*/ 782154 w 841466"/>
              <a:gd name="connsiteY5" fmla="*/ 931695 h 1713556"/>
              <a:gd name="connsiteX6" fmla="*/ 693378 w 841466"/>
              <a:gd name="connsiteY6" fmla="*/ 1712929 h 1713556"/>
              <a:gd name="connsiteX7" fmla="*/ 551335 w 841466"/>
              <a:gd name="connsiteY7" fmla="*/ 1650786 h 1713556"/>
              <a:gd name="connsiteX8" fmla="*/ 352950 w 841466"/>
              <a:gd name="connsiteY8" fmla="*/ 1278619 h 1713556"/>
              <a:gd name="connsiteX9" fmla="*/ 9797 w 841466"/>
              <a:gd name="connsiteY9" fmla="*/ 1260168 h 1713556"/>
              <a:gd name="connsiteX0" fmla="*/ 5728 w 837397"/>
              <a:gd name="connsiteY0" fmla="*/ 1115042 h 1568430"/>
              <a:gd name="connsiteX1" fmla="*/ 147771 w 837397"/>
              <a:gd name="connsiteY1" fmla="*/ 5334 h 1568430"/>
              <a:gd name="connsiteX2" fmla="*/ 325499 w 837397"/>
              <a:gd name="connsiteY2" fmla="*/ 697618 h 1568430"/>
              <a:gd name="connsiteX3" fmla="*/ 644920 w 837397"/>
              <a:gd name="connsiteY3" fmla="*/ 786569 h 1568430"/>
              <a:gd name="connsiteX4" fmla="*/ 778085 w 837397"/>
              <a:gd name="connsiteY4" fmla="*/ 786569 h 1568430"/>
              <a:gd name="connsiteX5" fmla="*/ 689309 w 837397"/>
              <a:gd name="connsiteY5" fmla="*/ 1567803 h 1568430"/>
              <a:gd name="connsiteX6" fmla="*/ 547266 w 837397"/>
              <a:gd name="connsiteY6" fmla="*/ 1505660 h 1568430"/>
              <a:gd name="connsiteX7" fmla="*/ 348881 w 837397"/>
              <a:gd name="connsiteY7" fmla="*/ 1133493 h 1568430"/>
              <a:gd name="connsiteX8" fmla="*/ 5728 w 837397"/>
              <a:gd name="connsiteY8" fmla="*/ 1115042 h 1568430"/>
              <a:gd name="connsiteX0" fmla="*/ 5926 w 831619"/>
              <a:gd name="connsiteY0" fmla="*/ 1115042 h 1568430"/>
              <a:gd name="connsiteX1" fmla="*/ 141993 w 831619"/>
              <a:gd name="connsiteY1" fmla="*/ 5334 h 1568430"/>
              <a:gd name="connsiteX2" fmla="*/ 319721 w 831619"/>
              <a:gd name="connsiteY2" fmla="*/ 697618 h 1568430"/>
              <a:gd name="connsiteX3" fmla="*/ 639142 w 831619"/>
              <a:gd name="connsiteY3" fmla="*/ 786569 h 1568430"/>
              <a:gd name="connsiteX4" fmla="*/ 772307 w 831619"/>
              <a:gd name="connsiteY4" fmla="*/ 786569 h 1568430"/>
              <a:gd name="connsiteX5" fmla="*/ 683531 w 831619"/>
              <a:gd name="connsiteY5" fmla="*/ 1567803 h 1568430"/>
              <a:gd name="connsiteX6" fmla="*/ 541488 w 831619"/>
              <a:gd name="connsiteY6" fmla="*/ 1505660 h 1568430"/>
              <a:gd name="connsiteX7" fmla="*/ 343103 w 831619"/>
              <a:gd name="connsiteY7" fmla="*/ 1133493 h 1568430"/>
              <a:gd name="connsiteX8" fmla="*/ 5926 w 831619"/>
              <a:gd name="connsiteY8" fmla="*/ 1115042 h 1568430"/>
              <a:gd name="connsiteX0" fmla="*/ 5926 w 692736"/>
              <a:gd name="connsiteY0" fmla="*/ 1115042 h 1568430"/>
              <a:gd name="connsiteX1" fmla="*/ 141993 w 692736"/>
              <a:gd name="connsiteY1" fmla="*/ 5334 h 1568430"/>
              <a:gd name="connsiteX2" fmla="*/ 319721 w 692736"/>
              <a:gd name="connsiteY2" fmla="*/ 697618 h 1568430"/>
              <a:gd name="connsiteX3" fmla="*/ 639142 w 692736"/>
              <a:gd name="connsiteY3" fmla="*/ 786569 h 1568430"/>
              <a:gd name="connsiteX4" fmla="*/ 683531 w 692736"/>
              <a:gd name="connsiteY4" fmla="*/ 1567803 h 1568430"/>
              <a:gd name="connsiteX5" fmla="*/ 541488 w 692736"/>
              <a:gd name="connsiteY5" fmla="*/ 1505660 h 1568430"/>
              <a:gd name="connsiteX6" fmla="*/ 343103 w 692736"/>
              <a:gd name="connsiteY6" fmla="*/ 1133493 h 1568430"/>
              <a:gd name="connsiteX7" fmla="*/ 5926 w 692736"/>
              <a:gd name="connsiteY7" fmla="*/ 1115042 h 1568430"/>
              <a:gd name="connsiteX0" fmla="*/ 5926 w 648171"/>
              <a:gd name="connsiteY0" fmla="*/ 1115042 h 1511846"/>
              <a:gd name="connsiteX1" fmla="*/ 141993 w 648171"/>
              <a:gd name="connsiteY1" fmla="*/ 5334 h 1511846"/>
              <a:gd name="connsiteX2" fmla="*/ 319721 w 648171"/>
              <a:gd name="connsiteY2" fmla="*/ 697618 h 1511846"/>
              <a:gd name="connsiteX3" fmla="*/ 639142 w 648171"/>
              <a:gd name="connsiteY3" fmla="*/ 786569 h 1511846"/>
              <a:gd name="connsiteX4" fmla="*/ 541488 w 648171"/>
              <a:gd name="connsiteY4" fmla="*/ 1505660 h 1511846"/>
              <a:gd name="connsiteX5" fmla="*/ 343103 w 648171"/>
              <a:gd name="connsiteY5" fmla="*/ 1133493 h 1511846"/>
              <a:gd name="connsiteX6" fmla="*/ 5926 w 648171"/>
              <a:gd name="connsiteY6" fmla="*/ 1115042 h 1511846"/>
              <a:gd name="connsiteX0" fmla="*/ 5926 w 664289"/>
              <a:gd name="connsiteY0" fmla="*/ 1115042 h 1511846"/>
              <a:gd name="connsiteX1" fmla="*/ 141993 w 664289"/>
              <a:gd name="connsiteY1" fmla="*/ 5334 h 1511846"/>
              <a:gd name="connsiteX2" fmla="*/ 319721 w 664289"/>
              <a:gd name="connsiteY2" fmla="*/ 697618 h 1511846"/>
              <a:gd name="connsiteX3" fmla="*/ 639142 w 664289"/>
              <a:gd name="connsiteY3" fmla="*/ 786569 h 1511846"/>
              <a:gd name="connsiteX4" fmla="*/ 541488 w 664289"/>
              <a:gd name="connsiteY4" fmla="*/ 1505660 h 1511846"/>
              <a:gd name="connsiteX5" fmla="*/ 343103 w 664289"/>
              <a:gd name="connsiteY5" fmla="*/ 1133493 h 1511846"/>
              <a:gd name="connsiteX6" fmla="*/ 5926 w 664289"/>
              <a:gd name="connsiteY6" fmla="*/ 1115042 h 1511846"/>
              <a:gd name="connsiteX0" fmla="*/ 5926 w 674588"/>
              <a:gd name="connsiteY0" fmla="*/ 1115042 h 1528233"/>
              <a:gd name="connsiteX1" fmla="*/ 141993 w 674588"/>
              <a:gd name="connsiteY1" fmla="*/ 5334 h 1528233"/>
              <a:gd name="connsiteX2" fmla="*/ 319721 w 674588"/>
              <a:gd name="connsiteY2" fmla="*/ 697618 h 1528233"/>
              <a:gd name="connsiteX3" fmla="*/ 639142 w 674588"/>
              <a:gd name="connsiteY3" fmla="*/ 786569 h 1528233"/>
              <a:gd name="connsiteX4" fmla="*/ 541488 w 674588"/>
              <a:gd name="connsiteY4" fmla="*/ 1505660 h 1528233"/>
              <a:gd name="connsiteX5" fmla="*/ 343103 w 674588"/>
              <a:gd name="connsiteY5" fmla="*/ 1133493 h 1528233"/>
              <a:gd name="connsiteX6" fmla="*/ 5926 w 674588"/>
              <a:gd name="connsiteY6" fmla="*/ 1115042 h 1528233"/>
              <a:gd name="connsiteX0" fmla="*/ 5367 w 691958"/>
              <a:gd name="connsiteY0" fmla="*/ 1108928 h 1528095"/>
              <a:gd name="connsiteX1" fmla="*/ 159363 w 691958"/>
              <a:gd name="connsiteY1" fmla="*/ 5196 h 1528095"/>
              <a:gd name="connsiteX2" fmla="*/ 337091 w 691958"/>
              <a:gd name="connsiteY2" fmla="*/ 697480 h 1528095"/>
              <a:gd name="connsiteX3" fmla="*/ 656512 w 691958"/>
              <a:gd name="connsiteY3" fmla="*/ 786431 h 1528095"/>
              <a:gd name="connsiteX4" fmla="*/ 558858 w 691958"/>
              <a:gd name="connsiteY4" fmla="*/ 1505522 h 1528095"/>
              <a:gd name="connsiteX5" fmla="*/ 360473 w 691958"/>
              <a:gd name="connsiteY5" fmla="*/ 1133355 h 1528095"/>
              <a:gd name="connsiteX6" fmla="*/ 5367 w 691958"/>
              <a:gd name="connsiteY6" fmla="*/ 1108928 h 1528095"/>
              <a:gd name="connsiteX0" fmla="*/ 5801 w 692392"/>
              <a:gd name="connsiteY0" fmla="*/ 1102989 h 1522156"/>
              <a:gd name="connsiteX1" fmla="*/ 147844 w 692392"/>
              <a:gd name="connsiteY1" fmla="*/ 5234 h 1522156"/>
              <a:gd name="connsiteX2" fmla="*/ 337525 w 692392"/>
              <a:gd name="connsiteY2" fmla="*/ 691541 h 1522156"/>
              <a:gd name="connsiteX3" fmla="*/ 656946 w 692392"/>
              <a:gd name="connsiteY3" fmla="*/ 780492 h 1522156"/>
              <a:gd name="connsiteX4" fmla="*/ 559292 w 692392"/>
              <a:gd name="connsiteY4" fmla="*/ 1499583 h 1522156"/>
              <a:gd name="connsiteX5" fmla="*/ 360907 w 692392"/>
              <a:gd name="connsiteY5" fmla="*/ 1127416 h 1522156"/>
              <a:gd name="connsiteX6" fmla="*/ 5801 w 692392"/>
              <a:gd name="connsiteY6" fmla="*/ 1102989 h 1522156"/>
              <a:gd name="connsiteX0" fmla="*/ 5577 w 692168"/>
              <a:gd name="connsiteY0" fmla="*/ 1102989 h 1522156"/>
              <a:gd name="connsiteX1" fmla="*/ 153596 w 692168"/>
              <a:gd name="connsiteY1" fmla="*/ 5234 h 1522156"/>
              <a:gd name="connsiteX2" fmla="*/ 337301 w 692168"/>
              <a:gd name="connsiteY2" fmla="*/ 691541 h 1522156"/>
              <a:gd name="connsiteX3" fmla="*/ 656722 w 692168"/>
              <a:gd name="connsiteY3" fmla="*/ 780492 h 1522156"/>
              <a:gd name="connsiteX4" fmla="*/ 559068 w 692168"/>
              <a:gd name="connsiteY4" fmla="*/ 1499583 h 1522156"/>
              <a:gd name="connsiteX5" fmla="*/ 360683 w 692168"/>
              <a:gd name="connsiteY5" fmla="*/ 1127416 h 1522156"/>
              <a:gd name="connsiteX6" fmla="*/ 5577 w 692168"/>
              <a:gd name="connsiteY6" fmla="*/ 1102989 h 1522156"/>
              <a:gd name="connsiteX0" fmla="*/ 7848 w 694439"/>
              <a:gd name="connsiteY0" fmla="*/ 1106972 h 1526139"/>
              <a:gd name="connsiteX1" fmla="*/ 155867 w 694439"/>
              <a:gd name="connsiteY1" fmla="*/ 9217 h 1526139"/>
              <a:gd name="connsiteX2" fmla="*/ 339572 w 694439"/>
              <a:gd name="connsiteY2" fmla="*/ 695524 h 1526139"/>
              <a:gd name="connsiteX3" fmla="*/ 658993 w 694439"/>
              <a:gd name="connsiteY3" fmla="*/ 784475 h 1526139"/>
              <a:gd name="connsiteX4" fmla="*/ 561339 w 694439"/>
              <a:gd name="connsiteY4" fmla="*/ 1503566 h 1526139"/>
              <a:gd name="connsiteX5" fmla="*/ 362954 w 694439"/>
              <a:gd name="connsiteY5" fmla="*/ 1131399 h 1526139"/>
              <a:gd name="connsiteX6" fmla="*/ 7848 w 694439"/>
              <a:gd name="connsiteY6" fmla="*/ 1106972 h 1526139"/>
              <a:gd name="connsiteX0" fmla="*/ 7848 w 696549"/>
              <a:gd name="connsiteY0" fmla="*/ 1106972 h 1526345"/>
              <a:gd name="connsiteX1" fmla="*/ 155867 w 696549"/>
              <a:gd name="connsiteY1" fmla="*/ 9217 h 1526345"/>
              <a:gd name="connsiteX2" fmla="*/ 339572 w 696549"/>
              <a:gd name="connsiteY2" fmla="*/ 695524 h 1526345"/>
              <a:gd name="connsiteX3" fmla="*/ 658993 w 696549"/>
              <a:gd name="connsiteY3" fmla="*/ 784475 h 1526345"/>
              <a:gd name="connsiteX4" fmla="*/ 561339 w 696549"/>
              <a:gd name="connsiteY4" fmla="*/ 1503566 h 1526345"/>
              <a:gd name="connsiteX5" fmla="*/ 362954 w 696549"/>
              <a:gd name="connsiteY5" fmla="*/ 1131399 h 1526345"/>
              <a:gd name="connsiteX6" fmla="*/ 7848 w 696549"/>
              <a:gd name="connsiteY6" fmla="*/ 1106972 h 1526345"/>
              <a:gd name="connsiteX0" fmla="*/ 7848 w 690312"/>
              <a:gd name="connsiteY0" fmla="*/ 1106972 h 1509617"/>
              <a:gd name="connsiteX1" fmla="*/ 155867 w 690312"/>
              <a:gd name="connsiteY1" fmla="*/ 9217 h 1509617"/>
              <a:gd name="connsiteX2" fmla="*/ 339572 w 690312"/>
              <a:gd name="connsiteY2" fmla="*/ 695524 h 1509617"/>
              <a:gd name="connsiteX3" fmla="*/ 663756 w 690312"/>
              <a:gd name="connsiteY3" fmla="*/ 789238 h 1509617"/>
              <a:gd name="connsiteX4" fmla="*/ 561339 w 690312"/>
              <a:gd name="connsiteY4" fmla="*/ 1503566 h 1509617"/>
              <a:gd name="connsiteX5" fmla="*/ 362954 w 690312"/>
              <a:gd name="connsiteY5" fmla="*/ 1131399 h 1509617"/>
              <a:gd name="connsiteX6" fmla="*/ 7848 w 690312"/>
              <a:gd name="connsiteY6" fmla="*/ 1106972 h 1509617"/>
              <a:gd name="connsiteX0" fmla="*/ 7848 w 697927"/>
              <a:gd name="connsiteY0" fmla="*/ 1106972 h 1512103"/>
              <a:gd name="connsiteX1" fmla="*/ 155867 w 697927"/>
              <a:gd name="connsiteY1" fmla="*/ 9217 h 1512103"/>
              <a:gd name="connsiteX2" fmla="*/ 339572 w 697927"/>
              <a:gd name="connsiteY2" fmla="*/ 695524 h 1512103"/>
              <a:gd name="connsiteX3" fmla="*/ 663756 w 697927"/>
              <a:gd name="connsiteY3" fmla="*/ 789238 h 1512103"/>
              <a:gd name="connsiteX4" fmla="*/ 561339 w 697927"/>
              <a:gd name="connsiteY4" fmla="*/ 1503566 h 1512103"/>
              <a:gd name="connsiteX5" fmla="*/ 362954 w 697927"/>
              <a:gd name="connsiteY5" fmla="*/ 1131399 h 1512103"/>
              <a:gd name="connsiteX6" fmla="*/ 7848 w 697927"/>
              <a:gd name="connsiteY6" fmla="*/ 1106972 h 1512103"/>
              <a:gd name="connsiteX0" fmla="*/ 7848 w 678909"/>
              <a:gd name="connsiteY0" fmla="*/ 1106972 h 1513591"/>
              <a:gd name="connsiteX1" fmla="*/ 155867 w 678909"/>
              <a:gd name="connsiteY1" fmla="*/ 9217 h 1513591"/>
              <a:gd name="connsiteX2" fmla="*/ 339572 w 678909"/>
              <a:gd name="connsiteY2" fmla="*/ 695524 h 1513591"/>
              <a:gd name="connsiteX3" fmla="*/ 663756 w 678909"/>
              <a:gd name="connsiteY3" fmla="*/ 789238 h 1513591"/>
              <a:gd name="connsiteX4" fmla="*/ 566102 w 678909"/>
              <a:gd name="connsiteY4" fmla="*/ 1503566 h 1513591"/>
              <a:gd name="connsiteX5" fmla="*/ 362954 w 678909"/>
              <a:gd name="connsiteY5" fmla="*/ 1131399 h 1513591"/>
              <a:gd name="connsiteX6" fmla="*/ 7848 w 678909"/>
              <a:gd name="connsiteY6" fmla="*/ 1106972 h 1513591"/>
              <a:gd name="connsiteX0" fmla="*/ 7848 w 695514"/>
              <a:gd name="connsiteY0" fmla="*/ 1106972 h 1512109"/>
              <a:gd name="connsiteX1" fmla="*/ 155867 w 695514"/>
              <a:gd name="connsiteY1" fmla="*/ 9217 h 1512109"/>
              <a:gd name="connsiteX2" fmla="*/ 339572 w 695514"/>
              <a:gd name="connsiteY2" fmla="*/ 695524 h 1512109"/>
              <a:gd name="connsiteX3" fmla="*/ 663756 w 695514"/>
              <a:gd name="connsiteY3" fmla="*/ 789238 h 1512109"/>
              <a:gd name="connsiteX4" fmla="*/ 566102 w 695514"/>
              <a:gd name="connsiteY4" fmla="*/ 1503566 h 1512109"/>
              <a:gd name="connsiteX5" fmla="*/ 362954 w 695514"/>
              <a:gd name="connsiteY5" fmla="*/ 1131399 h 1512109"/>
              <a:gd name="connsiteX6" fmla="*/ 7848 w 695514"/>
              <a:gd name="connsiteY6" fmla="*/ 1106972 h 1512109"/>
              <a:gd name="connsiteX0" fmla="*/ 7848 w 692055"/>
              <a:gd name="connsiteY0" fmla="*/ 1106972 h 1509470"/>
              <a:gd name="connsiteX1" fmla="*/ 155867 w 692055"/>
              <a:gd name="connsiteY1" fmla="*/ 9217 h 1509470"/>
              <a:gd name="connsiteX2" fmla="*/ 339572 w 692055"/>
              <a:gd name="connsiteY2" fmla="*/ 695524 h 1509470"/>
              <a:gd name="connsiteX3" fmla="*/ 668518 w 692055"/>
              <a:gd name="connsiteY3" fmla="*/ 794001 h 1509470"/>
              <a:gd name="connsiteX4" fmla="*/ 566102 w 692055"/>
              <a:gd name="connsiteY4" fmla="*/ 1503566 h 1509470"/>
              <a:gd name="connsiteX5" fmla="*/ 362954 w 692055"/>
              <a:gd name="connsiteY5" fmla="*/ 1131399 h 1509470"/>
              <a:gd name="connsiteX6" fmla="*/ 7848 w 692055"/>
              <a:gd name="connsiteY6" fmla="*/ 1106972 h 150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055" h="1509470">
                <a:moveTo>
                  <a:pt x="7848" y="1106972"/>
                </a:moveTo>
                <a:cubicBezTo>
                  <a:pt x="-25670" y="918946"/>
                  <a:pt x="52768" y="-107479"/>
                  <a:pt x="155867" y="9217"/>
                </a:cubicBezTo>
                <a:cubicBezTo>
                  <a:pt x="258966" y="125913"/>
                  <a:pt x="254130" y="564727"/>
                  <a:pt x="339572" y="695524"/>
                </a:cubicBezTo>
                <a:cubicBezTo>
                  <a:pt x="425014" y="826321"/>
                  <a:pt x="592663" y="792677"/>
                  <a:pt x="668518" y="794001"/>
                </a:cubicBezTo>
                <a:cubicBezTo>
                  <a:pt x="744373" y="795325"/>
                  <a:pt x="617029" y="1447333"/>
                  <a:pt x="566102" y="1503566"/>
                </a:cubicBezTo>
                <a:cubicBezTo>
                  <a:pt x="515175" y="1559799"/>
                  <a:pt x="455996" y="1197498"/>
                  <a:pt x="362954" y="1131399"/>
                </a:cubicBezTo>
                <a:cubicBezTo>
                  <a:pt x="269912" y="1065300"/>
                  <a:pt x="75339" y="1111556"/>
                  <a:pt x="7848" y="1106972"/>
                </a:cubicBezTo>
                <a:close/>
              </a:path>
            </a:pathLst>
          </a:custGeom>
          <a:solidFill>
            <a:srgbClr val="E0E1E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40" name="Rectangle: Rounded Corners 39"/>
          <p:cNvSpPr/>
          <p:nvPr/>
        </p:nvSpPr>
        <p:spPr bwMode="auto">
          <a:xfrm>
            <a:off x="5918647" y="3270315"/>
            <a:ext cx="3159089" cy="76723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2" name="Title 1"/>
          <p:cNvSpPr>
            <a:spLocks noGrp="1"/>
          </p:cNvSpPr>
          <p:nvPr>
            <p:ph type="title"/>
          </p:nvPr>
        </p:nvSpPr>
        <p:spPr/>
        <p:txBody>
          <a:bodyPr/>
          <a:lstStyle/>
          <a:p>
            <a:r>
              <a:rPr lang="en-US" dirty="0"/>
              <a:t>3PP OPENSTACK</a:t>
            </a:r>
          </a:p>
        </p:txBody>
      </p:sp>
      <p:sp>
        <p:nvSpPr>
          <p:cNvPr id="5" name="Rectangle: Rounded Corners 4"/>
          <p:cNvSpPr/>
          <p:nvPr/>
        </p:nvSpPr>
        <p:spPr bwMode="auto">
          <a:xfrm>
            <a:off x="1660158" y="4217581"/>
            <a:ext cx="7417578" cy="1758136"/>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6" name="Straight Connector 5"/>
          <p:cNvCxnSpPr>
            <a:stCxn id="35" idx="3"/>
            <a:endCxn id="18" idx="1"/>
          </p:cNvCxnSpPr>
          <p:nvPr/>
        </p:nvCxnSpPr>
        <p:spPr bwMode="auto">
          <a:xfrm flipV="1">
            <a:off x="5424696" y="3646421"/>
            <a:ext cx="585324" cy="30470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7" name="Straight Connector 6"/>
          <p:cNvCxnSpPr>
            <a:cxnSpLocks/>
            <a:stCxn id="14" idx="3"/>
            <a:endCxn id="19" idx="1"/>
          </p:cNvCxnSpPr>
          <p:nvPr/>
        </p:nvCxnSpPr>
        <p:spPr bwMode="auto">
          <a:xfrm flipV="1">
            <a:off x="5481470" y="5189495"/>
            <a:ext cx="528550" cy="9624"/>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 name="Rectangle: Rounded Corners 7"/>
          <p:cNvSpPr/>
          <p:nvPr/>
        </p:nvSpPr>
        <p:spPr bwMode="auto">
          <a:xfrm>
            <a:off x="1952273" y="4582785"/>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Compute</a:t>
            </a:r>
          </a:p>
        </p:txBody>
      </p:sp>
      <p:sp>
        <p:nvSpPr>
          <p:cNvPr id="9" name="Rectangle: Rounded Corners 8"/>
          <p:cNvSpPr/>
          <p:nvPr/>
        </p:nvSpPr>
        <p:spPr bwMode="auto">
          <a:xfrm>
            <a:off x="3233899" y="458195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Storage</a:t>
            </a:r>
          </a:p>
        </p:txBody>
      </p:sp>
      <p:sp>
        <p:nvSpPr>
          <p:cNvPr id="10" name="Rectangle: Rounded Corners 9"/>
          <p:cNvSpPr/>
          <p:nvPr/>
        </p:nvSpPr>
        <p:spPr bwMode="auto">
          <a:xfrm>
            <a:off x="4536790" y="4581951"/>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Network</a:t>
            </a:r>
          </a:p>
        </p:txBody>
      </p:sp>
      <p:sp>
        <p:nvSpPr>
          <p:cNvPr id="11" name="Rectangle: Rounded Corners 10"/>
          <p:cNvSpPr/>
          <p:nvPr/>
        </p:nvSpPr>
        <p:spPr bwMode="auto">
          <a:xfrm>
            <a:off x="3244239" y="538383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a:t>
            </a:r>
          </a:p>
          <a:p>
            <a:pPr algn="ctr">
              <a:spcBef>
                <a:spcPts val="0"/>
              </a:spcBef>
            </a:pPr>
            <a:r>
              <a:rPr lang="en-US" sz="1000" dirty="0">
                <a:solidFill>
                  <a:schemeClr val="bg1"/>
                </a:solidFill>
              </a:rPr>
              <a:t>Storage</a:t>
            </a:r>
          </a:p>
        </p:txBody>
      </p:sp>
      <p:sp>
        <p:nvSpPr>
          <p:cNvPr id="12" name="Rectangle: Rounded Corners 11"/>
          <p:cNvSpPr/>
          <p:nvPr/>
        </p:nvSpPr>
        <p:spPr bwMode="auto">
          <a:xfrm>
            <a:off x="4536790" y="5383831"/>
            <a:ext cx="94468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Network</a:t>
            </a:r>
          </a:p>
        </p:txBody>
      </p:sp>
      <p:sp>
        <p:nvSpPr>
          <p:cNvPr id="13" name="Rectangle: Rounded Corners 12"/>
          <p:cNvSpPr/>
          <p:nvPr/>
        </p:nvSpPr>
        <p:spPr bwMode="auto">
          <a:xfrm>
            <a:off x="1952273" y="5380940"/>
            <a:ext cx="923415"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Compute</a:t>
            </a:r>
          </a:p>
        </p:txBody>
      </p:sp>
      <p:sp>
        <p:nvSpPr>
          <p:cNvPr id="14" name="Rectangle: Rounded Corners 13"/>
          <p:cNvSpPr/>
          <p:nvPr/>
        </p:nvSpPr>
        <p:spPr bwMode="auto">
          <a:xfrm>
            <a:off x="1952273" y="5092297"/>
            <a:ext cx="3529197" cy="213643"/>
          </a:xfrm>
          <a:prstGeom prst="roundRect">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rtualization Layer</a:t>
            </a:r>
          </a:p>
        </p:txBody>
      </p:sp>
      <p:sp>
        <p:nvSpPr>
          <p:cNvPr id="15" name="Rectangle: Rounded Corners 14"/>
          <p:cNvSpPr/>
          <p:nvPr/>
        </p:nvSpPr>
        <p:spPr bwMode="auto">
          <a:xfrm>
            <a:off x="1723965" y="4255826"/>
            <a:ext cx="3980715" cy="1698469"/>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TextBox 30"/>
          <p:cNvSpPr txBox="1"/>
          <p:nvPr/>
        </p:nvSpPr>
        <p:spPr>
          <a:xfrm>
            <a:off x="2561147" y="4240289"/>
            <a:ext cx="2525050" cy="33855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sz="1600" dirty="0"/>
              <a:t>NFVI (NFV Infrastructure)</a:t>
            </a:r>
          </a:p>
        </p:txBody>
      </p:sp>
      <p:sp>
        <p:nvSpPr>
          <p:cNvPr id="17" name="Rectangle: Rounded Corners 16"/>
          <p:cNvSpPr/>
          <p:nvPr/>
        </p:nvSpPr>
        <p:spPr bwMode="auto">
          <a:xfrm>
            <a:off x="5850021" y="1654142"/>
            <a:ext cx="1974504" cy="4300153"/>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Rectangle: Rounded Corners 17"/>
          <p:cNvSpPr/>
          <p:nvPr/>
        </p:nvSpPr>
        <p:spPr bwMode="auto">
          <a:xfrm>
            <a:off x="6010020" y="3369047"/>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M</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 Manager)</a:t>
            </a:r>
          </a:p>
        </p:txBody>
      </p:sp>
      <p:sp>
        <p:nvSpPr>
          <p:cNvPr id="19" name="Rectangle: Rounded Corners 18"/>
          <p:cNvSpPr/>
          <p:nvPr/>
        </p:nvSpPr>
        <p:spPr bwMode="auto">
          <a:xfrm>
            <a:off x="6010020" y="4597227"/>
            <a:ext cx="1478422" cy="1184535"/>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M</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a:t>
            </a:r>
            <a:r>
              <a:rPr kumimoji="0" lang="en-US" sz="1200" b="0" i="0" u="none" strike="noStrike" cap="none" normalizeH="0" baseline="0" dirty="0">
                <a:ln>
                  <a:noFill/>
                </a:ln>
                <a:solidFill>
                  <a:schemeClr val="bg1"/>
                </a:solidFill>
                <a:effectLst/>
                <a:latin typeface="Arial" charset="0"/>
              </a:rPr>
              <a:t>Virtual</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Infrastructure</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Manager)</a:t>
            </a:r>
          </a:p>
        </p:txBody>
      </p:sp>
      <p:sp>
        <p:nvSpPr>
          <p:cNvPr id="20" name="Rectangle: Rounded Corners 19"/>
          <p:cNvSpPr/>
          <p:nvPr/>
        </p:nvSpPr>
        <p:spPr bwMode="auto">
          <a:xfrm>
            <a:off x="6010020" y="2522776"/>
            <a:ext cx="1478422" cy="554748"/>
          </a:xfrm>
          <a:prstGeom prst="roundRect">
            <a:avLst/>
          </a:prstGeom>
          <a:solidFill>
            <a:srgbClr val="8F3F7B">
              <a:alpha val="20000"/>
            </a:srgb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effectLst/>
                <a:latin typeface="Arial" charset="0"/>
              </a:rPr>
              <a:t>NFVO</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t>(NFV Orchestrator)</a:t>
            </a:r>
            <a:endParaRPr kumimoji="0" lang="en-US" sz="1200" b="0" i="0" u="none" strike="noStrike" cap="none" normalizeH="0" baseline="0" dirty="0">
              <a:ln>
                <a:noFill/>
              </a:ln>
              <a:effectLst/>
            </a:endParaRPr>
          </a:p>
        </p:txBody>
      </p:sp>
      <p:cxnSp>
        <p:nvCxnSpPr>
          <p:cNvPr id="21" name="Straight Connector 20"/>
          <p:cNvCxnSpPr>
            <a:stCxn id="20" idx="3"/>
            <a:endCxn id="20" idx="3"/>
          </p:cNvCxnSpPr>
          <p:nvPr/>
        </p:nvCxnSpPr>
        <p:spPr bwMode="auto">
          <a:xfrm>
            <a:off x="7488442" y="2800150"/>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Connector: Elbow 21"/>
          <p:cNvCxnSpPr>
            <a:cxnSpLocks/>
            <a:stCxn id="20" idx="3"/>
            <a:endCxn id="19" idx="3"/>
          </p:cNvCxnSpPr>
          <p:nvPr/>
        </p:nvCxnSpPr>
        <p:spPr bwMode="auto">
          <a:xfrm>
            <a:off x="7488442" y="2800150"/>
            <a:ext cx="12700" cy="2389345"/>
          </a:xfrm>
          <a:prstGeom prst="bentConnector3">
            <a:avLst>
              <a:gd name="adj1" fmla="val 1800000"/>
            </a:avLst>
          </a:prstGeom>
          <a:solidFill>
            <a:schemeClr val="accent1"/>
          </a:solidFill>
          <a:ln w="19050" cap="flat" cmpd="sng" algn="ctr">
            <a:solidFill>
              <a:schemeClr val="tx1"/>
            </a:solidFill>
            <a:prstDash val="solid"/>
            <a:round/>
            <a:headEnd type="none" w="med" len="med"/>
            <a:tailEnd type="none" w="med" len="med"/>
          </a:ln>
          <a:effectLst/>
        </p:spPr>
      </p:cxnSp>
      <p:cxnSp>
        <p:nvCxnSpPr>
          <p:cNvPr id="23" name="Straight Connector 22"/>
          <p:cNvCxnSpPr>
            <a:cxnSpLocks/>
            <a:stCxn id="20" idx="2"/>
            <a:endCxn id="18" idx="0"/>
          </p:cNvCxnSpPr>
          <p:nvPr/>
        </p:nvCxnSpPr>
        <p:spPr bwMode="auto">
          <a:xfrm>
            <a:off x="6749231" y="3077524"/>
            <a:ext cx="0" cy="29152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24" name="Straight Connector 23"/>
          <p:cNvCxnSpPr>
            <a:cxnSpLocks/>
            <a:stCxn id="18" idx="2"/>
            <a:endCxn id="19" idx="0"/>
          </p:cNvCxnSpPr>
          <p:nvPr/>
        </p:nvCxnSpPr>
        <p:spPr bwMode="auto">
          <a:xfrm>
            <a:off x="6749231" y="3923795"/>
            <a:ext cx="0" cy="67343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5" name="TextBox 47"/>
          <p:cNvSpPr txBox="1"/>
          <p:nvPr/>
        </p:nvSpPr>
        <p:spPr>
          <a:xfrm>
            <a:off x="5851991" y="1722430"/>
            <a:ext cx="1837923" cy="769441"/>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dirty="0"/>
              <a:t>NFV MANO </a:t>
            </a:r>
          </a:p>
          <a:p>
            <a:pPr algn="ctr">
              <a:spcBef>
                <a:spcPts val="0"/>
              </a:spcBef>
            </a:pPr>
            <a:r>
              <a:rPr lang="en-US" sz="1200" dirty="0"/>
              <a:t>(Management and Orchestration)</a:t>
            </a:r>
          </a:p>
        </p:txBody>
      </p:sp>
      <p:cxnSp>
        <p:nvCxnSpPr>
          <p:cNvPr id="26" name="Connector: Elbow 25"/>
          <p:cNvCxnSpPr>
            <a:cxnSpLocks/>
            <a:endCxn id="20" idx="1"/>
          </p:cNvCxnSpPr>
          <p:nvPr/>
        </p:nvCxnSpPr>
        <p:spPr bwMode="auto">
          <a:xfrm>
            <a:off x="5424696" y="2018283"/>
            <a:ext cx="585324" cy="781867"/>
          </a:xfrm>
          <a:prstGeom prst="bentConnector3">
            <a:avLst>
              <a:gd name="adj1" fmla="val 50000"/>
            </a:avLst>
          </a:prstGeom>
          <a:solidFill>
            <a:schemeClr val="accent1"/>
          </a:solidFill>
          <a:ln w="19050" cap="flat" cmpd="sng" algn="ctr">
            <a:solidFill>
              <a:schemeClr val="tx1"/>
            </a:solidFill>
            <a:prstDash val="solid"/>
            <a:round/>
            <a:headEnd type="none" w="med" len="med"/>
            <a:tailEnd type="none" w="med" len="med"/>
          </a:ln>
          <a:effectLst/>
        </p:spPr>
      </p:cxnSp>
      <p:sp>
        <p:nvSpPr>
          <p:cNvPr id="27" name="TextBox 37"/>
          <p:cNvSpPr txBox="1"/>
          <p:nvPr/>
        </p:nvSpPr>
        <p:spPr>
          <a:xfrm>
            <a:off x="7505997" y="4582785"/>
            <a:ext cx="1576595" cy="1015663"/>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OpenStack-based cloud</a:t>
            </a:r>
            <a:endParaRPr lang="en-US" sz="1200" b="1" dirty="0"/>
          </a:p>
        </p:txBody>
      </p:sp>
      <p:sp>
        <p:nvSpPr>
          <p:cNvPr id="28" name="TextBox 42"/>
          <p:cNvSpPr txBox="1"/>
          <p:nvPr/>
        </p:nvSpPr>
        <p:spPr>
          <a:xfrm>
            <a:off x="7648441" y="3373144"/>
            <a:ext cx="1429295" cy="707886"/>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ENM</a:t>
            </a:r>
            <a:br>
              <a:rPr lang="en-US" b="1" dirty="0"/>
            </a:br>
            <a:r>
              <a:rPr lang="en-US" b="1" dirty="0"/>
              <a:t>VNF-LCM</a:t>
            </a:r>
            <a:endParaRPr lang="en-US" sz="1200" b="1" dirty="0"/>
          </a:p>
        </p:txBody>
      </p:sp>
      <p:sp>
        <p:nvSpPr>
          <p:cNvPr id="29" name="Speech Bubble: Rectangle with Corners Rounded 28"/>
          <p:cNvSpPr/>
          <p:nvPr/>
        </p:nvSpPr>
        <p:spPr bwMode="auto">
          <a:xfrm>
            <a:off x="7821803" y="2451622"/>
            <a:ext cx="3097988" cy="514554"/>
          </a:xfrm>
          <a:prstGeom prst="wedgeRoundRectCallout">
            <a:avLst>
              <a:gd name="adj1" fmla="val -59182"/>
              <a:gd name="adj2" fmla="val 34702"/>
              <a:gd name="adj3" fmla="val 16667"/>
            </a:avLst>
          </a:prstGeom>
          <a:solidFill>
            <a:srgbClr val="F9FFAB"/>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r>
              <a:rPr lang="en-US" sz="1800" dirty="0"/>
              <a:t>3PP </a:t>
            </a:r>
            <a:r>
              <a:rPr kumimoji="0" lang="en-US" sz="1800" b="0" i="0" u="none" strike="noStrike" cap="none" normalizeH="0" baseline="0" dirty="0">
                <a:ln>
                  <a:noFill/>
                </a:ln>
                <a:solidFill>
                  <a:schemeClr val="tx1"/>
                </a:solidFill>
                <a:effectLst/>
              </a:rPr>
              <a:t>NFVO requires SI</a:t>
            </a:r>
          </a:p>
        </p:txBody>
      </p:sp>
      <p:sp>
        <p:nvSpPr>
          <p:cNvPr id="30" name="Rectangle: Rounded Corners 29"/>
          <p:cNvSpPr/>
          <p:nvPr/>
        </p:nvSpPr>
        <p:spPr bwMode="auto">
          <a:xfrm>
            <a:off x="1660157" y="2404212"/>
            <a:ext cx="3936275" cy="118772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31" name="Straight Connector 30"/>
          <p:cNvCxnSpPr>
            <a:cxnSpLocks/>
            <a:stCxn id="33" idx="2"/>
            <a:endCxn id="34" idx="0"/>
          </p:cNvCxnSpPr>
          <p:nvPr/>
        </p:nvCxnSpPr>
        <p:spPr bwMode="auto">
          <a:xfrm>
            <a:off x="3683274" y="2243570"/>
            <a:ext cx="0" cy="753429"/>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32" name="Straight Connector 31"/>
          <p:cNvCxnSpPr>
            <a:cxnSpLocks/>
            <a:stCxn id="35" idx="0"/>
            <a:endCxn id="34" idx="2"/>
          </p:cNvCxnSpPr>
          <p:nvPr/>
        </p:nvCxnSpPr>
        <p:spPr bwMode="auto">
          <a:xfrm flipV="1">
            <a:off x="3683274" y="3477196"/>
            <a:ext cx="0" cy="26824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3" name="Rectangle: Rounded Corners 32"/>
          <p:cNvSpPr/>
          <p:nvPr/>
        </p:nvSpPr>
        <p:spPr bwMode="auto">
          <a:xfrm>
            <a:off x="1941852" y="1792996"/>
            <a:ext cx="3482844" cy="450574"/>
          </a:xfrm>
          <a:prstGeom prst="roundRect">
            <a:avLst/>
          </a:prstGeom>
          <a:solidFill>
            <a:srgbClr val="F08A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OSS/BSS</a:t>
            </a:r>
          </a:p>
        </p:txBody>
      </p:sp>
      <p:sp>
        <p:nvSpPr>
          <p:cNvPr id="34" name="Rectangle: Rounded Corners 33"/>
          <p:cNvSpPr/>
          <p:nvPr/>
        </p:nvSpPr>
        <p:spPr bwMode="auto">
          <a:xfrm>
            <a:off x="1941852" y="2996999"/>
            <a:ext cx="3482844" cy="480197"/>
          </a:xfrm>
          <a:prstGeom prst="roundRect">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EM (Element Manager)</a:t>
            </a:r>
          </a:p>
        </p:txBody>
      </p:sp>
      <p:sp>
        <p:nvSpPr>
          <p:cNvPr id="35" name="Rectangle: Rounded Corners 34"/>
          <p:cNvSpPr/>
          <p:nvPr/>
        </p:nvSpPr>
        <p:spPr bwMode="auto">
          <a:xfrm>
            <a:off x="1941852" y="3745438"/>
            <a:ext cx="3482844" cy="41137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en-US" sz="1600" dirty="0">
                <a:solidFill>
                  <a:schemeClr val="bg1"/>
                </a:solidFill>
              </a:rPr>
              <a:t>VNF (Virtual Network Function)</a:t>
            </a:r>
          </a:p>
        </p:txBody>
      </p:sp>
      <p:sp>
        <p:nvSpPr>
          <p:cNvPr id="36" name="TextBox 35"/>
          <p:cNvSpPr txBox="1"/>
          <p:nvPr/>
        </p:nvSpPr>
        <p:spPr>
          <a:xfrm>
            <a:off x="1801906" y="2479586"/>
            <a:ext cx="3622790" cy="400110"/>
          </a:xfrm>
          <a:prstGeom prst="rect">
            <a:avLst/>
          </a:prstGeom>
          <a:solidFill>
            <a:schemeClr val="bg2">
              <a:lumMod val="40000"/>
              <a:lumOff val="60000"/>
            </a:schemeClr>
          </a:solid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OSS-RC/ENM</a:t>
            </a:r>
            <a:endParaRPr lang="en-US" sz="1200" b="1" dirty="0"/>
          </a:p>
        </p:txBody>
      </p:sp>
      <p:cxnSp>
        <p:nvCxnSpPr>
          <p:cNvPr id="37" name="Straight Connector 36"/>
          <p:cNvCxnSpPr>
            <a:cxnSpLocks/>
            <a:stCxn id="34" idx="3"/>
            <a:endCxn id="18" idx="1"/>
          </p:cNvCxnSpPr>
          <p:nvPr/>
        </p:nvCxnSpPr>
        <p:spPr bwMode="auto">
          <a:xfrm>
            <a:off x="5424696" y="3237098"/>
            <a:ext cx="585324" cy="409323"/>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8" name="TextBox 37"/>
          <p:cNvSpPr txBox="1"/>
          <p:nvPr/>
        </p:nvSpPr>
        <p:spPr>
          <a:xfrm>
            <a:off x="9387566" y="3144996"/>
            <a:ext cx="2321469" cy="861774"/>
          </a:xfrm>
          <a:prstGeom prst="rect">
            <a:avLst/>
          </a:prstGeom>
          <a:noFill/>
        </p:spPr>
        <p:txBody>
          <a:bodyPr wrap="none" rtlCol="0">
            <a:spAutoFit/>
          </a:bodyPr>
          <a:lstStyle/>
          <a:p>
            <a:r>
              <a:rPr lang="en-US" dirty="0"/>
              <a:t>Ericsson Products:</a:t>
            </a:r>
          </a:p>
          <a:p>
            <a:pPr marL="342900" indent="-342900">
              <a:buFont typeface="Arial" panose="020B0604020202020204" pitchFamily="34" charset="0"/>
              <a:buChar char="•"/>
            </a:pPr>
            <a:r>
              <a:rPr lang="en-US" dirty="0"/>
              <a:t>OSS-RC/ENM</a:t>
            </a:r>
          </a:p>
        </p:txBody>
      </p:sp>
    </p:spTree>
    <p:custDataLst>
      <p:tags r:id="rId1"/>
    </p:custDataLst>
    <p:extLst>
      <p:ext uri="{BB962C8B-B14F-4D97-AF65-F5344CB8AC3E}">
        <p14:creationId xmlns:p14="http://schemas.microsoft.com/office/powerpoint/2010/main" val="17199488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Shape 34"/>
          <p:cNvSpPr/>
          <p:nvPr/>
        </p:nvSpPr>
        <p:spPr bwMode="auto">
          <a:xfrm>
            <a:off x="5400991" y="2477744"/>
            <a:ext cx="692055" cy="1509470"/>
          </a:xfrm>
          <a:custGeom>
            <a:avLst/>
            <a:gdLst>
              <a:gd name="connsiteX0" fmla="*/ 115600 w 870783"/>
              <a:gd name="connsiteY0" fmla="*/ 83055 h 1797612"/>
              <a:gd name="connsiteX1" fmla="*/ 186622 w 870783"/>
              <a:gd name="connsiteY1" fmla="*/ 109688 h 1797612"/>
              <a:gd name="connsiteX2" fmla="*/ 239888 w 870783"/>
              <a:gd name="connsiteY2" fmla="*/ 162954 h 1797612"/>
              <a:gd name="connsiteX3" fmla="*/ 275398 w 870783"/>
              <a:gd name="connsiteY3" fmla="*/ 225097 h 1797612"/>
              <a:gd name="connsiteX4" fmla="*/ 293154 w 870783"/>
              <a:gd name="connsiteY4" fmla="*/ 287241 h 1797612"/>
              <a:gd name="connsiteX5" fmla="*/ 399686 w 870783"/>
              <a:gd name="connsiteY5" fmla="*/ 873167 h 1797612"/>
              <a:gd name="connsiteX6" fmla="*/ 737037 w 870783"/>
              <a:gd name="connsiteY6" fmla="*/ 944189 h 1797612"/>
              <a:gd name="connsiteX7" fmla="*/ 870202 w 870783"/>
              <a:gd name="connsiteY7" fmla="*/ 944189 h 1797612"/>
              <a:gd name="connsiteX8" fmla="*/ 781426 w 870783"/>
              <a:gd name="connsiteY8" fmla="*/ 1725423 h 1797612"/>
              <a:gd name="connsiteX9" fmla="*/ 683771 w 870783"/>
              <a:gd name="connsiteY9" fmla="*/ 1707668 h 1797612"/>
              <a:gd name="connsiteX10" fmla="*/ 488462 w 870783"/>
              <a:gd name="connsiteY10" fmla="*/ 1237152 h 1797612"/>
              <a:gd name="connsiteX11" fmla="*/ 168866 w 870783"/>
              <a:gd name="connsiteY11" fmla="*/ 1254907 h 1797612"/>
              <a:gd name="connsiteX12" fmla="*/ 97845 w 870783"/>
              <a:gd name="connsiteY12" fmla="*/ 1272662 h 1797612"/>
              <a:gd name="connsiteX13" fmla="*/ 191 w 870783"/>
              <a:gd name="connsiteY13" fmla="*/ 1281540 h 1797612"/>
              <a:gd name="connsiteX14" fmla="*/ 115600 w 870783"/>
              <a:gd name="connsiteY14" fmla="*/ 83055 h 1797612"/>
              <a:gd name="connsiteX0" fmla="*/ 115600 w 870783"/>
              <a:gd name="connsiteY0" fmla="*/ 83055 h 1798495"/>
              <a:gd name="connsiteX1" fmla="*/ 186622 w 870783"/>
              <a:gd name="connsiteY1" fmla="*/ 109688 h 1798495"/>
              <a:gd name="connsiteX2" fmla="*/ 239888 w 870783"/>
              <a:gd name="connsiteY2" fmla="*/ 162954 h 1798495"/>
              <a:gd name="connsiteX3" fmla="*/ 275398 w 870783"/>
              <a:gd name="connsiteY3" fmla="*/ 225097 h 1798495"/>
              <a:gd name="connsiteX4" fmla="*/ 293154 w 870783"/>
              <a:gd name="connsiteY4" fmla="*/ 287241 h 1798495"/>
              <a:gd name="connsiteX5" fmla="*/ 399686 w 870783"/>
              <a:gd name="connsiteY5" fmla="*/ 873167 h 1798495"/>
              <a:gd name="connsiteX6" fmla="*/ 737037 w 870783"/>
              <a:gd name="connsiteY6" fmla="*/ 944189 h 1798495"/>
              <a:gd name="connsiteX7" fmla="*/ 870202 w 870783"/>
              <a:gd name="connsiteY7" fmla="*/ 944189 h 1798495"/>
              <a:gd name="connsiteX8" fmla="*/ 781426 w 870783"/>
              <a:gd name="connsiteY8" fmla="*/ 1725423 h 1798495"/>
              <a:gd name="connsiteX9" fmla="*/ 683771 w 870783"/>
              <a:gd name="connsiteY9" fmla="*/ 1707668 h 1798495"/>
              <a:gd name="connsiteX10" fmla="*/ 452951 w 870783"/>
              <a:gd name="connsiteY10" fmla="*/ 1219396 h 1798495"/>
              <a:gd name="connsiteX11" fmla="*/ 168866 w 870783"/>
              <a:gd name="connsiteY11" fmla="*/ 1254907 h 1798495"/>
              <a:gd name="connsiteX12" fmla="*/ 97845 w 870783"/>
              <a:gd name="connsiteY12" fmla="*/ 1272662 h 1798495"/>
              <a:gd name="connsiteX13" fmla="*/ 191 w 870783"/>
              <a:gd name="connsiteY13" fmla="*/ 1281540 h 1798495"/>
              <a:gd name="connsiteX14" fmla="*/ 115600 w 870783"/>
              <a:gd name="connsiteY14" fmla="*/ 83055 h 1798495"/>
              <a:gd name="connsiteX0" fmla="*/ 115600 w 870848"/>
              <a:gd name="connsiteY0" fmla="*/ 83055 h 1781320"/>
              <a:gd name="connsiteX1" fmla="*/ 186622 w 870848"/>
              <a:gd name="connsiteY1" fmla="*/ 109688 h 1781320"/>
              <a:gd name="connsiteX2" fmla="*/ 239888 w 870848"/>
              <a:gd name="connsiteY2" fmla="*/ 162954 h 1781320"/>
              <a:gd name="connsiteX3" fmla="*/ 275398 w 870848"/>
              <a:gd name="connsiteY3" fmla="*/ 225097 h 1781320"/>
              <a:gd name="connsiteX4" fmla="*/ 293154 w 870848"/>
              <a:gd name="connsiteY4" fmla="*/ 287241 h 1781320"/>
              <a:gd name="connsiteX5" fmla="*/ 399686 w 870848"/>
              <a:gd name="connsiteY5" fmla="*/ 873167 h 1781320"/>
              <a:gd name="connsiteX6" fmla="*/ 737037 w 870848"/>
              <a:gd name="connsiteY6" fmla="*/ 944189 h 1781320"/>
              <a:gd name="connsiteX7" fmla="*/ 870202 w 870848"/>
              <a:gd name="connsiteY7" fmla="*/ 944189 h 1781320"/>
              <a:gd name="connsiteX8" fmla="*/ 781426 w 870848"/>
              <a:gd name="connsiteY8" fmla="*/ 1725423 h 1781320"/>
              <a:gd name="connsiteX9" fmla="*/ 639383 w 870848"/>
              <a:gd name="connsiteY9" fmla="*/ 1663280 h 1781320"/>
              <a:gd name="connsiteX10" fmla="*/ 452951 w 870848"/>
              <a:gd name="connsiteY10" fmla="*/ 1219396 h 1781320"/>
              <a:gd name="connsiteX11" fmla="*/ 168866 w 870848"/>
              <a:gd name="connsiteY11" fmla="*/ 1254907 h 1781320"/>
              <a:gd name="connsiteX12" fmla="*/ 97845 w 870848"/>
              <a:gd name="connsiteY12" fmla="*/ 1272662 h 1781320"/>
              <a:gd name="connsiteX13" fmla="*/ 191 w 870848"/>
              <a:gd name="connsiteY13" fmla="*/ 1281540 h 1781320"/>
              <a:gd name="connsiteX14" fmla="*/ 115600 w 870848"/>
              <a:gd name="connsiteY14" fmla="*/ 83055 h 1781320"/>
              <a:gd name="connsiteX0" fmla="*/ 121416 w 876664"/>
              <a:gd name="connsiteY0" fmla="*/ 601 h 1698866"/>
              <a:gd name="connsiteX1" fmla="*/ 192438 w 876664"/>
              <a:gd name="connsiteY1" fmla="*/ 27234 h 1698866"/>
              <a:gd name="connsiteX2" fmla="*/ 245704 w 876664"/>
              <a:gd name="connsiteY2" fmla="*/ 80500 h 1698866"/>
              <a:gd name="connsiteX3" fmla="*/ 281214 w 876664"/>
              <a:gd name="connsiteY3" fmla="*/ 142643 h 1698866"/>
              <a:gd name="connsiteX4" fmla="*/ 298970 w 876664"/>
              <a:gd name="connsiteY4" fmla="*/ 204787 h 1698866"/>
              <a:gd name="connsiteX5" fmla="*/ 405502 w 876664"/>
              <a:gd name="connsiteY5" fmla="*/ 790713 h 1698866"/>
              <a:gd name="connsiteX6" fmla="*/ 742853 w 876664"/>
              <a:gd name="connsiteY6" fmla="*/ 861735 h 1698866"/>
              <a:gd name="connsiteX7" fmla="*/ 876018 w 876664"/>
              <a:gd name="connsiteY7" fmla="*/ 861735 h 1698866"/>
              <a:gd name="connsiteX8" fmla="*/ 787242 w 876664"/>
              <a:gd name="connsiteY8" fmla="*/ 1642969 h 1698866"/>
              <a:gd name="connsiteX9" fmla="*/ 645199 w 876664"/>
              <a:gd name="connsiteY9" fmla="*/ 1580826 h 1698866"/>
              <a:gd name="connsiteX10" fmla="*/ 458767 w 876664"/>
              <a:gd name="connsiteY10" fmla="*/ 1136942 h 1698866"/>
              <a:gd name="connsiteX11" fmla="*/ 174682 w 876664"/>
              <a:gd name="connsiteY11" fmla="*/ 1172453 h 1698866"/>
              <a:gd name="connsiteX12" fmla="*/ 103661 w 876664"/>
              <a:gd name="connsiteY12" fmla="*/ 1190208 h 1698866"/>
              <a:gd name="connsiteX13" fmla="*/ 6007 w 876664"/>
              <a:gd name="connsiteY13" fmla="*/ 1199086 h 1698866"/>
              <a:gd name="connsiteX14" fmla="*/ 121416 w 876664"/>
              <a:gd name="connsiteY14" fmla="*/ 601 h 1698866"/>
              <a:gd name="connsiteX0" fmla="*/ 219316 w 974564"/>
              <a:gd name="connsiteY0" fmla="*/ 601 h 1698866"/>
              <a:gd name="connsiteX1" fmla="*/ 290338 w 974564"/>
              <a:gd name="connsiteY1" fmla="*/ 27234 h 1698866"/>
              <a:gd name="connsiteX2" fmla="*/ 343604 w 974564"/>
              <a:gd name="connsiteY2" fmla="*/ 80500 h 1698866"/>
              <a:gd name="connsiteX3" fmla="*/ 379114 w 974564"/>
              <a:gd name="connsiteY3" fmla="*/ 142643 h 1698866"/>
              <a:gd name="connsiteX4" fmla="*/ 396870 w 974564"/>
              <a:gd name="connsiteY4" fmla="*/ 204787 h 1698866"/>
              <a:gd name="connsiteX5" fmla="*/ 503402 w 974564"/>
              <a:gd name="connsiteY5" fmla="*/ 790713 h 1698866"/>
              <a:gd name="connsiteX6" fmla="*/ 840753 w 974564"/>
              <a:gd name="connsiteY6" fmla="*/ 861735 h 1698866"/>
              <a:gd name="connsiteX7" fmla="*/ 973918 w 974564"/>
              <a:gd name="connsiteY7" fmla="*/ 861735 h 1698866"/>
              <a:gd name="connsiteX8" fmla="*/ 885142 w 974564"/>
              <a:gd name="connsiteY8" fmla="*/ 1642969 h 1698866"/>
              <a:gd name="connsiteX9" fmla="*/ 743099 w 974564"/>
              <a:gd name="connsiteY9" fmla="*/ 1580826 h 1698866"/>
              <a:gd name="connsiteX10" fmla="*/ 556667 w 974564"/>
              <a:gd name="connsiteY10" fmla="*/ 1136942 h 1698866"/>
              <a:gd name="connsiteX11" fmla="*/ 272582 w 974564"/>
              <a:gd name="connsiteY11" fmla="*/ 1172453 h 1698866"/>
              <a:gd name="connsiteX12" fmla="*/ 201561 w 974564"/>
              <a:gd name="connsiteY12" fmla="*/ 1190208 h 1698866"/>
              <a:gd name="connsiteX13" fmla="*/ 103907 w 974564"/>
              <a:gd name="connsiteY13" fmla="*/ 1199086 h 1698866"/>
              <a:gd name="connsiteX14" fmla="*/ 219316 w 974564"/>
              <a:gd name="connsiteY14" fmla="*/ 601 h 1698866"/>
              <a:gd name="connsiteX0" fmla="*/ 162944 w 918192"/>
              <a:gd name="connsiteY0" fmla="*/ 81730 h 1779995"/>
              <a:gd name="connsiteX1" fmla="*/ 233966 w 918192"/>
              <a:gd name="connsiteY1" fmla="*/ 108363 h 1779995"/>
              <a:gd name="connsiteX2" fmla="*/ 287232 w 918192"/>
              <a:gd name="connsiteY2" fmla="*/ 161629 h 1779995"/>
              <a:gd name="connsiteX3" fmla="*/ 322742 w 918192"/>
              <a:gd name="connsiteY3" fmla="*/ 223772 h 1779995"/>
              <a:gd name="connsiteX4" fmla="*/ 340498 w 918192"/>
              <a:gd name="connsiteY4" fmla="*/ 285916 h 1779995"/>
              <a:gd name="connsiteX5" fmla="*/ 447030 w 918192"/>
              <a:gd name="connsiteY5" fmla="*/ 871842 h 1779995"/>
              <a:gd name="connsiteX6" fmla="*/ 784381 w 918192"/>
              <a:gd name="connsiteY6" fmla="*/ 942864 h 1779995"/>
              <a:gd name="connsiteX7" fmla="*/ 917546 w 918192"/>
              <a:gd name="connsiteY7" fmla="*/ 942864 h 1779995"/>
              <a:gd name="connsiteX8" fmla="*/ 828770 w 918192"/>
              <a:gd name="connsiteY8" fmla="*/ 1724098 h 1779995"/>
              <a:gd name="connsiteX9" fmla="*/ 686727 w 918192"/>
              <a:gd name="connsiteY9" fmla="*/ 1661955 h 1779995"/>
              <a:gd name="connsiteX10" fmla="*/ 500295 w 918192"/>
              <a:gd name="connsiteY10" fmla="*/ 1218071 h 1779995"/>
              <a:gd name="connsiteX11" fmla="*/ 216210 w 918192"/>
              <a:gd name="connsiteY11" fmla="*/ 1253582 h 1779995"/>
              <a:gd name="connsiteX12" fmla="*/ 145189 w 918192"/>
              <a:gd name="connsiteY12" fmla="*/ 1271337 h 1779995"/>
              <a:gd name="connsiteX13" fmla="*/ 83394 w 918192"/>
              <a:gd name="connsiteY13" fmla="*/ 1262285 h 1779995"/>
              <a:gd name="connsiteX14" fmla="*/ 162944 w 918192"/>
              <a:gd name="connsiteY14" fmla="*/ 81730 h 1779995"/>
              <a:gd name="connsiteX0" fmla="*/ 183534 w 938782"/>
              <a:gd name="connsiteY0" fmla="*/ 57 h 1698322"/>
              <a:gd name="connsiteX1" fmla="*/ 254556 w 938782"/>
              <a:gd name="connsiteY1" fmla="*/ 26690 h 1698322"/>
              <a:gd name="connsiteX2" fmla="*/ 307822 w 938782"/>
              <a:gd name="connsiteY2" fmla="*/ 79956 h 1698322"/>
              <a:gd name="connsiteX3" fmla="*/ 343332 w 938782"/>
              <a:gd name="connsiteY3" fmla="*/ 142099 h 1698322"/>
              <a:gd name="connsiteX4" fmla="*/ 361088 w 938782"/>
              <a:gd name="connsiteY4" fmla="*/ 204243 h 1698322"/>
              <a:gd name="connsiteX5" fmla="*/ 467620 w 938782"/>
              <a:gd name="connsiteY5" fmla="*/ 790169 h 1698322"/>
              <a:gd name="connsiteX6" fmla="*/ 804971 w 938782"/>
              <a:gd name="connsiteY6" fmla="*/ 861191 h 1698322"/>
              <a:gd name="connsiteX7" fmla="*/ 938136 w 938782"/>
              <a:gd name="connsiteY7" fmla="*/ 861191 h 1698322"/>
              <a:gd name="connsiteX8" fmla="*/ 849360 w 938782"/>
              <a:gd name="connsiteY8" fmla="*/ 1642425 h 1698322"/>
              <a:gd name="connsiteX9" fmla="*/ 707317 w 938782"/>
              <a:gd name="connsiteY9" fmla="*/ 1580282 h 1698322"/>
              <a:gd name="connsiteX10" fmla="*/ 520885 w 938782"/>
              <a:gd name="connsiteY10" fmla="*/ 1136398 h 1698322"/>
              <a:gd name="connsiteX11" fmla="*/ 236800 w 938782"/>
              <a:gd name="connsiteY11" fmla="*/ 1171909 h 1698322"/>
              <a:gd name="connsiteX12" fmla="*/ 165779 w 938782"/>
              <a:gd name="connsiteY12" fmla="*/ 1189664 h 1698322"/>
              <a:gd name="connsiteX13" fmla="*/ 103984 w 938782"/>
              <a:gd name="connsiteY13" fmla="*/ 1180612 h 1698322"/>
              <a:gd name="connsiteX14" fmla="*/ 183534 w 938782"/>
              <a:gd name="connsiteY14" fmla="*/ 57 h 1698322"/>
              <a:gd name="connsiteX0" fmla="*/ 183534 w 985793"/>
              <a:gd name="connsiteY0" fmla="*/ 57 h 1698322"/>
              <a:gd name="connsiteX1" fmla="*/ 254556 w 985793"/>
              <a:gd name="connsiteY1" fmla="*/ 26690 h 1698322"/>
              <a:gd name="connsiteX2" fmla="*/ 307822 w 985793"/>
              <a:gd name="connsiteY2" fmla="*/ 79956 h 1698322"/>
              <a:gd name="connsiteX3" fmla="*/ 343332 w 985793"/>
              <a:gd name="connsiteY3" fmla="*/ 142099 h 1698322"/>
              <a:gd name="connsiteX4" fmla="*/ 361088 w 985793"/>
              <a:gd name="connsiteY4" fmla="*/ 204243 h 1698322"/>
              <a:gd name="connsiteX5" fmla="*/ 467620 w 985793"/>
              <a:gd name="connsiteY5" fmla="*/ 790169 h 1698322"/>
              <a:gd name="connsiteX6" fmla="*/ 804971 w 985793"/>
              <a:gd name="connsiteY6" fmla="*/ 861191 h 1698322"/>
              <a:gd name="connsiteX7" fmla="*/ 938136 w 985793"/>
              <a:gd name="connsiteY7" fmla="*/ 861191 h 1698322"/>
              <a:gd name="connsiteX8" fmla="*/ 849360 w 985793"/>
              <a:gd name="connsiteY8" fmla="*/ 1642425 h 1698322"/>
              <a:gd name="connsiteX9" fmla="*/ 707317 w 985793"/>
              <a:gd name="connsiteY9" fmla="*/ 1580282 h 1698322"/>
              <a:gd name="connsiteX10" fmla="*/ 520885 w 985793"/>
              <a:gd name="connsiteY10" fmla="*/ 1136398 h 1698322"/>
              <a:gd name="connsiteX11" fmla="*/ 236800 w 985793"/>
              <a:gd name="connsiteY11" fmla="*/ 1171909 h 1698322"/>
              <a:gd name="connsiteX12" fmla="*/ 165779 w 985793"/>
              <a:gd name="connsiteY12" fmla="*/ 1189664 h 1698322"/>
              <a:gd name="connsiteX13" fmla="*/ 103984 w 985793"/>
              <a:gd name="connsiteY13" fmla="*/ 1180612 h 1698322"/>
              <a:gd name="connsiteX14" fmla="*/ 183534 w 985793"/>
              <a:gd name="connsiteY14" fmla="*/ 57 h 1698322"/>
              <a:gd name="connsiteX0" fmla="*/ 183534 w 998708"/>
              <a:gd name="connsiteY0" fmla="*/ 57 h 1647860"/>
              <a:gd name="connsiteX1" fmla="*/ 254556 w 998708"/>
              <a:gd name="connsiteY1" fmla="*/ 26690 h 1647860"/>
              <a:gd name="connsiteX2" fmla="*/ 307822 w 998708"/>
              <a:gd name="connsiteY2" fmla="*/ 79956 h 1647860"/>
              <a:gd name="connsiteX3" fmla="*/ 343332 w 998708"/>
              <a:gd name="connsiteY3" fmla="*/ 142099 h 1647860"/>
              <a:gd name="connsiteX4" fmla="*/ 361088 w 998708"/>
              <a:gd name="connsiteY4" fmla="*/ 204243 h 1647860"/>
              <a:gd name="connsiteX5" fmla="*/ 467620 w 998708"/>
              <a:gd name="connsiteY5" fmla="*/ 790169 h 1647860"/>
              <a:gd name="connsiteX6" fmla="*/ 804971 w 998708"/>
              <a:gd name="connsiteY6" fmla="*/ 861191 h 1647860"/>
              <a:gd name="connsiteX7" fmla="*/ 938136 w 998708"/>
              <a:gd name="connsiteY7" fmla="*/ 861191 h 1647860"/>
              <a:gd name="connsiteX8" fmla="*/ 849360 w 998708"/>
              <a:gd name="connsiteY8" fmla="*/ 1642425 h 1647860"/>
              <a:gd name="connsiteX9" fmla="*/ 707317 w 998708"/>
              <a:gd name="connsiteY9" fmla="*/ 1580282 h 1647860"/>
              <a:gd name="connsiteX10" fmla="*/ 520885 w 998708"/>
              <a:gd name="connsiteY10" fmla="*/ 1136398 h 1647860"/>
              <a:gd name="connsiteX11" fmla="*/ 236800 w 998708"/>
              <a:gd name="connsiteY11" fmla="*/ 1171909 h 1647860"/>
              <a:gd name="connsiteX12" fmla="*/ 165779 w 998708"/>
              <a:gd name="connsiteY12" fmla="*/ 1189664 h 1647860"/>
              <a:gd name="connsiteX13" fmla="*/ 103984 w 998708"/>
              <a:gd name="connsiteY13" fmla="*/ 1180612 h 1647860"/>
              <a:gd name="connsiteX14" fmla="*/ 183534 w 998708"/>
              <a:gd name="connsiteY14" fmla="*/ 57 h 1647860"/>
              <a:gd name="connsiteX0" fmla="*/ 183534 w 998708"/>
              <a:gd name="connsiteY0" fmla="*/ 57 h 1650515"/>
              <a:gd name="connsiteX1" fmla="*/ 254556 w 998708"/>
              <a:gd name="connsiteY1" fmla="*/ 26690 h 1650515"/>
              <a:gd name="connsiteX2" fmla="*/ 307822 w 998708"/>
              <a:gd name="connsiteY2" fmla="*/ 79956 h 1650515"/>
              <a:gd name="connsiteX3" fmla="*/ 343332 w 998708"/>
              <a:gd name="connsiteY3" fmla="*/ 142099 h 1650515"/>
              <a:gd name="connsiteX4" fmla="*/ 361088 w 998708"/>
              <a:gd name="connsiteY4" fmla="*/ 204243 h 1650515"/>
              <a:gd name="connsiteX5" fmla="*/ 467620 w 998708"/>
              <a:gd name="connsiteY5" fmla="*/ 790169 h 1650515"/>
              <a:gd name="connsiteX6" fmla="*/ 804971 w 998708"/>
              <a:gd name="connsiteY6" fmla="*/ 861191 h 1650515"/>
              <a:gd name="connsiteX7" fmla="*/ 938136 w 998708"/>
              <a:gd name="connsiteY7" fmla="*/ 861191 h 1650515"/>
              <a:gd name="connsiteX8" fmla="*/ 849360 w 998708"/>
              <a:gd name="connsiteY8" fmla="*/ 1642425 h 1650515"/>
              <a:gd name="connsiteX9" fmla="*/ 707317 w 998708"/>
              <a:gd name="connsiteY9" fmla="*/ 1580282 h 1650515"/>
              <a:gd name="connsiteX10" fmla="*/ 520885 w 998708"/>
              <a:gd name="connsiteY10" fmla="*/ 1136398 h 1650515"/>
              <a:gd name="connsiteX11" fmla="*/ 236800 w 998708"/>
              <a:gd name="connsiteY11" fmla="*/ 1171909 h 1650515"/>
              <a:gd name="connsiteX12" fmla="*/ 165779 w 998708"/>
              <a:gd name="connsiteY12" fmla="*/ 1189664 h 1650515"/>
              <a:gd name="connsiteX13" fmla="*/ 103984 w 998708"/>
              <a:gd name="connsiteY13" fmla="*/ 1180612 h 1650515"/>
              <a:gd name="connsiteX14" fmla="*/ 183534 w 998708"/>
              <a:gd name="connsiteY14" fmla="*/ 57 h 1650515"/>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67620 w 997448"/>
              <a:gd name="connsiteY5" fmla="*/ 790169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09456 w 997448"/>
              <a:gd name="connsiteY5" fmla="*/ 861887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521409 w 997448"/>
              <a:gd name="connsiteY5" fmla="*/ 796146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5206"/>
              <a:gd name="connsiteX1" fmla="*/ 254556 w 997448"/>
              <a:gd name="connsiteY1" fmla="*/ 26690 h 1645206"/>
              <a:gd name="connsiteX2" fmla="*/ 307822 w 997448"/>
              <a:gd name="connsiteY2" fmla="*/ 79956 h 1645206"/>
              <a:gd name="connsiteX3" fmla="*/ 343332 w 997448"/>
              <a:gd name="connsiteY3" fmla="*/ 142099 h 1645206"/>
              <a:gd name="connsiteX4" fmla="*/ 361088 w 997448"/>
              <a:gd name="connsiteY4" fmla="*/ 204243 h 1645206"/>
              <a:gd name="connsiteX5" fmla="*/ 485550 w 997448"/>
              <a:gd name="connsiteY5" fmla="*/ 772240 h 1645206"/>
              <a:gd name="connsiteX6" fmla="*/ 804971 w 997448"/>
              <a:gd name="connsiteY6" fmla="*/ 861191 h 1645206"/>
              <a:gd name="connsiteX7" fmla="*/ 938136 w 997448"/>
              <a:gd name="connsiteY7" fmla="*/ 861191 h 1645206"/>
              <a:gd name="connsiteX8" fmla="*/ 849360 w 997448"/>
              <a:gd name="connsiteY8" fmla="*/ 1642425 h 1645206"/>
              <a:gd name="connsiteX9" fmla="*/ 707317 w 997448"/>
              <a:gd name="connsiteY9" fmla="*/ 1580282 h 1645206"/>
              <a:gd name="connsiteX10" fmla="*/ 520885 w 997448"/>
              <a:gd name="connsiteY10" fmla="*/ 1136398 h 1645206"/>
              <a:gd name="connsiteX11" fmla="*/ 236800 w 997448"/>
              <a:gd name="connsiteY11" fmla="*/ 1171909 h 1645206"/>
              <a:gd name="connsiteX12" fmla="*/ 165779 w 997448"/>
              <a:gd name="connsiteY12" fmla="*/ 1189664 h 1645206"/>
              <a:gd name="connsiteX13" fmla="*/ 103984 w 997448"/>
              <a:gd name="connsiteY13" fmla="*/ 1180612 h 1645206"/>
              <a:gd name="connsiteX14" fmla="*/ 183534 w 997448"/>
              <a:gd name="connsiteY14" fmla="*/ 57 h 1645206"/>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236800 w 997448"/>
              <a:gd name="connsiteY11" fmla="*/ 1171909 h 1643052"/>
              <a:gd name="connsiteX12" fmla="*/ 165779 w 997448"/>
              <a:gd name="connsiteY12" fmla="*/ 1189664 h 1643052"/>
              <a:gd name="connsiteX13" fmla="*/ 103984 w 997448"/>
              <a:gd name="connsiteY13" fmla="*/ 1180612 h 1643052"/>
              <a:gd name="connsiteX14" fmla="*/ 183534 w 997448"/>
              <a:gd name="connsiteY14" fmla="*/ 57 h 1643052"/>
              <a:gd name="connsiteX0" fmla="*/ 183534 w 997448"/>
              <a:gd name="connsiteY0" fmla="*/ 57 h 1643052"/>
              <a:gd name="connsiteX1" fmla="*/ 254556 w 997448"/>
              <a:gd name="connsiteY1" fmla="*/ 26690 h 1643052"/>
              <a:gd name="connsiteX2" fmla="*/ 307822 w 997448"/>
              <a:gd name="connsiteY2" fmla="*/ 79956 h 1643052"/>
              <a:gd name="connsiteX3" fmla="*/ 343332 w 997448"/>
              <a:gd name="connsiteY3" fmla="*/ 142099 h 1643052"/>
              <a:gd name="connsiteX4" fmla="*/ 361088 w 997448"/>
              <a:gd name="connsiteY4" fmla="*/ 204243 h 1643052"/>
              <a:gd name="connsiteX5" fmla="*/ 485550 w 997448"/>
              <a:gd name="connsiteY5" fmla="*/ 772240 h 1643052"/>
              <a:gd name="connsiteX6" fmla="*/ 804971 w 997448"/>
              <a:gd name="connsiteY6" fmla="*/ 861191 h 1643052"/>
              <a:gd name="connsiteX7" fmla="*/ 938136 w 997448"/>
              <a:gd name="connsiteY7" fmla="*/ 861191 h 1643052"/>
              <a:gd name="connsiteX8" fmla="*/ 849360 w 997448"/>
              <a:gd name="connsiteY8" fmla="*/ 1642425 h 1643052"/>
              <a:gd name="connsiteX9" fmla="*/ 707317 w 997448"/>
              <a:gd name="connsiteY9" fmla="*/ 1580282 h 1643052"/>
              <a:gd name="connsiteX10" fmla="*/ 508932 w 997448"/>
              <a:gd name="connsiteY10" fmla="*/ 1208115 h 1643052"/>
              <a:gd name="connsiteX11" fmla="*/ 165779 w 997448"/>
              <a:gd name="connsiteY11" fmla="*/ 1189664 h 1643052"/>
              <a:gd name="connsiteX12" fmla="*/ 103984 w 997448"/>
              <a:gd name="connsiteY12" fmla="*/ 1180612 h 1643052"/>
              <a:gd name="connsiteX13" fmla="*/ 183534 w 997448"/>
              <a:gd name="connsiteY13" fmla="*/ 57 h 1643052"/>
              <a:gd name="connsiteX0" fmla="*/ 40651 w 854565"/>
              <a:gd name="connsiteY0" fmla="*/ 82399 h 1725394"/>
              <a:gd name="connsiteX1" fmla="*/ 111673 w 854565"/>
              <a:gd name="connsiteY1" fmla="*/ 109032 h 1725394"/>
              <a:gd name="connsiteX2" fmla="*/ 164939 w 854565"/>
              <a:gd name="connsiteY2" fmla="*/ 162298 h 1725394"/>
              <a:gd name="connsiteX3" fmla="*/ 200449 w 854565"/>
              <a:gd name="connsiteY3" fmla="*/ 224441 h 1725394"/>
              <a:gd name="connsiteX4" fmla="*/ 218205 w 854565"/>
              <a:gd name="connsiteY4" fmla="*/ 286585 h 1725394"/>
              <a:gd name="connsiteX5" fmla="*/ 342667 w 854565"/>
              <a:gd name="connsiteY5" fmla="*/ 854582 h 1725394"/>
              <a:gd name="connsiteX6" fmla="*/ 662088 w 854565"/>
              <a:gd name="connsiteY6" fmla="*/ 943533 h 1725394"/>
              <a:gd name="connsiteX7" fmla="*/ 795253 w 854565"/>
              <a:gd name="connsiteY7" fmla="*/ 943533 h 1725394"/>
              <a:gd name="connsiteX8" fmla="*/ 706477 w 854565"/>
              <a:gd name="connsiteY8" fmla="*/ 1724767 h 1725394"/>
              <a:gd name="connsiteX9" fmla="*/ 564434 w 854565"/>
              <a:gd name="connsiteY9" fmla="*/ 1662624 h 1725394"/>
              <a:gd name="connsiteX10" fmla="*/ 366049 w 854565"/>
              <a:gd name="connsiteY10" fmla="*/ 1290457 h 1725394"/>
              <a:gd name="connsiteX11" fmla="*/ 22896 w 854565"/>
              <a:gd name="connsiteY11" fmla="*/ 1272006 h 1725394"/>
              <a:gd name="connsiteX12" fmla="*/ 40651 w 854565"/>
              <a:gd name="connsiteY12" fmla="*/ 82399 h 1725394"/>
              <a:gd name="connsiteX0" fmla="*/ 9797 w 841466"/>
              <a:gd name="connsiteY0" fmla="*/ 1236700 h 1690088"/>
              <a:gd name="connsiteX1" fmla="*/ 98574 w 841466"/>
              <a:gd name="connsiteY1" fmla="*/ 73726 h 1690088"/>
              <a:gd name="connsiteX2" fmla="*/ 151840 w 841466"/>
              <a:gd name="connsiteY2" fmla="*/ 126992 h 1690088"/>
              <a:gd name="connsiteX3" fmla="*/ 187350 w 841466"/>
              <a:gd name="connsiteY3" fmla="*/ 189135 h 1690088"/>
              <a:gd name="connsiteX4" fmla="*/ 205106 w 841466"/>
              <a:gd name="connsiteY4" fmla="*/ 251279 h 1690088"/>
              <a:gd name="connsiteX5" fmla="*/ 329568 w 841466"/>
              <a:gd name="connsiteY5" fmla="*/ 819276 h 1690088"/>
              <a:gd name="connsiteX6" fmla="*/ 648989 w 841466"/>
              <a:gd name="connsiteY6" fmla="*/ 908227 h 1690088"/>
              <a:gd name="connsiteX7" fmla="*/ 782154 w 841466"/>
              <a:gd name="connsiteY7" fmla="*/ 908227 h 1690088"/>
              <a:gd name="connsiteX8" fmla="*/ 693378 w 841466"/>
              <a:gd name="connsiteY8" fmla="*/ 1689461 h 1690088"/>
              <a:gd name="connsiteX9" fmla="*/ 551335 w 841466"/>
              <a:gd name="connsiteY9" fmla="*/ 1627318 h 1690088"/>
              <a:gd name="connsiteX10" fmla="*/ 352950 w 841466"/>
              <a:gd name="connsiteY10" fmla="*/ 1255151 h 1690088"/>
              <a:gd name="connsiteX11" fmla="*/ 9797 w 841466"/>
              <a:gd name="connsiteY11" fmla="*/ 1236700 h 1690088"/>
              <a:gd name="connsiteX0" fmla="*/ 9797 w 841466"/>
              <a:gd name="connsiteY0" fmla="*/ 1238625 h 1692013"/>
              <a:gd name="connsiteX1" fmla="*/ 98574 w 841466"/>
              <a:gd name="connsiteY1" fmla="*/ 75651 h 1692013"/>
              <a:gd name="connsiteX2" fmla="*/ 151840 w 841466"/>
              <a:gd name="connsiteY2" fmla="*/ 128917 h 1692013"/>
              <a:gd name="connsiteX3" fmla="*/ 205106 w 841466"/>
              <a:gd name="connsiteY3" fmla="*/ 253204 h 1692013"/>
              <a:gd name="connsiteX4" fmla="*/ 329568 w 841466"/>
              <a:gd name="connsiteY4" fmla="*/ 821201 h 1692013"/>
              <a:gd name="connsiteX5" fmla="*/ 648989 w 841466"/>
              <a:gd name="connsiteY5" fmla="*/ 910152 h 1692013"/>
              <a:gd name="connsiteX6" fmla="*/ 782154 w 841466"/>
              <a:gd name="connsiteY6" fmla="*/ 910152 h 1692013"/>
              <a:gd name="connsiteX7" fmla="*/ 693378 w 841466"/>
              <a:gd name="connsiteY7" fmla="*/ 1691386 h 1692013"/>
              <a:gd name="connsiteX8" fmla="*/ 551335 w 841466"/>
              <a:gd name="connsiteY8" fmla="*/ 1629243 h 1692013"/>
              <a:gd name="connsiteX9" fmla="*/ 352950 w 841466"/>
              <a:gd name="connsiteY9" fmla="*/ 1257076 h 1692013"/>
              <a:gd name="connsiteX10" fmla="*/ 9797 w 841466"/>
              <a:gd name="connsiteY10" fmla="*/ 1238625 h 1692013"/>
              <a:gd name="connsiteX0" fmla="*/ 9797 w 841466"/>
              <a:gd name="connsiteY0" fmla="*/ 1260168 h 1713556"/>
              <a:gd name="connsiteX1" fmla="*/ 98574 w 841466"/>
              <a:gd name="connsiteY1" fmla="*/ 97194 h 1713556"/>
              <a:gd name="connsiteX2" fmla="*/ 151840 w 841466"/>
              <a:gd name="connsiteY2" fmla="*/ 150460 h 1713556"/>
              <a:gd name="connsiteX3" fmla="*/ 329568 w 841466"/>
              <a:gd name="connsiteY3" fmla="*/ 842744 h 1713556"/>
              <a:gd name="connsiteX4" fmla="*/ 648989 w 841466"/>
              <a:gd name="connsiteY4" fmla="*/ 931695 h 1713556"/>
              <a:gd name="connsiteX5" fmla="*/ 782154 w 841466"/>
              <a:gd name="connsiteY5" fmla="*/ 931695 h 1713556"/>
              <a:gd name="connsiteX6" fmla="*/ 693378 w 841466"/>
              <a:gd name="connsiteY6" fmla="*/ 1712929 h 1713556"/>
              <a:gd name="connsiteX7" fmla="*/ 551335 w 841466"/>
              <a:gd name="connsiteY7" fmla="*/ 1650786 h 1713556"/>
              <a:gd name="connsiteX8" fmla="*/ 352950 w 841466"/>
              <a:gd name="connsiteY8" fmla="*/ 1278619 h 1713556"/>
              <a:gd name="connsiteX9" fmla="*/ 9797 w 841466"/>
              <a:gd name="connsiteY9" fmla="*/ 1260168 h 1713556"/>
              <a:gd name="connsiteX0" fmla="*/ 5728 w 837397"/>
              <a:gd name="connsiteY0" fmla="*/ 1115042 h 1568430"/>
              <a:gd name="connsiteX1" fmla="*/ 147771 w 837397"/>
              <a:gd name="connsiteY1" fmla="*/ 5334 h 1568430"/>
              <a:gd name="connsiteX2" fmla="*/ 325499 w 837397"/>
              <a:gd name="connsiteY2" fmla="*/ 697618 h 1568430"/>
              <a:gd name="connsiteX3" fmla="*/ 644920 w 837397"/>
              <a:gd name="connsiteY3" fmla="*/ 786569 h 1568430"/>
              <a:gd name="connsiteX4" fmla="*/ 778085 w 837397"/>
              <a:gd name="connsiteY4" fmla="*/ 786569 h 1568430"/>
              <a:gd name="connsiteX5" fmla="*/ 689309 w 837397"/>
              <a:gd name="connsiteY5" fmla="*/ 1567803 h 1568430"/>
              <a:gd name="connsiteX6" fmla="*/ 547266 w 837397"/>
              <a:gd name="connsiteY6" fmla="*/ 1505660 h 1568430"/>
              <a:gd name="connsiteX7" fmla="*/ 348881 w 837397"/>
              <a:gd name="connsiteY7" fmla="*/ 1133493 h 1568430"/>
              <a:gd name="connsiteX8" fmla="*/ 5728 w 837397"/>
              <a:gd name="connsiteY8" fmla="*/ 1115042 h 1568430"/>
              <a:gd name="connsiteX0" fmla="*/ 5926 w 831619"/>
              <a:gd name="connsiteY0" fmla="*/ 1115042 h 1568430"/>
              <a:gd name="connsiteX1" fmla="*/ 141993 w 831619"/>
              <a:gd name="connsiteY1" fmla="*/ 5334 h 1568430"/>
              <a:gd name="connsiteX2" fmla="*/ 319721 w 831619"/>
              <a:gd name="connsiteY2" fmla="*/ 697618 h 1568430"/>
              <a:gd name="connsiteX3" fmla="*/ 639142 w 831619"/>
              <a:gd name="connsiteY3" fmla="*/ 786569 h 1568430"/>
              <a:gd name="connsiteX4" fmla="*/ 772307 w 831619"/>
              <a:gd name="connsiteY4" fmla="*/ 786569 h 1568430"/>
              <a:gd name="connsiteX5" fmla="*/ 683531 w 831619"/>
              <a:gd name="connsiteY5" fmla="*/ 1567803 h 1568430"/>
              <a:gd name="connsiteX6" fmla="*/ 541488 w 831619"/>
              <a:gd name="connsiteY6" fmla="*/ 1505660 h 1568430"/>
              <a:gd name="connsiteX7" fmla="*/ 343103 w 831619"/>
              <a:gd name="connsiteY7" fmla="*/ 1133493 h 1568430"/>
              <a:gd name="connsiteX8" fmla="*/ 5926 w 831619"/>
              <a:gd name="connsiteY8" fmla="*/ 1115042 h 1568430"/>
              <a:gd name="connsiteX0" fmla="*/ 5926 w 692736"/>
              <a:gd name="connsiteY0" fmla="*/ 1115042 h 1568430"/>
              <a:gd name="connsiteX1" fmla="*/ 141993 w 692736"/>
              <a:gd name="connsiteY1" fmla="*/ 5334 h 1568430"/>
              <a:gd name="connsiteX2" fmla="*/ 319721 w 692736"/>
              <a:gd name="connsiteY2" fmla="*/ 697618 h 1568430"/>
              <a:gd name="connsiteX3" fmla="*/ 639142 w 692736"/>
              <a:gd name="connsiteY3" fmla="*/ 786569 h 1568430"/>
              <a:gd name="connsiteX4" fmla="*/ 683531 w 692736"/>
              <a:gd name="connsiteY4" fmla="*/ 1567803 h 1568430"/>
              <a:gd name="connsiteX5" fmla="*/ 541488 w 692736"/>
              <a:gd name="connsiteY5" fmla="*/ 1505660 h 1568430"/>
              <a:gd name="connsiteX6" fmla="*/ 343103 w 692736"/>
              <a:gd name="connsiteY6" fmla="*/ 1133493 h 1568430"/>
              <a:gd name="connsiteX7" fmla="*/ 5926 w 692736"/>
              <a:gd name="connsiteY7" fmla="*/ 1115042 h 1568430"/>
              <a:gd name="connsiteX0" fmla="*/ 5926 w 648171"/>
              <a:gd name="connsiteY0" fmla="*/ 1115042 h 1511846"/>
              <a:gd name="connsiteX1" fmla="*/ 141993 w 648171"/>
              <a:gd name="connsiteY1" fmla="*/ 5334 h 1511846"/>
              <a:gd name="connsiteX2" fmla="*/ 319721 w 648171"/>
              <a:gd name="connsiteY2" fmla="*/ 697618 h 1511846"/>
              <a:gd name="connsiteX3" fmla="*/ 639142 w 648171"/>
              <a:gd name="connsiteY3" fmla="*/ 786569 h 1511846"/>
              <a:gd name="connsiteX4" fmla="*/ 541488 w 648171"/>
              <a:gd name="connsiteY4" fmla="*/ 1505660 h 1511846"/>
              <a:gd name="connsiteX5" fmla="*/ 343103 w 648171"/>
              <a:gd name="connsiteY5" fmla="*/ 1133493 h 1511846"/>
              <a:gd name="connsiteX6" fmla="*/ 5926 w 648171"/>
              <a:gd name="connsiteY6" fmla="*/ 1115042 h 1511846"/>
              <a:gd name="connsiteX0" fmla="*/ 5926 w 664289"/>
              <a:gd name="connsiteY0" fmla="*/ 1115042 h 1511846"/>
              <a:gd name="connsiteX1" fmla="*/ 141993 w 664289"/>
              <a:gd name="connsiteY1" fmla="*/ 5334 h 1511846"/>
              <a:gd name="connsiteX2" fmla="*/ 319721 w 664289"/>
              <a:gd name="connsiteY2" fmla="*/ 697618 h 1511846"/>
              <a:gd name="connsiteX3" fmla="*/ 639142 w 664289"/>
              <a:gd name="connsiteY3" fmla="*/ 786569 h 1511846"/>
              <a:gd name="connsiteX4" fmla="*/ 541488 w 664289"/>
              <a:gd name="connsiteY4" fmla="*/ 1505660 h 1511846"/>
              <a:gd name="connsiteX5" fmla="*/ 343103 w 664289"/>
              <a:gd name="connsiteY5" fmla="*/ 1133493 h 1511846"/>
              <a:gd name="connsiteX6" fmla="*/ 5926 w 664289"/>
              <a:gd name="connsiteY6" fmla="*/ 1115042 h 1511846"/>
              <a:gd name="connsiteX0" fmla="*/ 5926 w 674588"/>
              <a:gd name="connsiteY0" fmla="*/ 1115042 h 1528233"/>
              <a:gd name="connsiteX1" fmla="*/ 141993 w 674588"/>
              <a:gd name="connsiteY1" fmla="*/ 5334 h 1528233"/>
              <a:gd name="connsiteX2" fmla="*/ 319721 w 674588"/>
              <a:gd name="connsiteY2" fmla="*/ 697618 h 1528233"/>
              <a:gd name="connsiteX3" fmla="*/ 639142 w 674588"/>
              <a:gd name="connsiteY3" fmla="*/ 786569 h 1528233"/>
              <a:gd name="connsiteX4" fmla="*/ 541488 w 674588"/>
              <a:gd name="connsiteY4" fmla="*/ 1505660 h 1528233"/>
              <a:gd name="connsiteX5" fmla="*/ 343103 w 674588"/>
              <a:gd name="connsiteY5" fmla="*/ 1133493 h 1528233"/>
              <a:gd name="connsiteX6" fmla="*/ 5926 w 674588"/>
              <a:gd name="connsiteY6" fmla="*/ 1115042 h 1528233"/>
              <a:gd name="connsiteX0" fmla="*/ 5367 w 691958"/>
              <a:gd name="connsiteY0" fmla="*/ 1108928 h 1528095"/>
              <a:gd name="connsiteX1" fmla="*/ 159363 w 691958"/>
              <a:gd name="connsiteY1" fmla="*/ 5196 h 1528095"/>
              <a:gd name="connsiteX2" fmla="*/ 337091 w 691958"/>
              <a:gd name="connsiteY2" fmla="*/ 697480 h 1528095"/>
              <a:gd name="connsiteX3" fmla="*/ 656512 w 691958"/>
              <a:gd name="connsiteY3" fmla="*/ 786431 h 1528095"/>
              <a:gd name="connsiteX4" fmla="*/ 558858 w 691958"/>
              <a:gd name="connsiteY4" fmla="*/ 1505522 h 1528095"/>
              <a:gd name="connsiteX5" fmla="*/ 360473 w 691958"/>
              <a:gd name="connsiteY5" fmla="*/ 1133355 h 1528095"/>
              <a:gd name="connsiteX6" fmla="*/ 5367 w 691958"/>
              <a:gd name="connsiteY6" fmla="*/ 1108928 h 1528095"/>
              <a:gd name="connsiteX0" fmla="*/ 5801 w 692392"/>
              <a:gd name="connsiteY0" fmla="*/ 1102989 h 1522156"/>
              <a:gd name="connsiteX1" fmla="*/ 147844 w 692392"/>
              <a:gd name="connsiteY1" fmla="*/ 5234 h 1522156"/>
              <a:gd name="connsiteX2" fmla="*/ 337525 w 692392"/>
              <a:gd name="connsiteY2" fmla="*/ 691541 h 1522156"/>
              <a:gd name="connsiteX3" fmla="*/ 656946 w 692392"/>
              <a:gd name="connsiteY3" fmla="*/ 780492 h 1522156"/>
              <a:gd name="connsiteX4" fmla="*/ 559292 w 692392"/>
              <a:gd name="connsiteY4" fmla="*/ 1499583 h 1522156"/>
              <a:gd name="connsiteX5" fmla="*/ 360907 w 692392"/>
              <a:gd name="connsiteY5" fmla="*/ 1127416 h 1522156"/>
              <a:gd name="connsiteX6" fmla="*/ 5801 w 692392"/>
              <a:gd name="connsiteY6" fmla="*/ 1102989 h 1522156"/>
              <a:gd name="connsiteX0" fmla="*/ 5577 w 692168"/>
              <a:gd name="connsiteY0" fmla="*/ 1102989 h 1522156"/>
              <a:gd name="connsiteX1" fmla="*/ 153596 w 692168"/>
              <a:gd name="connsiteY1" fmla="*/ 5234 h 1522156"/>
              <a:gd name="connsiteX2" fmla="*/ 337301 w 692168"/>
              <a:gd name="connsiteY2" fmla="*/ 691541 h 1522156"/>
              <a:gd name="connsiteX3" fmla="*/ 656722 w 692168"/>
              <a:gd name="connsiteY3" fmla="*/ 780492 h 1522156"/>
              <a:gd name="connsiteX4" fmla="*/ 559068 w 692168"/>
              <a:gd name="connsiteY4" fmla="*/ 1499583 h 1522156"/>
              <a:gd name="connsiteX5" fmla="*/ 360683 w 692168"/>
              <a:gd name="connsiteY5" fmla="*/ 1127416 h 1522156"/>
              <a:gd name="connsiteX6" fmla="*/ 5577 w 692168"/>
              <a:gd name="connsiteY6" fmla="*/ 1102989 h 1522156"/>
              <a:gd name="connsiteX0" fmla="*/ 7848 w 694439"/>
              <a:gd name="connsiteY0" fmla="*/ 1106972 h 1526139"/>
              <a:gd name="connsiteX1" fmla="*/ 155867 w 694439"/>
              <a:gd name="connsiteY1" fmla="*/ 9217 h 1526139"/>
              <a:gd name="connsiteX2" fmla="*/ 339572 w 694439"/>
              <a:gd name="connsiteY2" fmla="*/ 695524 h 1526139"/>
              <a:gd name="connsiteX3" fmla="*/ 658993 w 694439"/>
              <a:gd name="connsiteY3" fmla="*/ 784475 h 1526139"/>
              <a:gd name="connsiteX4" fmla="*/ 561339 w 694439"/>
              <a:gd name="connsiteY4" fmla="*/ 1503566 h 1526139"/>
              <a:gd name="connsiteX5" fmla="*/ 362954 w 694439"/>
              <a:gd name="connsiteY5" fmla="*/ 1131399 h 1526139"/>
              <a:gd name="connsiteX6" fmla="*/ 7848 w 694439"/>
              <a:gd name="connsiteY6" fmla="*/ 1106972 h 1526139"/>
              <a:gd name="connsiteX0" fmla="*/ 7848 w 696549"/>
              <a:gd name="connsiteY0" fmla="*/ 1106972 h 1526345"/>
              <a:gd name="connsiteX1" fmla="*/ 155867 w 696549"/>
              <a:gd name="connsiteY1" fmla="*/ 9217 h 1526345"/>
              <a:gd name="connsiteX2" fmla="*/ 339572 w 696549"/>
              <a:gd name="connsiteY2" fmla="*/ 695524 h 1526345"/>
              <a:gd name="connsiteX3" fmla="*/ 658993 w 696549"/>
              <a:gd name="connsiteY3" fmla="*/ 784475 h 1526345"/>
              <a:gd name="connsiteX4" fmla="*/ 561339 w 696549"/>
              <a:gd name="connsiteY4" fmla="*/ 1503566 h 1526345"/>
              <a:gd name="connsiteX5" fmla="*/ 362954 w 696549"/>
              <a:gd name="connsiteY5" fmla="*/ 1131399 h 1526345"/>
              <a:gd name="connsiteX6" fmla="*/ 7848 w 696549"/>
              <a:gd name="connsiteY6" fmla="*/ 1106972 h 1526345"/>
              <a:gd name="connsiteX0" fmla="*/ 7848 w 690312"/>
              <a:gd name="connsiteY0" fmla="*/ 1106972 h 1509617"/>
              <a:gd name="connsiteX1" fmla="*/ 155867 w 690312"/>
              <a:gd name="connsiteY1" fmla="*/ 9217 h 1509617"/>
              <a:gd name="connsiteX2" fmla="*/ 339572 w 690312"/>
              <a:gd name="connsiteY2" fmla="*/ 695524 h 1509617"/>
              <a:gd name="connsiteX3" fmla="*/ 663756 w 690312"/>
              <a:gd name="connsiteY3" fmla="*/ 789238 h 1509617"/>
              <a:gd name="connsiteX4" fmla="*/ 561339 w 690312"/>
              <a:gd name="connsiteY4" fmla="*/ 1503566 h 1509617"/>
              <a:gd name="connsiteX5" fmla="*/ 362954 w 690312"/>
              <a:gd name="connsiteY5" fmla="*/ 1131399 h 1509617"/>
              <a:gd name="connsiteX6" fmla="*/ 7848 w 690312"/>
              <a:gd name="connsiteY6" fmla="*/ 1106972 h 1509617"/>
              <a:gd name="connsiteX0" fmla="*/ 7848 w 697927"/>
              <a:gd name="connsiteY0" fmla="*/ 1106972 h 1512103"/>
              <a:gd name="connsiteX1" fmla="*/ 155867 w 697927"/>
              <a:gd name="connsiteY1" fmla="*/ 9217 h 1512103"/>
              <a:gd name="connsiteX2" fmla="*/ 339572 w 697927"/>
              <a:gd name="connsiteY2" fmla="*/ 695524 h 1512103"/>
              <a:gd name="connsiteX3" fmla="*/ 663756 w 697927"/>
              <a:gd name="connsiteY3" fmla="*/ 789238 h 1512103"/>
              <a:gd name="connsiteX4" fmla="*/ 561339 w 697927"/>
              <a:gd name="connsiteY4" fmla="*/ 1503566 h 1512103"/>
              <a:gd name="connsiteX5" fmla="*/ 362954 w 697927"/>
              <a:gd name="connsiteY5" fmla="*/ 1131399 h 1512103"/>
              <a:gd name="connsiteX6" fmla="*/ 7848 w 697927"/>
              <a:gd name="connsiteY6" fmla="*/ 1106972 h 1512103"/>
              <a:gd name="connsiteX0" fmla="*/ 7848 w 678909"/>
              <a:gd name="connsiteY0" fmla="*/ 1106972 h 1513591"/>
              <a:gd name="connsiteX1" fmla="*/ 155867 w 678909"/>
              <a:gd name="connsiteY1" fmla="*/ 9217 h 1513591"/>
              <a:gd name="connsiteX2" fmla="*/ 339572 w 678909"/>
              <a:gd name="connsiteY2" fmla="*/ 695524 h 1513591"/>
              <a:gd name="connsiteX3" fmla="*/ 663756 w 678909"/>
              <a:gd name="connsiteY3" fmla="*/ 789238 h 1513591"/>
              <a:gd name="connsiteX4" fmla="*/ 566102 w 678909"/>
              <a:gd name="connsiteY4" fmla="*/ 1503566 h 1513591"/>
              <a:gd name="connsiteX5" fmla="*/ 362954 w 678909"/>
              <a:gd name="connsiteY5" fmla="*/ 1131399 h 1513591"/>
              <a:gd name="connsiteX6" fmla="*/ 7848 w 678909"/>
              <a:gd name="connsiteY6" fmla="*/ 1106972 h 1513591"/>
              <a:gd name="connsiteX0" fmla="*/ 7848 w 695514"/>
              <a:gd name="connsiteY0" fmla="*/ 1106972 h 1512109"/>
              <a:gd name="connsiteX1" fmla="*/ 155867 w 695514"/>
              <a:gd name="connsiteY1" fmla="*/ 9217 h 1512109"/>
              <a:gd name="connsiteX2" fmla="*/ 339572 w 695514"/>
              <a:gd name="connsiteY2" fmla="*/ 695524 h 1512109"/>
              <a:gd name="connsiteX3" fmla="*/ 663756 w 695514"/>
              <a:gd name="connsiteY3" fmla="*/ 789238 h 1512109"/>
              <a:gd name="connsiteX4" fmla="*/ 566102 w 695514"/>
              <a:gd name="connsiteY4" fmla="*/ 1503566 h 1512109"/>
              <a:gd name="connsiteX5" fmla="*/ 362954 w 695514"/>
              <a:gd name="connsiteY5" fmla="*/ 1131399 h 1512109"/>
              <a:gd name="connsiteX6" fmla="*/ 7848 w 695514"/>
              <a:gd name="connsiteY6" fmla="*/ 1106972 h 1512109"/>
              <a:gd name="connsiteX0" fmla="*/ 7848 w 692055"/>
              <a:gd name="connsiteY0" fmla="*/ 1106972 h 1509470"/>
              <a:gd name="connsiteX1" fmla="*/ 155867 w 692055"/>
              <a:gd name="connsiteY1" fmla="*/ 9217 h 1509470"/>
              <a:gd name="connsiteX2" fmla="*/ 339572 w 692055"/>
              <a:gd name="connsiteY2" fmla="*/ 695524 h 1509470"/>
              <a:gd name="connsiteX3" fmla="*/ 668518 w 692055"/>
              <a:gd name="connsiteY3" fmla="*/ 794001 h 1509470"/>
              <a:gd name="connsiteX4" fmla="*/ 566102 w 692055"/>
              <a:gd name="connsiteY4" fmla="*/ 1503566 h 1509470"/>
              <a:gd name="connsiteX5" fmla="*/ 362954 w 692055"/>
              <a:gd name="connsiteY5" fmla="*/ 1131399 h 1509470"/>
              <a:gd name="connsiteX6" fmla="*/ 7848 w 692055"/>
              <a:gd name="connsiteY6" fmla="*/ 1106972 h 150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055" h="1509470">
                <a:moveTo>
                  <a:pt x="7848" y="1106972"/>
                </a:moveTo>
                <a:cubicBezTo>
                  <a:pt x="-25670" y="918946"/>
                  <a:pt x="52768" y="-107479"/>
                  <a:pt x="155867" y="9217"/>
                </a:cubicBezTo>
                <a:cubicBezTo>
                  <a:pt x="258966" y="125913"/>
                  <a:pt x="254130" y="564727"/>
                  <a:pt x="339572" y="695524"/>
                </a:cubicBezTo>
                <a:cubicBezTo>
                  <a:pt x="425014" y="826321"/>
                  <a:pt x="592663" y="792677"/>
                  <a:pt x="668518" y="794001"/>
                </a:cubicBezTo>
                <a:cubicBezTo>
                  <a:pt x="744373" y="795325"/>
                  <a:pt x="617029" y="1447333"/>
                  <a:pt x="566102" y="1503566"/>
                </a:cubicBezTo>
                <a:cubicBezTo>
                  <a:pt x="515175" y="1559799"/>
                  <a:pt x="455996" y="1197498"/>
                  <a:pt x="362954" y="1131399"/>
                </a:cubicBezTo>
                <a:cubicBezTo>
                  <a:pt x="269912" y="1065300"/>
                  <a:pt x="75339" y="1111556"/>
                  <a:pt x="7848" y="1106972"/>
                </a:cubicBezTo>
                <a:close/>
              </a:path>
            </a:pathLst>
          </a:custGeom>
          <a:solidFill>
            <a:srgbClr val="E0E1E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36" name="Rectangle: Rounded Corners 35"/>
          <p:cNvSpPr/>
          <p:nvPr/>
        </p:nvSpPr>
        <p:spPr bwMode="auto">
          <a:xfrm>
            <a:off x="5918647" y="3270315"/>
            <a:ext cx="3159089" cy="76723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2" name="Title 1"/>
          <p:cNvSpPr>
            <a:spLocks noGrp="1"/>
          </p:cNvSpPr>
          <p:nvPr>
            <p:ph type="title"/>
          </p:nvPr>
        </p:nvSpPr>
        <p:spPr/>
        <p:txBody>
          <a:bodyPr/>
          <a:lstStyle/>
          <a:p>
            <a:r>
              <a:rPr lang="en-US" dirty="0"/>
              <a:t>VMware stack</a:t>
            </a:r>
          </a:p>
        </p:txBody>
      </p:sp>
      <p:sp>
        <p:nvSpPr>
          <p:cNvPr id="5" name="Rectangle: Rounded Corners 4"/>
          <p:cNvSpPr/>
          <p:nvPr/>
        </p:nvSpPr>
        <p:spPr bwMode="auto">
          <a:xfrm>
            <a:off x="1660158" y="4217581"/>
            <a:ext cx="7417578" cy="1758136"/>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6" name="Straight Connector 5"/>
          <p:cNvCxnSpPr>
            <a:stCxn id="31" idx="3"/>
            <a:endCxn id="18" idx="1"/>
          </p:cNvCxnSpPr>
          <p:nvPr/>
        </p:nvCxnSpPr>
        <p:spPr bwMode="auto">
          <a:xfrm flipV="1">
            <a:off x="5424696" y="3646421"/>
            <a:ext cx="585324" cy="30470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7" name="Straight Connector 6"/>
          <p:cNvCxnSpPr>
            <a:cxnSpLocks/>
            <a:stCxn id="14" idx="3"/>
            <a:endCxn id="19" idx="1"/>
          </p:cNvCxnSpPr>
          <p:nvPr/>
        </p:nvCxnSpPr>
        <p:spPr bwMode="auto">
          <a:xfrm flipV="1">
            <a:off x="5481470" y="5189495"/>
            <a:ext cx="528550" cy="9624"/>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 name="Rectangle: Rounded Corners 7"/>
          <p:cNvSpPr/>
          <p:nvPr/>
        </p:nvSpPr>
        <p:spPr bwMode="auto">
          <a:xfrm>
            <a:off x="1952273" y="4582785"/>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Compute</a:t>
            </a:r>
          </a:p>
        </p:txBody>
      </p:sp>
      <p:sp>
        <p:nvSpPr>
          <p:cNvPr id="9" name="Rectangle: Rounded Corners 8"/>
          <p:cNvSpPr/>
          <p:nvPr/>
        </p:nvSpPr>
        <p:spPr bwMode="auto">
          <a:xfrm>
            <a:off x="3233899" y="458195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Storage</a:t>
            </a:r>
          </a:p>
        </p:txBody>
      </p:sp>
      <p:sp>
        <p:nvSpPr>
          <p:cNvPr id="10" name="Rectangle: Rounded Corners 9"/>
          <p:cNvSpPr/>
          <p:nvPr/>
        </p:nvSpPr>
        <p:spPr bwMode="auto">
          <a:xfrm>
            <a:off x="4536790" y="4581951"/>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Virtual </a:t>
            </a:r>
          </a:p>
          <a:p>
            <a:pPr algn="ctr">
              <a:spcBef>
                <a:spcPts val="0"/>
              </a:spcBef>
            </a:pPr>
            <a:r>
              <a:rPr lang="en-US" sz="1000" dirty="0">
                <a:solidFill>
                  <a:schemeClr val="bg1"/>
                </a:solidFill>
              </a:rPr>
              <a:t>Network</a:t>
            </a:r>
          </a:p>
        </p:txBody>
      </p:sp>
      <p:sp>
        <p:nvSpPr>
          <p:cNvPr id="11" name="Rectangle: Rounded Corners 10"/>
          <p:cNvSpPr/>
          <p:nvPr/>
        </p:nvSpPr>
        <p:spPr bwMode="auto">
          <a:xfrm>
            <a:off x="3244239" y="5383832"/>
            <a:ext cx="93434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a:t>
            </a:r>
          </a:p>
          <a:p>
            <a:pPr algn="ctr">
              <a:spcBef>
                <a:spcPts val="0"/>
              </a:spcBef>
            </a:pPr>
            <a:r>
              <a:rPr lang="en-US" sz="1000" dirty="0">
                <a:solidFill>
                  <a:schemeClr val="bg1"/>
                </a:solidFill>
              </a:rPr>
              <a:t>Storage</a:t>
            </a:r>
          </a:p>
        </p:txBody>
      </p:sp>
      <p:sp>
        <p:nvSpPr>
          <p:cNvPr id="12" name="Rectangle: Rounded Corners 11"/>
          <p:cNvSpPr/>
          <p:nvPr/>
        </p:nvSpPr>
        <p:spPr bwMode="auto">
          <a:xfrm>
            <a:off x="4536790" y="5383831"/>
            <a:ext cx="944680"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Network</a:t>
            </a:r>
          </a:p>
        </p:txBody>
      </p:sp>
      <p:sp>
        <p:nvSpPr>
          <p:cNvPr id="13" name="Rectangle: Rounded Corners 12"/>
          <p:cNvSpPr/>
          <p:nvPr/>
        </p:nvSpPr>
        <p:spPr bwMode="auto">
          <a:xfrm>
            <a:off x="1952273" y="5380940"/>
            <a:ext cx="923415" cy="411371"/>
          </a:xfrm>
          <a:prstGeom prst="roundRect">
            <a:avLst/>
          </a:prstGeom>
          <a:solidFill>
            <a:srgbClr val="00285F"/>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spcBef>
                <a:spcPts val="0"/>
              </a:spcBef>
            </a:pPr>
            <a:r>
              <a:rPr lang="en-US" sz="1000" dirty="0">
                <a:solidFill>
                  <a:schemeClr val="bg1"/>
                </a:solidFill>
              </a:rPr>
              <a:t>Physical </a:t>
            </a:r>
          </a:p>
          <a:p>
            <a:pPr algn="ctr">
              <a:spcBef>
                <a:spcPts val="0"/>
              </a:spcBef>
            </a:pPr>
            <a:r>
              <a:rPr lang="en-US" sz="1000" dirty="0">
                <a:solidFill>
                  <a:schemeClr val="bg1"/>
                </a:solidFill>
              </a:rPr>
              <a:t>Compute</a:t>
            </a:r>
          </a:p>
        </p:txBody>
      </p:sp>
      <p:sp>
        <p:nvSpPr>
          <p:cNvPr id="14" name="Rectangle: Rounded Corners 13"/>
          <p:cNvSpPr/>
          <p:nvPr/>
        </p:nvSpPr>
        <p:spPr bwMode="auto">
          <a:xfrm>
            <a:off x="1952273" y="5092297"/>
            <a:ext cx="3529197" cy="213643"/>
          </a:xfrm>
          <a:prstGeom prst="roundRect">
            <a:avLst/>
          </a:prstGeom>
          <a:solidFill>
            <a:srgbClr val="B1B3B4"/>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rtualization Layer</a:t>
            </a:r>
          </a:p>
        </p:txBody>
      </p:sp>
      <p:sp>
        <p:nvSpPr>
          <p:cNvPr id="15" name="Rectangle: Rounded Corners 14"/>
          <p:cNvSpPr/>
          <p:nvPr/>
        </p:nvSpPr>
        <p:spPr bwMode="auto">
          <a:xfrm>
            <a:off x="1723965" y="4255826"/>
            <a:ext cx="3980715" cy="1698469"/>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TextBox 30"/>
          <p:cNvSpPr txBox="1"/>
          <p:nvPr/>
        </p:nvSpPr>
        <p:spPr>
          <a:xfrm>
            <a:off x="2561147" y="4240289"/>
            <a:ext cx="2525050" cy="33855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sz="1600" dirty="0"/>
              <a:t>NFVI (NFV Infrastructure)</a:t>
            </a:r>
          </a:p>
        </p:txBody>
      </p:sp>
      <p:sp>
        <p:nvSpPr>
          <p:cNvPr id="17" name="Rectangle: Rounded Corners 16"/>
          <p:cNvSpPr/>
          <p:nvPr/>
        </p:nvSpPr>
        <p:spPr bwMode="auto">
          <a:xfrm>
            <a:off x="5850021" y="1654142"/>
            <a:ext cx="1974504" cy="4300153"/>
          </a:xfrm>
          <a:prstGeom prst="roundRect">
            <a:avLst/>
          </a:prstGeom>
          <a:noFill/>
          <a:ln w="19050" cap="flat" cmpd="sng" algn="ctr">
            <a:solidFill>
              <a:schemeClr val="tx1">
                <a:lumMod val="40000"/>
                <a:lumOff val="60000"/>
              </a:schemeClr>
            </a:solidFill>
            <a:prstDash val="lg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Rectangle: Rounded Corners 17"/>
          <p:cNvSpPr/>
          <p:nvPr/>
        </p:nvSpPr>
        <p:spPr bwMode="auto">
          <a:xfrm>
            <a:off x="6010020" y="3369047"/>
            <a:ext cx="1478422" cy="554748"/>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M</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NF Manager)</a:t>
            </a:r>
          </a:p>
        </p:txBody>
      </p:sp>
      <p:sp>
        <p:nvSpPr>
          <p:cNvPr id="19" name="Rectangle: Rounded Corners 18"/>
          <p:cNvSpPr/>
          <p:nvPr/>
        </p:nvSpPr>
        <p:spPr bwMode="auto">
          <a:xfrm>
            <a:off x="6010020" y="4597227"/>
            <a:ext cx="1478422" cy="1184535"/>
          </a:xfrm>
          <a:prstGeom prst="roundRect">
            <a:avLst/>
          </a:prstGeom>
          <a:solidFill>
            <a:srgbClr val="8F3F7B"/>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VIM</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a:t>
            </a:r>
            <a:r>
              <a:rPr kumimoji="0" lang="en-US" sz="1200" b="0" i="0" u="none" strike="noStrike" cap="none" normalizeH="0" baseline="0" dirty="0">
                <a:ln>
                  <a:noFill/>
                </a:ln>
                <a:solidFill>
                  <a:schemeClr val="bg1"/>
                </a:solidFill>
                <a:effectLst/>
                <a:latin typeface="Arial" charset="0"/>
              </a:rPr>
              <a:t>Virtual</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solidFill>
                  <a:schemeClr val="bg1"/>
                </a:solidFill>
              </a:rPr>
              <a:t>Infrastructure</a:t>
            </a:r>
          </a:p>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solidFill>
                  <a:schemeClr val="bg1"/>
                </a:solidFill>
                <a:effectLst/>
                <a:latin typeface="Arial" charset="0"/>
              </a:rPr>
              <a:t>Manager)</a:t>
            </a:r>
          </a:p>
        </p:txBody>
      </p:sp>
      <p:sp>
        <p:nvSpPr>
          <p:cNvPr id="20" name="Rectangle: Rounded Corners 19"/>
          <p:cNvSpPr/>
          <p:nvPr/>
        </p:nvSpPr>
        <p:spPr bwMode="auto">
          <a:xfrm>
            <a:off x="6010020" y="2522776"/>
            <a:ext cx="1478422" cy="554748"/>
          </a:xfrm>
          <a:prstGeom prst="roundRect">
            <a:avLst/>
          </a:prstGeom>
          <a:no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r>
              <a:rPr kumimoji="0" lang="en-US" sz="1200" b="0" i="0" u="none" strike="noStrike" cap="none" normalizeH="0" baseline="0" dirty="0">
                <a:ln>
                  <a:noFill/>
                </a:ln>
                <a:effectLst/>
                <a:latin typeface="Arial" charset="0"/>
              </a:rPr>
              <a:t>NFVO</a:t>
            </a:r>
          </a:p>
          <a:p>
            <a:pPr marL="0" marR="0" indent="0" algn="ctr" defTabSz="914400" rtl="0" eaLnBrk="1" fontAlgn="base" latinLnBrk="0" hangingPunct="1">
              <a:lnSpc>
                <a:spcPct val="100000"/>
              </a:lnSpc>
              <a:spcBef>
                <a:spcPts val="0"/>
              </a:spcBef>
              <a:spcAft>
                <a:spcPct val="0"/>
              </a:spcAft>
              <a:buClrTx/>
              <a:buSzTx/>
              <a:buFontTx/>
              <a:buNone/>
              <a:tabLst/>
            </a:pPr>
            <a:r>
              <a:rPr lang="en-US" sz="1200" dirty="0"/>
              <a:t>(NFV Orchestrator)</a:t>
            </a:r>
            <a:endParaRPr kumimoji="0" lang="en-US" sz="1200" b="0" i="0" u="none" strike="noStrike" cap="none" normalizeH="0" baseline="0" dirty="0">
              <a:ln>
                <a:noFill/>
              </a:ln>
              <a:effectLst/>
            </a:endParaRPr>
          </a:p>
        </p:txBody>
      </p:sp>
      <p:cxnSp>
        <p:nvCxnSpPr>
          <p:cNvPr id="21" name="Straight Connector 20"/>
          <p:cNvCxnSpPr>
            <a:stCxn id="20" idx="3"/>
            <a:endCxn id="20" idx="3"/>
          </p:cNvCxnSpPr>
          <p:nvPr/>
        </p:nvCxnSpPr>
        <p:spPr bwMode="auto">
          <a:xfrm>
            <a:off x="7488442" y="2800150"/>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Straight Connector 21"/>
          <p:cNvCxnSpPr>
            <a:cxnSpLocks/>
            <a:stCxn id="18" idx="2"/>
            <a:endCxn id="19" idx="0"/>
          </p:cNvCxnSpPr>
          <p:nvPr/>
        </p:nvCxnSpPr>
        <p:spPr bwMode="auto">
          <a:xfrm>
            <a:off x="6749231" y="3923795"/>
            <a:ext cx="0" cy="67343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3" name="TextBox 47"/>
          <p:cNvSpPr txBox="1"/>
          <p:nvPr/>
        </p:nvSpPr>
        <p:spPr>
          <a:xfrm>
            <a:off x="5851991" y="1722430"/>
            <a:ext cx="1837923" cy="769441"/>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dirty="0"/>
              <a:t>NFV MANO </a:t>
            </a:r>
          </a:p>
          <a:p>
            <a:pPr algn="ctr">
              <a:spcBef>
                <a:spcPts val="0"/>
              </a:spcBef>
            </a:pPr>
            <a:r>
              <a:rPr lang="en-US" sz="1200" dirty="0"/>
              <a:t>(Management and Orchestration)</a:t>
            </a:r>
          </a:p>
        </p:txBody>
      </p:sp>
      <p:sp>
        <p:nvSpPr>
          <p:cNvPr id="24" name="TextBox 37"/>
          <p:cNvSpPr txBox="1"/>
          <p:nvPr/>
        </p:nvSpPr>
        <p:spPr>
          <a:xfrm>
            <a:off x="7714125" y="4289452"/>
            <a:ext cx="1369961" cy="1631216"/>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VMware</a:t>
            </a:r>
            <a:br>
              <a:rPr lang="en-US" b="1" dirty="0"/>
            </a:br>
            <a:r>
              <a:rPr lang="en-US" b="1" dirty="0" err="1"/>
              <a:t>vCloud</a:t>
            </a:r>
            <a:r>
              <a:rPr lang="en-US" b="1" dirty="0"/>
              <a:t> Director, vSphere, …</a:t>
            </a:r>
          </a:p>
        </p:txBody>
      </p:sp>
      <p:sp>
        <p:nvSpPr>
          <p:cNvPr id="25" name="TextBox 42"/>
          <p:cNvSpPr txBox="1"/>
          <p:nvPr/>
        </p:nvSpPr>
        <p:spPr>
          <a:xfrm>
            <a:off x="7654791" y="3456579"/>
            <a:ext cx="1429295" cy="400110"/>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VNF-LCM</a:t>
            </a:r>
            <a:endParaRPr lang="en-US" sz="1200" b="1" dirty="0"/>
          </a:p>
        </p:txBody>
      </p:sp>
      <p:sp>
        <p:nvSpPr>
          <p:cNvPr id="26" name="Rectangle: Rounded Corners 25"/>
          <p:cNvSpPr/>
          <p:nvPr/>
        </p:nvSpPr>
        <p:spPr bwMode="auto">
          <a:xfrm>
            <a:off x="1660157" y="2404212"/>
            <a:ext cx="3936275" cy="1187723"/>
          </a:xfrm>
          <a:prstGeom prst="roundRect">
            <a:avLst/>
          </a:prstGeom>
          <a:solidFill>
            <a:srgbClr val="E1E2E3"/>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cxnSp>
        <p:nvCxnSpPr>
          <p:cNvPr id="27" name="Straight Connector 26"/>
          <p:cNvCxnSpPr>
            <a:cxnSpLocks/>
            <a:stCxn id="29" idx="2"/>
            <a:endCxn id="30" idx="0"/>
          </p:cNvCxnSpPr>
          <p:nvPr/>
        </p:nvCxnSpPr>
        <p:spPr bwMode="auto">
          <a:xfrm>
            <a:off x="3683274" y="2243570"/>
            <a:ext cx="0" cy="753429"/>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28" name="Straight Connector 27"/>
          <p:cNvCxnSpPr>
            <a:cxnSpLocks/>
            <a:stCxn id="31" idx="0"/>
            <a:endCxn id="30" idx="2"/>
          </p:cNvCxnSpPr>
          <p:nvPr/>
        </p:nvCxnSpPr>
        <p:spPr bwMode="auto">
          <a:xfrm flipV="1">
            <a:off x="3683274" y="3477196"/>
            <a:ext cx="0" cy="268242"/>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9" name="Rectangle: Rounded Corners 28"/>
          <p:cNvSpPr/>
          <p:nvPr/>
        </p:nvSpPr>
        <p:spPr bwMode="auto">
          <a:xfrm>
            <a:off x="1941852" y="1792996"/>
            <a:ext cx="3482844" cy="450574"/>
          </a:xfrm>
          <a:prstGeom prst="roundRect">
            <a:avLst/>
          </a:prstGeom>
          <a:solidFill>
            <a:srgbClr val="F08A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OSS/BSS</a:t>
            </a:r>
          </a:p>
        </p:txBody>
      </p:sp>
      <p:sp>
        <p:nvSpPr>
          <p:cNvPr id="30" name="Rectangle: Rounded Corners 29"/>
          <p:cNvSpPr/>
          <p:nvPr/>
        </p:nvSpPr>
        <p:spPr bwMode="auto">
          <a:xfrm>
            <a:off x="1941852" y="2996999"/>
            <a:ext cx="3482844" cy="480197"/>
          </a:xfrm>
          <a:prstGeom prst="roundRect">
            <a:avLst/>
          </a:prstGeom>
          <a:solidFill>
            <a:srgbClr val="00A9D4"/>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bg1"/>
                </a:solidFill>
                <a:effectLst/>
                <a:latin typeface="Arial" charset="0"/>
              </a:rPr>
              <a:t>EM (Element Manager)</a:t>
            </a:r>
          </a:p>
        </p:txBody>
      </p:sp>
      <p:sp>
        <p:nvSpPr>
          <p:cNvPr id="31" name="Rectangle: Rounded Corners 30"/>
          <p:cNvSpPr/>
          <p:nvPr/>
        </p:nvSpPr>
        <p:spPr bwMode="auto">
          <a:xfrm>
            <a:off x="1941852" y="3745438"/>
            <a:ext cx="3482844" cy="41137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none" lIns="72000" tIns="45720" rIns="72000" bIns="45720" numCol="1" rtlCol="0" anchor="t" anchorCtr="0" compatLnSpc="1">
            <a:prstTxWarp prst="textNoShape">
              <a:avLst/>
            </a:prstTxWarp>
          </a:bodyPr>
          <a:lstStyle>
            <a:defPPr>
              <a:defRPr lang="en-GB"/>
            </a:defPPr>
            <a:lvl1pPr algn="l" rtl="0" fontAlgn="base">
              <a:spcBef>
                <a:spcPct val="50000"/>
              </a:spcBef>
              <a:spcAft>
                <a:spcPct val="0"/>
              </a:spcAft>
              <a:defRPr sz="2000" kern="1200">
                <a:solidFill>
                  <a:schemeClr val="lt1"/>
                </a:solidFill>
                <a:latin typeface="+mn-lt"/>
                <a:ea typeface="+mn-ea"/>
                <a:cs typeface="+mn-cs"/>
              </a:defRPr>
            </a:lvl1pPr>
            <a:lvl2pPr marL="457200" algn="l" rtl="0" fontAlgn="base">
              <a:spcBef>
                <a:spcPct val="50000"/>
              </a:spcBef>
              <a:spcAft>
                <a:spcPct val="0"/>
              </a:spcAft>
              <a:defRPr sz="2000" kern="1200">
                <a:solidFill>
                  <a:schemeClr val="lt1"/>
                </a:solidFill>
                <a:latin typeface="+mn-lt"/>
                <a:ea typeface="+mn-ea"/>
                <a:cs typeface="+mn-cs"/>
              </a:defRPr>
            </a:lvl2pPr>
            <a:lvl3pPr marL="914400" algn="l" rtl="0" fontAlgn="base">
              <a:spcBef>
                <a:spcPct val="50000"/>
              </a:spcBef>
              <a:spcAft>
                <a:spcPct val="0"/>
              </a:spcAft>
              <a:defRPr sz="2000" kern="1200">
                <a:solidFill>
                  <a:schemeClr val="lt1"/>
                </a:solidFill>
                <a:latin typeface="+mn-lt"/>
                <a:ea typeface="+mn-ea"/>
                <a:cs typeface="+mn-cs"/>
              </a:defRPr>
            </a:lvl3pPr>
            <a:lvl4pPr marL="1371600" algn="l" rtl="0" fontAlgn="base">
              <a:spcBef>
                <a:spcPct val="50000"/>
              </a:spcBef>
              <a:spcAft>
                <a:spcPct val="0"/>
              </a:spcAft>
              <a:defRPr sz="2000" kern="1200">
                <a:solidFill>
                  <a:schemeClr val="lt1"/>
                </a:solidFill>
                <a:latin typeface="+mn-lt"/>
                <a:ea typeface="+mn-ea"/>
                <a:cs typeface="+mn-cs"/>
              </a:defRPr>
            </a:lvl4pPr>
            <a:lvl5pPr marL="1828800" algn="l" rtl="0" fontAlgn="base">
              <a:spcBef>
                <a:spcPct val="5000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en-US" sz="1600" dirty="0">
                <a:solidFill>
                  <a:schemeClr val="bg1"/>
                </a:solidFill>
              </a:rPr>
              <a:t>VNF (Virtual Network Function)</a:t>
            </a:r>
          </a:p>
        </p:txBody>
      </p:sp>
      <p:sp>
        <p:nvSpPr>
          <p:cNvPr id="32" name="TextBox 44"/>
          <p:cNvSpPr txBox="1"/>
          <p:nvPr/>
        </p:nvSpPr>
        <p:spPr>
          <a:xfrm>
            <a:off x="1801906" y="2479586"/>
            <a:ext cx="3622790" cy="400110"/>
          </a:xfrm>
          <a:prstGeom prst="rect">
            <a:avLst/>
          </a:prstGeom>
          <a:solidFill>
            <a:schemeClr val="bg2">
              <a:lumMod val="40000"/>
              <a:lumOff val="60000"/>
            </a:schemeClr>
          </a:solid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r>
              <a:rPr lang="en-US" b="1" dirty="0"/>
              <a:t>OSS-RC/ENM</a:t>
            </a:r>
            <a:endParaRPr lang="en-US" sz="1200" b="1" dirty="0"/>
          </a:p>
        </p:txBody>
      </p:sp>
      <p:cxnSp>
        <p:nvCxnSpPr>
          <p:cNvPr id="33" name="Straight Connector 32"/>
          <p:cNvCxnSpPr>
            <a:cxnSpLocks/>
            <a:stCxn id="30" idx="3"/>
            <a:endCxn id="18" idx="1"/>
          </p:cNvCxnSpPr>
          <p:nvPr/>
        </p:nvCxnSpPr>
        <p:spPr bwMode="auto">
          <a:xfrm>
            <a:off x="5424696" y="3237098"/>
            <a:ext cx="585324" cy="409323"/>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4" name="TextBox 33"/>
          <p:cNvSpPr txBox="1"/>
          <p:nvPr/>
        </p:nvSpPr>
        <p:spPr>
          <a:xfrm>
            <a:off x="9387566" y="3144996"/>
            <a:ext cx="2321469" cy="861774"/>
          </a:xfrm>
          <a:prstGeom prst="rect">
            <a:avLst/>
          </a:prstGeom>
          <a:noFill/>
        </p:spPr>
        <p:txBody>
          <a:bodyPr wrap="none" rtlCol="0">
            <a:spAutoFit/>
          </a:bodyPr>
          <a:lstStyle/>
          <a:p>
            <a:r>
              <a:rPr lang="en-US" dirty="0"/>
              <a:t>Ericsson Products:</a:t>
            </a:r>
          </a:p>
          <a:p>
            <a:pPr marL="342900" indent="-342900">
              <a:buFont typeface="Arial" panose="020B0604020202020204" pitchFamily="34" charset="0"/>
              <a:buChar char="•"/>
            </a:pPr>
            <a:r>
              <a:rPr lang="en-US" dirty="0"/>
              <a:t>OSS-RC/ENM</a:t>
            </a:r>
          </a:p>
        </p:txBody>
      </p:sp>
    </p:spTree>
    <p:custDataLst>
      <p:tags r:id="rId1"/>
    </p:custDataLst>
    <p:extLst>
      <p:ext uri="{BB962C8B-B14F-4D97-AF65-F5344CB8AC3E}">
        <p14:creationId xmlns:p14="http://schemas.microsoft.com/office/powerpoint/2010/main" val="41927605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NF Use Case example </a:t>
            </a:r>
          </a:p>
        </p:txBody>
      </p:sp>
      <p:sp>
        <p:nvSpPr>
          <p:cNvPr id="4" name="Content Placeholder 3"/>
          <p:cNvSpPr txBox="1">
            <a:spLocks/>
          </p:cNvSpPr>
          <p:nvPr/>
        </p:nvSpPr>
        <p:spPr>
          <a:xfrm>
            <a:off x="580963" y="1636564"/>
            <a:ext cx="3084517" cy="4724400"/>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defRPr/>
            </a:pPr>
            <a:r>
              <a:rPr lang="en-US" sz="1600" kern="0" dirty="0"/>
              <a:t>VNF onboarding &amp; instantiation (Steps 1&amp;2)</a:t>
            </a:r>
          </a:p>
          <a:p>
            <a:pPr lvl="1">
              <a:defRPr/>
            </a:pPr>
            <a:r>
              <a:rPr lang="en-US" altLang="sv-SE" sz="1400" kern="0" dirty="0"/>
              <a:t>IMS VNF develops OVF descriptor plus software images that are uploaded to </a:t>
            </a:r>
            <a:br>
              <a:rPr lang="en-US" altLang="sv-SE" sz="1400" kern="0" dirty="0"/>
            </a:br>
            <a:r>
              <a:rPr lang="en-US" altLang="sv-SE" sz="1400" kern="0" dirty="0"/>
              <a:t>Ericsson software GW at release for onboarding</a:t>
            </a:r>
            <a:endParaRPr lang="en-US" kern="0" dirty="0"/>
          </a:p>
          <a:p>
            <a:pPr>
              <a:defRPr/>
            </a:pPr>
            <a:endParaRPr lang="en-US" sz="1600" kern="0" dirty="0"/>
          </a:p>
          <a:p>
            <a:pPr>
              <a:defRPr/>
            </a:pPr>
            <a:r>
              <a:rPr lang="en-US" sz="1600" kern="0" dirty="0"/>
              <a:t>OSS resource model (Step 3)</a:t>
            </a:r>
          </a:p>
          <a:p>
            <a:pPr lvl="1">
              <a:defRPr/>
            </a:pPr>
            <a:r>
              <a:rPr lang="en-US" sz="1400" kern="0" dirty="0"/>
              <a:t>New VNF instance managed by OSS</a:t>
            </a:r>
          </a:p>
          <a:p>
            <a:pPr>
              <a:defRPr/>
            </a:pPr>
            <a:endParaRPr lang="en-US" sz="1600" kern="0" dirty="0"/>
          </a:p>
          <a:p>
            <a:pPr>
              <a:defRPr/>
            </a:pPr>
            <a:r>
              <a:rPr lang="en-US" sz="1600" kern="0" dirty="0"/>
              <a:t>Functional Configuration and validation (Steps 4&amp;5)</a:t>
            </a:r>
          </a:p>
          <a:p>
            <a:pPr marL="534988" lvl="2" indent="-176213">
              <a:buClr>
                <a:srgbClr val="00A9D4"/>
              </a:buClr>
              <a:buFont typeface="Arial" charset="0"/>
              <a:buChar char="›"/>
              <a:defRPr/>
            </a:pPr>
            <a:r>
              <a:rPr lang="en-US" sz="1400" kern="0" dirty="0"/>
              <a:t>VNF configuration, Validation, Carry traffic</a:t>
            </a:r>
          </a:p>
          <a:p>
            <a:endParaRPr lang="en-US" kern="0" dirty="0"/>
          </a:p>
        </p:txBody>
      </p:sp>
      <p:sp>
        <p:nvSpPr>
          <p:cNvPr id="5" name="Freeform 3"/>
          <p:cNvSpPr>
            <a:spLocks noChangeAspect="1"/>
          </p:cNvSpPr>
          <p:nvPr/>
        </p:nvSpPr>
        <p:spPr bwMode="auto">
          <a:xfrm>
            <a:off x="6098256" y="5530117"/>
            <a:ext cx="1816100" cy="971550"/>
          </a:xfrm>
          <a:custGeom>
            <a:avLst/>
            <a:gdLst>
              <a:gd name="T0" fmla="*/ 1406646 w 474"/>
              <a:gd name="T1" fmla="*/ 1074937 h 295"/>
              <a:gd name="T2" fmla="*/ 1436654 w 474"/>
              <a:gd name="T3" fmla="*/ 1044973 h 295"/>
              <a:gd name="T4" fmla="*/ 1436654 w 474"/>
              <a:gd name="T5" fmla="*/ 1044973 h 295"/>
              <a:gd name="T6" fmla="*/ 1537932 w 474"/>
              <a:gd name="T7" fmla="*/ 1044973 h 295"/>
              <a:gd name="T8" fmla="*/ 1669219 w 474"/>
              <a:gd name="T9" fmla="*/ 981301 h 295"/>
              <a:gd name="T10" fmla="*/ 1669219 w 474"/>
              <a:gd name="T11" fmla="*/ 981301 h 295"/>
              <a:gd name="T12" fmla="*/ 1717983 w 474"/>
              <a:gd name="T13" fmla="*/ 861447 h 295"/>
              <a:gd name="T14" fmla="*/ 1717983 w 474"/>
              <a:gd name="T15" fmla="*/ 861447 h 295"/>
              <a:gd name="T16" fmla="*/ 1646713 w 474"/>
              <a:gd name="T17" fmla="*/ 707885 h 295"/>
              <a:gd name="T18" fmla="*/ 1646713 w 474"/>
              <a:gd name="T19" fmla="*/ 707885 h 295"/>
              <a:gd name="T20" fmla="*/ 1642962 w 474"/>
              <a:gd name="T21" fmla="*/ 670431 h 295"/>
              <a:gd name="T22" fmla="*/ 1642962 w 474"/>
              <a:gd name="T23" fmla="*/ 670431 h 295"/>
              <a:gd name="T24" fmla="*/ 1687975 w 474"/>
              <a:gd name="T25" fmla="*/ 509378 h 295"/>
              <a:gd name="T26" fmla="*/ 1687975 w 474"/>
              <a:gd name="T27" fmla="*/ 509378 h 295"/>
              <a:gd name="T28" fmla="*/ 1372886 w 474"/>
              <a:gd name="T29" fmla="*/ 194762 h 295"/>
              <a:gd name="T30" fmla="*/ 1372886 w 474"/>
              <a:gd name="T31" fmla="*/ 194762 h 295"/>
              <a:gd name="T32" fmla="*/ 1189084 w 474"/>
              <a:gd name="T33" fmla="*/ 250943 h 295"/>
              <a:gd name="T34" fmla="*/ 1189084 w 474"/>
              <a:gd name="T35" fmla="*/ 250943 h 295"/>
              <a:gd name="T36" fmla="*/ 1144072 w 474"/>
              <a:gd name="T37" fmla="*/ 247198 h 295"/>
              <a:gd name="T38" fmla="*/ 1144072 w 474"/>
              <a:gd name="T39" fmla="*/ 247198 h 295"/>
              <a:gd name="T40" fmla="*/ 776468 w 474"/>
              <a:gd name="T41" fmla="*/ 59927 h 295"/>
              <a:gd name="T42" fmla="*/ 776468 w 474"/>
              <a:gd name="T43" fmla="*/ 59927 h 295"/>
              <a:gd name="T44" fmla="*/ 315089 w 474"/>
              <a:gd name="T45" fmla="*/ 475669 h 295"/>
              <a:gd name="T46" fmla="*/ 315089 w 474"/>
              <a:gd name="T47" fmla="*/ 475669 h 295"/>
              <a:gd name="T48" fmla="*/ 292582 w 474"/>
              <a:gd name="T49" fmla="*/ 501887 h 295"/>
              <a:gd name="T50" fmla="*/ 292582 w 474"/>
              <a:gd name="T51" fmla="*/ 501887 h 295"/>
              <a:gd name="T52" fmla="*/ 60017 w 474"/>
              <a:gd name="T53" fmla="*/ 782794 h 295"/>
              <a:gd name="T54" fmla="*/ 60017 w 474"/>
              <a:gd name="T55" fmla="*/ 782794 h 295"/>
              <a:gd name="T56" fmla="*/ 123785 w 474"/>
              <a:gd name="T57" fmla="*/ 958828 h 295"/>
              <a:gd name="T58" fmla="*/ 123785 w 474"/>
              <a:gd name="T59" fmla="*/ 958828 h 295"/>
              <a:gd name="T60" fmla="*/ 281329 w 474"/>
              <a:gd name="T61" fmla="*/ 1044973 h 295"/>
              <a:gd name="T62" fmla="*/ 281329 w 474"/>
              <a:gd name="T63" fmla="*/ 1044973 h 295"/>
              <a:gd name="T64" fmla="*/ 1316620 w 474"/>
              <a:gd name="T65" fmla="*/ 1044973 h 295"/>
              <a:gd name="T66" fmla="*/ 1346629 w 474"/>
              <a:gd name="T67" fmla="*/ 1074937 h 295"/>
              <a:gd name="T68" fmla="*/ 1346629 w 474"/>
              <a:gd name="T69" fmla="*/ 1074937 h 295"/>
              <a:gd name="T70" fmla="*/ 1316620 w 474"/>
              <a:gd name="T71" fmla="*/ 1104900 h 295"/>
              <a:gd name="T72" fmla="*/ 1316620 w 474"/>
              <a:gd name="T73" fmla="*/ 1104900 h 295"/>
              <a:gd name="T74" fmla="*/ 281329 w 474"/>
              <a:gd name="T75" fmla="*/ 1104900 h 295"/>
              <a:gd name="T76" fmla="*/ 78772 w 474"/>
              <a:gd name="T77" fmla="*/ 996283 h 295"/>
              <a:gd name="T78" fmla="*/ 78772 w 474"/>
              <a:gd name="T79" fmla="*/ 996283 h 295"/>
              <a:gd name="T80" fmla="*/ 0 w 474"/>
              <a:gd name="T81" fmla="*/ 782794 h 295"/>
              <a:gd name="T82" fmla="*/ 0 w 474"/>
              <a:gd name="T83" fmla="*/ 782794 h 295"/>
              <a:gd name="T84" fmla="*/ 258823 w 474"/>
              <a:gd name="T85" fmla="*/ 445705 h 295"/>
              <a:gd name="T86" fmla="*/ 258823 w 474"/>
              <a:gd name="T87" fmla="*/ 445705 h 295"/>
              <a:gd name="T88" fmla="*/ 776468 w 474"/>
              <a:gd name="T89" fmla="*/ 0 h 295"/>
              <a:gd name="T90" fmla="*/ 776468 w 474"/>
              <a:gd name="T91" fmla="*/ 0 h 295"/>
              <a:gd name="T92" fmla="*/ 1177831 w 474"/>
              <a:gd name="T93" fmla="*/ 187271 h 295"/>
              <a:gd name="T94" fmla="*/ 1177831 w 474"/>
              <a:gd name="T95" fmla="*/ 187271 h 295"/>
              <a:gd name="T96" fmla="*/ 1372886 w 474"/>
              <a:gd name="T97" fmla="*/ 134835 h 295"/>
              <a:gd name="T98" fmla="*/ 1372886 w 474"/>
              <a:gd name="T99" fmla="*/ 134835 h 295"/>
              <a:gd name="T100" fmla="*/ 1747992 w 474"/>
              <a:gd name="T101" fmla="*/ 509378 h 295"/>
              <a:gd name="T102" fmla="*/ 1747992 w 474"/>
              <a:gd name="T103" fmla="*/ 509378 h 295"/>
              <a:gd name="T104" fmla="*/ 1706730 w 474"/>
              <a:gd name="T105" fmla="*/ 681667 h 295"/>
              <a:gd name="T106" fmla="*/ 1706730 w 474"/>
              <a:gd name="T107" fmla="*/ 681667 h 295"/>
              <a:gd name="T108" fmla="*/ 1778000 w 474"/>
              <a:gd name="T109" fmla="*/ 861447 h 295"/>
              <a:gd name="T110" fmla="*/ 1778000 w 474"/>
              <a:gd name="T111" fmla="*/ 861447 h 295"/>
              <a:gd name="T112" fmla="*/ 1714232 w 474"/>
              <a:gd name="T113" fmla="*/ 1022501 h 295"/>
              <a:gd name="T114" fmla="*/ 1714232 w 474"/>
              <a:gd name="T115" fmla="*/ 1022501 h 295"/>
              <a:gd name="T116" fmla="*/ 1537932 w 474"/>
              <a:gd name="T117" fmla="*/ 1104900 h 295"/>
              <a:gd name="T118" fmla="*/ 1537932 w 474"/>
              <a:gd name="T119" fmla="*/ 1104900 h 295"/>
              <a:gd name="T120" fmla="*/ 1436654 w 474"/>
              <a:gd name="T121" fmla="*/ 1104900 h 295"/>
              <a:gd name="T122" fmla="*/ 1436654 w 474"/>
              <a:gd name="T123" fmla="*/ 1104900 h 295"/>
              <a:gd name="T124" fmla="*/ 1406646 w 474"/>
              <a:gd name="T125" fmla="*/ 1074937 h 2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4"/>
              <a:gd name="T190" fmla="*/ 0 h 295"/>
              <a:gd name="T191" fmla="*/ 474 w 474"/>
              <a:gd name="T192" fmla="*/ 295 h 2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4" h="295">
                <a:moveTo>
                  <a:pt x="375" y="287"/>
                </a:moveTo>
                <a:cubicBezTo>
                  <a:pt x="375" y="282"/>
                  <a:pt x="378" y="279"/>
                  <a:pt x="383" y="279"/>
                </a:cubicBezTo>
                <a:cubicBezTo>
                  <a:pt x="383" y="279"/>
                  <a:pt x="383" y="279"/>
                  <a:pt x="383" y="279"/>
                </a:cubicBezTo>
                <a:cubicBezTo>
                  <a:pt x="410" y="279"/>
                  <a:pt x="410" y="279"/>
                  <a:pt x="410" y="279"/>
                </a:cubicBezTo>
                <a:cubicBezTo>
                  <a:pt x="425" y="279"/>
                  <a:pt x="437" y="272"/>
                  <a:pt x="445" y="262"/>
                </a:cubicBezTo>
                <a:cubicBezTo>
                  <a:pt x="445" y="262"/>
                  <a:pt x="445" y="262"/>
                  <a:pt x="445" y="262"/>
                </a:cubicBezTo>
                <a:cubicBezTo>
                  <a:pt x="454" y="252"/>
                  <a:pt x="458" y="239"/>
                  <a:pt x="458" y="230"/>
                </a:cubicBezTo>
                <a:cubicBezTo>
                  <a:pt x="458" y="230"/>
                  <a:pt x="458" y="230"/>
                  <a:pt x="458" y="230"/>
                </a:cubicBezTo>
                <a:cubicBezTo>
                  <a:pt x="458" y="213"/>
                  <a:pt x="451" y="199"/>
                  <a:pt x="439" y="189"/>
                </a:cubicBezTo>
                <a:cubicBezTo>
                  <a:pt x="439" y="189"/>
                  <a:pt x="439" y="189"/>
                  <a:pt x="439" y="189"/>
                </a:cubicBezTo>
                <a:cubicBezTo>
                  <a:pt x="436" y="186"/>
                  <a:pt x="436" y="182"/>
                  <a:pt x="438" y="179"/>
                </a:cubicBezTo>
                <a:cubicBezTo>
                  <a:pt x="438" y="179"/>
                  <a:pt x="438" y="179"/>
                  <a:pt x="438" y="179"/>
                </a:cubicBezTo>
                <a:cubicBezTo>
                  <a:pt x="445" y="166"/>
                  <a:pt x="450" y="152"/>
                  <a:pt x="450" y="136"/>
                </a:cubicBezTo>
                <a:cubicBezTo>
                  <a:pt x="450" y="136"/>
                  <a:pt x="450" y="136"/>
                  <a:pt x="450" y="136"/>
                </a:cubicBezTo>
                <a:cubicBezTo>
                  <a:pt x="450" y="89"/>
                  <a:pt x="412" y="52"/>
                  <a:pt x="366" y="52"/>
                </a:cubicBezTo>
                <a:cubicBezTo>
                  <a:pt x="366" y="52"/>
                  <a:pt x="366" y="52"/>
                  <a:pt x="366" y="52"/>
                </a:cubicBezTo>
                <a:cubicBezTo>
                  <a:pt x="347" y="52"/>
                  <a:pt x="330" y="57"/>
                  <a:pt x="317" y="67"/>
                </a:cubicBezTo>
                <a:cubicBezTo>
                  <a:pt x="317" y="67"/>
                  <a:pt x="317" y="67"/>
                  <a:pt x="317" y="67"/>
                </a:cubicBezTo>
                <a:cubicBezTo>
                  <a:pt x="313" y="70"/>
                  <a:pt x="308" y="69"/>
                  <a:pt x="305" y="66"/>
                </a:cubicBezTo>
                <a:cubicBezTo>
                  <a:pt x="305" y="66"/>
                  <a:pt x="305" y="66"/>
                  <a:pt x="305" y="66"/>
                </a:cubicBezTo>
                <a:cubicBezTo>
                  <a:pt x="283" y="35"/>
                  <a:pt x="247" y="16"/>
                  <a:pt x="207" y="16"/>
                </a:cubicBezTo>
                <a:cubicBezTo>
                  <a:pt x="207" y="16"/>
                  <a:pt x="207" y="16"/>
                  <a:pt x="207" y="16"/>
                </a:cubicBezTo>
                <a:cubicBezTo>
                  <a:pt x="143" y="16"/>
                  <a:pt x="90" y="64"/>
                  <a:pt x="84" y="127"/>
                </a:cubicBezTo>
                <a:cubicBezTo>
                  <a:pt x="84" y="127"/>
                  <a:pt x="84" y="127"/>
                  <a:pt x="84" y="127"/>
                </a:cubicBezTo>
                <a:cubicBezTo>
                  <a:pt x="84" y="130"/>
                  <a:pt x="81" y="133"/>
                  <a:pt x="78" y="134"/>
                </a:cubicBezTo>
                <a:cubicBezTo>
                  <a:pt x="78" y="134"/>
                  <a:pt x="78" y="134"/>
                  <a:pt x="78" y="134"/>
                </a:cubicBezTo>
                <a:cubicBezTo>
                  <a:pt x="43" y="141"/>
                  <a:pt x="16" y="172"/>
                  <a:pt x="16" y="209"/>
                </a:cubicBezTo>
                <a:cubicBezTo>
                  <a:pt x="16" y="209"/>
                  <a:pt x="16" y="209"/>
                  <a:pt x="16" y="209"/>
                </a:cubicBezTo>
                <a:cubicBezTo>
                  <a:pt x="16" y="224"/>
                  <a:pt x="23" y="242"/>
                  <a:pt x="33" y="256"/>
                </a:cubicBezTo>
                <a:cubicBezTo>
                  <a:pt x="33" y="256"/>
                  <a:pt x="33" y="256"/>
                  <a:pt x="33" y="256"/>
                </a:cubicBezTo>
                <a:cubicBezTo>
                  <a:pt x="44" y="270"/>
                  <a:pt x="59" y="279"/>
                  <a:pt x="75" y="279"/>
                </a:cubicBezTo>
                <a:cubicBezTo>
                  <a:pt x="75" y="279"/>
                  <a:pt x="75" y="279"/>
                  <a:pt x="75" y="279"/>
                </a:cubicBezTo>
                <a:cubicBezTo>
                  <a:pt x="351" y="279"/>
                  <a:pt x="351" y="279"/>
                  <a:pt x="351" y="279"/>
                </a:cubicBezTo>
                <a:cubicBezTo>
                  <a:pt x="355" y="279"/>
                  <a:pt x="359" y="282"/>
                  <a:pt x="359" y="287"/>
                </a:cubicBezTo>
                <a:cubicBezTo>
                  <a:pt x="359" y="287"/>
                  <a:pt x="359" y="287"/>
                  <a:pt x="359" y="287"/>
                </a:cubicBezTo>
                <a:cubicBezTo>
                  <a:pt x="359" y="291"/>
                  <a:pt x="355" y="295"/>
                  <a:pt x="351" y="295"/>
                </a:cubicBezTo>
                <a:cubicBezTo>
                  <a:pt x="351" y="295"/>
                  <a:pt x="351" y="295"/>
                  <a:pt x="351" y="295"/>
                </a:cubicBezTo>
                <a:cubicBezTo>
                  <a:pt x="75" y="295"/>
                  <a:pt x="75" y="295"/>
                  <a:pt x="75" y="295"/>
                </a:cubicBezTo>
                <a:cubicBezTo>
                  <a:pt x="52" y="295"/>
                  <a:pt x="34" y="282"/>
                  <a:pt x="21" y="266"/>
                </a:cubicBezTo>
                <a:cubicBezTo>
                  <a:pt x="21" y="266"/>
                  <a:pt x="21" y="266"/>
                  <a:pt x="21" y="266"/>
                </a:cubicBezTo>
                <a:cubicBezTo>
                  <a:pt x="8" y="249"/>
                  <a:pt x="0" y="228"/>
                  <a:pt x="0" y="209"/>
                </a:cubicBezTo>
                <a:cubicBezTo>
                  <a:pt x="0" y="209"/>
                  <a:pt x="0" y="209"/>
                  <a:pt x="0" y="209"/>
                </a:cubicBezTo>
                <a:cubicBezTo>
                  <a:pt x="0" y="166"/>
                  <a:pt x="29" y="130"/>
                  <a:pt x="69" y="119"/>
                </a:cubicBezTo>
                <a:cubicBezTo>
                  <a:pt x="69" y="119"/>
                  <a:pt x="69" y="119"/>
                  <a:pt x="69" y="119"/>
                </a:cubicBezTo>
                <a:cubicBezTo>
                  <a:pt x="78" y="52"/>
                  <a:pt x="136" y="0"/>
                  <a:pt x="207" y="0"/>
                </a:cubicBezTo>
                <a:cubicBezTo>
                  <a:pt x="207" y="0"/>
                  <a:pt x="207" y="0"/>
                  <a:pt x="207" y="0"/>
                </a:cubicBezTo>
                <a:cubicBezTo>
                  <a:pt x="250" y="0"/>
                  <a:pt x="288" y="19"/>
                  <a:pt x="314" y="50"/>
                </a:cubicBezTo>
                <a:cubicBezTo>
                  <a:pt x="314" y="50"/>
                  <a:pt x="314" y="50"/>
                  <a:pt x="314" y="50"/>
                </a:cubicBezTo>
                <a:cubicBezTo>
                  <a:pt x="329" y="41"/>
                  <a:pt x="346" y="36"/>
                  <a:pt x="366" y="36"/>
                </a:cubicBezTo>
                <a:cubicBezTo>
                  <a:pt x="366" y="36"/>
                  <a:pt x="366" y="36"/>
                  <a:pt x="366" y="36"/>
                </a:cubicBezTo>
                <a:cubicBezTo>
                  <a:pt x="421" y="36"/>
                  <a:pt x="466" y="80"/>
                  <a:pt x="466" y="136"/>
                </a:cubicBezTo>
                <a:cubicBezTo>
                  <a:pt x="466" y="136"/>
                  <a:pt x="466" y="136"/>
                  <a:pt x="466" y="136"/>
                </a:cubicBezTo>
                <a:cubicBezTo>
                  <a:pt x="466" y="153"/>
                  <a:pt x="462" y="168"/>
                  <a:pt x="455" y="182"/>
                </a:cubicBezTo>
                <a:cubicBezTo>
                  <a:pt x="455" y="182"/>
                  <a:pt x="455" y="182"/>
                  <a:pt x="455" y="182"/>
                </a:cubicBezTo>
                <a:cubicBezTo>
                  <a:pt x="466" y="194"/>
                  <a:pt x="474" y="211"/>
                  <a:pt x="474" y="230"/>
                </a:cubicBezTo>
                <a:cubicBezTo>
                  <a:pt x="474" y="230"/>
                  <a:pt x="474" y="230"/>
                  <a:pt x="474" y="230"/>
                </a:cubicBezTo>
                <a:cubicBezTo>
                  <a:pt x="474" y="244"/>
                  <a:pt x="468" y="260"/>
                  <a:pt x="457" y="273"/>
                </a:cubicBezTo>
                <a:cubicBezTo>
                  <a:pt x="457" y="273"/>
                  <a:pt x="457" y="273"/>
                  <a:pt x="457" y="273"/>
                </a:cubicBezTo>
                <a:cubicBezTo>
                  <a:pt x="446" y="285"/>
                  <a:pt x="430" y="295"/>
                  <a:pt x="410" y="295"/>
                </a:cubicBezTo>
                <a:cubicBezTo>
                  <a:pt x="410" y="295"/>
                  <a:pt x="410" y="295"/>
                  <a:pt x="410" y="295"/>
                </a:cubicBezTo>
                <a:cubicBezTo>
                  <a:pt x="383" y="295"/>
                  <a:pt x="383" y="295"/>
                  <a:pt x="383" y="295"/>
                </a:cubicBezTo>
                <a:cubicBezTo>
                  <a:pt x="383" y="295"/>
                  <a:pt x="383" y="295"/>
                  <a:pt x="383" y="295"/>
                </a:cubicBezTo>
                <a:cubicBezTo>
                  <a:pt x="378" y="295"/>
                  <a:pt x="375" y="291"/>
                  <a:pt x="375" y="287"/>
                </a:cubicBezTo>
                <a:close/>
              </a:path>
            </a:pathLst>
          </a:custGeom>
          <a:solidFill>
            <a:schemeClr val="accent1">
              <a:lumMod val="50000"/>
            </a:schemeClr>
          </a:solidFill>
          <a:ln w="9525">
            <a:noFill/>
            <a:round/>
            <a:headEnd/>
            <a:tailEnd/>
          </a:ln>
        </p:spPr>
        <p:txBody>
          <a:bodyPr/>
          <a:lstStyle/>
          <a:p>
            <a:pPr>
              <a:defRPr/>
            </a:pPr>
            <a:endParaRPr lang="en-US"/>
          </a:p>
        </p:txBody>
      </p:sp>
      <p:sp>
        <p:nvSpPr>
          <p:cNvPr id="6" name="Rounded Rectangle 5"/>
          <p:cNvSpPr/>
          <p:nvPr/>
        </p:nvSpPr>
        <p:spPr bwMode="auto">
          <a:xfrm>
            <a:off x="6317331" y="1675667"/>
            <a:ext cx="1423988" cy="1481137"/>
          </a:xfrm>
          <a:prstGeom prst="roundRect">
            <a:avLst>
              <a:gd name="adj" fmla="val 8824"/>
            </a:avLst>
          </a:prstGeom>
          <a:solidFill>
            <a:schemeClr val="tx2">
              <a:lumMod val="90000"/>
              <a:lumOff val="10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endParaRPr lang="en-US"/>
          </a:p>
        </p:txBody>
      </p:sp>
      <p:sp>
        <p:nvSpPr>
          <p:cNvPr id="7" name="TextBox 6"/>
          <p:cNvSpPr txBox="1"/>
          <p:nvPr/>
        </p:nvSpPr>
        <p:spPr bwMode="auto">
          <a:xfrm>
            <a:off x="6662995" y="2370991"/>
            <a:ext cx="708848" cy="415498"/>
          </a:xfrm>
          <a:prstGeom prst="rect">
            <a:avLst/>
          </a:prstGeom>
          <a:noFill/>
        </p:spPr>
        <p:txBody>
          <a:bodyPr wrap="none">
            <a:spAutoFit/>
          </a:bodyPr>
          <a:lstStyle/>
          <a:p>
            <a:pPr algn="ctr">
              <a:defRPr/>
            </a:pPr>
            <a:r>
              <a:rPr lang="en-US" sz="1050">
                <a:solidFill>
                  <a:schemeClr val="bg1"/>
                </a:solidFill>
              </a:rPr>
              <a:t>ENM</a:t>
            </a:r>
            <a:br>
              <a:rPr lang="en-US" sz="1050">
                <a:solidFill>
                  <a:schemeClr val="bg1"/>
                </a:solidFill>
              </a:rPr>
            </a:br>
            <a:r>
              <a:rPr lang="en-US" sz="1050">
                <a:solidFill>
                  <a:schemeClr val="bg1"/>
                </a:solidFill>
              </a:rPr>
              <a:t>OSS-RC</a:t>
            </a:r>
          </a:p>
        </p:txBody>
      </p:sp>
      <p:cxnSp>
        <p:nvCxnSpPr>
          <p:cNvPr id="8" name="Straight Arrow Connector 17"/>
          <p:cNvCxnSpPr>
            <a:cxnSpLocks noChangeShapeType="1"/>
            <a:stCxn id="6" idx="3"/>
            <a:endCxn id="10" idx="1"/>
          </p:cNvCxnSpPr>
          <p:nvPr/>
        </p:nvCxnSpPr>
        <p:spPr bwMode="auto">
          <a:xfrm>
            <a:off x="7741141" y="2418154"/>
            <a:ext cx="1342477" cy="0"/>
          </a:xfrm>
          <a:prstGeom prst="straightConnector1">
            <a:avLst/>
          </a:prstGeom>
          <a:noFill/>
          <a:ln w="38100" algn="ctr">
            <a:solidFill>
              <a:srgbClr val="C00000"/>
            </a:solidFill>
            <a:round/>
            <a:headEnd/>
            <a:tailEnd type="arrow" w="med" len="med"/>
          </a:ln>
          <a:extLst>
            <a:ext uri="{909E8E84-426E-40DD-AFC4-6F175D3DCCD1}">
              <a14:hiddenFill xmlns:a14="http://schemas.microsoft.com/office/drawing/2010/main">
                <a:noFill/>
              </a14:hiddenFill>
            </a:ext>
          </a:extLst>
        </p:spPr>
      </p:cxnSp>
      <p:sp>
        <p:nvSpPr>
          <p:cNvPr id="9" name="Rounded Rectangle 8"/>
          <p:cNvSpPr/>
          <p:nvPr/>
        </p:nvSpPr>
        <p:spPr bwMode="auto">
          <a:xfrm>
            <a:off x="6349081" y="4129942"/>
            <a:ext cx="1384300" cy="1192212"/>
          </a:xfrm>
          <a:prstGeom prst="roundRect">
            <a:avLst>
              <a:gd name="adj" fmla="val 8824"/>
            </a:avLst>
          </a:prstGeom>
          <a:solidFill>
            <a:schemeClr val="tx2">
              <a:lumMod val="90000"/>
              <a:lumOff val="10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endParaRPr lang="en-US"/>
          </a:p>
        </p:txBody>
      </p:sp>
      <p:sp>
        <p:nvSpPr>
          <p:cNvPr id="10" name="Rounded Rectangle 9"/>
          <p:cNvSpPr/>
          <p:nvPr/>
        </p:nvSpPr>
        <p:spPr bwMode="auto">
          <a:xfrm>
            <a:off x="9084344" y="1675667"/>
            <a:ext cx="1423987" cy="1481137"/>
          </a:xfrm>
          <a:prstGeom prst="roundRect">
            <a:avLst>
              <a:gd name="adj" fmla="val 8824"/>
            </a:avLst>
          </a:prstGeom>
          <a:solidFill>
            <a:schemeClr val="bg1"/>
          </a:solidFill>
          <a:ln w="28575" cap="flat" cmpd="sng" algn="ctr">
            <a:solidFill>
              <a:schemeClr val="accent1">
                <a:lumMod val="50000"/>
              </a:schemeClr>
            </a:solidFill>
            <a:prstDash val="solid"/>
            <a:round/>
            <a:headEnd type="none" w="med" len="med"/>
            <a:tailEnd type="none" w="med" len="med"/>
          </a:ln>
          <a:effectLst/>
        </p:spPr>
        <p:txBody>
          <a:bodyPr wrap="none" lIns="72000" rIns="72000"/>
          <a:lstStyle/>
          <a:p>
            <a:pPr>
              <a:spcBef>
                <a:spcPct val="50000"/>
              </a:spcBef>
              <a:defRPr/>
            </a:pPr>
            <a:endParaRPr lang="en-US"/>
          </a:p>
        </p:txBody>
      </p:sp>
      <p:sp>
        <p:nvSpPr>
          <p:cNvPr id="11" name="Freeform 3"/>
          <p:cNvSpPr>
            <a:spLocks noChangeAspect="1" noEditPoints="1"/>
          </p:cNvSpPr>
          <p:nvPr/>
        </p:nvSpPr>
        <p:spPr bwMode="auto">
          <a:xfrm>
            <a:off x="9427244" y="1807429"/>
            <a:ext cx="700087" cy="623888"/>
          </a:xfrm>
          <a:custGeom>
            <a:avLst/>
            <a:gdLst>
              <a:gd name="T0" fmla="*/ 535 w 536"/>
              <a:gd name="T1" fmla="*/ 289 h 398"/>
              <a:gd name="T2" fmla="*/ 534 w 536"/>
              <a:gd name="T3" fmla="*/ 287 h 398"/>
              <a:gd name="T4" fmla="*/ 513 w 536"/>
              <a:gd name="T5" fmla="*/ 28 h 398"/>
              <a:gd name="T6" fmla="*/ 27 w 536"/>
              <a:gd name="T7" fmla="*/ 270 h 398"/>
              <a:gd name="T8" fmla="*/ 2 w 536"/>
              <a:gd name="T9" fmla="*/ 290 h 398"/>
              <a:gd name="T10" fmla="*/ 1 w 536"/>
              <a:gd name="T11" fmla="*/ 292 h 398"/>
              <a:gd name="T12" fmla="*/ 0 w 536"/>
              <a:gd name="T13" fmla="*/ 295 h 398"/>
              <a:gd name="T14" fmla="*/ 8 w 536"/>
              <a:gd name="T15" fmla="*/ 398 h 398"/>
              <a:gd name="T16" fmla="*/ 270 w 536"/>
              <a:gd name="T17" fmla="*/ 309 h 398"/>
              <a:gd name="T18" fmla="*/ 464 w 536"/>
              <a:gd name="T19" fmla="*/ 340 h 398"/>
              <a:gd name="T20" fmla="*/ 270 w 536"/>
              <a:gd name="T21" fmla="*/ 293 h 398"/>
              <a:gd name="T22" fmla="*/ 43 w 536"/>
              <a:gd name="T23" fmla="*/ 328 h 398"/>
              <a:gd name="T24" fmla="*/ 507 w 536"/>
              <a:gd name="T25" fmla="*/ 331 h 398"/>
              <a:gd name="T26" fmla="*/ 492 w 536"/>
              <a:gd name="T27" fmla="*/ 356 h 398"/>
              <a:gd name="T28" fmla="*/ 520 w 536"/>
              <a:gd name="T29" fmla="*/ 394 h 398"/>
              <a:gd name="T30" fmla="*/ 536 w 536"/>
              <a:gd name="T31" fmla="*/ 292 h 398"/>
              <a:gd name="T32" fmla="*/ 482 w 536"/>
              <a:gd name="T33" fmla="*/ 211 h 398"/>
              <a:gd name="T34" fmla="*/ 200 w 536"/>
              <a:gd name="T35" fmla="*/ 76 h 398"/>
              <a:gd name="T36" fmla="*/ 200 w 536"/>
              <a:gd name="T37" fmla="*/ 76 h 398"/>
              <a:gd name="T38" fmla="*/ 184 w 536"/>
              <a:gd name="T39" fmla="*/ 76 h 398"/>
              <a:gd name="T40" fmla="*/ 278 w 536"/>
              <a:gd name="T41" fmla="*/ 74 h 398"/>
              <a:gd name="T42" fmla="*/ 419 w 536"/>
              <a:gd name="T43" fmla="*/ 80 h 398"/>
              <a:gd name="T44" fmla="*/ 262 w 536"/>
              <a:gd name="T45" fmla="*/ 127 h 398"/>
              <a:gd name="T46" fmla="*/ 262 w 536"/>
              <a:gd name="T47" fmla="*/ 127 h 398"/>
              <a:gd name="T48" fmla="*/ 278 w 536"/>
              <a:gd name="T49" fmla="*/ 166 h 398"/>
              <a:gd name="T50" fmla="*/ 419 w 536"/>
              <a:gd name="T51" fmla="*/ 180 h 398"/>
              <a:gd name="T52" fmla="*/ 497 w 536"/>
              <a:gd name="T53" fmla="*/ 149 h 398"/>
              <a:gd name="T54" fmla="*/ 497 w 536"/>
              <a:gd name="T55" fmla="*/ 133 h 398"/>
              <a:gd name="T56" fmla="*/ 497 w 536"/>
              <a:gd name="T57" fmla="*/ 133 h 398"/>
              <a:gd name="T58" fmla="*/ 419 w 536"/>
              <a:gd name="T59" fmla="*/ 64 h 398"/>
              <a:gd name="T60" fmla="*/ 278 w 536"/>
              <a:gd name="T61" fmla="*/ 16 h 398"/>
              <a:gd name="T62" fmla="*/ 200 w 536"/>
              <a:gd name="T63" fmla="*/ 60 h 398"/>
              <a:gd name="T64" fmla="*/ 184 w 536"/>
              <a:gd name="T65" fmla="*/ 60 h 398"/>
              <a:gd name="T66" fmla="*/ 184 w 536"/>
              <a:gd name="T67" fmla="*/ 60 h 398"/>
              <a:gd name="T68" fmla="*/ 105 w 536"/>
              <a:gd name="T69" fmla="*/ 81 h 398"/>
              <a:gd name="T70" fmla="*/ 105 w 536"/>
              <a:gd name="T71" fmla="*/ 139 h 398"/>
              <a:gd name="T72" fmla="*/ 121 w 536"/>
              <a:gd name="T73" fmla="*/ 137 h 398"/>
              <a:gd name="T74" fmla="*/ 121 w 536"/>
              <a:gd name="T75" fmla="*/ 137 h 398"/>
              <a:gd name="T76" fmla="*/ 121 w 536"/>
              <a:gd name="T77" fmla="*/ 196 h 398"/>
              <a:gd name="T78" fmla="*/ 262 w 536"/>
              <a:gd name="T79" fmla="*/ 217 h 398"/>
              <a:gd name="T80" fmla="*/ 340 w 536"/>
              <a:gd name="T81" fmla="*/ 185 h 398"/>
              <a:gd name="T82" fmla="*/ 356 w 536"/>
              <a:gd name="T83" fmla="*/ 187 h 398"/>
              <a:gd name="T84" fmla="*/ 356 w 536"/>
              <a:gd name="T85" fmla="*/ 187 h 398"/>
              <a:gd name="T86" fmla="*/ 435 w 536"/>
              <a:gd name="T87" fmla="*/ 65 h 398"/>
              <a:gd name="T88" fmla="*/ 47 w 536"/>
              <a:gd name="T89" fmla="*/ 20 h 398"/>
              <a:gd name="T90" fmla="*/ 43 w 536"/>
              <a:gd name="T91" fmla="*/ 69 h 398"/>
              <a:gd name="T92" fmla="*/ 57 w 536"/>
              <a:gd name="T93" fmla="*/ 211 h 398"/>
              <a:gd name="T94" fmla="*/ 43 w 536"/>
              <a:gd name="T95" fmla="*/ 215 h 398"/>
              <a:gd name="T96" fmla="*/ 21 w 536"/>
              <a:gd name="T97" fmla="*/ 295 h 398"/>
              <a:gd name="T98" fmla="*/ 517 w 536"/>
              <a:gd name="T99" fmla="*/ 294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6" h="398">
                <a:moveTo>
                  <a:pt x="536" y="292"/>
                </a:moveTo>
                <a:cubicBezTo>
                  <a:pt x="536" y="291"/>
                  <a:pt x="536" y="291"/>
                  <a:pt x="536" y="291"/>
                </a:cubicBezTo>
                <a:cubicBezTo>
                  <a:pt x="536" y="291"/>
                  <a:pt x="536" y="290"/>
                  <a:pt x="536" y="290"/>
                </a:cubicBezTo>
                <a:cubicBezTo>
                  <a:pt x="535" y="290"/>
                  <a:pt x="535" y="290"/>
                  <a:pt x="535" y="289"/>
                </a:cubicBezTo>
                <a:cubicBezTo>
                  <a:pt x="535" y="289"/>
                  <a:pt x="535" y="289"/>
                  <a:pt x="535" y="289"/>
                </a:cubicBezTo>
                <a:cubicBezTo>
                  <a:pt x="535" y="288"/>
                  <a:pt x="535" y="288"/>
                  <a:pt x="535" y="288"/>
                </a:cubicBezTo>
                <a:cubicBezTo>
                  <a:pt x="534" y="288"/>
                  <a:pt x="534" y="287"/>
                  <a:pt x="534" y="287"/>
                </a:cubicBezTo>
                <a:cubicBezTo>
                  <a:pt x="534" y="287"/>
                  <a:pt x="534" y="287"/>
                  <a:pt x="534" y="287"/>
                </a:cubicBezTo>
                <a:cubicBezTo>
                  <a:pt x="534" y="287"/>
                  <a:pt x="534" y="287"/>
                  <a:pt x="533" y="287"/>
                </a:cubicBezTo>
                <a:cubicBezTo>
                  <a:pt x="533" y="286"/>
                  <a:pt x="527" y="280"/>
                  <a:pt x="513" y="271"/>
                </a:cubicBezTo>
                <a:cubicBezTo>
                  <a:pt x="513" y="271"/>
                  <a:pt x="513" y="271"/>
                  <a:pt x="513" y="270"/>
                </a:cubicBezTo>
                <a:cubicBezTo>
                  <a:pt x="513" y="28"/>
                  <a:pt x="513" y="28"/>
                  <a:pt x="513" y="28"/>
                </a:cubicBezTo>
                <a:cubicBezTo>
                  <a:pt x="513" y="12"/>
                  <a:pt x="499" y="0"/>
                  <a:pt x="482" y="0"/>
                </a:cubicBezTo>
                <a:cubicBezTo>
                  <a:pt x="58" y="0"/>
                  <a:pt x="58" y="0"/>
                  <a:pt x="58" y="0"/>
                </a:cubicBezTo>
                <a:cubicBezTo>
                  <a:pt x="41" y="0"/>
                  <a:pt x="27" y="12"/>
                  <a:pt x="27" y="28"/>
                </a:cubicBezTo>
                <a:cubicBezTo>
                  <a:pt x="27" y="270"/>
                  <a:pt x="27" y="270"/>
                  <a:pt x="27" y="270"/>
                </a:cubicBezTo>
                <a:cubicBezTo>
                  <a:pt x="27" y="271"/>
                  <a:pt x="27" y="271"/>
                  <a:pt x="27" y="271"/>
                </a:cubicBezTo>
                <a:cubicBezTo>
                  <a:pt x="11" y="281"/>
                  <a:pt x="3" y="289"/>
                  <a:pt x="3" y="289"/>
                </a:cubicBezTo>
                <a:cubicBezTo>
                  <a:pt x="3" y="289"/>
                  <a:pt x="3" y="289"/>
                  <a:pt x="3" y="289"/>
                </a:cubicBezTo>
                <a:cubicBezTo>
                  <a:pt x="2" y="289"/>
                  <a:pt x="2" y="290"/>
                  <a:pt x="2" y="290"/>
                </a:cubicBezTo>
                <a:cubicBezTo>
                  <a:pt x="2" y="290"/>
                  <a:pt x="2" y="290"/>
                  <a:pt x="2" y="290"/>
                </a:cubicBezTo>
                <a:cubicBezTo>
                  <a:pt x="2" y="290"/>
                  <a:pt x="2" y="290"/>
                  <a:pt x="2" y="291"/>
                </a:cubicBezTo>
                <a:cubicBezTo>
                  <a:pt x="1" y="291"/>
                  <a:pt x="1" y="291"/>
                  <a:pt x="1" y="291"/>
                </a:cubicBezTo>
                <a:cubicBezTo>
                  <a:pt x="1" y="292"/>
                  <a:pt x="1" y="292"/>
                  <a:pt x="1" y="292"/>
                </a:cubicBezTo>
                <a:cubicBezTo>
                  <a:pt x="1" y="292"/>
                  <a:pt x="1" y="293"/>
                  <a:pt x="1" y="293"/>
                </a:cubicBezTo>
                <a:cubicBezTo>
                  <a:pt x="1" y="293"/>
                  <a:pt x="1" y="293"/>
                  <a:pt x="0" y="294"/>
                </a:cubicBezTo>
                <a:cubicBezTo>
                  <a:pt x="0" y="294"/>
                  <a:pt x="0" y="294"/>
                  <a:pt x="0" y="294"/>
                </a:cubicBezTo>
                <a:cubicBezTo>
                  <a:pt x="0" y="295"/>
                  <a:pt x="0" y="295"/>
                  <a:pt x="0" y="295"/>
                </a:cubicBezTo>
                <a:cubicBezTo>
                  <a:pt x="0" y="295"/>
                  <a:pt x="0" y="315"/>
                  <a:pt x="0" y="336"/>
                </a:cubicBezTo>
                <a:cubicBezTo>
                  <a:pt x="0" y="358"/>
                  <a:pt x="0" y="382"/>
                  <a:pt x="0" y="390"/>
                </a:cubicBezTo>
                <a:cubicBezTo>
                  <a:pt x="0" y="393"/>
                  <a:pt x="2" y="396"/>
                  <a:pt x="5" y="397"/>
                </a:cubicBezTo>
                <a:cubicBezTo>
                  <a:pt x="6" y="397"/>
                  <a:pt x="7" y="398"/>
                  <a:pt x="8" y="398"/>
                </a:cubicBezTo>
                <a:cubicBezTo>
                  <a:pt x="10" y="398"/>
                  <a:pt x="12" y="397"/>
                  <a:pt x="13" y="396"/>
                </a:cubicBezTo>
                <a:cubicBezTo>
                  <a:pt x="13" y="396"/>
                  <a:pt x="15" y="395"/>
                  <a:pt x="18" y="392"/>
                </a:cubicBezTo>
                <a:cubicBezTo>
                  <a:pt x="40" y="376"/>
                  <a:pt x="138" y="309"/>
                  <a:pt x="270" y="309"/>
                </a:cubicBezTo>
                <a:cubicBezTo>
                  <a:pt x="270" y="309"/>
                  <a:pt x="270" y="309"/>
                  <a:pt x="270" y="309"/>
                </a:cubicBezTo>
                <a:cubicBezTo>
                  <a:pt x="270" y="309"/>
                  <a:pt x="270" y="309"/>
                  <a:pt x="271" y="309"/>
                </a:cubicBezTo>
                <a:cubicBezTo>
                  <a:pt x="348" y="309"/>
                  <a:pt x="412" y="332"/>
                  <a:pt x="456" y="354"/>
                </a:cubicBezTo>
                <a:cubicBezTo>
                  <a:pt x="460" y="356"/>
                  <a:pt x="465" y="355"/>
                  <a:pt x="467" y="351"/>
                </a:cubicBezTo>
                <a:cubicBezTo>
                  <a:pt x="469" y="347"/>
                  <a:pt x="468" y="342"/>
                  <a:pt x="464" y="340"/>
                </a:cubicBezTo>
                <a:cubicBezTo>
                  <a:pt x="464" y="340"/>
                  <a:pt x="464" y="340"/>
                  <a:pt x="464" y="340"/>
                </a:cubicBezTo>
                <a:cubicBezTo>
                  <a:pt x="417" y="317"/>
                  <a:pt x="350" y="293"/>
                  <a:pt x="270" y="293"/>
                </a:cubicBezTo>
                <a:cubicBezTo>
                  <a:pt x="270" y="293"/>
                  <a:pt x="270" y="293"/>
                  <a:pt x="270" y="293"/>
                </a:cubicBezTo>
                <a:cubicBezTo>
                  <a:pt x="270" y="293"/>
                  <a:pt x="270" y="293"/>
                  <a:pt x="270" y="293"/>
                </a:cubicBezTo>
                <a:cubicBezTo>
                  <a:pt x="145" y="293"/>
                  <a:pt x="50" y="351"/>
                  <a:pt x="16" y="374"/>
                </a:cubicBezTo>
                <a:cubicBezTo>
                  <a:pt x="16" y="356"/>
                  <a:pt x="16" y="330"/>
                  <a:pt x="16" y="312"/>
                </a:cubicBezTo>
                <a:cubicBezTo>
                  <a:pt x="34" y="327"/>
                  <a:pt x="34" y="327"/>
                  <a:pt x="34" y="327"/>
                </a:cubicBezTo>
                <a:cubicBezTo>
                  <a:pt x="37" y="329"/>
                  <a:pt x="40" y="330"/>
                  <a:pt x="43" y="328"/>
                </a:cubicBezTo>
                <a:cubicBezTo>
                  <a:pt x="80" y="305"/>
                  <a:pt x="151" y="268"/>
                  <a:pt x="270" y="268"/>
                </a:cubicBezTo>
                <a:cubicBezTo>
                  <a:pt x="406" y="268"/>
                  <a:pt x="472" y="309"/>
                  <a:pt x="501" y="330"/>
                </a:cubicBezTo>
                <a:cubicBezTo>
                  <a:pt x="502" y="331"/>
                  <a:pt x="504" y="331"/>
                  <a:pt x="506" y="331"/>
                </a:cubicBezTo>
                <a:cubicBezTo>
                  <a:pt x="506" y="331"/>
                  <a:pt x="506" y="331"/>
                  <a:pt x="507" y="331"/>
                </a:cubicBezTo>
                <a:cubicBezTo>
                  <a:pt x="509" y="331"/>
                  <a:pt x="511" y="330"/>
                  <a:pt x="512" y="328"/>
                </a:cubicBezTo>
                <a:cubicBezTo>
                  <a:pt x="520" y="317"/>
                  <a:pt x="520" y="317"/>
                  <a:pt x="520" y="317"/>
                </a:cubicBezTo>
                <a:cubicBezTo>
                  <a:pt x="520" y="374"/>
                  <a:pt x="520" y="374"/>
                  <a:pt x="520" y="374"/>
                </a:cubicBezTo>
                <a:cubicBezTo>
                  <a:pt x="513" y="369"/>
                  <a:pt x="504" y="363"/>
                  <a:pt x="492" y="356"/>
                </a:cubicBezTo>
                <a:cubicBezTo>
                  <a:pt x="489" y="353"/>
                  <a:pt x="484" y="355"/>
                  <a:pt x="481" y="358"/>
                </a:cubicBezTo>
                <a:cubicBezTo>
                  <a:pt x="479" y="362"/>
                  <a:pt x="480" y="367"/>
                  <a:pt x="484" y="369"/>
                </a:cubicBezTo>
                <a:cubicBezTo>
                  <a:pt x="497" y="377"/>
                  <a:pt x="506" y="383"/>
                  <a:pt x="513" y="388"/>
                </a:cubicBezTo>
                <a:cubicBezTo>
                  <a:pt x="516" y="391"/>
                  <a:pt x="519" y="393"/>
                  <a:pt x="520" y="394"/>
                </a:cubicBezTo>
                <a:cubicBezTo>
                  <a:pt x="522" y="395"/>
                  <a:pt x="523" y="396"/>
                  <a:pt x="523" y="396"/>
                </a:cubicBezTo>
                <a:cubicBezTo>
                  <a:pt x="525" y="398"/>
                  <a:pt x="528" y="398"/>
                  <a:pt x="531" y="397"/>
                </a:cubicBezTo>
                <a:cubicBezTo>
                  <a:pt x="534" y="396"/>
                  <a:pt x="536" y="393"/>
                  <a:pt x="536" y="390"/>
                </a:cubicBezTo>
                <a:cubicBezTo>
                  <a:pt x="536" y="292"/>
                  <a:pt x="536" y="292"/>
                  <a:pt x="536" y="292"/>
                </a:cubicBezTo>
                <a:cubicBezTo>
                  <a:pt x="536" y="292"/>
                  <a:pt x="536" y="292"/>
                  <a:pt x="536" y="292"/>
                </a:cubicBezTo>
                <a:close/>
                <a:moveTo>
                  <a:pt x="435" y="238"/>
                </a:moveTo>
                <a:cubicBezTo>
                  <a:pt x="435" y="200"/>
                  <a:pt x="435" y="200"/>
                  <a:pt x="435" y="200"/>
                </a:cubicBezTo>
                <a:cubicBezTo>
                  <a:pt x="455" y="204"/>
                  <a:pt x="471" y="208"/>
                  <a:pt x="482" y="211"/>
                </a:cubicBezTo>
                <a:cubicBezTo>
                  <a:pt x="489" y="213"/>
                  <a:pt x="494" y="214"/>
                  <a:pt x="497" y="215"/>
                </a:cubicBezTo>
                <a:cubicBezTo>
                  <a:pt x="497" y="262"/>
                  <a:pt x="497" y="262"/>
                  <a:pt x="497" y="262"/>
                </a:cubicBezTo>
                <a:cubicBezTo>
                  <a:pt x="482" y="254"/>
                  <a:pt x="461" y="245"/>
                  <a:pt x="435" y="238"/>
                </a:cubicBezTo>
                <a:close/>
                <a:moveTo>
                  <a:pt x="200" y="76"/>
                </a:moveTo>
                <a:cubicBezTo>
                  <a:pt x="222" y="75"/>
                  <a:pt x="243" y="74"/>
                  <a:pt x="262" y="74"/>
                </a:cubicBezTo>
                <a:cubicBezTo>
                  <a:pt x="262" y="111"/>
                  <a:pt x="262" y="111"/>
                  <a:pt x="262" y="111"/>
                </a:cubicBezTo>
                <a:cubicBezTo>
                  <a:pt x="241" y="111"/>
                  <a:pt x="220" y="112"/>
                  <a:pt x="200" y="114"/>
                </a:cubicBezTo>
                <a:lnTo>
                  <a:pt x="200" y="76"/>
                </a:lnTo>
                <a:close/>
                <a:moveTo>
                  <a:pt x="184" y="115"/>
                </a:moveTo>
                <a:cubicBezTo>
                  <a:pt x="161" y="116"/>
                  <a:pt x="140" y="119"/>
                  <a:pt x="121" y="121"/>
                </a:cubicBezTo>
                <a:cubicBezTo>
                  <a:pt x="121" y="80"/>
                  <a:pt x="121" y="80"/>
                  <a:pt x="121" y="80"/>
                </a:cubicBezTo>
                <a:cubicBezTo>
                  <a:pt x="141" y="78"/>
                  <a:pt x="162" y="77"/>
                  <a:pt x="184" y="76"/>
                </a:cubicBezTo>
                <a:lnTo>
                  <a:pt x="184" y="115"/>
                </a:lnTo>
                <a:close/>
                <a:moveTo>
                  <a:pt x="340" y="114"/>
                </a:moveTo>
                <a:cubicBezTo>
                  <a:pt x="320" y="112"/>
                  <a:pt x="299" y="111"/>
                  <a:pt x="278" y="111"/>
                </a:cubicBezTo>
                <a:cubicBezTo>
                  <a:pt x="278" y="74"/>
                  <a:pt x="278" y="74"/>
                  <a:pt x="278" y="74"/>
                </a:cubicBezTo>
                <a:cubicBezTo>
                  <a:pt x="297" y="74"/>
                  <a:pt x="318" y="75"/>
                  <a:pt x="340" y="76"/>
                </a:cubicBezTo>
                <a:lnTo>
                  <a:pt x="340" y="114"/>
                </a:lnTo>
                <a:close/>
                <a:moveTo>
                  <a:pt x="356" y="76"/>
                </a:moveTo>
                <a:cubicBezTo>
                  <a:pt x="378" y="77"/>
                  <a:pt x="399" y="78"/>
                  <a:pt x="419" y="80"/>
                </a:cubicBezTo>
                <a:cubicBezTo>
                  <a:pt x="419" y="121"/>
                  <a:pt x="419" y="121"/>
                  <a:pt x="419" y="121"/>
                </a:cubicBezTo>
                <a:cubicBezTo>
                  <a:pt x="400" y="119"/>
                  <a:pt x="379" y="116"/>
                  <a:pt x="356" y="115"/>
                </a:cubicBezTo>
                <a:lnTo>
                  <a:pt x="356" y="76"/>
                </a:lnTo>
                <a:close/>
                <a:moveTo>
                  <a:pt x="262" y="127"/>
                </a:moveTo>
                <a:cubicBezTo>
                  <a:pt x="262" y="166"/>
                  <a:pt x="262" y="166"/>
                  <a:pt x="262" y="166"/>
                </a:cubicBezTo>
                <a:cubicBezTo>
                  <a:pt x="240" y="166"/>
                  <a:pt x="219" y="168"/>
                  <a:pt x="200" y="169"/>
                </a:cubicBezTo>
                <a:cubicBezTo>
                  <a:pt x="200" y="130"/>
                  <a:pt x="200" y="130"/>
                  <a:pt x="200" y="130"/>
                </a:cubicBezTo>
                <a:cubicBezTo>
                  <a:pt x="220" y="128"/>
                  <a:pt x="241" y="127"/>
                  <a:pt x="262" y="127"/>
                </a:cubicBezTo>
                <a:close/>
                <a:moveTo>
                  <a:pt x="278" y="127"/>
                </a:moveTo>
                <a:cubicBezTo>
                  <a:pt x="299" y="127"/>
                  <a:pt x="320" y="128"/>
                  <a:pt x="340" y="130"/>
                </a:cubicBezTo>
                <a:cubicBezTo>
                  <a:pt x="340" y="169"/>
                  <a:pt x="340" y="169"/>
                  <a:pt x="340" y="169"/>
                </a:cubicBezTo>
                <a:cubicBezTo>
                  <a:pt x="321" y="168"/>
                  <a:pt x="300" y="166"/>
                  <a:pt x="278" y="166"/>
                </a:cubicBezTo>
                <a:lnTo>
                  <a:pt x="278" y="127"/>
                </a:lnTo>
                <a:close/>
                <a:moveTo>
                  <a:pt x="356" y="131"/>
                </a:moveTo>
                <a:cubicBezTo>
                  <a:pt x="379" y="133"/>
                  <a:pt x="400" y="135"/>
                  <a:pt x="419" y="137"/>
                </a:cubicBezTo>
                <a:cubicBezTo>
                  <a:pt x="419" y="180"/>
                  <a:pt x="419" y="180"/>
                  <a:pt x="419" y="180"/>
                </a:cubicBezTo>
                <a:cubicBezTo>
                  <a:pt x="400" y="177"/>
                  <a:pt x="379" y="173"/>
                  <a:pt x="356" y="171"/>
                </a:cubicBezTo>
                <a:lnTo>
                  <a:pt x="356" y="131"/>
                </a:lnTo>
                <a:close/>
                <a:moveTo>
                  <a:pt x="435" y="139"/>
                </a:moveTo>
                <a:cubicBezTo>
                  <a:pt x="466" y="143"/>
                  <a:pt x="488" y="147"/>
                  <a:pt x="497" y="149"/>
                </a:cubicBezTo>
                <a:cubicBezTo>
                  <a:pt x="497" y="199"/>
                  <a:pt x="497" y="199"/>
                  <a:pt x="497" y="199"/>
                </a:cubicBezTo>
                <a:cubicBezTo>
                  <a:pt x="486" y="195"/>
                  <a:pt x="464" y="189"/>
                  <a:pt x="435" y="183"/>
                </a:cubicBezTo>
                <a:lnTo>
                  <a:pt x="435" y="139"/>
                </a:lnTo>
                <a:close/>
                <a:moveTo>
                  <a:pt x="497" y="133"/>
                </a:moveTo>
                <a:cubicBezTo>
                  <a:pt x="486" y="131"/>
                  <a:pt x="464" y="127"/>
                  <a:pt x="435" y="123"/>
                </a:cubicBezTo>
                <a:cubicBezTo>
                  <a:pt x="435" y="81"/>
                  <a:pt x="435" y="81"/>
                  <a:pt x="435" y="81"/>
                </a:cubicBezTo>
                <a:cubicBezTo>
                  <a:pt x="464" y="82"/>
                  <a:pt x="487" y="84"/>
                  <a:pt x="497" y="85"/>
                </a:cubicBezTo>
                <a:lnTo>
                  <a:pt x="497" y="133"/>
                </a:lnTo>
                <a:close/>
                <a:moveTo>
                  <a:pt x="356" y="60"/>
                </a:moveTo>
                <a:cubicBezTo>
                  <a:pt x="356" y="16"/>
                  <a:pt x="356" y="16"/>
                  <a:pt x="356" y="16"/>
                </a:cubicBezTo>
                <a:cubicBezTo>
                  <a:pt x="419" y="16"/>
                  <a:pt x="419" y="16"/>
                  <a:pt x="419" y="16"/>
                </a:cubicBezTo>
                <a:cubicBezTo>
                  <a:pt x="419" y="64"/>
                  <a:pt x="419" y="64"/>
                  <a:pt x="419" y="64"/>
                </a:cubicBezTo>
                <a:cubicBezTo>
                  <a:pt x="399" y="62"/>
                  <a:pt x="378" y="61"/>
                  <a:pt x="356" y="60"/>
                </a:cubicBezTo>
                <a:close/>
                <a:moveTo>
                  <a:pt x="340" y="60"/>
                </a:moveTo>
                <a:cubicBezTo>
                  <a:pt x="319" y="59"/>
                  <a:pt x="297" y="58"/>
                  <a:pt x="278" y="58"/>
                </a:cubicBezTo>
                <a:cubicBezTo>
                  <a:pt x="278" y="16"/>
                  <a:pt x="278" y="16"/>
                  <a:pt x="278" y="16"/>
                </a:cubicBezTo>
                <a:cubicBezTo>
                  <a:pt x="340" y="16"/>
                  <a:pt x="340" y="16"/>
                  <a:pt x="340" y="16"/>
                </a:cubicBezTo>
                <a:lnTo>
                  <a:pt x="340" y="60"/>
                </a:lnTo>
                <a:close/>
                <a:moveTo>
                  <a:pt x="262" y="58"/>
                </a:moveTo>
                <a:cubicBezTo>
                  <a:pt x="243" y="58"/>
                  <a:pt x="222" y="59"/>
                  <a:pt x="200" y="60"/>
                </a:cubicBezTo>
                <a:cubicBezTo>
                  <a:pt x="200" y="16"/>
                  <a:pt x="200" y="16"/>
                  <a:pt x="200" y="16"/>
                </a:cubicBezTo>
                <a:cubicBezTo>
                  <a:pt x="262" y="16"/>
                  <a:pt x="262" y="16"/>
                  <a:pt x="262" y="16"/>
                </a:cubicBezTo>
                <a:lnTo>
                  <a:pt x="262" y="58"/>
                </a:lnTo>
                <a:close/>
                <a:moveTo>
                  <a:pt x="184" y="60"/>
                </a:moveTo>
                <a:cubicBezTo>
                  <a:pt x="162" y="61"/>
                  <a:pt x="141" y="62"/>
                  <a:pt x="121" y="64"/>
                </a:cubicBezTo>
                <a:cubicBezTo>
                  <a:pt x="121" y="16"/>
                  <a:pt x="121" y="16"/>
                  <a:pt x="121" y="16"/>
                </a:cubicBezTo>
                <a:cubicBezTo>
                  <a:pt x="184" y="16"/>
                  <a:pt x="184" y="16"/>
                  <a:pt x="184" y="16"/>
                </a:cubicBezTo>
                <a:lnTo>
                  <a:pt x="184" y="60"/>
                </a:lnTo>
                <a:close/>
                <a:moveTo>
                  <a:pt x="105" y="123"/>
                </a:moveTo>
                <a:cubicBezTo>
                  <a:pt x="77" y="127"/>
                  <a:pt x="54" y="131"/>
                  <a:pt x="43" y="133"/>
                </a:cubicBezTo>
                <a:cubicBezTo>
                  <a:pt x="43" y="85"/>
                  <a:pt x="43" y="85"/>
                  <a:pt x="43" y="85"/>
                </a:cubicBezTo>
                <a:cubicBezTo>
                  <a:pt x="54" y="84"/>
                  <a:pt x="77" y="82"/>
                  <a:pt x="105" y="81"/>
                </a:cubicBezTo>
                <a:lnTo>
                  <a:pt x="105" y="123"/>
                </a:lnTo>
                <a:close/>
                <a:moveTo>
                  <a:pt x="43" y="149"/>
                </a:moveTo>
                <a:cubicBezTo>
                  <a:pt x="46" y="148"/>
                  <a:pt x="51" y="147"/>
                  <a:pt x="58" y="146"/>
                </a:cubicBezTo>
                <a:cubicBezTo>
                  <a:pt x="69" y="144"/>
                  <a:pt x="86" y="142"/>
                  <a:pt x="105" y="139"/>
                </a:cubicBezTo>
                <a:cubicBezTo>
                  <a:pt x="105" y="183"/>
                  <a:pt x="105" y="183"/>
                  <a:pt x="105" y="183"/>
                </a:cubicBezTo>
                <a:cubicBezTo>
                  <a:pt x="76" y="189"/>
                  <a:pt x="55" y="195"/>
                  <a:pt x="43" y="198"/>
                </a:cubicBezTo>
                <a:lnTo>
                  <a:pt x="43" y="149"/>
                </a:lnTo>
                <a:close/>
                <a:moveTo>
                  <a:pt x="121" y="137"/>
                </a:moveTo>
                <a:cubicBezTo>
                  <a:pt x="140" y="135"/>
                  <a:pt x="161" y="133"/>
                  <a:pt x="184" y="131"/>
                </a:cubicBezTo>
                <a:cubicBezTo>
                  <a:pt x="184" y="171"/>
                  <a:pt x="184" y="171"/>
                  <a:pt x="184" y="171"/>
                </a:cubicBezTo>
                <a:cubicBezTo>
                  <a:pt x="161" y="173"/>
                  <a:pt x="140" y="177"/>
                  <a:pt x="121" y="180"/>
                </a:cubicBezTo>
                <a:lnTo>
                  <a:pt x="121" y="137"/>
                </a:lnTo>
                <a:close/>
                <a:moveTo>
                  <a:pt x="184" y="187"/>
                </a:moveTo>
                <a:cubicBezTo>
                  <a:pt x="184" y="222"/>
                  <a:pt x="184" y="222"/>
                  <a:pt x="184" y="222"/>
                </a:cubicBezTo>
                <a:cubicBezTo>
                  <a:pt x="160" y="225"/>
                  <a:pt x="140" y="229"/>
                  <a:pt x="121" y="234"/>
                </a:cubicBezTo>
                <a:cubicBezTo>
                  <a:pt x="121" y="196"/>
                  <a:pt x="121" y="196"/>
                  <a:pt x="121" y="196"/>
                </a:cubicBezTo>
                <a:cubicBezTo>
                  <a:pt x="140" y="193"/>
                  <a:pt x="161" y="190"/>
                  <a:pt x="184" y="187"/>
                </a:cubicBezTo>
                <a:close/>
                <a:moveTo>
                  <a:pt x="200" y="185"/>
                </a:moveTo>
                <a:cubicBezTo>
                  <a:pt x="219" y="184"/>
                  <a:pt x="240" y="182"/>
                  <a:pt x="262" y="182"/>
                </a:cubicBezTo>
                <a:cubicBezTo>
                  <a:pt x="262" y="217"/>
                  <a:pt x="262" y="217"/>
                  <a:pt x="262" y="217"/>
                </a:cubicBezTo>
                <a:cubicBezTo>
                  <a:pt x="240" y="217"/>
                  <a:pt x="219" y="218"/>
                  <a:pt x="200" y="220"/>
                </a:cubicBezTo>
                <a:lnTo>
                  <a:pt x="200" y="185"/>
                </a:lnTo>
                <a:close/>
                <a:moveTo>
                  <a:pt x="278" y="182"/>
                </a:moveTo>
                <a:cubicBezTo>
                  <a:pt x="300" y="182"/>
                  <a:pt x="321" y="184"/>
                  <a:pt x="340" y="185"/>
                </a:cubicBezTo>
                <a:cubicBezTo>
                  <a:pt x="340" y="220"/>
                  <a:pt x="340" y="220"/>
                  <a:pt x="340" y="220"/>
                </a:cubicBezTo>
                <a:cubicBezTo>
                  <a:pt x="321" y="218"/>
                  <a:pt x="300" y="217"/>
                  <a:pt x="278" y="217"/>
                </a:cubicBezTo>
                <a:lnTo>
                  <a:pt x="278" y="182"/>
                </a:lnTo>
                <a:close/>
                <a:moveTo>
                  <a:pt x="356" y="187"/>
                </a:moveTo>
                <a:cubicBezTo>
                  <a:pt x="379" y="190"/>
                  <a:pt x="400" y="193"/>
                  <a:pt x="419" y="196"/>
                </a:cubicBezTo>
                <a:cubicBezTo>
                  <a:pt x="419" y="233"/>
                  <a:pt x="419" y="233"/>
                  <a:pt x="419" y="233"/>
                </a:cubicBezTo>
                <a:cubicBezTo>
                  <a:pt x="400" y="229"/>
                  <a:pt x="380" y="225"/>
                  <a:pt x="356" y="222"/>
                </a:cubicBezTo>
                <a:lnTo>
                  <a:pt x="356" y="187"/>
                </a:lnTo>
                <a:close/>
                <a:moveTo>
                  <a:pt x="493" y="20"/>
                </a:moveTo>
                <a:cubicBezTo>
                  <a:pt x="496" y="22"/>
                  <a:pt x="497" y="25"/>
                  <a:pt x="497" y="28"/>
                </a:cubicBezTo>
                <a:cubicBezTo>
                  <a:pt x="497" y="69"/>
                  <a:pt x="497" y="69"/>
                  <a:pt x="497" y="69"/>
                </a:cubicBezTo>
                <a:cubicBezTo>
                  <a:pt x="486" y="68"/>
                  <a:pt x="463" y="66"/>
                  <a:pt x="435" y="65"/>
                </a:cubicBezTo>
                <a:cubicBezTo>
                  <a:pt x="435" y="16"/>
                  <a:pt x="435" y="16"/>
                  <a:pt x="435" y="16"/>
                </a:cubicBezTo>
                <a:cubicBezTo>
                  <a:pt x="482" y="16"/>
                  <a:pt x="482" y="16"/>
                  <a:pt x="482" y="16"/>
                </a:cubicBezTo>
                <a:cubicBezTo>
                  <a:pt x="487" y="16"/>
                  <a:pt x="490" y="17"/>
                  <a:pt x="493" y="20"/>
                </a:cubicBezTo>
                <a:close/>
                <a:moveTo>
                  <a:pt x="47" y="20"/>
                </a:moveTo>
                <a:cubicBezTo>
                  <a:pt x="50" y="17"/>
                  <a:pt x="53" y="16"/>
                  <a:pt x="58" y="16"/>
                </a:cubicBezTo>
                <a:cubicBezTo>
                  <a:pt x="105" y="16"/>
                  <a:pt x="105" y="16"/>
                  <a:pt x="105" y="16"/>
                </a:cubicBezTo>
                <a:cubicBezTo>
                  <a:pt x="105" y="65"/>
                  <a:pt x="105" y="65"/>
                  <a:pt x="105" y="65"/>
                </a:cubicBezTo>
                <a:cubicBezTo>
                  <a:pt x="77" y="66"/>
                  <a:pt x="54" y="68"/>
                  <a:pt x="43" y="69"/>
                </a:cubicBezTo>
                <a:cubicBezTo>
                  <a:pt x="43" y="28"/>
                  <a:pt x="43" y="28"/>
                  <a:pt x="43" y="28"/>
                </a:cubicBezTo>
                <a:cubicBezTo>
                  <a:pt x="43" y="25"/>
                  <a:pt x="44" y="22"/>
                  <a:pt x="47" y="20"/>
                </a:cubicBezTo>
                <a:close/>
                <a:moveTo>
                  <a:pt x="43" y="215"/>
                </a:moveTo>
                <a:cubicBezTo>
                  <a:pt x="46" y="214"/>
                  <a:pt x="51" y="213"/>
                  <a:pt x="57" y="211"/>
                </a:cubicBezTo>
                <a:cubicBezTo>
                  <a:pt x="68" y="208"/>
                  <a:pt x="85" y="204"/>
                  <a:pt x="105" y="199"/>
                </a:cubicBezTo>
                <a:cubicBezTo>
                  <a:pt x="105" y="238"/>
                  <a:pt x="105" y="238"/>
                  <a:pt x="105" y="238"/>
                </a:cubicBezTo>
                <a:cubicBezTo>
                  <a:pt x="79" y="246"/>
                  <a:pt x="59" y="255"/>
                  <a:pt x="43" y="263"/>
                </a:cubicBezTo>
                <a:lnTo>
                  <a:pt x="43" y="215"/>
                </a:lnTo>
                <a:close/>
                <a:moveTo>
                  <a:pt x="504" y="312"/>
                </a:moveTo>
                <a:cubicBezTo>
                  <a:pt x="470" y="289"/>
                  <a:pt x="400" y="252"/>
                  <a:pt x="270" y="252"/>
                </a:cubicBezTo>
                <a:cubicBezTo>
                  <a:pt x="153" y="252"/>
                  <a:pt x="79" y="287"/>
                  <a:pt x="40" y="311"/>
                </a:cubicBezTo>
                <a:cubicBezTo>
                  <a:pt x="21" y="295"/>
                  <a:pt x="21" y="295"/>
                  <a:pt x="21" y="295"/>
                </a:cubicBezTo>
                <a:cubicBezTo>
                  <a:pt x="42" y="279"/>
                  <a:pt x="117" y="233"/>
                  <a:pt x="270" y="233"/>
                </a:cubicBezTo>
                <a:cubicBezTo>
                  <a:pt x="364" y="233"/>
                  <a:pt x="427" y="249"/>
                  <a:pt x="467" y="266"/>
                </a:cubicBezTo>
                <a:cubicBezTo>
                  <a:pt x="487" y="274"/>
                  <a:pt x="501" y="282"/>
                  <a:pt x="510" y="288"/>
                </a:cubicBezTo>
                <a:cubicBezTo>
                  <a:pt x="513" y="290"/>
                  <a:pt x="515" y="292"/>
                  <a:pt x="517" y="294"/>
                </a:cubicBezTo>
                <a:lnTo>
                  <a:pt x="504" y="312"/>
                </a:lnTo>
                <a:close/>
              </a:path>
            </a:pathLst>
          </a:custGeom>
          <a:solidFill>
            <a:schemeClr val="accent1">
              <a:lumMod val="50000"/>
            </a:schemeClr>
          </a:solidFill>
          <a:ln>
            <a:noFill/>
          </a:ln>
        </p:spPr>
        <p:txBody>
          <a:bodyPr/>
          <a:lstStyle/>
          <a:p>
            <a:pPr>
              <a:defRPr/>
            </a:pPr>
            <a:endParaRPr lang="en-US"/>
          </a:p>
        </p:txBody>
      </p:sp>
      <p:sp>
        <p:nvSpPr>
          <p:cNvPr id="12" name="TextBox 11"/>
          <p:cNvSpPr txBox="1"/>
          <p:nvPr/>
        </p:nvSpPr>
        <p:spPr bwMode="auto">
          <a:xfrm>
            <a:off x="9438692" y="2347180"/>
            <a:ext cx="718466" cy="415498"/>
          </a:xfrm>
          <a:prstGeom prst="rect">
            <a:avLst/>
          </a:prstGeom>
          <a:noFill/>
        </p:spPr>
        <p:txBody>
          <a:bodyPr wrap="none">
            <a:spAutoFit/>
          </a:bodyPr>
          <a:lstStyle/>
          <a:p>
            <a:pPr algn="ctr">
              <a:defRPr/>
            </a:pPr>
            <a:r>
              <a:rPr lang="en-US" sz="1050"/>
              <a:t>Cloud</a:t>
            </a:r>
            <a:br>
              <a:rPr lang="en-US" sz="1050"/>
            </a:br>
            <a:r>
              <a:rPr lang="en-US" sz="1050"/>
              <a:t>Manager</a:t>
            </a:r>
          </a:p>
        </p:txBody>
      </p:sp>
      <p:sp>
        <p:nvSpPr>
          <p:cNvPr id="13" name="Freeform 3"/>
          <p:cNvSpPr>
            <a:spLocks noChangeAspect="1" noEditPoints="1"/>
          </p:cNvSpPr>
          <p:nvPr/>
        </p:nvSpPr>
        <p:spPr bwMode="auto">
          <a:xfrm>
            <a:off x="6667934" y="1837898"/>
            <a:ext cx="701265" cy="623699"/>
          </a:xfrm>
          <a:custGeom>
            <a:avLst/>
            <a:gdLst>
              <a:gd name="T0" fmla="*/ 2147483647 w 536"/>
              <a:gd name="T1" fmla="*/ 2147483647 h 398"/>
              <a:gd name="T2" fmla="*/ 2147483647 w 536"/>
              <a:gd name="T3" fmla="*/ 2147483647 h 398"/>
              <a:gd name="T4" fmla="*/ 2147483647 w 536"/>
              <a:gd name="T5" fmla="*/ 2147483647 h 398"/>
              <a:gd name="T6" fmla="*/ 2147483647 w 536"/>
              <a:gd name="T7" fmla="*/ 2147483647 h 398"/>
              <a:gd name="T8" fmla="*/ 2147483647 w 536"/>
              <a:gd name="T9" fmla="*/ 2147483647 h 398"/>
              <a:gd name="T10" fmla="*/ 2147483647 w 536"/>
              <a:gd name="T11" fmla="*/ 2147483647 h 398"/>
              <a:gd name="T12" fmla="*/ 0 w 536"/>
              <a:gd name="T13" fmla="*/ 2147483647 h 398"/>
              <a:gd name="T14" fmla="*/ 2147483647 w 536"/>
              <a:gd name="T15" fmla="*/ 2147483647 h 398"/>
              <a:gd name="T16" fmla="*/ 2147483647 w 536"/>
              <a:gd name="T17" fmla="*/ 2147483647 h 398"/>
              <a:gd name="T18" fmla="*/ 2147483647 w 536"/>
              <a:gd name="T19" fmla="*/ 2147483647 h 398"/>
              <a:gd name="T20" fmla="*/ 2147483647 w 536"/>
              <a:gd name="T21" fmla="*/ 2147483647 h 398"/>
              <a:gd name="T22" fmla="*/ 2147483647 w 536"/>
              <a:gd name="T23" fmla="*/ 2147483647 h 398"/>
              <a:gd name="T24" fmla="*/ 2147483647 w 536"/>
              <a:gd name="T25" fmla="*/ 2147483647 h 398"/>
              <a:gd name="T26" fmla="*/ 2147483647 w 536"/>
              <a:gd name="T27" fmla="*/ 2147483647 h 398"/>
              <a:gd name="T28" fmla="*/ 2147483647 w 536"/>
              <a:gd name="T29" fmla="*/ 2147483647 h 398"/>
              <a:gd name="T30" fmla="*/ 2147483647 w 536"/>
              <a:gd name="T31" fmla="*/ 2147483647 h 398"/>
              <a:gd name="T32" fmla="*/ 2147483647 w 536"/>
              <a:gd name="T33" fmla="*/ 2147483647 h 398"/>
              <a:gd name="T34" fmla="*/ 2147483647 w 536"/>
              <a:gd name="T35" fmla="*/ 2147483647 h 398"/>
              <a:gd name="T36" fmla="*/ 2147483647 w 536"/>
              <a:gd name="T37" fmla="*/ 2147483647 h 398"/>
              <a:gd name="T38" fmla="*/ 2147483647 w 536"/>
              <a:gd name="T39" fmla="*/ 2147483647 h 398"/>
              <a:gd name="T40" fmla="*/ 2147483647 w 536"/>
              <a:gd name="T41" fmla="*/ 2147483647 h 398"/>
              <a:gd name="T42" fmla="*/ 2147483647 w 536"/>
              <a:gd name="T43" fmla="*/ 2147483647 h 398"/>
              <a:gd name="T44" fmla="*/ 2147483647 w 536"/>
              <a:gd name="T45" fmla="*/ 2147483647 h 398"/>
              <a:gd name="T46" fmla="*/ 2147483647 w 536"/>
              <a:gd name="T47" fmla="*/ 2147483647 h 398"/>
              <a:gd name="T48" fmla="*/ 2147483647 w 536"/>
              <a:gd name="T49" fmla="*/ 2147483647 h 398"/>
              <a:gd name="T50" fmla="*/ 2147483647 w 536"/>
              <a:gd name="T51" fmla="*/ 2147483647 h 398"/>
              <a:gd name="T52" fmla="*/ 2147483647 w 536"/>
              <a:gd name="T53" fmla="*/ 2147483647 h 398"/>
              <a:gd name="T54" fmla="*/ 2147483647 w 536"/>
              <a:gd name="T55" fmla="*/ 2147483647 h 398"/>
              <a:gd name="T56" fmla="*/ 2147483647 w 536"/>
              <a:gd name="T57" fmla="*/ 2147483647 h 398"/>
              <a:gd name="T58" fmla="*/ 2147483647 w 536"/>
              <a:gd name="T59" fmla="*/ 2147483647 h 398"/>
              <a:gd name="T60" fmla="*/ 2147483647 w 536"/>
              <a:gd name="T61" fmla="*/ 2147483647 h 398"/>
              <a:gd name="T62" fmla="*/ 2147483647 w 536"/>
              <a:gd name="T63" fmla="*/ 2147483647 h 398"/>
              <a:gd name="T64" fmla="*/ 2147483647 w 536"/>
              <a:gd name="T65" fmla="*/ 2147483647 h 398"/>
              <a:gd name="T66" fmla="*/ 2147483647 w 536"/>
              <a:gd name="T67" fmla="*/ 2147483647 h 398"/>
              <a:gd name="T68" fmla="*/ 2147483647 w 536"/>
              <a:gd name="T69" fmla="*/ 2147483647 h 398"/>
              <a:gd name="T70" fmla="*/ 2147483647 w 536"/>
              <a:gd name="T71" fmla="*/ 2147483647 h 398"/>
              <a:gd name="T72" fmla="*/ 2147483647 w 536"/>
              <a:gd name="T73" fmla="*/ 2147483647 h 398"/>
              <a:gd name="T74" fmla="*/ 2147483647 w 536"/>
              <a:gd name="T75" fmla="*/ 2147483647 h 398"/>
              <a:gd name="T76" fmla="*/ 2147483647 w 536"/>
              <a:gd name="T77" fmla="*/ 2147483647 h 398"/>
              <a:gd name="T78" fmla="*/ 2147483647 w 536"/>
              <a:gd name="T79" fmla="*/ 2147483647 h 398"/>
              <a:gd name="T80" fmla="*/ 2147483647 w 536"/>
              <a:gd name="T81" fmla="*/ 2147483647 h 398"/>
              <a:gd name="T82" fmla="*/ 2147483647 w 536"/>
              <a:gd name="T83" fmla="*/ 2147483647 h 398"/>
              <a:gd name="T84" fmla="*/ 2147483647 w 536"/>
              <a:gd name="T85" fmla="*/ 2147483647 h 398"/>
              <a:gd name="T86" fmla="*/ 2147483647 w 536"/>
              <a:gd name="T87" fmla="*/ 2147483647 h 398"/>
              <a:gd name="T88" fmla="*/ 2147483647 w 536"/>
              <a:gd name="T89" fmla="*/ 2147483647 h 398"/>
              <a:gd name="T90" fmla="*/ 2147483647 w 536"/>
              <a:gd name="T91" fmla="*/ 2147483647 h 398"/>
              <a:gd name="T92" fmla="*/ 2147483647 w 536"/>
              <a:gd name="T93" fmla="*/ 2147483647 h 398"/>
              <a:gd name="T94" fmla="*/ 2147483647 w 536"/>
              <a:gd name="T95" fmla="*/ 2147483647 h 398"/>
              <a:gd name="T96" fmla="*/ 2147483647 w 536"/>
              <a:gd name="T97" fmla="*/ 2147483647 h 398"/>
              <a:gd name="T98" fmla="*/ 2147483647 w 536"/>
              <a:gd name="T99" fmla="*/ 2147483647 h 3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36" h="398">
                <a:moveTo>
                  <a:pt x="536" y="292"/>
                </a:moveTo>
                <a:cubicBezTo>
                  <a:pt x="536" y="291"/>
                  <a:pt x="536" y="291"/>
                  <a:pt x="536" y="291"/>
                </a:cubicBezTo>
                <a:cubicBezTo>
                  <a:pt x="536" y="291"/>
                  <a:pt x="536" y="290"/>
                  <a:pt x="536" y="290"/>
                </a:cubicBezTo>
                <a:cubicBezTo>
                  <a:pt x="535" y="290"/>
                  <a:pt x="535" y="290"/>
                  <a:pt x="535" y="289"/>
                </a:cubicBezTo>
                <a:cubicBezTo>
                  <a:pt x="535" y="289"/>
                  <a:pt x="535" y="289"/>
                  <a:pt x="535" y="289"/>
                </a:cubicBezTo>
                <a:cubicBezTo>
                  <a:pt x="535" y="288"/>
                  <a:pt x="535" y="288"/>
                  <a:pt x="535" y="288"/>
                </a:cubicBezTo>
                <a:cubicBezTo>
                  <a:pt x="534" y="288"/>
                  <a:pt x="534" y="287"/>
                  <a:pt x="534" y="287"/>
                </a:cubicBezTo>
                <a:cubicBezTo>
                  <a:pt x="534" y="287"/>
                  <a:pt x="534" y="287"/>
                  <a:pt x="534" y="287"/>
                </a:cubicBezTo>
                <a:cubicBezTo>
                  <a:pt x="534" y="287"/>
                  <a:pt x="534" y="287"/>
                  <a:pt x="533" y="287"/>
                </a:cubicBezTo>
                <a:cubicBezTo>
                  <a:pt x="533" y="286"/>
                  <a:pt x="527" y="280"/>
                  <a:pt x="513" y="271"/>
                </a:cubicBezTo>
                <a:cubicBezTo>
                  <a:pt x="513" y="271"/>
                  <a:pt x="513" y="271"/>
                  <a:pt x="513" y="270"/>
                </a:cubicBezTo>
                <a:cubicBezTo>
                  <a:pt x="513" y="28"/>
                  <a:pt x="513" y="28"/>
                  <a:pt x="513" y="28"/>
                </a:cubicBezTo>
                <a:cubicBezTo>
                  <a:pt x="513" y="12"/>
                  <a:pt x="499" y="0"/>
                  <a:pt x="482" y="0"/>
                </a:cubicBezTo>
                <a:cubicBezTo>
                  <a:pt x="58" y="0"/>
                  <a:pt x="58" y="0"/>
                  <a:pt x="58" y="0"/>
                </a:cubicBezTo>
                <a:cubicBezTo>
                  <a:pt x="41" y="0"/>
                  <a:pt x="27" y="12"/>
                  <a:pt x="27" y="28"/>
                </a:cubicBezTo>
                <a:cubicBezTo>
                  <a:pt x="27" y="270"/>
                  <a:pt x="27" y="270"/>
                  <a:pt x="27" y="270"/>
                </a:cubicBezTo>
                <a:cubicBezTo>
                  <a:pt x="27" y="271"/>
                  <a:pt x="27" y="271"/>
                  <a:pt x="27" y="271"/>
                </a:cubicBezTo>
                <a:cubicBezTo>
                  <a:pt x="11" y="281"/>
                  <a:pt x="3" y="289"/>
                  <a:pt x="3" y="289"/>
                </a:cubicBezTo>
                <a:cubicBezTo>
                  <a:pt x="3" y="289"/>
                  <a:pt x="3" y="289"/>
                  <a:pt x="3" y="289"/>
                </a:cubicBezTo>
                <a:cubicBezTo>
                  <a:pt x="2" y="289"/>
                  <a:pt x="2" y="290"/>
                  <a:pt x="2" y="290"/>
                </a:cubicBezTo>
                <a:cubicBezTo>
                  <a:pt x="2" y="290"/>
                  <a:pt x="2" y="290"/>
                  <a:pt x="2" y="290"/>
                </a:cubicBezTo>
                <a:cubicBezTo>
                  <a:pt x="2" y="290"/>
                  <a:pt x="2" y="290"/>
                  <a:pt x="2" y="291"/>
                </a:cubicBezTo>
                <a:cubicBezTo>
                  <a:pt x="1" y="291"/>
                  <a:pt x="1" y="291"/>
                  <a:pt x="1" y="291"/>
                </a:cubicBezTo>
                <a:cubicBezTo>
                  <a:pt x="1" y="292"/>
                  <a:pt x="1" y="292"/>
                  <a:pt x="1" y="292"/>
                </a:cubicBezTo>
                <a:cubicBezTo>
                  <a:pt x="1" y="292"/>
                  <a:pt x="1" y="293"/>
                  <a:pt x="1" y="293"/>
                </a:cubicBezTo>
                <a:cubicBezTo>
                  <a:pt x="1" y="293"/>
                  <a:pt x="1" y="293"/>
                  <a:pt x="0" y="294"/>
                </a:cubicBezTo>
                <a:cubicBezTo>
                  <a:pt x="0" y="294"/>
                  <a:pt x="0" y="294"/>
                  <a:pt x="0" y="294"/>
                </a:cubicBezTo>
                <a:cubicBezTo>
                  <a:pt x="0" y="295"/>
                  <a:pt x="0" y="295"/>
                  <a:pt x="0" y="295"/>
                </a:cubicBezTo>
                <a:cubicBezTo>
                  <a:pt x="0" y="295"/>
                  <a:pt x="0" y="315"/>
                  <a:pt x="0" y="336"/>
                </a:cubicBezTo>
                <a:cubicBezTo>
                  <a:pt x="0" y="358"/>
                  <a:pt x="0" y="382"/>
                  <a:pt x="0" y="390"/>
                </a:cubicBezTo>
                <a:cubicBezTo>
                  <a:pt x="0" y="393"/>
                  <a:pt x="2" y="396"/>
                  <a:pt x="5" y="397"/>
                </a:cubicBezTo>
                <a:cubicBezTo>
                  <a:pt x="6" y="397"/>
                  <a:pt x="7" y="398"/>
                  <a:pt x="8" y="398"/>
                </a:cubicBezTo>
                <a:cubicBezTo>
                  <a:pt x="10" y="398"/>
                  <a:pt x="12" y="397"/>
                  <a:pt x="13" y="396"/>
                </a:cubicBezTo>
                <a:cubicBezTo>
                  <a:pt x="13" y="396"/>
                  <a:pt x="15" y="395"/>
                  <a:pt x="18" y="392"/>
                </a:cubicBezTo>
                <a:cubicBezTo>
                  <a:pt x="40" y="376"/>
                  <a:pt x="138" y="309"/>
                  <a:pt x="270" y="309"/>
                </a:cubicBezTo>
                <a:cubicBezTo>
                  <a:pt x="270" y="309"/>
                  <a:pt x="270" y="309"/>
                  <a:pt x="270" y="309"/>
                </a:cubicBezTo>
                <a:cubicBezTo>
                  <a:pt x="270" y="309"/>
                  <a:pt x="270" y="309"/>
                  <a:pt x="271" y="309"/>
                </a:cubicBezTo>
                <a:cubicBezTo>
                  <a:pt x="348" y="309"/>
                  <a:pt x="412" y="332"/>
                  <a:pt x="456" y="354"/>
                </a:cubicBezTo>
                <a:cubicBezTo>
                  <a:pt x="460" y="356"/>
                  <a:pt x="465" y="355"/>
                  <a:pt x="467" y="351"/>
                </a:cubicBezTo>
                <a:cubicBezTo>
                  <a:pt x="469" y="347"/>
                  <a:pt x="468" y="342"/>
                  <a:pt x="464" y="340"/>
                </a:cubicBezTo>
                <a:cubicBezTo>
                  <a:pt x="464" y="340"/>
                  <a:pt x="464" y="340"/>
                  <a:pt x="464" y="340"/>
                </a:cubicBezTo>
                <a:cubicBezTo>
                  <a:pt x="417" y="317"/>
                  <a:pt x="350" y="293"/>
                  <a:pt x="270" y="293"/>
                </a:cubicBezTo>
                <a:cubicBezTo>
                  <a:pt x="270" y="293"/>
                  <a:pt x="270" y="293"/>
                  <a:pt x="270" y="293"/>
                </a:cubicBezTo>
                <a:cubicBezTo>
                  <a:pt x="270" y="293"/>
                  <a:pt x="270" y="293"/>
                  <a:pt x="270" y="293"/>
                </a:cubicBezTo>
                <a:cubicBezTo>
                  <a:pt x="145" y="293"/>
                  <a:pt x="50" y="351"/>
                  <a:pt x="16" y="374"/>
                </a:cubicBezTo>
                <a:cubicBezTo>
                  <a:pt x="16" y="356"/>
                  <a:pt x="16" y="330"/>
                  <a:pt x="16" y="312"/>
                </a:cubicBezTo>
                <a:cubicBezTo>
                  <a:pt x="34" y="327"/>
                  <a:pt x="34" y="327"/>
                  <a:pt x="34" y="327"/>
                </a:cubicBezTo>
                <a:cubicBezTo>
                  <a:pt x="37" y="329"/>
                  <a:pt x="40" y="330"/>
                  <a:pt x="43" y="328"/>
                </a:cubicBezTo>
                <a:cubicBezTo>
                  <a:pt x="80" y="305"/>
                  <a:pt x="151" y="268"/>
                  <a:pt x="270" y="268"/>
                </a:cubicBezTo>
                <a:cubicBezTo>
                  <a:pt x="406" y="268"/>
                  <a:pt x="472" y="309"/>
                  <a:pt x="501" y="330"/>
                </a:cubicBezTo>
                <a:cubicBezTo>
                  <a:pt x="502" y="331"/>
                  <a:pt x="504" y="331"/>
                  <a:pt x="506" y="331"/>
                </a:cubicBezTo>
                <a:cubicBezTo>
                  <a:pt x="506" y="331"/>
                  <a:pt x="506" y="331"/>
                  <a:pt x="507" y="331"/>
                </a:cubicBezTo>
                <a:cubicBezTo>
                  <a:pt x="509" y="331"/>
                  <a:pt x="511" y="330"/>
                  <a:pt x="512" y="328"/>
                </a:cubicBezTo>
                <a:cubicBezTo>
                  <a:pt x="520" y="317"/>
                  <a:pt x="520" y="317"/>
                  <a:pt x="520" y="317"/>
                </a:cubicBezTo>
                <a:cubicBezTo>
                  <a:pt x="520" y="374"/>
                  <a:pt x="520" y="374"/>
                  <a:pt x="520" y="374"/>
                </a:cubicBezTo>
                <a:cubicBezTo>
                  <a:pt x="513" y="369"/>
                  <a:pt x="504" y="363"/>
                  <a:pt x="492" y="356"/>
                </a:cubicBezTo>
                <a:cubicBezTo>
                  <a:pt x="489" y="353"/>
                  <a:pt x="484" y="355"/>
                  <a:pt x="481" y="358"/>
                </a:cubicBezTo>
                <a:cubicBezTo>
                  <a:pt x="479" y="362"/>
                  <a:pt x="480" y="367"/>
                  <a:pt x="484" y="369"/>
                </a:cubicBezTo>
                <a:cubicBezTo>
                  <a:pt x="497" y="377"/>
                  <a:pt x="506" y="383"/>
                  <a:pt x="513" y="388"/>
                </a:cubicBezTo>
                <a:cubicBezTo>
                  <a:pt x="516" y="391"/>
                  <a:pt x="519" y="393"/>
                  <a:pt x="520" y="394"/>
                </a:cubicBezTo>
                <a:cubicBezTo>
                  <a:pt x="522" y="395"/>
                  <a:pt x="523" y="396"/>
                  <a:pt x="523" y="396"/>
                </a:cubicBezTo>
                <a:cubicBezTo>
                  <a:pt x="525" y="398"/>
                  <a:pt x="528" y="398"/>
                  <a:pt x="531" y="397"/>
                </a:cubicBezTo>
                <a:cubicBezTo>
                  <a:pt x="534" y="396"/>
                  <a:pt x="536" y="393"/>
                  <a:pt x="536" y="390"/>
                </a:cubicBezTo>
                <a:cubicBezTo>
                  <a:pt x="536" y="292"/>
                  <a:pt x="536" y="292"/>
                  <a:pt x="536" y="292"/>
                </a:cubicBezTo>
                <a:cubicBezTo>
                  <a:pt x="536" y="292"/>
                  <a:pt x="536" y="292"/>
                  <a:pt x="536" y="292"/>
                </a:cubicBezTo>
                <a:close/>
                <a:moveTo>
                  <a:pt x="435" y="238"/>
                </a:moveTo>
                <a:cubicBezTo>
                  <a:pt x="435" y="200"/>
                  <a:pt x="435" y="200"/>
                  <a:pt x="435" y="200"/>
                </a:cubicBezTo>
                <a:cubicBezTo>
                  <a:pt x="455" y="204"/>
                  <a:pt x="471" y="208"/>
                  <a:pt x="482" y="211"/>
                </a:cubicBezTo>
                <a:cubicBezTo>
                  <a:pt x="489" y="213"/>
                  <a:pt x="494" y="214"/>
                  <a:pt x="497" y="215"/>
                </a:cubicBezTo>
                <a:cubicBezTo>
                  <a:pt x="497" y="262"/>
                  <a:pt x="497" y="262"/>
                  <a:pt x="497" y="262"/>
                </a:cubicBezTo>
                <a:cubicBezTo>
                  <a:pt x="482" y="254"/>
                  <a:pt x="461" y="245"/>
                  <a:pt x="435" y="238"/>
                </a:cubicBezTo>
                <a:close/>
                <a:moveTo>
                  <a:pt x="200" y="76"/>
                </a:moveTo>
                <a:cubicBezTo>
                  <a:pt x="222" y="75"/>
                  <a:pt x="243" y="74"/>
                  <a:pt x="262" y="74"/>
                </a:cubicBezTo>
                <a:cubicBezTo>
                  <a:pt x="262" y="111"/>
                  <a:pt x="262" y="111"/>
                  <a:pt x="262" y="111"/>
                </a:cubicBezTo>
                <a:cubicBezTo>
                  <a:pt x="241" y="111"/>
                  <a:pt x="220" y="112"/>
                  <a:pt x="200" y="114"/>
                </a:cubicBezTo>
                <a:lnTo>
                  <a:pt x="200" y="76"/>
                </a:lnTo>
                <a:close/>
                <a:moveTo>
                  <a:pt x="184" y="115"/>
                </a:moveTo>
                <a:cubicBezTo>
                  <a:pt x="161" y="116"/>
                  <a:pt x="140" y="119"/>
                  <a:pt x="121" y="121"/>
                </a:cubicBezTo>
                <a:cubicBezTo>
                  <a:pt x="121" y="80"/>
                  <a:pt x="121" y="80"/>
                  <a:pt x="121" y="80"/>
                </a:cubicBezTo>
                <a:cubicBezTo>
                  <a:pt x="141" y="78"/>
                  <a:pt x="162" y="77"/>
                  <a:pt x="184" y="76"/>
                </a:cubicBezTo>
                <a:lnTo>
                  <a:pt x="184" y="115"/>
                </a:lnTo>
                <a:close/>
                <a:moveTo>
                  <a:pt x="340" y="114"/>
                </a:moveTo>
                <a:cubicBezTo>
                  <a:pt x="320" y="112"/>
                  <a:pt x="299" y="111"/>
                  <a:pt x="278" y="111"/>
                </a:cubicBezTo>
                <a:cubicBezTo>
                  <a:pt x="278" y="74"/>
                  <a:pt x="278" y="74"/>
                  <a:pt x="278" y="74"/>
                </a:cubicBezTo>
                <a:cubicBezTo>
                  <a:pt x="297" y="74"/>
                  <a:pt x="318" y="75"/>
                  <a:pt x="340" y="76"/>
                </a:cubicBezTo>
                <a:lnTo>
                  <a:pt x="340" y="114"/>
                </a:lnTo>
                <a:close/>
                <a:moveTo>
                  <a:pt x="356" y="76"/>
                </a:moveTo>
                <a:cubicBezTo>
                  <a:pt x="378" y="77"/>
                  <a:pt x="399" y="78"/>
                  <a:pt x="419" y="80"/>
                </a:cubicBezTo>
                <a:cubicBezTo>
                  <a:pt x="419" y="121"/>
                  <a:pt x="419" y="121"/>
                  <a:pt x="419" y="121"/>
                </a:cubicBezTo>
                <a:cubicBezTo>
                  <a:pt x="400" y="119"/>
                  <a:pt x="379" y="116"/>
                  <a:pt x="356" y="115"/>
                </a:cubicBezTo>
                <a:lnTo>
                  <a:pt x="356" y="76"/>
                </a:lnTo>
                <a:close/>
                <a:moveTo>
                  <a:pt x="262" y="127"/>
                </a:moveTo>
                <a:cubicBezTo>
                  <a:pt x="262" y="166"/>
                  <a:pt x="262" y="166"/>
                  <a:pt x="262" y="166"/>
                </a:cubicBezTo>
                <a:cubicBezTo>
                  <a:pt x="240" y="166"/>
                  <a:pt x="219" y="168"/>
                  <a:pt x="200" y="169"/>
                </a:cubicBezTo>
                <a:cubicBezTo>
                  <a:pt x="200" y="130"/>
                  <a:pt x="200" y="130"/>
                  <a:pt x="200" y="130"/>
                </a:cubicBezTo>
                <a:cubicBezTo>
                  <a:pt x="220" y="128"/>
                  <a:pt x="241" y="127"/>
                  <a:pt x="262" y="127"/>
                </a:cubicBezTo>
                <a:close/>
                <a:moveTo>
                  <a:pt x="278" y="127"/>
                </a:moveTo>
                <a:cubicBezTo>
                  <a:pt x="299" y="127"/>
                  <a:pt x="320" y="128"/>
                  <a:pt x="340" y="130"/>
                </a:cubicBezTo>
                <a:cubicBezTo>
                  <a:pt x="340" y="169"/>
                  <a:pt x="340" y="169"/>
                  <a:pt x="340" y="169"/>
                </a:cubicBezTo>
                <a:cubicBezTo>
                  <a:pt x="321" y="168"/>
                  <a:pt x="300" y="166"/>
                  <a:pt x="278" y="166"/>
                </a:cubicBezTo>
                <a:lnTo>
                  <a:pt x="278" y="127"/>
                </a:lnTo>
                <a:close/>
                <a:moveTo>
                  <a:pt x="356" y="131"/>
                </a:moveTo>
                <a:cubicBezTo>
                  <a:pt x="379" y="133"/>
                  <a:pt x="400" y="135"/>
                  <a:pt x="419" y="137"/>
                </a:cubicBezTo>
                <a:cubicBezTo>
                  <a:pt x="419" y="180"/>
                  <a:pt x="419" y="180"/>
                  <a:pt x="419" y="180"/>
                </a:cubicBezTo>
                <a:cubicBezTo>
                  <a:pt x="400" y="177"/>
                  <a:pt x="379" y="173"/>
                  <a:pt x="356" y="171"/>
                </a:cubicBezTo>
                <a:lnTo>
                  <a:pt x="356" y="131"/>
                </a:lnTo>
                <a:close/>
                <a:moveTo>
                  <a:pt x="435" y="139"/>
                </a:moveTo>
                <a:cubicBezTo>
                  <a:pt x="466" y="143"/>
                  <a:pt x="488" y="147"/>
                  <a:pt x="497" y="149"/>
                </a:cubicBezTo>
                <a:cubicBezTo>
                  <a:pt x="497" y="199"/>
                  <a:pt x="497" y="199"/>
                  <a:pt x="497" y="199"/>
                </a:cubicBezTo>
                <a:cubicBezTo>
                  <a:pt x="486" y="195"/>
                  <a:pt x="464" y="189"/>
                  <a:pt x="435" y="183"/>
                </a:cubicBezTo>
                <a:lnTo>
                  <a:pt x="435" y="139"/>
                </a:lnTo>
                <a:close/>
                <a:moveTo>
                  <a:pt x="497" y="133"/>
                </a:moveTo>
                <a:cubicBezTo>
                  <a:pt x="486" y="131"/>
                  <a:pt x="464" y="127"/>
                  <a:pt x="435" y="123"/>
                </a:cubicBezTo>
                <a:cubicBezTo>
                  <a:pt x="435" y="81"/>
                  <a:pt x="435" y="81"/>
                  <a:pt x="435" y="81"/>
                </a:cubicBezTo>
                <a:cubicBezTo>
                  <a:pt x="464" y="82"/>
                  <a:pt x="487" y="84"/>
                  <a:pt x="497" y="85"/>
                </a:cubicBezTo>
                <a:lnTo>
                  <a:pt x="497" y="133"/>
                </a:lnTo>
                <a:close/>
                <a:moveTo>
                  <a:pt x="356" y="60"/>
                </a:moveTo>
                <a:cubicBezTo>
                  <a:pt x="356" y="16"/>
                  <a:pt x="356" y="16"/>
                  <a:pt x="356" y="16"/>
                </a:cubicBezTo>
                <a:cubicBezTo>
                  <a:pt x="419" y="16"/>
                  <a:pt x="419" y="16"/>
                  <a:pt x="419" y="16"/>
                </a:cubicBezTo>
                <a:cubicBezTo>
                  <a:pt x="419" y="64"/>
                  <a:pt x="419" y="64"/>
                  <a:pt x="419" y="64"/>
                </a:cubicBezTo>
                <a:cubicBezTo>
                  <a:pt x="399" y="62"/>
                  <a:pt x="378" y="61"/>
                  <a:pt x="356" y="60"/>
                </a:cubicBezTo>
                <a:close/>
                <a:moveTo>
                  <a:pt x="340" y="60"/>
                </a:moveTo>
                <a:cubicBezTo>
                  <a:pt x="319" y="59"/>
                  <a:pt x="297" y="58"/>
                  <a:pt x="278" y="58"/>
                </a:cubicBezTo>
                <a:cubicBezTo>
                  <a:pt x="278" y="16"/>
                  <a:pt x="278" y="16"/>
                  <a:pt x="278" y="16"/>
                </a:cubicBezTo>
                <a:cubicBezTo>
                  <a:pt x="340" y="16"/>
                  <a:pt x="340" y="16"/>
                  <a:pt x="340" y="16"/>
                </a:cubicBezTo>
                <a:lnTo>
                  <a:pt x="340" y="60"/>
                </a:lnTo>
                <a:close/>
                <a:moveTo>
                  <a:pt x="262" y="58"/>
                </a:moveTo>
                <a:cubicBezTo>
                  <a:pt x="243" y="58"/>
                  <a:pt x="222" y="59"/>
                  <a:pt x="200" y="60"/>
                </a:cubicBezTo>
                <a:cubicBezTo>
                  <a:pt x="200" y="16"/>
                  <a:pt x="200" y="16"/>
                  <a:pt x="200" y="16"/>
                </a:cubicBezTo>
                <a:cubicBezTo>
                  <a:pt x="262" y="16"/>
                  <a:pt x="262" y="16"/>
                  <a:pt x="262" y="16"/>
                </a:cubicBezTo>
                <a:lnTo>
                  <a:pt x="262" y="58"/>
                </a:lnTo>
                <a:close/>
                <a:moveTo>
                  <a:pt x="184" y="60"/>
                </a:moveTo>
                <a:cubicBezTo>
                  <a:pt x="162" y="61"/>
                  <a:pt x="141" y="62"/>
                  <a:pt x="121" y="64"/>
                </a:cubicBezTo>
                <a:cubicBezTo>
                  <a:pt x="121" y="16"/>
                  <a:pt x="121" y="16"/>
                  <a:pt x="121" y="16"/>
                </a:cubicBezTo>
                <a:cubicBezTo>
                  <a:pt x="184" y="16"/>
                  <a:pt x="184" y="16"/>
                  <a:pt x="184" y="16"/>
                </a:cubicBezTo>
                <a:lnTo>
                  <a:pt x="184" y="60"/>
                </a:lnTo>
                <a:close/>
                <a:moveTo>
                  <a:pt x="105" y="123"/>
                </a:moveTo>
                <a:cubicBezTo>
                  <a:pt x="77" y="127"/>
                  <a:pt x="54" y="131"/>
                  <a:pt x="43" y="133"/>
                </a:cubicBezTo>
                <a:cubicBezTo>
                  <a:pt x="43" y="85"/>
                  <a:pt x="43" y="85"/>
                  <a:pt x="43" y="85"/>
                </a:cubicBezTo>
                <a:cubicBezTo>
                  <a:pt x="54" y="84"/>
                  <a:pt x="77" y="82"/>
                  <a:pt x="105" y="81"/>
                </a:cubicBezTo>
                <a:lnTo>
                  <a:pt x="105" y="123"/>
                </a:lnTo>
                <a:close/>
                <a:moveTo>
                  <a:pt x="43" y="149"/>
                </a:moveTo>
                <a:cubicBezTo>
                  <a:pt x="46" y="148"/>
                  <a:pt x="51" y="147"/>
                  <a:pt x="58" y="146"/>
                </a:cubicBezTo>
                <a:cubicBezTo>
                  <a:pt x="69" y="144"/>
                  <a:pt x="86" y="142"/>
                  <a:pt x="105" y="139"/>
                </a:cubicBezTo>
                <a:cubicBezTo>
                  <a:pt x="105" y="183"/>
                  <a:pt x="105" y="183"/>
                  <a:pt x="105" y="183"/>
                </a:cubicBezTo>
                <a:cubicBezTo>
                  <a:pt x="76" y="189"/>
                  <a:pt x="55" y="195"/>
                  <a:pt x="43" y="198"/>
                </a:cubicBezTo>
                <a:lnTo>
                  <a:pt x="43" y="149"/>
                </a:lnTo>
                <a:close/>
                <a:moveTo>
                  <a:pt x="121" y="137"/>
                </a:moveTo>
                <a:cubicBezTo>
                  <a:pt x="140" y="135"/>
                  <a:pt x="161" y="133"/>
                  <a:pt x="184" y="131"/>
                </a:cubicBezTo>
                <a:cubicBezTo>
                  <a:pt x="184" y="171"/>
                  <a:pt x="184" y="171"/>
                  <a:pt x="184" y="171"/>
                </a:cubicBezTo>
                <a:cubicBezTo>
                  <a:pt x="161" y="173"/>
                  <a:pt x="140" y="177"/>
                  <a:pt x="121" y="180"/>
                </a:cubicBezTo>
                <a:lnTo>
                  <a:pt x="121" y="137"/>
                </a:lnTo>
                <a:close/>
                <a:moveTo>
                  <a:pt x="184" y="187"/>
                </a:moveTo>
                <a:cubicBezTo>
                  <a:pt x="184" y="222"/>
                  <a:pt x="184" y="222"/>
                  <a:pt x="184" y="222"/>
                </a:cubicBezTo>
                <a:cubicBezTo>
                  <a:pt x="160" y="225"/>
                  <a:pt x="140" y="229"/>
                  <a:pt x="121" y="234"/>
                </a:cubicBezTo>
                <a:cubicBezTo>
                  <a:pt x="121" y="196"/>
                  <a:pt x="121" y="196"/>
                  <a:pt x="121" y="196"/>
                </a:cubicBezTo>
                <a:cubicBezTo>
                  <a:pt x="140" y="193"/>
                  <a:pt x="161" y="190"/>
                  <a:pt x="184" y="187"/>
                </a:cubicBezTo>
                <a:close/>
                <a:moveTo>
                  <a:pt x="200" y="185"/>
                </a:moveTo>
                <a:cubicBezTo>
                  <a:pt x="219" y="184"/>
                  <a:pt x="240" y="182"/>
                  <a:pt x="262" y="182"/>
                </a:cubicBezTo>
                <a:cubicBezTo>
                  <a:pt x="262" y="217"/>
                  <a:pt x="262" y="217"/>
                  <a:pt x="262" y="217"/>
                </a:cubicBezTo>
                <a:cubicBezTo>
                  <a:pt x="240" y="217"/>
                  <a:pt x="219" y="218"/>
                  <a:pt x="200" y="220"/>
                </a:cubicBezTo>
                <a:lnTo>
                  <a:pt x="200" y="185"/>
                </a:lnTo>
                <a:close/>
                <a:moveTo>
                  <a:pt x="278" y="182"/>
                </a:moveTo>
                <a:cubicBezTo>
                  <a:pt x="300" y="182"/>
                  <a:pt x="321" y="184"/>
                  <a:pt x="340" y="185"/>
                </a:cubicBezTo>
                <a:cubicBezTo>
                  <a:pt x="340" y="220"/>
                  <a:pt x="340" y="220"/>
                  <a:pt x="340" y="220"/>
                </a:cubicBezTo>
                <a:cubicBezTo>
                  <a:pt x="321" y="218"/>
                  <a:pt x="300" y="217"/>
                  <a:pt x="278" y="217"/>
                </a:cubicBezTo>
                <a:lnTo>
                  <a:pt x="278" y="182"/>
                </a:lnTo>
                <a:close/>
                <a:moveTo>
                  <a:pt x="356" y="187"/>
                </a:moveTo>
                <a:cubicBezTo>
                  <a:pt x="379" y="190"/>
                  <a:pt x="400" y="193"/>
                  <a:pt x="419" y="196"/>
                </a:cubicBezTo>
                <a:cubicBezTo>
                  <a:pt x="419" y="233"/>
                  <a:pt x="419" y="233"/>
                  <a:pt x="419" y="233"/>
                </a:cubicBezTo>
                <a:cubicBezTo>
                  <a:pt x="400" y="229"/>
                  <a:pt x="380" y="225"/>
                  <a:pt x="356" y="222"/>
                </a:cubicBezTo>
                <a:lnTo>
                  <a:pt x="356" y="187"/>
                </a:lnTo>
                <a:close/>
                <a:moveTo>
                  <a:pt x="493" y="20"/>
                </a:moveTo>
                <a:cubicBezTo>
                  <a:pt x="496" y="22"/>
                  <a:pt x="497" y="25"/>
                  <a:pt x="497" y="28"/>
                </a:cubicBezTo>
                <a:cubicBezTo>
                  <a:pt x="497" y="69"/>
                  <a:pt x="497" y="69"/>
                  <a:pt x="497" y="69"/>
                </a:cubicBezTo>
                <a:cubicBezTo>
                  <a:pt x="486" y="68"/>
                  <a:pt x="463" y="66"/>
                  <a:pt x="435" y="65"/>
                </a:cubicBezTo>
                <a:cubicBezTo>
                  <a:pt x="435" y="16"/>
                  <a:pt x="435" y="16"/>
                  <a:pt x="435" y="16"/>
                </a:cubicBezTo>
                <a:cubicBezTo>
                  <a:pt x="482" y="16"/>
                  <a:pt x="482" y="16"/>
                  <a:pt x="482" y="16"/>
                </a:cubicBezTo>
                <a:cubicBezTo>
                  <a:pt x="487" y="16"/>
                  <a:pt x="490" y="17"/>
                  <a:pt x="493" y="20"/>
                </a:cubicBezTo>
                <a:close/>
                <a:moveTo>
                  <a:pt x="47" y="20"/>
                </a:moveTo>
                <a:cubicBezTo>
                  <a:pt x="50" y="17"/>
                  <a:pt x="53" y="16"/>
                  <a:pt x="58" y="16"/>
                </a:cubicBezTo>
                <a:cubicBezTo>
                  <a:pt x="105" y="16"/>
                  <a:pt x="105" y="16"/>
                  <a:pt x="105" y="16"/>
                </a:cubicBezTo>
                <a:cubicBezTo>
                  <a:pt x="105" y="65"/>
                  <a:pt x="105" y="65"/>
                  <a:pt x="105" y="65"/>
                </a:cubicBezTo>
                <a:cubicBezTo>
                  <a:pt x="77" y="66"/>
                  <a:pt x="54" y="68"/>
                  <a:pt x="43" y="69"/>
                </a:cubicBezTo>
                <a:cubicBezTo>
                  <a:pt x="43" y="28"/>
                  <a:pt x="43" y="28"/>
                  <a:pt x="43" y="28"/>
                </a:cubicBezTo>
                <a:cubicBezTo>
                  <a:pt x="43" y="25"/>
                  <a:pt x="44" y="22"/>
                  <a:pt x="47" y="20"/>
                </a:cubicBezTo>
                <a:close/>
                <a:moveTo>
                  <a:pt x="43" y="215"/>
                </a:moveTo>
                <a:cubicBezTo>
                  <a:pt x="46" y="214"/>
                  <a:pt x="51" y="213"/>
                  <a:pt x="57" y="211"/>
                </a:cubicBezTo>
                <a:cubicBezTo>
                  <a:pt x="68" y="208"/>
                  <a:pt x="85" y="204"/>
                  <a:pt x="105" y="199"/>
                </a:cubicBezTo>
                <a:cubicBezTo>
                  <a:pt x="105" y="238"/>
                  <a:pt x="105" y="238"/>
                  <a:pt x="105" y="238"/>
                </a:cubicBezTo>
                <a:cubicBezTo>
                  <a:pt x="79" y="246"/>
                  <a:pt x="59" y="255"/>
                  <a:pt x="43" y="263"/>
                </a:cubicBezTo>
                <a:lnTo>
                  <a:pt x="43" y="215"/>
                </a:lnTo>
                <a:close/>
                <a:moveTo>
                  <a:pt x="504" y="312"/>
                </a:moveTo>
                <a:cubicBezTo>
                  <a:pt x="470" y="289"/>
                  <a:pt x="400" y="252"/>
                  <a:pt x="270" y="252"/>
                </a:cubicBezTo>
                <a:cubicBezTo>
                  <a:pt x="153" y="252"/>
                  <a:pt x="79" y="287"/>
                  <a:pt x="40" y="311"/>
                </a:cubicBezTo>
                <a:cubicBezTo>
                  <a:pt x="21" y="295"/>
                  <a:pt x="21" y="295"/>
                  <a:pt x="21" y="295"/>
                </a:cubicBezTo>
                <a:cubicBezTo>
                  <a:pt x="42" y="279"/>
                  <a:pt x="117" y="233"/>
                  <a:pt x="270" y="233"/>
                </a:cubicBezTo>
                <a:cubicBezTo>
                  <a:pt x="364" y="233"/>
                  <a:pt x="427" y="249"/>
                  <a:pt x="467" y="266"/>
                </a:cubicBezTo>
                <a:cubicBezTo>
                  <a:pt x="487" y="274"/>
                  <a:pt x="501" y="282"/>
                  <a:pt x="510" y="288"/>
                </a:cubicBezTo>
                <a:cubicBezTo>
                  <a:pt x="513" y="290"/>
                  <a:pt x="515" y="292"/>
                  <a:pt x="517" y="294"/>
                </a:cubicBezTo>
                <a:lnTo>
                  <a:pt x="504" y="3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TextBox 23"/>
          <p:cNvSpPr txBox="1">
            <a:spLocks noChangeArrowheads="1"/>
          </p:cNvSpPr>
          <p:nvPr/>
        </p:nvSpPr>
        <p:spPr bwMode="auto">
          <a:xfrm>
            <a:off x="6811487" y="4810546"/>
            <a:ext cx="46839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0"/>
              </a:spcBef>
              <a:buClrTx/>
              <a:buFontTx/>
              <a:buNone/>
            </a:pPr>
            <a:r>
              <a:rPr lang="en-US" altLang="sv-SE" sz="1100">
                <a:solidFill>
                  <a:schemeClr val="bg1"/>
                </a:solidFill>
                <a:ea typeface="MS PGothic" pitchFamily="34" charset="-128"/>
              </a:rPr>
              <a:t>VNF</a:t>
            </a:r>
          </a:p>
        </p:txBody>
      </p:sp>
      <p:sp>
        <p:nvSpPr>
          <p:cNvPr id="15" name="Freeform 3"/>
          <p:cNvSpPr>
            <a:spLocks noChangeAspect="1"/>
          </p:cNvSpPr>
          <p:nvPr/>
        </p:nvSpPr>
        <p:spPr bwMode="auto">
          <a:xfrm>
            <a:off x="6799663" y="4292350"/>
            <a:ext cx="470738" cy="521299"/>
          </a:xfrm>
          <a:custGeom>
            <a:avLst/>
            <a:gdLst>
              <a:gd name="T0" fmla="*/ 2147483647 w 412"/>
              <a:gd name="T1" fmla="*/ 2147483647 h 277"/>
              <a:gd name="T2" fmla="*/ 0 w 412"/>
              <a:gd name="T3" fmla="*/ 2147483647 h 277"/>
              <a:gd name="T4" fmla="*/ 2147483647 w 412"/>
              <a:gd name="T5" fmla="*/ 2147483647 h 277"/>
              <a:gd name="T6" fmla="*/ 2147483647 w 412"/>
              <a:gd name="T7" fmla="*/ 2147483647 h 277"/>
              <a:gd name="T8" fmla="*/ 2147483647 w 412"/>
              <a:gd name="T9" fmla="*/ 2147483647 h 277"/>
              <a:gd name="T10" fmla="*/ 2147483647 w 412"/>
              <a:gd name="T11" fmla="*/ 2147483647 h 277"/>
              <a:gd name="T12" fmla="*/ 2147483647 w 412"/>
              <a:gd name="T13" fmla="*/ 2147483647 h 277"/>
              <a:gd name="T14" fmla="*/ 2147483647 w 412"/>
              <a:gd name="T15" fmla="*/ 2147483647 h 277"/>
              <a:gd name="T16" fmla="*/ 2147483647 w 412"/>
              <a:gd name="T17" fmla="*/ 2147483647 h 277"/>
              <a:gd name="T18" fmla="*/ 2147483647 w 412"/>
              <a:gd name="T19" fmla="*/ 2147483647 h 277"/>
              <a:gd name="T20" fmla="*/ 2147483647 w 412"/>
              <a:gd name="T21" fmla="*/ 2147483647 h 277"/>
              <a:gd name="T22" fmla="*/ 2147483647 w 412"/>
              <a:gd name="T23" fmla="*/ 2147483647 h 277"/>
              <a:gd name="T24" fmla="*/ 2147483647 w 412"/>
              <a:gd name="T25" fmla="*/ 2147483647 h 277"/>
              <a:gd name="T26" fmla="*/ 2147483647 w 412"/>
              <a:gd name="T27" fmla="*/ 2147483647 h 277"/>
              <a:gd name="T28" fmla="*/ 2147483647 w 412"/>
              <a:gd name="T29" fmla="*/ 2147483647 h 277"/>
              <a:gd name="T30" fmla="*/ 2147483647 w 412"/>
              <a:gd name="T31" fmla="*/ 2147483647 h 277"/>
              <a:gd name="T32" fmla="*/ 2147483647 w 412"/>
              <a:gd name="T33" fmla="*/ 2147483647 h 277"/>
              <a:gd name="T34" fmla="*/ 2147483647 w 412"/>
              <a:gd name="T35" fmla="*/ 2147483647 h 277"/>
              <a:gd name="T36" fmla="*/ 2147483647 w 412"/>
              <a:gd name="T37" fmla="*/ 2147483647 h 277"/>
              <a:gd name="T38" fmla="*/ 2147483647 w 412"/>
              <a:gd name="T39" fmla="*/ 2147483647 h 277"/>
              <a:gd name="T40" fmla="*/ 2147483647 w 412"/>
              <a:gd name="T41" fmla="*/ 2147483647 h 277"/>
              <a:gd name="T42" fmla="*/ 2147483647 w 412"/>
              <a:gd name="T43" fmla="*/ 2147483647 h 277"/>
              <a:gd name="T44" fmla="*/ 2147483647 w 412"/>
              <a:gd name="T45" fmla="*/ 2147483647 h 277"/>
              <a:gd name="T46" fmla="*/ 2147483647 w 412"/>
              <a:gd name="T47" fmla="*/ 2147483647 h 277"/>
              <a:gd name="T48" fmla="*/ 2147483647 w 412"/>
              <a:gd name="T49" fmla="*/ 2147483647 h 277"/>
              <a:gd name="T50" fmla="*/ 2147483647 w 412"/>
              <a:gd name="T51" fmla="*/ 2147483647 h 277"/>
              <a:gd name="T52" fmla="*/ 2147483647 w 412"/>
              <a:gd name="T53" fmla="*/ 0 h 277"/>
              <a:gd name="T54" fmla="*/ 2147483647 w 412"/>
              <a:gd name="T55" fmla="*/ 2147483647 h 277"/>
              <a:gd name="T56" fmla="*/ 2147483647 w 412"/>
              <a:gd name="T57" fmla="*/ 2147483647 h 277"/>
              <a:gd name="T58" fmla="*/ 2147483647 w 412"/>
              <a:gd name="T59" fmla="*/ 2147483647 h 277"/>
              <a:gd name="T60" fmla="*/ 2147483647 w 412"/>
              <a:gd name="T61" fmla="*/ 2147483647 h 277"/>
              <a:gd name="T62" fmla="*/ 2147483647 w 412"/>
              <a:gd name="T63" fmla="*/ 2147483647 h 277"/>
              <a:gd name="T64" fmla="*/ 2147483647 w 412"/>
              <a:gd name="T65" fmla="*/ 2147483647 h 277"/>
              <a:gd name="T66" fmla="*/ 2147483647 w 412"/>
              <a:gd name="T67" fmla="*/ 2147483647 h 277"/>
              <a:gd name="T68" fmla="*/ 2147483647 w 412"/>
              <a:gd name="T69" fmla="*/ 2147483647 h 2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2"/>
              <a:gd name="T106" fmla="*/ 0 h 277"/>
              <a:gd name="T107" fmla="*/ 412 w 412"/>
              <a:gd name="T108" fmla="*/ 277 h 2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2" h="277">
                <a:moveTo>
                  <a:pt x="44" y="277"/>
                </a:moveTo>
                <a:cubicBezTo>
                  <a:pt x="31" y="276"/>
                  <a:pt x="20" y="274"/>
                  <a:pt x="13" y="269"/>
                </a:cubicBezTo>
                <a:cubicBezTo>
                  <a:pt x="13" y="269"/>
                  <a:pt x="13" y="269"/>
                  <a:pt x="13" y="269"/>
                </a:cubicBezTo>
                <a:cubicBezTo>
                  <a:pt x="5" y="263"/>
                  <a:pt x="0" y="255"/>
                  <a:pt x="0" y="246"/>
                </a:cubicBezTo>
                <a:cubicBezTo>
                  <a:pt x="0" y="246"/>
                  <a:pt x="0" y="246"/>
                  <a:pt x="0" y="246"/>
                </a:cubicBezTo>
                <a:cubicBezTo>
                  <a:pt x="0" y="236"/>
                  <a:pt x="5" y="226"/>
                  <a:pt x="13" y="216"/>
                </a:cubicBezTo>
                <a:cubicBezTo>
                  <a:pt x="13" y="216"/>
                  <a:pt x="13" y="216"/>
                  <a:pt x="13" y="216"/>
                </a:cubicBezTo>
                <a:cubicBezTo>
                  <a:pt x="15" y="213"/>
                  <a:pt x="39" y="184"/>
                  <a:pt x="58" y="160"/>
                </a:cubicBezTo>
                <a:cubicBezTo>
                  <a:pt x="58" y="160"/>
                  <a:pt x="58" y="160"/>
                  <a:pt x="58" y="160"/>
                </a:cubicBezTo>
                <a:cubicBezTo>
                  <a:pt x="58" y="160"/>
                  <a:pt x="58" y="160"/>
                  <a:pt x="58" y="160"/>
                </a:cubicBezTo>
                <a:cubicBezTo>
                  <a:pt x="61" y="157"/>
                  <a:pt x="66" y="156"/>
                  <a:pt x="69" y="159"/>
                </a:cubicBezTo>
                <a:cubicBezTo>
                  <a:pt x="69" y="159"/>
                  <a:pt x="69" y="159"/>
                  <a:pt x="69" y="159"/>
                </a:cubicBezTo>
                <a:cubicBezTo>
                  <a:pt x="73" y="161"/>
                  <a:pt x="73" y="167"/>
                  <a:pt x="70" y="170"/>
                </a:cubicBezTo>
                <a:cubicBezTo>
                  <a:pt x="70" y="170"/>
                  <a:pt x="70" y="170"/>
                  <a:pt x="70" y="170"/>
                </a:cubicBezTo>
                <a:cubicBezTo>
                  <a:pt x="51" y="194"/>
                  <a:pt x="28" y="223"/>
                  <a:pt x="25" y="226"/>
                </a:cubicBezTo>
                <a:cubicBezTo>
                  <a:pt x="25" y="226"/>
                  <a:pt x="25" y="226"/>
                  <a:pt x="25" y="226"/>
                </a:cubicBezTo>
                <a:cubicBezTo>
                  <a:pt x="19" y="234"/>
                  <a:pt x="16" y="241"/>
                  <a:pt x="16" y="246"/>
                </a:cubicBezTo>
                <a:cubicBezTo>
                  <a:pt x="16" y="246"/>
                  <a:pt x="16" y="246"/>
                  <a:pt x="16" y="246"/>
                </a:cubicBezTo>
                <a:cubicBezTo>
                  <a:pt x="16" y="250"/>
                  <a:pt x="18" y="253"/>
                  <a:pt x="22" y="255"/>
                </a:cubicBezTo>
                <a:cubicBezTo>
                  <a:pt x="22" y="255"/>
                  <a:pt x="22" y="255"/>
                  <a:pt x="22" y="255"/>
                </a:cubicBezTo>
                <a:cubicBezTo>
                  <a:pt x="26" y="258"/>
                  <a:pt x="33" y="260"/>
                  <a:pt x="44" y="261"/>
                </a:cubicBezTo>
                <a:cubicBezTo>
                  <a:pt x="44" y="261"/>
                  <a:pt x="44" y="261"/>
                  <a:pt x="44" y="261"/>
                </a:cubicBezTo>
                <a:cubicBezTo>
                  <a:pt x="51" y="261"/>
                  <a:pt x="62" y="261"/>
                  <a:pt x="75" y="261"/>
                </a:cubicBezTo>
                <a:cubicBezTo>
                  <a:pt x="75" y="261"/>
                  <a:pt x="75" y="261"/>
                  <a:pt x="75" y="261"/>
                </a:cubicBezTo>
                <a:cubicBezTo>
                  <a:pt x="338" y="261"/>
                  <a:pt x="338" y="261"/>
                  <a:pt x="338" y="261"/>
                </a:cubicBezTo>
                <a:cubicBezTo>
                  <a:pt x="351" y="261"/>
                  <a:pt x="362" y="261"/>
                  <a:pt x="369" y="261"/>
                </a:cubicBezTo>
                <a:cubicBezTo>
                  <a:pt x="369" y="261"/>
                  <a:pt x="369" y="261"/>
                  <a:pt x="369" y="261"/>
                </a:cubicBezTo>
                <a:cubicBezTo>
                  <a:pt x="380" y="260"/>
                  <a:pt x="387" y="258"/>
                  <a:pt x="391" y="255"/>
                </a:cubicBezTo>
                <a:cubicBezTo>
                  <a:pt x="391" y="255"/>
                  <a:pt x="391" y="255"/>
                  <a:pt x="391" y="255"/>
                </a:cubicBezTo>
                <a:cubicBezTo>
                  <a:pt x="395" y="252"/>
                  <a:pt x="396" y="250"/>
                  <a:pt x="396" y="245"/>
                </a:cubicBezTo>
                <a:cubicBezTo>
                  <a:pt x="396" y="245"/>
                  <a:pt x="396" y="245"/>
                  <a:pt x="396" y="245"/>
                </a:cubicBezTo>
                <a:cubicBezTo>
                  <a:pt x="396" y="240"/>
                  <a:pt x="394" y="233"/>
                  <a:pt x="388" y="226"/>
                </a:cubicBezTo>
                <a:cubicBezTo>
                  <a:pt x="388" y="226"/>
                  <a:pt x="388" y="226"/>
                  <a:pt x="388" y="226"/>
                </a:cubicBezTo>
                <a:cubicBezTo>
                  <a:pt x="369" y="203"/>
                  <a:pt x="313" y="132"/>
                  <a:pt x="313" y="132"/>
                </a:cubicBezTo>
                <a:cubicBezTo>
                  <a:pt x="313" y="132"/>
                  <a:pt x="313" y="132"/>
                  <a:pt x="313" y="132"/>
                </a:cubicBezTo>
                <a:cubicBezTo>
                  <a:pt x="313" y="132"/>
                  <a:pt x="297" y="111"/>
                  <a:pt x="279" y="89"/>
                </a:cubicBezTo>
                <a:cubicBezTo>
                  <a:pt x="279" y="89"/>
                  <a:pt x="279" y="89"/>
                  <a:pt x="279" y="89"/>
                </a:cubicBezTo>
                <a:cubicBezTo>
                  <a:pt x="261" y="66"/>
                  <a:pt x="241" y="40"/>
                  <a:pt x="232" y="29"/>
                </a:cubicBezTo>
                <a:cubicBezTo>
                  <a:pt x="232" y="29"/>
                  <a:pt x="232" y="29"/>
                  <a:pt x="232" y="29"/>
                </a:cubicBezTo>
                <a:cubicBezTo>
                  <a:pt x="224" y="20"/>
                  <a:pt x="217" y="16"/>
                  <a:pt x="207" y="16"/>
                </a:cubicBezTo>
                <a:cubicBezTo>
                  <a:pt x="207" y="16"/>
                  <a:pt x="207" y="16"/>
                  <a:pt x="207" y="16"/>
                </a:cubicBezTo>
                <a:cubicBezTo>
                  <a:pt x="196" y="16"/>
                  <a:pt x="190" y="20"/>
                  <a:pt x="182" y="29"/>
                </a:cubicBezTo>
                <a:cubicBezTo>
                  <a:pt x="182" y="29"/>
                  <a:pt x="182" y="29"/>
                  <a:pt x="182" y="29"/>
                </a:cubicBezTo>
                <a:cubicBezTo>
                  <a:pt x="178" y="34"/>
                  <a:pt x="154" y="64"/>
                  <a:pt x="132" y="92"/>
                </a:cubicBezTo>
                <a:cubicBezTo>
                  <a:pt x="132" y="92"/>
                  <a:pt x="132" y="92"/>
                  <a:pt x="132" y="92"/>
                </a:cubicBezTo>
                <a:cubicBezTo>
                  <a:pt x="110" y="120"/>
                  <a:pt x="89" y="147"/>
                  <a:pt x="89" y="147"/>
                </a:cubicBezTo>
                <a:cubicBezTo>
                  <a:pt x="89" y="147"/>
                  <a:pt x="89" y="147"/>
                  <a:pt x="89" y="147"/>
                </a:cubicBezTo>
                <a:cubicBezTo>
                  <a:pt x="86" y="150"/>
                  <a:pt x="81" y="151"/>
                  <a:pt x="77" y="148"/>
                </a:cubicBezTo>
                <a:cubicBezTo>
                  <a:pt x="77" y="148"/>
                  <a:pt x="77" y="148"/>
                  <a:pt x="77" y="148"/>
                </a:cubicBezTo>
                <a:cubicBezTo>
                  <a:pt x="74" y="145"/>
                  <a:pt x="73" y="140"/>
                  <a:pt x="76" y="137"/>
                </a:cubicBezTo>
                <a:cubicBezTo>
                  <a:pt x="76" y="137"/>
                  <a:pt x="76" y="137"/>
                  <a:pt x="76" y="137"/>
                </a:cubicBezTo>
                <a:cubicBezTo>
                  <a:pt x="76" y="137"/>
                  <a:pt x="161" y="30"/>
                  <a:pt x="169" y="19"/>
                </a:cubicBezTo>
                <a:cubicBezTo>
                  <a:pt x="169" y="19"/>
                  <a:pt x="169" y="19"/>
                  <a:pt x="169" y="19"/>
                </a:cubicBezTo>
                <a:cubicBezTo>
                  <a:pt x="179" y="7"/>
                  <a:pt x="191" y="0"/>
                  <a:pt x="207" y="0"/>
                </a:cubicBezTo>
                <a:cubicBezTo>
                  <a:pt x="207" y="0"/>
                  <a:pt x="207" y="0"/>
                  <a:pt x="207" y="0"/>
                </a:cubicBezTo>
                <a:cubicBezTo>
                  <a:pt x="222" y="0"/>
                  <a:pt x="235" y="7"/>
                  <a:pt x="244" y="19"/>
                </a:cubicBezTo>
                <a:cubicBezTo>
                  <a:pt x="244" y="19"/>
                  <a:pt x="244" y="19"/>
                  <a:pt x="244" y="19"/>
                </a:cubicBezTo>
                <a:cubicBezTo>
                  <a:pt x="262" y="41"/>
                  <a:pt x="325" y="122"/>
                  <a:pt x="325" y="122"/>
                </a:cubicBezTo>
                <a:cubicBezTo>
                  <a:pt x="325" y="122"/>
                  <a:pt x="325" y="122"/>
                  <a:pt x="325" y="122"/>
                </a:cubicBezTo>
                <a:cubicBezTo>
                  <a:pt x="325" y="122"/>
                  <a:pt x="382" y="193"/>
                  <a:pt x="400" y="216"/>
                </a:cubicBezTo>
                <a:cubicBezTo>
                  <a:pt x="400" y="216"/>
                  <a:pt x="400" y="216"/>
                  <a:pt x="400" y="216"/>
                </a:cubicBezTo>
                <a:cubicBezTo>
                  <a:pt x="408" y="225"/>
                  <a:pt x="412" y="235"/>
                  <a:pt x="412" y="245"/>
                </a:cubicBezTo>
                <a:cubicBezTo>
                  <a:pt x="412" y="245"/>
                  <a:pt x="412" y="245"/>
                  <a:pt x="412" y="245"/>
                </a:cubicBezTo>
                <a:cubicBezTo>
                  <a:pt x="412" y="254"/>
                  <a:pt x="408" y="263"/>
                  <a:pt x="401" y="268"/>
                </a:cubicBezTo>
                <a:cubicBezTo>
                  <a:pt x="401" y="268"/>
                  <a:pt x="401" y="268"/>
                  <a:pt x="401" y="268"/>
                </a:cubicBezTo>
                <a:cubicBezTo>
                  <a:pt x="393" y="274"/>
                  <a:pt x="383" y="276"/>
                  <a:pt x="370" y="277"/>
                </a:cubicBezTo>
                <a:cubicBezTo>
                  <a:pt x="370" y="277"/>
                  <a:pt x="370" y="277"/>
                  <a:pt x="370" y="277"/>
                </a:cubicBezTo>
                <a:cubicBezTo>
                  <a:pt x="362" y="277"/>
                  <a:pt x="351" y="277"/>
                  <a:pt x="338" y="277"/>
                </a:cubicBezTo>
                <a:cubicBezTo>
                  <a:pt x="338" y="277"/>
                  <a:pt x="338" y="277"/>
                  <a:pt x="338" y="277"/>
                </a:cubicBezTo>
                <a:cubicBezTo>
                  <a:pt x="75" y="277"/>
                  <a:pt x="75" y="277"/>
                  <a:pt x="75" y="277"/>
                </a:cubicBezTo>
                <a:cubicBezTo>
                  <a:pt x="62" y="277"/>
                  <a:pt x="51" y="277"/>
                  <a:pt x="44" y="277"/>
                </a:cubicBezTo>
                <a:close/>
              </a:path>
            </a:pathLst>
          </a:custGeom>
          <a:solidFill>
            <a:srgbClr val="58585A"/>
          </a:solidFill>
          <a:ln w="19050">
            <a:solidFill>
              <a:schemeClr val="bg1"/>
            </a:solidFill>
            <a:round/>
            <a:headEnd/>
            <a:tailEnd/>
          </a:ln>
        </p:spPr>
        <p:txBody>
          <a:bodyPr/>
          <a:lstStyle/>
          <a:p>
            <a:endParaRPr lang="en-US"/>
          </a:p>
        </p:txBody>
      </p:sp>
      <p:sp>
        <p:nvSpPr>
          <p:cNvPr id="16" name="Rounded Rectangle 15"/>
          <p:cNvSpPr/>
          <p:nvPr/>
        </p:nvSpPr>
        <p:spPr bwMode="auto">
          <a:xfrm>
            <a:off x="6349081" y="5474555"/>
            <a:ext cx="1384300" cy="595313"/>
          </a:xfrm>
          <a:prstGeom prst="roundRect">
            <a:avLst>
              <a:gd name="adj" fmla="val 8824"/>
            </a:avLst>
          </a:prstGeom>
          <a:solidFill>
            <a:schemeClr val="bg1"/>
          </a:solidFill>
          <a:ln w="28575" cap="flat" cmpd="sng" algn="ctr">
            <a:solidFill>
              <a:schemeClr val="accent1">
                <a:lumMod val="50000"/>
              </a:schemeClr>
            </a:solidFill>
            <a:prstDash val="solid"/>
            <a:round/>
            <a:headEnd type="none" w="med" len="med"/>
            <a:tailEnd type="none" w="med" len="med"/>
          </a:ln>
          <a:effectLst/>
        </p:spPr>
        <p:txBody>
          <a:bodyPr wrap="none" lIns="72000" rIns="72000"/>
          <a:lstStyle/>
          <a:p>
            <a:pPr>
              <a:spcBef>
                <a:spcPct val="50000"/>
              </a:spcBef>
              <a:defRPr/>
            </a:pPr>
            <a:endParaRPr lang="en-US"/>
          </a:p>
        </p:txBody>
      </p:sp>
      <p:sp>
        <p:nvSpPr>
          <p:cNvPr id="17" name="TextBox 16"/>
          <p:cNvSpPr txBox="1"/>
          <p:nvPr/>
        </p:nvSpPr>
        <p:spPr bwMode="auto">
          <a:xfrm>
            <a:off x="6644157" y="5504716"/>
            <a:ext cx="829073" cy="261610"/>
          </a:xfrm>
          <a:prstGeom prst="rect">
            <a:avLst/>
          </a:prstGeom>
          <a:noFill/>
          <a:ln>
            <a:noFill/>
          </a:ln>
        </p:spPr>
        <p:txBody>
          <a:bodyPr wrap="none">
            <a:spAutoFit/>
          </a:bodyPr>
          <a:lstStyle/>
          <a:p>
            <a:pPr algn="ctr">
              <a:defRPr/>
            </a:pPr>
            <a:r>
              <a:rPr lang="en-US" sz="1100">
                <a:solidFill>
                  <a:schemeClr val="accent1">
                    <a:lumMod val="50000"/>
                  </a:schemeClr>
                </a:solidFill>
              </a:rPr>
              <a:t>VNF_VMs</a:t>
            </a:r>
          </a:p>
        </p:txBody>
      </p:sp>
      <p:cxnSp>
        <p:nvCxnSpPr>
          <p:cNvPr id="18" name="Elbow Connector 17"/>
          <p:cNvCxnSpPr>
            <a:stCxn id="10" idx="2"/>
          </p:cNvCxnSpPr>
          <p:nvPr/>
        </p:nvCxnSpPr>
        <p:spPr bwMode="auto">
          <a:xfrm rot="5400000">
            <a:off x="7398418" y="3672743"/>
            <a:ext cx="2913063" cy="1881188"/>
          </a:xfrm>
          <a:prstGeom prst="bentConnector3">
            <a:avLst>
              <a:gd name="adj1" fmla="val 99829"/>
            </a:avLst>
          </a:prstGeom>
          <a:solidFill>
            <a:schemeClr val="accent1"/>
          </a:solidFill>
          <a:ln w="28575" cap="flat" cmpd="sng" algn="ctr">
            <a:solidFill>
              <a:schemeClr val="accent1">
                <a:lumMod val="50000"/>
              </a:schemeClr>
            </a:solidFill>
            <a:prstDash val="solid"/>
            <a:round/>
            <a:headEnd type="none" w="med" len="med"/>
            <a:tailEnd type="arrow"/>
          </a:ln>
          <a:effectLst/>
        </p:spPr>
      </p:cxnSp>
      <p:sp>
        <p:nvSpPr>
          <p:cNvPr id="19" name="TextBox 29"/>
          <p:cNvSpPr txBox="1">
            <a:spLocks noChangeArrowheads="1"/>
          </p:cNvSpPr>
          <p:nvPr/>
        </p:nvSpPr>
        <p:spPr bwMode="auto">
          <a:xfrm>
            <a:off x="9792720" y="4575930"/>
            <a:ext cx="162143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l" eaLnBrk="1" hangingPunct="1">
              <a:spcBef>
                <a:spcPct val="0"/>
              </a:spcBef>
              <a:buClrTx/>
              <a:buFontTx/>
              <a:buNone/>
            </a:pPr>
            <a:r>
              <a:rPr lang="en-US" altLang="sv-SE" sz="900" b="1">
                <a:ea typeface="MS PGothic" pitchFamily="34" charset="-128"/>
              </a:rPr>
              <a:t>Instantiate vAPP</a:t>
            </a:r>
          </a:p>
        </p:txBody>
      </p:sp>
      <p:sp>
        <p:nvSpPr>
          <p:cNvPr id="20" name="TextBox 34"/>
          <p:cNvSpPr txBox="1">
            <a:spLocks noChangeArrowheads="1"/>
          </p:cNvSpPr>
          <p:nvPr/>
        </p:nvSpPr>
        <p:spPr bwMode="auto">
          <a:xfrm>
            <a:off x="7693676" y="1809213"/>
            <a:ext cx="1460657" cy="369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l" eaLnBrk="1" hangingPunct="1">
              <a:spcBef>
                <a:spcPct val="0"/>
              </a:spcBef>
              <a:buClrTx/>
              <a:buFontTx/>
              <a:buNone/>
            </a:pPr>
            <a:r>
              <a:rPr lang="en-US" altLang="sv-SE" sz="900" b="1">
                <a:ea typeface="MS PGothic" pitchFamily="34" charset="-128"/>
              </a:rPr>
              <a:t>Request (onboard)  for </a:t>
            </a:r>
            <a:br>
              <a:rPr lang="en-US" altLang="sv-SE" sz="900" b="1">
                <a:ea typeface="MS PGothic" pitchFamily="34" charset="-128"/>
              </a:rPr>
            </a:br>
            <a:r>
              <a:rPr lang="en-US" altLang="sv-SE" sz="900" b="1">
                <a:ea typeface="MS PGothic" pitchFamily="34" charset="-128"/>
              </a:rPr>
              <a:t>new VNF</a:t>
            </a:r>
          </a:p>
        </p:txBody>
      </p:sp>
      <p:cxnSp>
        <p:nvCxnSpPr>
          <p:cNvPr id="21" name="Straight Arrow Connector 43"/>
          <p:cNvCxnSpPr>
            <a:cxnSpLocks noChangeShapeType="1"/>
          </p:cNvCxnSpPr>
          <p:nvPr/>
        </p:nvCxnSpPr>
        <p:spPr bwMode="auto">
          <a:xfrm>
            <a:off x="7006943" y="3190794"/>
            <a:ext cx="0" cy="893656"/>
          </a:xfrm>
          <a:prstGeom prst="straightConnector1">
            <a:avLst/>
          </a:prstGeom>
          <a:noFill/>
          <a:ln w="38100" algn="ctr">
            <a:solidFill>
              <a:srgbClr val="C00000"/>
            </a:solidFill>
            <a:round/>
            <a:headEnd/>
            <a:tailEnd type="arrow" w="med" len="med"/>
          </a:ln>
          <a:extLst>
            <a:ext uri="{909E8E84-426E-40DD-AFC4-6F175D3DCCD1}">
              <a14:hiddenFill xmlns:a14="http://schemas.microsoft.com/office/drawing/2010/main">
                <a:noFill/>
              </a14:hiddenFill>
            </a:ext>
          </a:extLst>
        </p:spPr>
      </p:cxnSp>
      <p:sp>
        <p:nvSpPr>
          <p:cNvPr id="22" name="TextBox 45"/>
          <p:cNvSpPr txBox="1">
            <a:spLocks noChangeArrowheads="1"/>
          </p:cNvSpPr>
          <p:nvPr/>
        </p:nvSpPr>
        <p:spPr bwMode="auto">
          <a:xfrm>
            <a:off x="7035752" y="3356238"/>
            <a:ext cx="8130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l" eaLnBrk="1" hangingPunct="1">
              <a:spcBef>
                <a:spcPct val="0"/>
              </a:spcBef>
              <a:buClrTx/>
              <a:buFontTx/>
              <a:buNone/>
            </a:pPr>
            <a:r>
              <a:rPr lang="en-US" altLang="sv-SE" sz="900" b="1">
                <a:ea typeface="MS PGothic" pitchFamily="34" charset="-128"/>
              </a:rPr>
              <a:t>Configure</a:t>
            </a:r>
            <a:br>
              <a:rPr lang="en-US" altLang="sv-SE" sz="900" b="1">
                <a:ea typeface="MS PGothic" pitchFamily="34" charset="-128"/>
              </a:rPr>
            </a:br>
            <a:r>
              <a:rPr lang="en-US" altLang="sv-SE" sz="900" b="1">
                <a:ea typeface="MS PGothic" pitchFamily="34" charset="-128"/>
              </a:rPr>
              <a:t>Application</a:t>
            </a:r>
          </a:p>
        </p:txBody>
      </p:sp>
      <p:sp>
        <p:nvSpPr>
          <p:cNvPr id="23" name="Oval 22"/>
          <p:cNvSpPr/>
          <p:nvPr/>
        </p:nvSpPr>
        <p:spPr bwMode="auto">
          <a:xfrm>
            <a:off x="8068344" y="2151916"/>
            <a:ext cx="496887" cy="534988"/>
          </a:xfrm>
          <a:prstGeom prst="ellipse">
            <a:avLst/>
          </a:prstGeom>
          <a:solidFill>
            <a:schemeClr val="tx2">
              <a:lumMod val="90000"/>
              <a:lumOff val="10000"/>
            </a:schemeClr>
          </a:solidFill>
          <a:ln w="28575" cap="flat" cmpd="sng" algn="ctr">
            <a:solidFill>
              <a:schemeClr val="bg1"/>
            </a:solidFill>
            <a:prstDash val="solid"/>
            <a:round/>
            <a:headEnd type="none" w="med" len="med"/>
            <a:tailEnd type="none" w="med" len="med"/>
          </a:ln>
          <a:effectLst/>
        </p:spPr>
        <p:txBody>
          <a:bodyPr wrap="none" lIns="72000" rIns="72000" anchor="ctr"/>
          <a:lstStyle/>
          <a:p>
            <a:pPr algn="ctr">
              <a:spcBef>
                <a:spcPct val="50000"/>
              </a:spcBef>
              <a:defRPr/>
            </a:pPr>
            <a:r>
              <a:rPr lang="en-US" sz="1100" b="1">
                <a:solidFill>
                  <a:schemeClr val="bg1"/>
                </a:solidFill>
              </a:rPr>
              <a:t>1</a:t>
            </a:r>
          </a:p>
        </p:txBody>
      </p:sp>
      <p:sp>
        <p:nvSpPr>
          <p:cNvPr id="24" name="Oval 23"/>
          <p:cNvSpPr/>
          <p:nvPr/>
        </p:nvSpPr>
        <p:spPr bwMode="auto">
          <a:xfrm>
            <a:off x="9833643" y="4021992"/>
            <a:ext cx="496887" cy="538162"/>
          </a:xfrm>
          <a:prstGeom prst="ellipse">
            <a:avLst/>
          </a:prstGeom>
          <a:solidFill>
            <a:schemeClr val="tx2">
              <a:lumMod val="90000"/>
              <a:lumOff val="10000"/>
            </a:schemeClr>
          </a:solidFill>
          <a:ln w="28575" cap="flat" cmpd="sng" algn="ctr">
            <a:solidFill>
              <a:schemeClr val="bg1"/>
            </a:solidFill>
            <a:prstDash val="solid"/>
            <a:round/>
            <a:headEnd type="none" w="med" len="med"/>
            <a:tailEnd type="none" w="med" len="med"/>
          </a:ln>
          <a:effectLst/>
        </p:spPr>
        <p:txBody>
          <a:bodyPr wrap="none" lIns="72000" rIns="72000" anchor="ctr"/>
          <a:lstStyle/>
          <a:p>
            <a:pPr algn="ctr">
              <a:spcBef>
                <a:spcPct val="50000"/>
              </a:spcBef>
              <a:defRPr/>
            </a:pPr>
            <a:r>
              <a:rPr lang="en-US" sz="1100" b="1">
                <a:solidFill>
                  <a:schemeClr val="bg1"/>
                </a:solidFill>
              </a:rPr>
              <a:t>2</a:t>
            </a:r>
          </a:p>
        </p:txBody>
      </p:sp>
      <p:sp>
        <p:nvSpPr>
          <p:cNvPr id="25" name="Oval 24"/>
          <p:cNvSpPr/>
          <p:nvPr/>
        </p:nvSpPr>
        <p:spPr bwMode="auto">
          <a:xfrm>
            <a:off x="6457031" y="3250467"/>
            <a:ext cx="496888" cy="536575"/>
          </a:xfrm>
          <a:prstGeom prst="ellipse">
            <a:avLst/>
          </a:prstGeom>
          <a:solidFill>
            <a:schemeClr val="tx2">
              <a:lumMod val="90000"/>
              <a:lumOff val="10000"/>
            </a:schemeClr>
          </a:solidFill>
          <a:ln w="3175" cap="flat" cmpd="sng" algn="ctr">
            <a:solidFill>
              <a:schemeClr val="bg1"/>
            </a:solidFill>
            <a:prstDash val="solid"/>
            <a:round/>
            <a:headEnd type="none" w="med" len="med"/>
            <a:tailEnd type="none" w="med" len="med"/>
          </a:ln>
          <a:effectLst/>
        </p:spPr>
        <p:txBody>
          <a:bodyPr wrap="none" lIns="72000" rIns="72000" anchor="ctr"/>
          <a:lstStyle/>
          <a:p>
            <a:pPr algn="ctr">
              <a:spcBef>
                <a:spcPct val="50000"/>
              </a:spcBef>
              <a:defRPr/>
            </a:pPr>
            <a:r>
              <a:rPr lang="en-US" sz="1100" b="1">
                <a:solidFill>
                  <a:schemeClr val="bg1"/>
                </a:solidFill>
              </a:rPr>
              <a:t>4</a:t>
            </a:r>
          </a:p>
        </p:txBody>
      </p:sp>
      <p:sp>
        <p:nvSpPr>
          <p:cNvPr id="26" name="Curved Right Arrow 5"/>
          <p:cNvSpPr>
            <a:spLocks noChangeArrowheads="1"/>
          </p:cNvSpPr>
          <p:nvPr/>
        </p:nvSpPr>
        <p:spPr bwMode="auto">
          <a:xfrm>
            <a:off x="5976354" y="1884443"/>
            <a:ext cx="263459" cy="974334"/>
          </a:xfrm>
          <a:prstGeom prst="curvedRightArrow">
            <a:avLst>
              <a:gd name="adj1" fmla="val 25002"/>
              <a:gd name="adj2" fmla="val 49992"/>
              <a:gd name="adj3" fmla="val 25000"/>
            </a:avLst>
          </a:prstGeom>
          <a:solidFill>
            <a:srgbClr val="FF0000"/>
          </a:solidFill>
          <a:ln w="12700" algn="ctr">
            <a:solidFill>
              <a:schemeClr val="tx1"/>
            </a:solidFill>
            <a:round/>
            <a:headEnd/>
            <a:tailEnd/>
          </a:ln>
        </p:spPr>
        <p:txBody>
          <a:bodyPr wrap="none" lIns="72000" rIns="72000"/>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spcBef>
                <a:spcPct val="50000"/>
              </a:spcBef>
            </a:pPr>
            <a:endParaRPr lang="en-US" altLang="sv-SE"/>
          </a:p>
        </p:txBody>
      </p:sp>
      <p:sp>
        <p:nvSpPr>
          <p:cNvPr id="27" name="Oval 26"/>
          <p:cNvSpPr/>
          <p:nvPr/>
        </p:nvSpPr>
        <p:spPr bwMode="auto">
          <a:xfrm>
            <a:off x="5139805" y="1553120"/>
            <a:ext cx="500062" cy="536575"/>
          </a:xfrm>
          <a:prstGeom prst="ellipse">
            <a:avLst/>
          </a:prstGeom>
          <a:solidFill>
            <a:schemeClr val="tx2">
              <a:lumMod val="90000"/>
              <a:lumOff val="10000"/>
            </a:schemeClr>
          </a:solidFill>
          <a:ln w="28575" cap="flat" cmpd="sng" algn="ctr">
            <a:solidFill>
              <a:schemeClr val="bg1"/>
            </a:solidFill>
            <a:prstDash val="solid"/>
            <a:round/>
            <a:headEnd type="none" w="med" len="med"/>
            <a:tailEnd type="none" w="med" len="med"/>
          </a:ln>
          <a:effectLst/>
        </p:spPr>
        <p:txBody>
          <a:bodyPr wrap="none" lIns="72000" rIns="72000" anchor="ctr"/>
          <a:lstStyle/>
          <a:p>
            <a:pPr algn="ctr">
              <a:spcBef>
                <a:spcPct val="50000"/>
              </a:spcBef>
              <a:defRPr/>
            </a:pPr>
            <a:r>
              <a:rPr lang="en-US" sz="1100" b="1">
                <a:solidFill>
                  <a:schemeClr val="bg1"/>
                </a:solidFill>
              </a:rPr>
              <a:t>3</a:t>
            </a:r>
          </a:p>
        </p:txBody>
      </p:sp>
      <p:sp>
        <p:nvSpPr>
          <p:cNvPr id="28" name="TextBox 34"/>
          <p:cNvSpPr txBox="1">
            <a:spLocks noChangeArrowheads="1"/>
          </p:cNvSpPr>
          <p:nvPr/>
        </p:nvSpPr>
        <p:spPr bwMode="auto">
          <a:xfrm>
            <a:off x="4831830" y="2136415"/>
            <a:ext cx="11623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l" eaLnBrk="1" hangingPunct="1">
              <a:spcBef>
                <a:spcPct val="0"/>
              </a:spcBef>
              <a:buClrTx/>
              <a:buFontTx/>
              <a:buNone/>
            </a:pPr>
            <a:r>
              <a:rPr lang="en-US" altLang="sv-SE" sz="900" b="1" dirty="0">
                <a:ea typeface="MS PGothic" pitchFamily="34" charset="-128"/>
              </a:rPr>
              <a:t>Add new VNF to OSS Model</a:t>
            </a:r>
          </a:p>
        </p:txBody>
      </p:sp>
      <p:sp>
        <p:nvSpPr>
          <p:cNvPr id="29" name="Oval 28"/>
          <p:cNvSpPr/>
          <p:nvPr/>
        </p:nvSpPr>
        <p:spPr bwMode="auto">
          <a:xfrm>
            <a:off x="7820694" y="4310917"/>
            <a:ext cx="496887" cy="536575"/>
          </a:xfrm>
          <a:prstGeom prst="ellipse">
            <a:avLst/>
          </a:prstGeom>
          <a:solidFill>
            <a:schemeClr val="tx2">
              <a:lumMod val="90000"/>
              <a:lumOff val="10000"/>
            </a:schemeClr>
          </a:solidFill>
          <a:ln w="3175" cap="flat" cmpd="sng" algn="ctr">
            <a:solidFill>
              <a:schemeClr val="bg1"/>
            </a:solidFill>
            <a:prstDash val="solid"/>
            <a:round/>
            <a:headEnd type="none" w="med" len="med"/>
            <a:tailEnd type="none" w="med" len="med"/>
          </a:ln>
          <a:effectLst/>
        </p:spPr>
        <p:txBody>
          <a:bodyPr wrap="none" lIns="72000" rIns="72000" anchor="ctr"/>
          <a:lstStyle/>
          <a:p>
            <a:pPr algn="ctr">
              <a:spcBef>
                <a:spcPct val="50000"/>
              </a:spcBef>
              <a:defRPr/>
            </a:pPr>
            <a:r>
              <a:rPr lang="en-US" sz="1100" b="1">
                <a:solidFill>
                  <a:schemeClr val="bg1"/>
                </a:solidFill>
              </a:rPr>
              <a:t>5</a:t>
            </a:r>
          </a:p>
        </p:txBody>
      </p:sp>
      <p:sp>
        <p:nvSpPr>
          <p:cNvPr id="30" name="TextBox 45"/>
          <p:cNvSpPr txBox="1">
            <a:spLocks noChangeArrowheads="1"/>
          </p:cNvSpPr>
          <p:nvPr/>
        </p:nvSpPr>
        <p:spPr bwMode="auto">
          <a:xfrm>
            <a:off x="8321589" y="4387861"/>
            <a:ext cx="10828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charset="0"/>
              <a:buChar char="›"/>
              <a:defRPr sz="2400">
                <a:solidFill>
                  <a:schemeClr val="tx1"/>
                </a:solidFill>
                <a:latin typeface="Arial" charset="0"/>
              </a:defRPr>
            </a:lvl1pPr>
            <a:lvl2pPr marL="742950" indent="-285750">
              <a:spcBef>
                <a:spcPct val="20000"/>
              </a:spcBef>
              <a:buClr>
                <a:schemeClr val="tx1"/>
              </a:buClr>
              <a:buFont typeface="Ericsson Capital TT" pitchFamily="2" charset="0"/>
              <a:buChar char="–"/>
              <a:defRPr sz="2000">
                <a:solidFill>
                  <a:schemeClr val="tx1"/>
                </a:solidFill>
                <a:latin typeface="Arial" charset="0"/>
              </a:defRPr>
            </a:lvl2pPr>
            <a:lvl3pPr marL="1143000" indent="-228600">
              <a:spcBef>
                <a:spcPct val="20000"/>
              </a:spcBef>
              <a:buClr>
                <a:srgbClr val="92CCE5"/>
              </a:buClr>
              <a:buFont typeface="Ericsson Capital TT" pitchFamily="2" charset="0"/>
              <a:buChar char="›"/>
              <a:defRPr sz="2000">
                <a:solidFill>
                  <a:schemeClr val="tx1"/>
                </a:solidFill>
                <a:latin typeface="Arial" charset="0"/>
              </a:defRPr>
            </a:lvl3pPr>
            <a:lvl4pPr marL="1600200" indent="-228600">
              <a:spcBef>
                <a:spcPct val="20000"/>
              </a:spcBef>
              <a:buClr>
                <a:schemeClr val="tx1"/>
              </a:buClr>
              <a:buFont typeface="Ericsson Capital TT" pitchFamily="2" charset="0"/>
              <a:buChar char="-"/>
              <a:defRPr sz="2000">
                <a:solidFill>
                  <a:schemeClr val="tx1"/>
                </a:solidFill>
                <a:latin typeface="Arial" charset="0"/>
              </a:defRPr>
            </a:lvl4pPr>
            <a:lvl5pPr marL="2057400" indent="-22860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l" eaLnBrk="1" hangingPunct="1">
              <a:spcBef>
                <a:spcPct val="0"/>
              </a:spcBef>
              <a:buClrTx/>
              <a:buFontTx/>
              <a:buNone/>
            </a:pPr>
            <a:r>
              <a:rPr lang="en-US" altLang="sv-SE" sz="900" b="1">
                <a:ea typeface="MS PGothic" pitchFamily="34" charset="-128"/>
              </a:rPr>
              <a:t>VNF Carries Traffic</a:t>
            </a:r>
          </a:p>
        </p:txBody>
      </p:sp>
      <p:sp>
        <p:nvSpPr>
          <p:cNvPr id="31" name="TextBox 30"/>
          <p:cNvSpPr txBox="1"/>
          <p:nvPr/>
        </p:nvSpPr>
        <p:spPr>
          <a:xfrm>
            <a:off x="9821278" y="2723041"/>
            <a:ext cx="602216" cy="338554"/>
          </a:xfrm>
          <a:prstGeom prst="rect">
            <a:avLst/>
          </a:prstGeom>
          <a:solidFill>
            <a:schemeClr val="bg1"/>
          </a:solidFill>
          <a:ln>
            <a:solidFill>
              <a:schemeClr val="tx1">
                <a:lumMod val="50000"/>
              </a:schemeClr>
            </a:solidFill>
            <a:prstDash val="dash"/>
          </a:ln>
        </p:spPr>
        <p:txBody>
          <a:bodyPr wrap="none" rtlCol="0">
            <a:spAutoFit/>
          </a:bodyPr>
          <a:lstStyle/>
          <a:p>
            <a:r>
              <a:rPr lang="en-US" sz="1600">
                <a:solidFill>
                  <a:schemeClr val="tx1">
                    <a:lumMod val="50000"/>
                  </a:schemeClr>
                </a:solidFill>
              </a:rPr>
              <a:t>OVA</a:t>
            </a:r>
          </a:p>
        </p:txBody>
      </p:sp>
      <p:sp>
        <p:nvSpPr>
          <p:cNvPr id="32" name="TextBox 31"/>
          <p:cNvSpPr txBox="1"/>
          <p:nvPr/>
        </p:nvSpPr>
        <p:spPr>
          <a:xfrm>
            <a:off x="8215309" y="6363167"/>
            <a:ext cx="2423869" cy="276999"/>
          </a:xfrm>
          <a:prstGeom prst="rect">
            <a:avLst/>
          </a:prstGeom>
          <a:noFill/>
        </p:spPr>
        <p:txBody>
          <a:bodyPr wrap="none" rtlCol="0">
            <a:spAutoFit/>
          </a:bodyPr>
          <a:lstStyle/>
          <a:p>
            <a:r>
              <a:rPr lang="en-US" sz="1200"/>
              <a:t>OVA: Open Virtualization Archive</a:t>
            </a:r>
          </a:p>
        </p:txBody>
      </p:sp>
    </p:spTree>
    <p:extLst>
      <p:ext uri="{BB962C8B-B14F-4D97-AF65-F5344CB8AC3E}">
        <p14:creationId xmlns:p14="http://schemas.microsoft.com/office/powerpoint/2010/main" val="224378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7</a:t>
            </a:r>
          </a:p>
          <a:p>
            <a:r>
              <a:rPr lang="en-US" dirty="0"/>
              <a:t>5G and </a:t>
            </a:r>
            <a:r>
              <a:rPr lang="en-US" sz="2800" dirty="0"/>
              <a:t>Interoperable Communication Services</a:t>
            </a:r>
            <a:endParaRPr lang="en-US" dirty="0"/>
          </a:p>
        </p:txBody>
      </p:sp>
    </p:spTree>
    <p:custDataLst>
      <p:tags r:id="rId1"/>
    </p:custDataLst>
    <p:extLst>
      <p:ext uri="{BB962C8B-B14F-4D97-AF65-F5344CB8AC3E}">
        <p14:creationId xmlns:p14="http://schemas.microsoft.com/office/powerpoint/2010/main" val="148452888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interoperable communication services support in the 5G Core</a:t>
            </a:r>
            <a:br>
              <a:rPr lang="en-US" dirty="0"/>
            </a:br>
            <a:endParaRPr lang="en-US" sz="2000" dirty="0"/>
          </a:p>
          <a:p>
            <a:pPr marL="735013" lvl="1" indent="-381000">
              <a:lnSpc>
                <a:spcPct val="90000"/>
              </a:lnSpc>
            </a:pPr>
            <a:r>
              <a:rPr lang="en-US" dirty="0"/>
              <a:t>Elaborate how communication services (IMS) will be used for different 5G Core deployment options</a:t>
            </a:r>
          </a:p>
        </p:txBody>
      </p:sp>
    </p:spTree>
    <p:extLst>
      <p:ext uri="{BB962C8B-B14F-4D97-AF65-F5344CB8AC3E}">
        <p14:creationId xmlns:p14="http://schemas.microsoft.com/office/powerpoint/2010/main" val="44018647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5" y="103234"/>
            <a:ext cx="9992784" cy="1085371"/>
          </a:xfrm>
        </p:spPr>
        <p:txBody>
          <a:bodyPr/>
          <a:lstStyle/>
          <a:p>
            <a:r>
              <a:rPr lang="en-US" dirty="0"/>
              <a:t>5G in 3GPP: Architecture scope</a:t>
            </a:r>
          </a:p>
        </p:txBody>
      </p:sp>
      <p:grpSp>
        <p:nvGrpSpPr>
          <p:cNvPr id="150" name="Group 149"/>
          <p:cNvGrpSpPr/>
          <p:nvPr/>
        </p:nvGrpSpPr>
        <p:grpSpPr>
          <a:xfrm>
            <a:off x="6077531" y="1143969"/>
            <a:ext cx="5724854" cy="5507765"/>
            <a:chOff x="6077531" y="1143969"/>
            <a:chExt cx="5724854" cy="5507765"/>
          </a:xfrm>
        </p:grpSpPr>
        <p:grpSp>
          <p:nvGrpSpPr>
            <p:cNvPr id="151" name="Group 261"/>
            <p:cNvGrpSpPr>
              <a:grpSpLocks/>
            </p:cNvGrpSpPr>
            <p:nvPr/>
          </p:nvGrpSpPr>
          <p:grpSpPr bwMode="auto">
            <a:xfrm>
              <a:off x="7615323" y="1647070"/>
              <a:ext cx="496390" cy="689716"/>
              <a:chOff x="239" y="1832"/>
              <a:chExt cx="363" cy="520"/>
            </a:xfrm>
          </p:grpSpPr>
          <p:sp>
            <p:nvSpPr>
              <p:cNvPr id="25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5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5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ea typeface="ＭＳ Ｐゴシック" pitchFamily="34" charset="-128"/>
                  </a:rPr>
                  <a:t>5GC</a:t>
                </a:r>
              </a:p>
            </p:txBody>
          </p:sp>
          <p:sp>
            <p:nvSpPr>
              <p:cNvPr id="25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5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grpSp>
          <p:nvGrpSpPr>
            <p:cNvPr id="152" name="Group 151"/>
            <p:cNvGrpSpPr>
              <a:grpSpLocks noChangeAspect="1"/>
            </p:cNvGrpSpPr>
            <p:nvPr/>
          </p:nvGrpSpPr>
          <p:grpSpPr bwMode="auto">
            <a:xfrm>
              <a:off x="7616006" y="2567771"/>
              <a:ext cx="496390" cy="703123"/>
              <a:chOff x="3106" y="2389"/>
              <a:chExt cx="363" cy="520"/>
            </a:xfrm>
          </p:grpSpPr>
          <p:sp>
            <p:nvSpPr>
              <p:cNvPr id="24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4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4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NR</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4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5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53" name="Group 9"/>
            <p:cNvGrpSpPr>
              <a:grpSpLocks/>
            </p:cNvGrpSpPr>
            <p:nvPr/>
          </p:nvGrpSpPr>
          <p:grpSpPr bwMode="auto">
            <a:xfrm>
              <a:off x="7992711" y="3526404"/>
              <a:ext cx="239369" cy="360989"/>
              <a:chOff x="416" y="1332"/>
              <a:chExt cx="408" cy="737"/>
            </a:xfrm>
          </p:grpSpPr>
          <p:sp>
            <p:nvSpPr>
              <p:cNvPr id="242"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endParaRPr>
              </a:p>
            </p:txBody>
          </p:sp>
          <p:grpSp>
            <p:nvGrpSpPr>
              <p:cNvPr id="243" name="Group 11"/>
              <p:cNvGrpSpPr>
                <a:grpSpLocks/>
              </p:cNvGrpSpPr>
              <p:nvPr/>
            </p:nvGrpSpPr>
            <p:grpSpPr bwMode="auto">
              <a:xfrm>
                <a:off x="416" y="1332"/>
                <a:ext cx="408" cy="737"/>
                <a:chOff x="518" y="1338"/>
                <a:chExt cx="357" cy="568"/>
              </a:xfrm>
            </p:grpSpPr>
            <p:sp>
              <p:nvSpPr>
                <p:cNvPr id="244"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br>
                  <a:endParaRPr lang="en-US" altLang="es-ES_tradnl" sz="2400"/>
                </a:p>
              </p:txBody>
            </p:sp>
            <p:sp>
              <p:nvSpPr>
                <p:cNvPr id="245"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cxnSp>
          <p:nvCxnSpPr>
            <p:cNvPr id="154" name="Straight Connector 153"/>
            <p:cNvCxnSpPr>
              <a:stCxn id="247" idx="1"/>
              <a:endCxn id="253" idx="2"/>
            </p:cNvCxnSpPr>
            <p:nvPr/>
          </p:nvCxnSpPr>
          <p:spPr bwMode="auto">
            <a:xfrm flipV="1">
              <a:off x="7693335" y="2320870"/>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55" name="Straight Connector 154"/>
            <p:cNvCxnSpPr>
              <a:stCxn id="247" idx="7"/>
              <a:endCxn id="251" idx="2"/>
            </p:cNvCxnSpPr>
            <p:nvPr/>
          </p:nvCxnSpPr>
          <p:spPr bwMode="auto">
            <a:xfrm flipH="1" flipV="1">
              <a:off x="7864202" y="2328828"/>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56" name="Straight Connector 155"/>
            <p:cNvCxnSpPr/>
            <p:nvPr/>
          </p:nvCxnSpPr>
          <p:spPr bwMode="auto">
            <a:xfrm flipH="1" flipV="1">
              <a:off x="7805709" y="3262781"/>
              <a:ext cx="209225" cy="31946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57" name="Straight Connector 156"/>
            <p:cNvCxnSpPr/>
            <p:nvPr/>
          </p:nvCxnSpPr>
          <p:spPr bwMode="auto">
            <a:xfrm flipH="1" flipV="1">
              <a:off x="7917473" y="3254668"/>
              <a:ext cx="194923" cy="27173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58" name="Freeform 5"/>
            <p:cNvSpPr>
              <a:spLocks noChangeAspect="1"/>
            </p:cNvSpPr>
            <p:nvPr/>
          </p:nvSpPr>
          <p:spPr bwMode="auto">
            <a:xfrm>
              <a:off x="6185687" y="1511184"/>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eaLnBrk="1" hangingPunct="1"/>
              <a:r>
                <a:rPr lang="en-US" altLang="es-ES_tradnl" b="1" dirty="0">
                  <a:solidFill>
                    <a:srgbClr val="00B0F0"/>
                  </a:solidFill>
                </a:rPr>
                <a:t>Option 2</a:t>
              </a:r>
              <a:br>
                <a:rPr lang="en-US" altLang="es-ES_tradnl" b="1" dirty="0">
                  <a:solidFill>
                    <a:srgbClr val="00B0F0"/>
                  </a:solidFill>
                </a:rPr>
              </a:br>
              <a:r>
                <a:rPr lang="en-US" altLang="es-ES_tradnl" sz="1600" b="1" dirty="0">
                  <a:solidFill>
                    <a:srgbClr val="00B0F0"/>
                  </a:solidFill>
                </a:rPr>
                <a:t>Stand-alone NR</a:t>
              </a:r>
            </a:p>
          </p:txBody>
        </p:sp>
        <p:grpSp>
          <p:nvGrpSpPr>
            <p:cNvPr id="159" name="Group 261"/>
            <p:cNvGrpSpPr>
              <a:grpSpLocks/>
            </p:cNvGrpSpPr>
            <p:nvPr/>
          </p:nvGrpSpPr>
          <p:grpSpPr bwMode="auto">
            <a:xfrm>
              <a:off x="10517459" y="1647071"/>
              <a:ext cx="496390" cy="689716"/>
              <a:chOff x="239" y="1832"/>
              <a:chExt cx="363" cy="520"/>
            </a:xfrm>
          </p:grpSpPr>
          <p:sp>
            <p:nvSpPr>
              <p:cNvPr id="23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3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3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ea typeface="ＭＳ Ｐゴシック" pitchFamily="34" charset="-128"/>
                  </a:rPr>
                  <a:t>5GC</a:t>
                </a:r>
              </a:p>
            </p:txBody>
          </p:sp>
          <p:sp>
            <p:nvSpPr>
              <p:cNvPr id="24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4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grpSp>
          <p:nvGrpSpPr>
            <p:cNvPr id="160" name="Group 159"/>
            <p:cNvGrpSpPr>
              <a:grpSpLocks noChangeAspect="1"/>
            </p:cNvGrpSpPr>
            <p:nvPr/>
          </p:nvGrpSpPr>
          <p:grpSpPr bwMode="auto">
            <a:xfrm>
              <a:off x="10518142" y="2567772"/>
              <a:ext cx="496390" cy="703123"/>
              <a:chOff x="3106" y="2389"/>
              <a:chExt cx="363" cy="520"/>
            </a:xfrm>
          </p:grpSpPr>
          <p:sp>
            <p:nvSpPr>
              <p:cNvPr id="23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3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3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NR</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3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61" name="Group 9"/>
            <p:cNvGrpSpPr>
              <a:grpSpLocks/>
            </p:cNvGrpSpPr>
            <p:nvPr/>
          </p:nvGrpSpPr>
          <p:grpSpPr bwMode="auto">
            <a:xfrm>
              <a:off x="10163327" y="3526405"/>
              <a:ext cx="239369" cy="360989"/>
              <a:chOff x="416" y="1332"/>
              <a:chExt cx="408" cy="737"/>
            </a:xfrm>
          </p:grpSpPr>
          <p:sp>
            <p:nvSpPr>
              <p:cNvPr id="228"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endParaRPr>
              </a:p>
            </p:txBody>
          </p:sp>
          <p:grpSp>
            <p:nvGrpSpPr>
              <p:cNvPr id="229" name="Group 11"/>
              <p:cNvGrpSpPr>
                <a:grpSpLocks/>
              </p:cNvGrpSpPr>
              <p:nvPr/>
            </p:nvGrpSpPr>
            <p:grpSpPr bwMode="auto">
              <a:xfrm>
                <a:off x="416" y="1332"/>
                <a:ext cx="408" cy="737"/>
                <a:chOff x="518" y="1338"/>
                <a:chExt cx="357" cy="568"/>
              </a:xfrm>
            </p:grpSpPr>
            <p:sp>
              <p:nvSpPr>
                <p:cNvPr id="230"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br>
                  <a:endParaRPr lang="en-US" altLang="es-ES_tradnl" sz="2400"/>
                </a:p>
              </p:txBody>
            </p:sp>
            <p:sp>
              <p:nvSpPr>
                <p:cNvPr id="23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cxnSp>
          <p:nvCxnSpPr>
            <p:cNvPr id="162" name="Straight Connector 161"/>
            <p:cNvCxnSpPr>
              <a:stCxn id="233" idx="1"/>
              <a:endCxn id="239" idx="2"/>
            </p:cNvCxnSpPr>
            <p:nvPr/>
          </p:nvCxnSpPr>
          <p:spPr bwMode="auto">
            <a:xfrm flipV="1">
              <a:off x="10595471" y="2320871"/>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63" name="Straight Connector 162"/>
            <p:cNvCxnSpPr>
              <a:stCxn id="233" idx="7"/>
              <a:endCxn id="237" idx="2"/>
            </p:cNvCxnSpPr>
            <p:nvPr/>
          </p:nvCxnSpPr>
          <p:spPr bwMode="auto">
            <a:xfrm flipH="1" flipV="1">
              <a:off x="10766338" y="2328829"/>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64" name="Straight Connector 163"/>
            <p:cNvCxnSpPr/>
            <p:nvPr/>
          </p:nvCxnSpPr>
          <p:spPr bwMode="auto">
            <a:xfrm flipV="1">
              <a:off x="10283011" y="3262783"/>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65" name="Straight Connector 164"/>
            <p:cNvCxnSpPr/>
            <p:nvPr/>
          </p:nvCxnSpPr>
          <p:spPr bwMode="auto">
            <a:xfrm flipV="1">
              <a:off x="10402696" y="3254669"/>
              <a:ext cx="416914" cy="327574"/>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66" name="Freeform 5"/>
            <p:cNvSpPr>
              <a:spLocks noChangeAspect="1"/>
            </p:cNvSpPr>
            <p:nvPr/>
          </p:nvSpPr>
          <p:spPr bwMode="auto">
            <a:xfrm>
              <a:off x="9087823" y="1511185"/>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eaLnBrk="1" hangingPunct="1"/>
              <a:r>
                <a:rPr lang="en-US" altLang="es-ES_tradnl" b="1" dirty="0">
                  <a:solidFill>
                    <a:srgbClr val="00B0F0"/>
                  </a:solidFill>
                </a:rPr>
                <a:t>Option 4</a:t>
              </a:r>
              <a:br>
                <a:rPr lang="en-US" altLang="es-ES_tradnl" b="1" dirty="0">
                  <a:solidFill>
                    <a:srgbClr val="00B0F0"/>
                  </a:solidFill>
                </a:rPr>
              </a:br>
              <a:r>
                <a:rPr lang="en-US" altLang="es-ES_tradnl" sz="1600" b="1" dirty="0">
                  <a:solidFill>
                    <a:srgbClr val="00B0F0"/>
                  </a:solidFill>
                </a:rPr>
                <a:t>NSA</a:t>
              </a:r>
              <a:r>
                <a:rPr lang="en-US" altLang="es-ES_tradnl" b="1" dirty="0">
                  <a:solidFill>
                    <a:srgbClr val="00B0F0"/>
                  </a:solidFill>
                </a:rPr>
                <a:t> </a:t>
              </a:r>
              <a:r>
                <a:rPr lang="en-US" altLang="es-ES_tradnl" sz="1600" b="1" dirty="0">
                  <a:solidFill>
                    <a:srgbClr val="00B0F0"/>
                  </a:solidFill>
                </a:rPr>
                <a:t>“NR-Assisted”</a:t>
              </a:r>
            </a:p>
          </p:txBody>
        </p:sp>
        <p:cxnSp>
          <p:nvCxnSpPr>
            <p:cNvPr id="167" name="Straight Connector 166"/>
            <p:cNvCxnSpPr>
              <a:endCxn id="223" idx="2"/>
            </p:cNvCxnSpPr>
            <p:nvPr/>
          </p:nvCxnSpPr>
          <p:spPr bwMode="auto">
            <a:xfrm flipH="1" flipV="1">
              <a:off x="9886916" y="3261092"/>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68" name="Straight Connector 167"/>
            <p:cNvCxnSpPr>
              <a:stCxn id="234" idx="1"/>
              <a:endCxn id="225" idx="3"/>
            </p:cNvCxnSpPr>
            <p:nvPr/>
          </p:nvCxnSpPr>
          <p:spPr bwMode="auto">
            <a:xfrm flipH="1" flipV="1">
              <a:off x="10108445" y="3100861"/>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69" name="Group 168"/>
            <p:cNvGrpSpPr>
              <a:grpSpLocks noChangeAspect="1"/>
            </p:cNvGrpSpPr>
            <p:nvPr/>
          </p:nvGrpSpPr>
          <p:grpSpPr bwMode="auto">
            <a:xfrm>
              <a:off x="9638037" y="2566082"/>
              <a:ext cx="496390" cy="703123"/>
              <a:chOff x="3106" y="2389"/>
              <a:chExt cx="363" cy="520"/>
            </a:xfrm>
          </p:grpSpPr>
          <p:sp>
            <p:nvSpPr>
              <p:cNvPr id="22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2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2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LTE</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2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2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70" name="Group 261"/>
            <p:cNvGrpSpPr>
              <a:grpSpLocks/>
            </p:cNvGrpSpPr>
            <p:nvPr/>
          </p:nvGrpSpPr>
          <p:grpSpPr bwMode="auto">
            <a:xfrm>
              <a:off x="7633863" y="4279379"/>
              <a:ext cx="496390" cy="689716"/>
              <a:chOff x="239" y="1832"/>
              <a:chExt cx="363" cy="520"/>
            </a:xfrm>
          </p:grpSpPr>
          <p:sp>
            <p:nvSpPr>
              <p:cNvPr id="21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1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2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ea typeface="ＭＳ Ｐゴシック" pitchFamily="34" charset="-128"/>
                  </a:rPr>
                  <a:t>5GC</a:t>
                </a:r>
              </a:p>
            </p:txBody>
          </p:sp>
          <p:sp>
            <p:nvSpPr>
              <p:cNvPr id="22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2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grpSp>
          <p:nvGrpSpPr>
            <p:cNvPr id="171" name="Group 9"/>
            <p:cNvGrpSpPr>
              <a:grpSpLocks/>
            </p:cNvGrpSpPr>
            <p:nvPr/>
          </p:nvGrpSpPr>
          <p:grpSpPr bwMode="auto">
            <a:xfrm>
              <a:off x="7279731" y="6158713"/>
              <a:ext cx="239369" cy="360989"/>
              <a:chOff x="416" y="1332"/>
              <a:chExt cx="408" cy="737"/>
            </a:xfrm>
          </p:grpSpPr>
          <p:sp>
            <p:nvSpPr>
              <p:cNvPr id="214"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endParaRPr>
              </a:p>
            </p:txBody>
          </p:sp>
          <p:grpSp>
            <p:nvGrpSpPr>
              <p:cNvPr id="215" name="Group 11"/>
              <p:cNvGrpSpPr>
                <a:grpSpLocks/>
              </p:cNvGrpSpPr>
              <p:nvPr/>
            </p:nvGrpSpPr>
            <p:grpSpPr bwMode="auto">
              <a:xfrm>
                <a:off x="416" y="1332"/>
                <a:ext cx="408" cy="737"/>
                <a:chOff x="518" y="1338"/>
                <a:chExt cx="357" cy="568"/>
              </a:xfrm>
            </p:grpSpPr>
            <p:sp>
              <p:nvSpPr>
                <p:cNvPr id="216"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br>
                  <a:endParaRPr lang="en-US" altLang="es-ES_tradnl" sz="2400"/>
                </a:p>
              </p:txBody>
            </p:sp>
            <p:sp>
              <p:nvSpPr>
                <p:cNvPr id="217"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cxnSp>
          <p:nvCxnSpPr>
            <p:cNvPr id="172" name="Straight Connector 171"/>
            <p:cNvCxnSpPr>
              <a:stCxn id="210" idx="1"/>
              <a:endCxn id="220" idx="2"/>
            </p:cNvCxnSpPr>
            <p:nvPr/>
          </p:nvCxnSpPr>
          <p:spPr bwMode="auto">
            <a:xfrm flipV="1">
              <a:off x="6831770" y="4953179"/>
              <a:ext cx="1048921"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73" name="Straight Connector 172"/>
            <p:cNvCxnSpPr>
              <a:stCxn id="210" idx="7"/>
              <a:endCxn id="218" idx="2"/>
            </p:cNvCxnSpPr>
            <p:nvPr/>
          </p:nvCxnSpPr>
          <p:spPr bwMode="auto">
            <a:xfrm flipV="1">
              <a:off x="7172134" y="4961137"/>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74" name="Straight Connector 173"/>
            <p:cNvCxnSpPr/>
            <p:nvPr/>
          </p:nvCxnSpPr>
          <p:spPr bwMode="auto">
            <a:xfrm flipH="1" flipV="1">
              <a:off x="6915296" y="5893400"/>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75" name="Freeform 5"/>
            <p:cNvSpPr>
              <a:spLocks noChangeAspect="1"/>
            </p:cNvSpPr>
            <p:nvPr/>
          </p:nvSpPr>
          <p:spPr bwMode="auto">
            <a:xfrm>
              <a:off x="6204227" y="4143493"/>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eaLnBrk="1" hangingPunct="1"/>
              <a:r>
                <a:rPr lang="en-US" altLang="es-ES_tradnl" b="1" dirty="0">
                  <a:solidFill>
                    <a:srgbClr val="00B0F0"/>
                  </a:solidFill>
                </a:rPr>
                <a:t>Option 5</a:t>
              </a:r>
              <a:br>
                <a:rPr lang="en-US" altLang="es-ES_tradnl" b="1" dirty="0">
                  <a:solidFill>
                    <a:srgbClr val="00B0F0"/>
                  </a:solidFill>
                </a:rPr>
              </a:br>
              <a:r>
                <a:rPr lang="en-US" altLang="es-ES_tradnl" sz="1600" b="1" dirty="0">
                  <a:solidFill>
                    <a:srgbClr val="00B0F0"/>
                  </a:solidFill>
                </a:rPr>
                <a:t>Stand-alone LTE</a:t>
              </a:r>
            </a:p>
          </p:txBody>
        </p:sp>
        <p:cxnSp>
          <p:nvCxnSpPr>
            <p:cNvPr id="176" name="Straight Connector 175"/>
            <p:cNvCxnSpPr>
              <a:endCxn id="209" idx="2"/>
            </p:cNvCxnSpPr>
            <p:nvPr/>
          </p:nvCxnSpPr>
          <p:spPr bwMode="auto">
            <a:xfrm flipH="1" flipV="1">
              <a:off x="7003320" y="5893400"/>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77" name="Group 176"/>
            <p:cNvGrpSpPr>
              <a:grpSpLocks noChangeAspect="1"/>
            </p:cNvGrpSpPr>
            <p:nvPr/>
          </p:nvGrpSpPr>
          <p:grpSpPr bwMode="auto">
            <a:xfrm>
              <a:off x="6754441" y="5198390"/>
              <a:ext cx="496390" cy="703123"/>
              <a:chOff x="3106" y="2389"/>
              <a:chExt cx="363" cy="520"/>
            </a:xfrm>
          </p:grpSpPr>
          <p:sp>
            <p:nvSpPr>
              <p:cNvPr id="20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1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1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LTE</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1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1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78" name="Group 261"/>
            <p:cNvGrpSpPr>
              <a:grpSpLocks/>
            </p:cNvGrpSpPr>
            <p:nvPr/>
          </p:nvGrpSpPr>
          <p:grpSpPr bwMode="auto">
            <a:xfrm>
              <a:off x="10519301" y="4275670"/>
              <a:ext cx="496390" cy="689716"/>
              <a:chOff x="239" y="1832"/>
              <a:chExt cx="363" cy="520"/>
            </a:xfrm>
          </p:grpSpPr>
          <p:sp>
            <p:nvSpPr>
              <p:cNvPr id="20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0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0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ea typeface="ＭＳ Ｐゴシック" pitchFamily="34" charset="-128"/>
                  </a:rPr>
                  <a:t>5GC</a:t>
                </a:r>
              </a:p>
            </p:txBody>
          </p:sp>
          <p:sp>
            <p:nvSpPr>
              <p:cNvPr id="20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0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grpSp>
          <p:nvGrpSpPr>
            <p:cNvPr id="179" name="Group 178"/>
            <p:cNvGrpSpPr>
              <a:grpSpLocks noChangeAspect="1"/>
            </p:cNvGrpSpPr>
            <p:nvPr/>
          </p:nvGrpSpPr>
          <p:grpSpPr bwMode="auto">
            <a:xfrm>
              <a:off x="10519984" y="5196371"/>
              <a:ext cx="496390" cy="703123"/>
              <a:chOff x="3106" y="2389"/>
              <a:chExt cx="363" cy="520"/>
            </a:xfrm>
          </p:grpSpPr>
          <p:sp>
            <p:nvSpPr>
              <p:cNvPr id="19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NR</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0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180" name="Group 9"/>
            <p:cNvGrpSpPr>
              <a:grpSpLocks/>
            </p:cNvGrpSpPr>
            <p:nvPr/>
          </p:nvGrpSpPr>
          <p:grpSpPr bwMode="auto">
            <a:xfrm>
              <a:off x="10165169" y="6155004"/>
              <a:ext cx="239369" cy="360989"/>
              <a:chOff x="416" y="1332"/>
              <a:chExt cx="408" cy="737"/>
            </a:xfrm>
          </p:grpSpPr>
          <p:sp>
            <p:nvSpPr>
              <p:cNvPr id="195"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endParaRPr>
              </a:p>
            </p:txBody>
          </p:sp>
          <p:grpSp>
            <p:nvGrpSpPr>
              <p:cNvPr id="196" name="Group 11"/>
              <p:cNvGrpSpPr>
                <a:grpSpLocks/>
              </p:cNvGrpSpPr>
              <p:nvPr/>
            </p:nvGrpSpPr>
            <p:grpSpPr bwMode="auto">
              <a:xfrm>
                <a:off x="416" y="1332"/>
                <a:ext cx="408" cy="737"/>
                <a:chOff x="518" y="1338"/>
                <a:chExt cx="357" cy="568"/>
              </a:xfrm>
            </p:grpSpPr>
            <p:sp>
              <p:nvSpPr>
                <p:cNvPr id="197"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br>
                  <a:endParaRPr lang="en-US" altLang="es-ES_tradnl" sz="2400"/>
                </a:p>
              </p:txBody>
            </p:sp>
            <p:sp>
              <p:nvSpPr>
                <p:cNvPr id="198"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cxnSp>
          <p:nvCxnSpPr>
            <p:cNvPr id="181" name="Straight Connector 180"/>
            <p:cNvCxnSpPr>
              <a:stCxn id="191" idx="1"/>
              <a:endCxn id="204" idx="2"/>
            </p:cNvCxnSpPr>
            <p:nvPr/>
          </p:nvCxnSpPr>
          <p:spPr bwMode="auto">
            <a:xfrm flipV="1">
              <a:off x="9717208" y="4957428"/>
              <a:ext cx="1050972" cy="3170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2" name="Straight Connector 181"/>
            <p:cNvCxnSpPr>
              <a:stCxn id="191" idx="7"/>
              <a:endCxn id="204" idx="2"/>
            </p:cNvCxnSpPr>
            <p:nvPr/>
          </p:nvCxnSpPr>
          <p:spPr bwMode="auto">
            <a:xfrm flipV="1">
              <a:off x="10057572" y="4957428"/>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83" name="Straight Connector 182"/>
            <p:cNvCxnSpPr/>
            <p:nvPr/>
          </p:nvCxnSpPr>
          <p:spPr bwMode="auto">
            <a:xfrm flipV="1">
              <a:off x="10284853" y="5891382"/>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4" name="Straight Connector 183"/>
            <p:cNvCxnSpPr/>
            <p:nvPr/>
          </p:nvCxnSpPr>
          <p:spPr bwMode="auto">
            <a:xfrm flipH="1" flipV="1">
              <a:off x="9800734" y="5889691"/>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85" name="Freeform 5"/>
            <p:cNvSpPr>
              <a:spLocks noChangeAspect="1"/>
            </p:cNvSpPr>
            <p:nvPr/>
          </p:nvSpPr>
          <p:spPr bwMode="auto">
            <a:xfrm>
              <a:off x="9089665" y="4139784"/>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eaLnBrk="1" hangingPunct="1"/>
              <a:r>
                <a:rPr lang="en-US" altLang="es-ES_tradnl" b="1" dirty="0">
                  <a:solidFill>
                    <a:srgbClr val="00B0F0"/>
                  </a:solidFill>
                </a:rPr>
                <a:t>Option 7</a:t>
              </a:r>
              <a:br>
                <a:rPr lang="en-US" altLang="es-ES_tradnl" b="1" dirty="0">
                  <a:solidFill>
                    <a:srgbClr val="00B0F0"/>
                  </a:solidFill>
                </a:rPr>
              </a:br>
              <a:r>
                <a:rPr lang="en-US" altLang="es-ES_tradnl" b="1" dirty="0">
                  <a:solidFill>
                    <a:srgbClr val="00B0F0"/>
                  </a:solidFill>
                </a:rPr>
                <a:t> </a:t>
              </a:r>
              <a:r>
                <a:rPr lang="en-US" altLang="es-ES_tradnl" sz="1600" b="1" dirty="0">
                  <a:solidFill>
                    <a:srgbClr val="00B0F0"/>
                  </a:solidFill>
                </a:rPr>
                <a:t>NSA</a:t>
              </a:r>
              <a:r>
                <a:rPr lang="en-US" altLang="es-ES_tradnl" b="1" dirty="0">
                  <a:solidFill>
                    <a:srgbClr val="00B0F0"/>
                  </a:solidFill>
                </a:rPr>
                <a:t> </a:t>
              </a:r>
              <a:r>
                <a:rPr lang="en-US" altLang="es-ES_tradnl" sz="1600" b="1" dirty="0">
                  <a:solidFill>
                    <a:srgbClr val="00B0F0"/>
                  </a:solidFill>
                </a:rPr>
                <a:t>“LTE-Assisted”</a:t>
              </a:r>
            </a:p>
          </p:txBody>
        </p:sp>
        <p:cxnSp>
          <p:nvCxnSpPr>
            <p:cNvPr id="186" name="Straight Connector 185"/>
            <p:cNvCxnSpPr>
              <a:endCxn id="190" idx="2"/>
            </p:cNvCxnSpPr>
            <p:nvPr/>
          </p:nvCxnSpPr>
          <p:spPr bwMode="auto">
            <a:xfrm flipH="1" flipV="1">
              <a:off x="9888758" y="5889691"/>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7" name="Straight Connector 186"/>
            <p:cNvCxnSpPr>
              <a:stCxn id="201" idx="1"/>
              <a:endCxn id="192" idx="3"/>
            </p:cNvCxnSpPr>
            <p:nvPr/>
          </p:nvCxnSpPr>
          <p:spPr bwMode="auto">
            <a:xfrm flipH="1" flipV="1">
              <a:off x="10110287" y="5729460"/>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88" name="Group 187"/>
            <p:cNvGrpSpPr>
              <a:grpSpLocks noChangeAspect="1"/>
            </p:cNvGrpSpPr>
            <p:nvPr/>
          </p:nvGrpSpPr>
          <p:grpSpPr bwMode="auto">
            <a:xfrm>
              <a:off x="9639879" y="5194681"/>
              <a:ext cx="496390" cy="703123"/>
              <a:chOff x="3106" y="2389"/>
              <a:chExt cx="363" cy="520"/>
            </a:xfrm>
          </p:grpSpPr>
          <p:sp>
            <p:nvSpPr>
              <p:cNvPr id="190"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91"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92"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LTE</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94"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sp>
          <p:nvSpPr>
            <p:cNvPr id="189" name="TextBox 188"/>
            <p:cNvSpPr txBox="1"/>
            <p:nvPr/>
          </p:nvSpPr>
          <p:spPr>
            <a:xfrm>
              <a:off x="6077531" y="1143969"/>
              <a:ext cx="2008883" cy="400110"/>
            </a:xfrm>
            <a:prstGeom prst="rect">
              <a:avLst/>
            </a:prstGeom>
            <a:noFill/>
          </p:spPr>
          <p:txBody>
            <a:bodyPr wrap="none" rtlCol="0">
              <a:spAutoFit/>
            </a:bodyPr>
            <a:lstStyle/>
            <a:p>
              <a:r>
                <a:rPr lang="en-US" b="1" dirty="0"/>
                <a:t>5GC Scenarios</a:t>
              </a:r>
            </a:p>
          </p:txBody>
        </p:sp>
      </p:grpSp>
      <p:grpSp>
        <p:nvGrpSpPr>
          <p:cNvPr id="256" name="Group 255"/>
          <p:cNvGrpSpPr>
            <a:grpSpLocks noChangeAspect="1"/>
          </p:cNvGrpSpPr>
          <p:nvPr/>
        </p:nvGrpSpPr>
        <p:grpSpPr bwMode="auto">
          <a:xfrm>
            <a:off x="2103756" y="2591568"/>
            <a:ext cx="496390" cy="703123"/>
            <a:chOff x="3106" y="2389"/>
            <a:chExt cx="363" cy="520"/>
          </a:xfrm>
        </p:grpSpPr>
        <p:sp>
          <p:nvSpPr>
            <p:cNvPr id="25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5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5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NR</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6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6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262" name="Group 9"/>
          <p:cNvGrpSpPr>
            <a:grpSpLocks/>
          </p:cNvGrpSpPr>
          <p:nvPr/>
        </p:nvGrpSpPr>
        <p:grpSpPr bwMode="auto">
          <a:xfrm>
            <a:off x="1748941" y="3550201"/>
            <a:ext cx="239369" cy="360989"/>
            <a:chOff x="416" y="1332"/>
            <a:chExt cx="408" cy="737"/>
          </a:xfrm>
        </p:grpSpPr>
        <p:sp>
          <p:nvSpPr>
            <p:cNvPr id="263"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endParaRPr>
            </a:p>
          </p:txBody>
        </p:sp>
        <p:grpSp>
          <p:nvGrpSpPr>
            <p:cNvPr id="264" name="Group 11"/>
            <p:cNvGrpSpPr>
              <a:grpSpLocks/>
            </p:cNvGrpSpPr>
            <p:nvPr/>
          </p:nvGrpSpPr>
          <p:grpSpPr bwMode="auto">
            <a:xfrm>
              <a:off x="416" y="1332"/>
              <a:ext cx="408" cy="737"/>
              <a:chOff x="518" y="1338"/>
              <a:chExt cx="357" cy="568"/>
            </a:xfrm>
          </p:grpSpPr>
          <p:sp>
            <p:nvSpPr>
              <p:cNvPr id="265"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br>
                <a:endParaRPr lang="en-US" altLang="es-ES_tradnl" sz="2400"/>
              </a:p>
            </p:txBody>
          </p:sp>
          <p:sp>
            <p:nvSpPr>
              <p:cNvPr id="266"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cxnSp>
        <p:nvCxnSpPr>
          <p:cNvPr id="267" name="Straight Connector 266"/>
          <p:cNvCxnSpPr>
            <a:endCxn id="273" idx="2"/>
          </p:cNvCxnSpPr>
          <p:nvPr/>
        </p:nvCxnSpPr>
        <p:spPr bwMode="auto">
          <a:xfrm flipH="1" flipV="1">
            <a:off x="1468032" y="2336709"/>
            <a:ext cx="881869" cy="25316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68" name="Straight Connector 267"/>
          <p:cNvCxnSpPr>
            <a:endCxn id="273" idx="2"/>
          </p:cNvCxnSpPr>
          <p:nvPr/>
        </p:nvCxnSpPr>
        <p:spPr bwMode="auto">
          <a:xfrm flipV="1">
            <a:off x="1468032" y="2336709"/>
            <a:ext cx="0" cy="262634"/>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69" name="Straight Connector 268"/>
          <p:cNvCxnSpPr/>
          <p:nvPr/>
        </p:nvCxnSpPr>
        <p:spPr bwMode="auto">
          <a:xfrm flipV="1">
            <a:off x="1868625" y="3286579"/>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70" name="Straight Connector 269"/>
          <p:cNvCxnSpPr/>
          <p:nvPr/>
        </p:nvCxnSpPr>
        <p:spPr bwMode="auto">
          <a:xfrm flipH="1" flipV="1">
            <a:off x="1384506" y="3284888"/>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271" name="Freeform 5"/>
          <p:cNvSpPr>
            <a:spLocks noChangeAspect="1"/>
          </p:cNvSpPr>
          <p:nvPr/>
        </p:nvSpPr>
        <p:spPr bwMode="auto">
          <a:xfrm>
            <a:off x="673437" y="1534981"/>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eaLnBrk="1" hangingPunct="1"/>
            <a:r>
              <a:rPr lang="en-US" altLang="es-ES_tradnl" b="1" dirty="0">
                <a:solidFill>
                  <a:srgbClr val="00B0F0"/>
                </a:solidFill>
              </a:rPr>
              <a:t>Option 3x</a:t>
            </a:r>
            <a:br>
              <a:rPr lang="en-US" altLang="es-ES_tradnl" b="1" dirty="0">
                <a:solidFill>
                  <a:srgbClr val="00B0F0"/>
                </a:solidFill>
              </a:rPr>
            </a:br>
            <a:r>
              <a:rPr lang="en-US" altLang="es-ES_tradnl" sz="1600" b="1" dirty="0">
                <a:solidFill>
                  <a:srgbClr val="00B0F0"/>
                </a:solidFill>
              </a:rPr>
              <a:t>NSA</a:t>
            </a:r>
            <a:r>
              <a:rPr lang="en-US" altLang="es-ES_tradnl" b="1" dirty="0">
                <a:solidFill>
                  <a:srgbClr val="00B0F0"/>
                </a:solidFill>
              </a:rPr>
              <a:t> “</a:t>
            </a:r>
            <a:r>
              <a:rPr lang="en-US" altLang="es-ES_tradnl" sz="1600" b="1" dirty="0">
                <a:solidFill>
                  <a:srgbClr val="00B0F0"/>
                </a:solidFill>
              </a:rPr>
              <a:t>LTE assisted” </a:t>
            </a:r>
          </a:p>
        </p:txBody>
      </p:sp>
      <p:grpSp>
        <p:nvGrpSpPr>
          <p:cNvPr id="272" name="Group 261"/>
          <p:cNvGrpSpPr>
            <a:grpSpLocks/>
          </p:cNvGrpSpPr>
          <p:nvPr/>
        </p:nvGrpSpPr>
        <p:grpSpPr bwMode="auto">
          <a:xfrm>
            <a:off x="1219153" y="1654951"/>
            <a:ext cx="496390" cy="689716"/>
            <a:chOff x="239" y="1832"/>
            <a:chExt cx="363" cy="520"/>
          </a:xfrm>
        </p:grpSpPr>
        <p:sp>
          <p:nvSpPr>
            <p:cNvPr id="27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7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7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ea typeface="ＭＳ Ｐゴシック" pitchFamily="34" charset="-128"/>
                </a:rPr>
                <a:t>5G</a:t>
              </a:r>
              <a:br>
                <a:rPr lang="en-US" altLang="en-US" sz="1100" b="1" dirty="0">
                  <a:solidFill>
                    <a:srgbClr val="8F3F7B"/>
                  </a:solidFill>
                  <a:ea typeface="ＭＳ Ｐゴシック" pitchFamily="34" charset="-128"/>
                </a:rPr>
              </a:br>
              <a:r>
                <a:rPr lang="en-US" altLang="en-US" sz="1100" b="1" dirty="0">
                  <a:solidFill>
                    <a:srgbClr val="8F3F7B"/>
                  </a:solidFill>
                  <a:ea typeface="ＭＳ Ｐゴシック" pitchFamily="34" charset="-128"/>
                </a:rPr>
                <a:t>EPC</a:t>
              </a:r>
            </a:p>
          </p:txBody>
        </p:sp>
        <p:sp>
          <p:nvSpPr>
            <p:cNvPr id="27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77"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cxnSp>
        <p:nvCxnSpPr>
          <p:cNvPr id="278" name="Straight Connector 277"/>
          <p:cNvCxnSpPr>
            <a:endCxn id="281" idx="2"/>
          </p:cNvCxnSpPr>
          <p:nvPr/>
        </p:nvCxnSpPr>
        <p:spPr bwMode="auto">
          <a:xfrm flipH="1" flipV="1">
            <a:off x="1472530" y="3284888"/>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79" name="Straight Connector 278"/>
          <p:cNvCxnSpPr>
            <a:stCxn id="259" idx="1"/>
            <a:endCxn id="283" idx="3"/>
          </p:cNvCxnSpPr>
          <p:nvPr/>
        </p:nvCxnSpPr>
        <p:spPr bwMode="auto">
          <a:xfrm flipH="1" flipV="1">
            <a:off x="1694059" y="3124657"/>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80" name="Group 279"/>
          <p:cNvGrpSpPr>
            <a:grpSpLocks noChangeAspect="1"/>
          </p:cNvGrpSpPr>
          <p:nvPr/>
        </p:nvGrpSpPr>
        <p:grpSpPr bwMode="auto">
          <a:xfrm>
            <a:off x="1223651" y="2589878"/>
            <a:ext cx="496390" cy="703123"/>
            <a:chOff x="3106" y="2389"/>
            <a:chExt cx="363" cy="520"/>
          </a:xfrm>
        </p:grpSpPr>
        <p:sp>
          <p:nvSpPr>
            <p:cNvPr id="28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8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8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Segoe UI" panose="020B0502040204020203" pitchFamily="34" charset="0"/>
                  <a:ea typeface="Segoe UI" panose="020B0502040204020203" pitchFamily="34" charset="0"/>
                  <a:cs typeface="Segoe UI" panose="020B0502040204020203" pitchFamily="34" charset="0"/>
                </a:rPr>
                <a:t>LTE</a:t>
              </a:r>
              <a:endParaRPr lang="en-US" altLang="en-US" sz="9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8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8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sp>
        <p:nvSpPr>
          <p:cNvPr id="286" name="TextBox 285"/>
          <p:cNvSpPr txBox="1"/>
          <p:nvPr/>
        </p:nvSpPr>
        <p:spPr>
          <a:xfrm>
            <a:off x="539781" y="1170186"/>
            <a:ext cx="4491990" cy="400110"/>
          </a:xfrm>
          <a:prstGeom prst="rect">
            <a:avLst/>
          </a:prstGeom>
          <a:noFill/>
        </p:spPr>
        <p:txBody>
          <a:bodyPr wrap="square" rtlCol="0">
            <a:spAutoFit/>
          </a:bodyPr>
          <a:lstStyle/>
          <a:p>
            <a:pPr algn="l"/>
            <a:r>
              <a:rPr lang="en-US" b="1" dirty="0"/>
              <a:t>5G EPC scenario</a:t>
            </a:r>
          </a:p>
        </p:txBody>
      </p:sp>
      <p:sp>
        <p:nvSpPr>
          <p:cNvPr id="287" name="TextBox 286"/>
          <p:cNvSpPr txBox="1"/>
          <p:nvPr/>
        </p:nvSpPr>
        <p:spPr>
          <a:xfrm>
            <a:off x="580878" y="4607035"/>
            <a:ext cx="5160822" cy="1015663"/>
          </a:xfrm>
          <a:prstGeom prst="rect">
            <a:avLst/>
          </a:prstGeom>
          <a:noFill/>
        </p:spPr>
        <p:txBody>
          <a:bodyPr wrap="square" rtlCol="0">
            <a:spAutoFit/>
          </a:bodyPr>
          <a:lstStyle/>
          <a:p>
            <a:pPr algn="l"/>
            <a:r>
              <a:rPr lang="en-US" b="1" dirty="0"/>
              <a:t>3GPP also discusses interworking between 5GC and both legacy EPC and 5G EPC </a:t>
            </a:r>
          </a:p>
        </p:txBody>
      </p:sp>
      <p:cxnSp>
        <p:nvCxnSpPr>
          <p:cNvPr id="288" name="Straight Connector 287"/>
          <p:cNvCxnSpPr/>
          <p:nvPr/>
        </p:nvCxnSpPr>
        <p:spPr bwMode="auto">
          <a:xfrm flipH="1">
            <a:off x="679636" y="5959126"/>
            <a:ext cx="364436" cy="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89" name="Straight Connector 288"/>
          <p:cNvCxnSpPr/>
          <p:nvPr/>
        </p:nvCxnSpPr>
        <p:spPr bwMode="auto">
          <a:xfrm flipH="1">
            <a:off x="676111" y="6191473"/>
            <a:ext cx="364436" cy="1"/>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290" name="TextBox 289"/>
          <p:cNvSpPr txBox="1"/>
          <p:nvPr/>
        </p:nvSpPr>
        <p:spPr>
          <a:xfrm>
            <a:off x="1097921" y="5762929"/>
            <a:ext cx="1611373" cy="338554"/>
          </a:xfrm>
          <a:prstGeom prst="rect">
            <a:avLst/>
          </a:prstGeom>
          <a:noFill/>
        </p:spPr>
        <p:txBody>
          <a:bodyPr wrap="square" rtlCol="0">
            <a:spAutoFit/>
          </a:bodyPr>
          <a:lstStyle/>
          <a:p>
            <a:r>
              <a:rPr lang="en-US" sz="1600" b="1" dirty="0"/>
              <a:t>Control plane</a:t>
            </a:r>
          </a:p>
        </p:txBody>
      </p:sp>
      <p:sp>
        <p:nvSpPr>
          <p:cNvPr id="291" name="TextBox 290"/>
          <p:cNvSpPr txBox="1"/>
          <p:nvPr/>
        </p:nvSpPr>
        <p:spPr>
          <a:xfrm>
            <a:off x="1073762" y="6031742"/>
            <a:ext cx="1611373" cy="338554"/>
          </a:xfrm>
          <a:prstGeom prst="rect">
            <a:avLst/>
          </a:prstGeom>
          <a:noFill/>
        </p:spPr>
        <p:txBody>
          <a:bodyPr wrap="square" rtlCol="0">
            <a:spAutoFit/>
          </a:bodyPr>
          <a:lstStyle/>
          <a:p>
            <a:r>
              <a:rPr lang="en-US" sz="1600" b="1" dirty="0"/>
              <a:t>User plane</a:t>
            </a:r>
          </a:p>
        </p:txBody>
      </p:sp>
    </p:spTree>
    <p:custDataLst>
      <p:tags r:id="rId1"/>
    </p:custDataLst>
    <p:extLst>
      <p:ext uri="{BB962C8B-B14F-4D97-AF65-F5344CB8AC3E}">
        <p14:creationId xmlns:p14="http://schemas.microsoft.com/office/powerpoint/2010/main" val="3580868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ment option 3 and IMS</a:t>
            </a:r>
          </a:p>
        </p:txBody>
      </p:sp>
      <p:sp>
        <p:nvSpPr>
          <p:cNvPr id="3" name="Text Placeholder 2"/>
          <p:cNvSpPr>
            <a:spLocks noGrp="1"/>
          </p:cNvSpPr>
          <p:nvPr>
            <p:ph type="body" idx="1"/>
          </p:nvPr>
        </p:nvSpPr>
        <p:spPr>
          <a:xfrm>
            <a:off x="529168" y="1800000"/>
            <a:ext cx="5212066" cy="4061154"/>
          </a:xfrm>
        </p:spPr>
        <p:txBody>
          <a:bodyPr/>
          <a:lstStyle/>
          <a:p>
            <a:r>
              <a:rPr lang="en-US" dirty="0"/>
              <a:t>NR anchored in LTE </a:t>
            </a:r>
            <a:r>
              <a:rPr lang="en-US" dirty="0" err="1"/>
              <a:t>eNBs</a:t>
            </a:r>
            <a:r>
              <a:rPr lang="en-US" dirty="0"/>
              <a:t> and used for user plane only; control</a:t>
            </a:r>
            <a:br>
              <a:rPr lang="en-US" dirty="0"/>
            </a:br>
            <a:r>
              <a:rPr lang="en-US" dirty="0"/>
              <a:t>plane via LTE</a:t>
            </a:r>
          </a:p>
          <a:p>
            <a:pPr lvl="1"/>
            <a:r>
              <a:rPr lang="en-US" dirty="0"/>
              <a:t>NR initially used only for QCI=6-9</a:t>
            </a:r>
          </a:p>
          <a:p>
            <a:pPr lvl="1"/>
            <a:r>
              <a:rPr lang="en-US" dirty="0"/>
              <a:t>IMS signaling (QCI=5) &amp; voice media</a:t>
            </a:r>
            <a:br>
              <a:rPr lang="en-US" dirty="0"/>
            </a:br>
            <a:r>
              <a:rPr lang="en-US" dirty="0"/>
              <a:t>(QCI=1) remains on LTE</a:t>
            </a:r>
          </a:p>
          <a:p>
            <a:pPr lvl="1"/>
            <a:r>
              <a:rPr lang="en-US" dirty="0"/>
              <a:t>No architectural changes expected</a:t>
            </a:r>
          </a:p>
          <a:p>
            <a:pPr lvl="1"/>
            <a:r>
              <a:rPr lang="en-US" dirty="0"/>
              <a:t>Adoption to support 5G characteristics </a:t>
            </a:r>
            <a:br>
              <a:rPr lang="en-US" dirty="0"/>
            </a:br>
            <a:r>
              <a:rPr lang="en-US" dirty="0"/>
              <a:t>and capabilities</a:t>
            </a:r>
            <a:br>
              <a:rPr lang="en-US" dirty="0"/>
            </a:br>
            <a:endParaRPr lang="en-US" dirty="0"/>
          </a:p>
          <a:p>
            <a:r>
              <a:rPr lang="en-US" dirty="0"/>
              <a:t>No IMS Impact</a:t>
            </a:r>
          </a:p>
        </p:txBody>
      </p:sp>
      <p:sp>
        <p:nvSpPr>
          <p:cNvPr id="4" name="TextBox 3"/>
          <p:cNvSpPr txBox="1"/>
          <p:nvPr/>
        </p:nvSpPr>
        <p:spPr>
          <a:xfrm>
            <a:off x="8568259" y="4529574"/>
            <a:ext cx="3004456" cy="707886"/>
          </a:xfrm>
          <a:prstGeom prst="rect">
            <a:avLst/>
          </a:prstGeom>
          <a:noFill/>
        </p:spPr>
        <p:txBody>
          <a:bodyPr wrap="square" rtlCol="0">
            <a:spAutoFit/>
          </a:bodyPr>
          <a:lstStyle/>
          <a:p>
            <a:r>
              <a:rPr lang="en-US" sz="2000" b="1" dirty="0">
                <a:solidFill>
                  <a:srgbClr val="00285F"/>
                </a:solidFill>
              </a:rPr>
              <a:t>IMS with 5G EPC deployment (option 3)</a:t>
            </a:r>
          </a:p>
        </p:txBody>
      </p:sp>
      <p:grpSp>
        <p:nvGrpSpPr>
          <p:cNvPr id="5" name="Group 278"/>
          <p:cNvGrpSpPr>
            <a:grpSpLocks noChangeAspect="1"/>
          </p:cNvGrpSpPr>
          <p:nvPr/>
        </p:nvGrpSpPr>
        <p:grpSpPr bwMode="auto">
          <a:xfrm>
            <a:off x="6716211" y="2598132"/>
            <a:ext cx="734077" cy="1053987"/>
            <a:chOff x="3106" y="2389"/>
            <a:chExt cx="363" cy="520"/>
          </a:xfrm>
        </p:grpSpPr>
        <p:sp>
          <p:nvSpPr>
            <p:cNvPr id="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LTE</a:t>
              </a:r>
              <a:endParaRPr kumimoji="0" lang="en-US" altLang="en-US" sz="2000" b="0" i="0" u="none" strike="noStrike" kern="0" cap="none" spc="0" normalizeH="0" baseline="0">
                <a:ln>
                  <a:noFill/>
                </a:ln>
                <a:solidFill>
                  <a:srgbClr val="8F3F7B"/>
                </a:solidFill>
                <a:effectLst/>
                <a:uLnTx/>
                <a:uFillTx/>
                <a:latin typeface="Arial" pitchFamily="34" charset="0"/>
                <a:ea typeface="MS PGothic" pitchFamily="34" charset="-128"/>
              </a:endParaRPr>
            </a:p>
          </p:txBody>
        </p:sp>
        <p:sp>
          <p:nvSpPr>
            <p:cNvPr id="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1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grpSp>
        <p:nvGrpSpPr>
          <p:cNvPr id="11" name="Group 261"/>
          <p:cNvGrpSpPr>
            <a:grpSpLocks noChangeAspect="1"/>
          </p:cNvGrpSpPr>
          <p:nvPr/>
        </p:nvGrpSpPr>
        <p:grpSpPr bwMode="auto">
          <a:xfrm>
            <a:off x="8109654" y="3144318"/>
            <a:ext cx="747463" cy="1039799"/>
            <a:chOff x="239" y="1832"/>
            <a:chExt cx="363" cy="520"/>
          </a:xfrm>
        </p:grpSpPr>
        <p:sp>
          <p:nvSpPr>
            <p:cNvPr id="1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5G</a:t>
              </a:r>
              <a:br>
                <a:rPr lang="en-US" altLang="en-US" sz="1600">
                  <a:solidFill>
                    <a:srgbClr val="8F3F7B"/>
                  </a:solidFill>
                  <a:ea typeface="MS PGothic" panose="020B0600070205080204" pitchFamily="34" charset="-128"/>
                  <a:cs typeface="MS PGothic" panose="020B0600070205080204" pitchFamily="34" charset="-128"/>
                </a:rPr>
              </a:br>
              <a:r>
                <a:rPr lang="en-US" altLang="en-US" sz="1600">
                  <a:solidFill>
                    <a:srgbClr val="8F3F7B"/>
                  </a:solidFill>
                  <a:ea typeface="MS PGothic" panose="020B0600070205080204" pitchFamily="34" charset="-128"/>
                  <a:cs typeface="MS PGothic" panose="020B0600070205080204" pitchFamily="34" charset="-128"/>
                </a:rPr>
                <a:t>EPC</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1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6"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7" name="Group 261"/>
          <p:cNvGrpSpPr>
            <a:grpSpLocks noChangeAspect="1"/>
          </p:cNvGrpSpPr>
          <p:nvPr/>
        </p:nvGrpSpPr>
        <p:grpSpPr bwMode="auto">
          <a:xfrm>
            <a:off x="9171287" y="3136246"/>
            <a:ext cx="747463" cy="1039799"/>
            <a:chOff x="239" y="1832"/>
            <a:chExt cx="363" cy="520"/>
          </a:xfrm>
        </p:grpSpPr>
        <p:sp>
          <p:nvSpPr>
            <p:cNvPr id="1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IMS Core</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2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2"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3" name="Group 278"/>
          <p:cNvGrpSpPr>
            <a:grpSpLocks noChangeAspect="1"/>
          </p:cNvGrpSpPr>
          <p:nvPr/>
        </p:nvGrpSpPr>
        <p:grpSpPr bwMode="auto">
          <a:xfrm>
            <a:off x="6716211" y="3759834"/>
            <a:ext cx="734077" cy="1053987"/>
            <a:chOff x="3106" y="2389"/>
            <a:chExt cx="363" cy="520"/>
          </a:xfrm>
        </p:grpSpPr>
        <p:sp>
          <p:nvSpPr>
            <p:cNvPr id="2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a:ln>
                    <a:noFill/>
                  </a:ln>
                  <a:solidFill>
                    <a:srgbClr val="8F3F7B"/>
                  </a:solidFill>
                  <a:effectLst/>
                  <a:uLnTx/>
                  <a:uFillTx/>
                  <a:latin typeface="Arial" pitchFamily="34" charset="0"/>
                  <a:ea typeface="MS PGothic" pitchFamily="34" charset="-128"/>
                </a:rPr>
                <a:t> </a:t>
              </a: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NR</a:t>
              </a:r>
            </a:p>
          </p:txBody>
        </p:sp>
        <p:sp>
          <p:nvSpPr>
            <p:cNvPr id="2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sp>
        <p:nvSpPr>
          <p:cNvPr id="29" name="Oval 48"/>
          <p:cNvSpPr>
            <a:spLocks noChangeAspect="1" noChangeArrowheads="1"/>
          </p:cNvSpPr>
          <p:nvPr/>
        </p:nvSpPr>
        <p:spPr bwMode="auto">
          <a:xfrm>
            <a:off x="8981079" y="2647394"/>
            <a:ext cx="1051498" cy="565428"/>
          </a:xfrm>
          <a:prstGeom prst="ellipse">
            <a:avLst/>
          </a:prstGeom>
          <a:blipFill dpi="0" rotWithShape="1">
            <a:blip r:embed="rId3"/>
            <a:srcRect/>
            <a:stretch>
              <a:fillRect/>
            </a:stretch>
          </a:blip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50000"/>
              </a:spcBef>
            </a:pPr>
            <a:r>
              <a:rPr lang="en-US" sz="1100" b="1">
                <a:solidFill>
                  <a:schemeClr val="bg1"/>
                </a:solidFill>
              </a:rPr>
              <a:t>Voice</a:t>
            </a:r>
            <a:br>
              <a:rPr lang="en-US" sz="1100" b="1">
                <a:solidFill>
                  <a:schemeClr val="bg1"/>
                </a:solidFill>
              </a:rPr>
            </a:br>
            <a:r>
              <a:rPr lang="en-US" sz="1100" b="1">
                <a:solidFill>
                  <a:schemeClr val="bg1"/>
                </a:solidFill>
              </a:rPr>
              <a:t>Video</a:t>
            </a:r>
            <a:br>
              <a:rPr lang="en-US" sz="1100" b="1">
                <a:solidFill>
                  <a:schemeClr val="bg1"/>
                </a:solidFill>
              </a:rPr>
            </a:br>
            <a:r>
              <a:rPr lang="en-US" sz="1100" b="1">
                <a:solidFill>
                  <a:schemeClr val="bg1"/>
                </a:solidFill>
              </a:rPr>
              <a:t>SMS</a:t>
            </a:r>
          </a:p>
        </p:txBody>
      </p:sp>
      <p:sp>
        <p:nvSpPr>
          <p:cNvPr id="30" name="Oval 48"/>
          <p:cNvSpPr>
            <a:spLocks noChangeAspect="1" noChangeArrowheads="1"/>
          </p:cNvSpPr>
          <p:nvPr/>
        </p:nvSpPr>
        <p:spPr bwMode="auto">
          <a:xfrm>
            <a:off x="9622515" y="3085394"/>
            <a:ext cx="1051498" cy="354867"/>
          </a:xfrm>
          <a:prstGeom prst="ellipse">
            <a:avLst/>
          </a:prstGeom>
          <a:solidFill>
            <a:srgbClr val="00A9D4"/>
          </a:solidFill>
          <a:ln w="12700" cap="flat" cmpd="sng" algn="ctr">
            <a:solidFill>
              <a:schemeClr val="tx1"/>
            </a:solidFill>
            <a:prstDash val="dash"/>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200" b="1">
                <a:solidFill>
                  <a:schemeClr val="bg1"/>
                </a:solidFill>
              </a:rPr>
              <a:t>RCS</a:t>
            </a:r>
          </a:p>
        </p:txBody>
      </p:sp>
      <p:cxnSp>
        <p:nvCxnSpPr>
          <p:cNvPr id="31" name="Connector: Elbow 30"/>
          <p:cNvCxnSpPr>
            <a:cxnSpLocks/>
            <a:stCxn id="8" idx="3"/>
            <a:endCxn id="14" idx="1"/>
          </p:cNvCxnSpPr>
          <p:nvPr/>
        </p:nvCxnSpPr>
        <p:spPr bwMode="auto">
          <a:xfrm>
            <a:off x="7411865" y="3399770"/>
            <a:ext cx="732794" cy="53539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2" name="Connector: Elbow 31"/>
          <p:cNvCxnSpPr>
            <a:cxnSpLocks/>
            <a:stCxn id="26" idx="3"/>
            <a:endCxn id="14" idx="1"/>
          </p:cNvCxnSpPr>
          <p:nvPr/>
        </p:nvCxnSpPr>
        <p:spPr bwMode="auto">
          <a:xfrm flipV="1">
            <a:off x="7411865" y="3935166"/>
            <a:ext cx="732794" cy="62630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3" name="Connector: Elbow 32"/>
          <p:cNvCxnSpPr>
            <a:cxnSpLocks/>
            <a:stCxn id="8" idx="2"/>
            <a:endCxn id="25" idx="0"/>
          </p:cNvCxnSpPr>
          <p:nvPr/>
        </p:nvCxnSpPr>
        <p:spPr bwMode="auto">
          <a:xfrm rot="16200000" flipH="1">
            <a:off x="7008619" y="3700403"/>
            <a:ext cx="146226" cy="1011"/>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4" name="Connector: Elbow 33"/>
          <p:cNvCxnSpPr>
            <a:cxnSpLocks/>
            <a:stCxn id="14" idx="3"/>
            <a:endCxn id="20" idx="1"/>
          </p:cNvCxnSpPr>
          <p:nvPr/>
        </p:nvCxnSpPr>
        <p:spPr bwMode="auto">
          <a:xfrm flipV="1">
            <a:off x="8817993" y="3927094"/>
            <a:ext cx="388299" cy="8072"/>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spTree>
    <p:extLst>
      <p:ext uri="{BB962C8B-B14F-4D97-AF65-F5344CB8AC3E}">
        <p14:creationId xmlns:p14="http://schemas.microsoft.com/office/powerpoint/2010/main" val="2656680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Rectangle 3"/>
          <p:cNvSpPr>
            <a:spLocks noChangeArrowheads="1"/>
          </p:cNvSpPr>
          <p:nvPr/>
        </p:nvSpPr>
        <p:spPr bwMode="auto">
          <a:xfrm>
            <a:off x="0" y="0"/>
            <a:ext cx="12192000" cy="6858000"/>
          </a:xfrm>
          <a:prstGeom prst="rect">
            <a:avLst/>
          </a:prstGeom>
          <a:blipFill dpi="0" rotWithShape="1">
            <a:blip r:embed="rId18"/>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pic>
        <p:nvPicPr>
          <p:cNvPr id="5" name="Picture 6" descr="ECON_whit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3"/>
          <p:cNvSpPr txBox="1">
            <a:spLocks/>
          </p:cNvSpPr>
          <p:nvPr/>
        </p:nvSpPr>
        <p:spPr bwMode="auto">
          <a:xfrm>
            <a:off x="525463" y="239713"/>
            <a:ext cx="10636250"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defRPr/>
            </a:pPr>
            <a:r>
              <a:rPr lang="en-US" altLang="en-US" kern="0" dirty="0">
                <a:solidFill>
                  <a:schemeClr val="bg1"/>
                </a:solidFill>
                <a:latin typeface="Ericsson Capital TT" pitchFamily="2" charset="0"/>
              </a:rPr>
              <a:t>Ericsson 5g Core </a:t>
            </a:r>
            <a:r>
              <a:rPr lang="en-US" altLang="en-US" kern="0" dirty="0" err="1">
                <a:solidFill>
                  <a:schemeClr val="bg1"/>
                </a:solidFill>
                <a:latin typeface="Ericsson Capital TT" pitchFamily="2" charset="0"/>
              </a:rPr>
              <a:t>SysTeM</a:t>
            </a:r>
            <a:br>
              <a:rPr lang="en-US" altLang="en-US" kern="0" dirty="0">
                <a:solidFill>
                  <a:schemeClr val="bg1"/>
                </a:solidFill>
                <a:latin typeface="Ericsson Capital TT" pitchFamily="2" charset="0"/>
              </a:rPr>
            </a:br>
            <a:r>
              <a:rPr lang="en-US" altLang="en-US" sz="2800" kern="0" dirty="0">
                <a:solidFill>
                  <a:schemeClr val="bg1"/>
                </a:solidFill>
                <a:latin typeface="+mn-lt"/>
              </a:rPr>
              <a:t>Key Products</a:t>
            </a:r>
          </a:p>
        </p:txBody>
      </p:sp>
      <p:sp>
        <p:nvSpPr>
          <p:cNvPr id="7" name="Rounded Rectangle 59"/>
          <p:cNvSpPr>
            <a:spLocks noChangeArrowheads="1"/>
          </p:cNvSpPr>
          <p:nvPr/>
        </p:nvSpPr>
        <p:spPr bwMode="auto">
          <a:xfrm>
            <a:off x="2855978" y="3452187"/>
            <a:ext cx="6367454" cy="422537"/>
          </a:xfrm>
          <a:prstGeom prst="roundRect">
            <a:avLst>
              <a:gd name="adj" fmla="val 11787"/>
            </a:avLst>
          </a:prstGeom>
          <a:solidFill>
            <a:srgbClr val="58585A">
              <a:alpha val="49000"/>
            </a:srgbClr>
          </a:solidFill>
          <a:ln w="12700" cmpd="sng">
            <a:solidFill>
              <a:srgbClr val="FFFFFF"/>
            </a:solidFill>
            <a:prstDash val="dash"/>
            <a:round/>
            <a:headEnd/>
            <a:tailEnd/>
          </a:ln>
        </p:spPr>
        <p:txBody>
          <a:bodyPr wrap="none" lIns="71988" tIns="45718" rIns="71988" bIns="45718" anchor="ctr"/>
          <a:lstStyle/>
          <a:p>
            <a:pPr algn="ctr"/>
            <a:r>
              <a:rPr lang="en-US" sz="1600" dirty="0">
                <a:solidFill>
                  <a:schemeClr val="bg1"/>
                </a:solidFill>
              </a:rPr>
              <a:t>Application Cloud</a:t>
            </a:r>
          </a:p>
        </p:txBody>
      </p:sp>
      <p:sp>
        <p:nvSpPr>
          <p:cNvPr id="8" name="Rounded Rectangle 44"/>
          <p:cNvSpPr>
            <a:spLocks noChangeArrowheads="1"/>
          </p:cNvSpPr>
          <p:nvPr/>
        </p:nvSpPr>
        <p:spPr bwMode="auto">
          <a:xfrm>
            <a:off x="2852928" y="5667488"/>
            <a:ext cx="6370504" cy="403873"/>
          </a:xfrm>
          <a:prstGeom prst="roundRect">
            <a:avLst>
              <a:gd name="adj" fmla="val 11444"/>
            </a:avLst>
          </a:prstGeom>
          <a:solidFill>
            <a:srgbClr val="58585A">
              <a:alpha val="55000"/>
            </a:srgbClr>
          </a:solidFill>
          <a:ln w="12700" cmpd="sng">
            <a:solidFill>
              <a:srgbClr val="FFFFFF"/>
            </a:solidFill>
            <a:round/>
            <a:headEnd/>
            <a:tailEnd/>
          </a:ln>
        </p:spPr>
        <p:txBody>
          <a:bodyPr wrap="none" lIns="71998" tIns="45719" rIns="71998" bIns="45719" anchor="ctr"/>
          <a:lstStyle/>
          <a:p>
            <a:pPr algn="ctr">
              <a:spcBef>
                <a:spcPct val="50000"/>
              </a:spcBef>
              <a:defRPr/>
            </a:pPr>
            <a:r>
              <a:rPr lang="en-US" sz="1600" dirty="0">
                <a:solidFill>
                  <a:srgbClr val="FFFFFF"/>
                </a:solidFill>
                <a:ea typeface="MS PGothic" charset="0"/>
                <a:cs typeface="Arial" charset="0"/>
              </a:rPr>
              <a:t>Transport</a:t>
            </a:r>
          </a:p>
        </p:txBody>
      </p:sp>
      <p:sp>
        <p:nvSpPr>
          <p:cNvPr id="9" name="Rounded Rectangle 59"/>
          <p:cNvSpPr>
            <a:spLocks noChangeArrowheads="1"/>
          </p:cNvSpPr>
          <p:nvPr/>
        </p:nvSpPr>
        <p:spPr bwMode="auto">
          <a:xfrm>
            <a:off x="4570793" y="5173433"/>
            <a:ext cx="4652639" cy="403873"/>
          </a:xfrm>
          <a:prstGeom prst="roundRect">
            <a:avLst>
              <a:gd name="adj" fmla="val 11787"/>
            </a:avLst>
          </a:prstGeom>
          <a:solidFill>
            <a:srgbClr val="58585A">
              <a:alpha val="49000"/>
            </a:srgbClr>
          </a:solidFill>
          <a:ln w="12700" cmpd="sng">
            <a:solidFill>
              <a:srgbClr val="FFFFFF"/>
            </a:solidFill>
            <a:round/>
            <a:headEnd/>
            <a:tailEnd/>
          </a:ln>
        </p:spPr>
        <p:txBody>
          <a:bodyPr wrap="none" lIns="71988" tIns="45718" rIns="71988" bIns="45718" anchor="ctr"/>
          <a:lstStyle/>
          <a:p>
            <a:pPr algn="ctr"/>
            <a:r>
              <a:rPr lang="en-US" sz="1600" dirty="0">
                <a:solidFill>
                  <a:schemeClr val="bg1"/>
                </a:solidFill>
              </a:rPr>
              <a:t>Cloud Infrastructure</a:t>
            </a:r>
          </a:p>
        </p:txBody>
      </p:sp>
      <p:sp>
        <p:nvSpPr>
          <p:cNvPr id="10" name="Rounded Rectangle 59"/>
          <p:cNvSpPr>
            <a:spLocks noChangeArrowheads="1"/>
          </p:cNvSpPr>
          <p:nvPr/>
        </p:nvSpPr>
        <p:spPr bwMode="auto">
          <a:xfrm>
            <a:off x="2849560" y="3952768"/>
            <a:ext cx="6370505" cy="402545"/>
          </a:xfrm>
          <a:prstGeom prst="roundRect">
            <a:avLst>
              <a:gd name="adj" fmla="val 11787"/>
            </a:avLst>
          </a:prstGeom>
          <a:solidFill>
            <a:srgbClr val="58585A">
              <a:alpha val="49000"/>
            </a:srgbClr>
          </a:solidFill>
          <a:ln w="12700" cmpd="sng">
            <a:solidFill>
              <a:srgbClr val="FFFFFF"/>
            </a:solidFill>
            <a:round/>
            <a:headEnd/>
            <a:tailEnd/>
          </a:ln>
        </p:spPr>
        <p:txBody>
          <a:bodyPr wrap="none" lIns="71988" tIns="45718" rIns="71988" bIns="45718" anchor="ctr"/>
          <a:lstStyle/>
          <a:p>
            <a:pPr algn="ctr" eaLnBrk="1" hangingPunct="1">
              <a:defRPr/>
            </a:pPr>
            <a:r>
              <a:rPr lang="en-US" sz="1600" dirty="0">
                <a:solidFill>
                  <a:schemeClr val="bg1"/>
                </a:solidFill>
              </a:rPr>
              <a:t>Management &amp; Monetization</a:t>
            </a:r>
          </a:p>
        </p:txBody>
      </p:sp>
      <p:sp>
        <p:nvSpPr>
          <p:cNvPr id="11" name="Freeform 7"/>
          <p:cNvSpPr>
            <a:spLocks noChangeAspect="1" noEditPoints="1"/>
          </p:cNvSpPr>
          <p:nvPr/>
        </p:nvSpPr>
        <p:spPr bwMode="auto">
          <a:xfrm>
            <a:off x="2092457" y="3869036"/>
            <a:ext cx="241970" cy="347508"/>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solidFill>
            <a:srgbClr val="FFFFFF"/>
          </a:solidFill>
          <a:ln>
            <a:noFill/>
          </a:ln>
          <a:extLst/>
        </p:spPr>
        <p:txBody>
          <a:bodyPr lIns="68579" tIns="34289" rIns="68579" bIns="34289"/>
          <a:lstStyle/>
          <a:p>
            <a:endParaRPr lang="en-US" sz="1800" dirty="0"/>
          </a:p>
        </p:txBody>
      </p:sp>
      <p:sp>
        <p:nvSpPr>
          <p:cNvPr id="12" name="Freeform 3"/>
          <p:cNvSpPr>
            <a:spLocks noChangeAspect="1" noEditPoints="1"/>
          </p:cNvSpPr>
          <p:nvPr/>
        </p:nvSpPr>
        <p:spPr bwMode="auto">
          <a:xfrm>
            <a:off x="1929639" y="4446183"/>
            <a:ext cx="557215" cy="251310"/>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solidFill>
            <a:srgbClr val="FFFFFF"/>
          </a:solidFill>
          <a:ln>
            <a:noFill/>
          </a:ln>
          <a:extLst/>
        </p:spPr>
        <p:txBody>
          <a:bodyPr lIns="68532" tIns="34268" rIns="68532" bIns="34268"/>
          <a:lstStyle/>
          <a:p>
            <a:endParaRPr lang="en-US" sz="1800" dirty="0"/>
          </a:p>
        </p:txBody>
      </p:sp>
      <p:sp>
        <p:nvSpPr>
          <p:cNvPr id="13" name="Freeform 7"/>
          <p:cNvSpPr>
            <a:spLocks noChangeAspect="1" noEditPoints="1"/>
          </p:cNvSpPr>
          <p:nvPr/>
        </p:nvSpPr>
        <p:spPr bwMode="auto">
          <a:xfrm>
            <a:off x="2038180" y="4927133"/>
            <a:ext cx="348870" cy="348950"/>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FFFFFF"/>
          </a:solidFill>
          <a:ln>
            <a:noFill/>
          </a:ln>
          <a:extLst/>
        </p:spPr>
        <p:txBody>
          <a:bodyPr lIns="68580" tIns="34290" rIns="68580" bIns="34290"/>
          <a:lstStyle/>
          <a:p>
            <a:endParaRPr lang="en-US" sz="1800" dirty="0"/>
          </a:p>
        </p:txBody>
      </p:sp>
      <p:sp>
        <p:nvSpPr>
          <p:cNvPr id="14" name="Freeform 3"/>
          <p:cNvSpPr>
            <a:spLocks noChangeAspect="1" noEditPoints="1"/>
          </p:cNvSpPr>
          <p:nvPr/>
        </p:nvSpPr>
        <p:spPr bwMode="auto">
          <a:xfrm>
            <a:off x="2019420" y="5505722"/>
            <a:ext cx="363175" cy="303580"/>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FFFFFF"/>
          </a:solidFill>
          <a:ln>
            <a:noFill/>
          </a:ln>
          <a:extLst/>
        </p:spPr>
        <p:txBody>
          <a:bodyPr lIns="68532" tIns="34268" rIns="68532" bIns="34268"/>
          <a:lstStyle/>
          <a:p>
            <a:endParaRPr lang="en-US" sz="1800" dirty="0"/>
          </a:p>
        </p:txBody>
      </p:sp>
      <p:sp>
        <p:nvSpPr>
          <p:cNvPr id="15" name="Freeform: Shape 73"/>
          <p:cNvSpPr>
            <a:spLocks noChangeArrowheads="1"/>
          </p:cNvSpPr>
          <p:nvPr/>
        </p:nvSpPr>
        <p:spPr bwMode="auto">
          <a:xfrm>
            <a:off x="2855979" y="4668827"/>
            <a:ext cx="6367453" cy="902894"/>
          </a:xfrm>
          <a:custGeom>
            <a:avLst/>
            <a:gdLst>
              <a:gd name="connsiteX0" fmla="*/ 52366 w 6987111"/>
              <a:gd name="connsiteY0" fmla="*/ 0 h 993183"/>
              <a:gd name="connsiteX1" fmla="*/ 2561818 w 6987111"/>
              <a:gd name="connsiteY1" fmla="*/ 0 h 993183"/>
              <a:gd name="connsiteX2" fmla="*/ 2856687 w 6987111"/>
              <a:gd name="connsiteY2" fmla="*/ 0 h 993183"/>
              <a:gd name="connsiteX3" fmla="*/ 6934746 w 6987111"/>
              <a:gd name="connsiteY3" fmla="*/ 0 h 993183"/>
              <a:gd name="connsiteX4" fmla="*/ 6987111 w 6987111"/>
              <a:gd name="connsiteY4" fmla="*/ 52365 h 993183"/>
              <a:gd name="connsiteX5" fmla="*/ 6987111 w 6987111"/>
              <a:gd name="connsiteY5" fmla="*/ 391895 h 993183"/>
              <a:gd name="connsiteX6" fmla="*/ 6934746 w 6987111"/>
              <a:gd name="connsiteY6" fmla="*/ 444260 h 993183"/>
              <a:gd name="connsiteX7" fmla="*/ 2561818 w 6987111"/>
              <a:gd name="connsiteY7" fmla="*/ 444260 h 993183"/>
              <a:gd name="connsiteX8" fmla="*/ 2558683 w 6987111"/>
              <a:gd name="connsiteY8" fmla="*/ 443627 h 993183"/>
              <a:gd name="connsiteX9" fmla="*/ 1821835 w 6987111"/>
              <a:gd name="connsiteY9" fmla="*/ 443627 h 993183"/>
              <a:gd name="connsiteX10" fmla="*/ 1769763 w 6987111"/>
              <a:gd name="connsiteY10" fmla="*/ 495699 h 993183"/>
              <a:gd name="connsiteX11" fmla="*/ 1769763 w 6987111"/>
              <a:gd name="connsiteY11" fmla="*/ 833331 h 993183"/>
              <a:gd name="connsiteX12" fmla="*/ 1770085 w 6987111"/>
              <a:gd name="connsiteY12" fmla="*/ 834108 h 993183"/>
              <a:gd name="connsiteX13" fmla="*/ 1770085 w 6987111"/>
              <a:gd name="connsiteY13" fmla="*/ 940818 h 993183"/>
              <a:gd name="connsiteX14" fmla="*/ 1717720 w 6987111"/>
              <a:gd name="connsiteY14" fmla="*/ 993183 h 993183"/>
              <a:gd name="connsiteX15" fmla="*/ 52366 w 6987111"/>
              <a:gd name="connsiteY15" fmla="*/ 993183 h 993183"/>
              <a:gd name="connsiteX16" fmla="*/ 1 w 6987111"/>
              <a:gd name="connsiteY16" fmla="*/ 940818 h 993183"/>
              <a:gd name="connsiteX17" fmla="*/ 1 w 6987111"/>
              <a:gd name="connsiteY17" fmla="*/ 648961 h 993183"/>
              <a:gd name="connsiteX18" fmla="*/ 0 w 6987111"/>
              <a:gd name="connsiteY18" fmla="*/ 648958 h 993183"/>
              <a:gd name="connsiteX19" fmla="*/ 0 w 6987111"/>
              <a:gd name="connsiteY19" fmla="*/ 309428 h 993183"/>
              <a:gd name="connsiteX20" fmla="*/ 1 w 6987111"/>
              <a:gd name="connsiteY20" fmla="*/ 309425 h 993183"/>
              <a:gd name="connsiteX21" fmla="*/ 1 w 6987111"/>
              <a:gd name="connsiteY21" fmla="*/ 52365 h 993183"/>
              <a:gd name="connsiteX22" fmla="*/ 52366 w 6987111"/>
              <a:gd name="connsiteY22" fmla="*/ 0 h 99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987111" h="993183">
                <a:moveTo>
                  <a:pt x="52366" y="0"/>
                </a:moveTo>
                <a:lnTo>
                  <a:pt x="2561818" y="0"/>
                </a:lnTo>
                <a:lnTo>
                  <a:pt x="2856687" y="0"/>
                </a:lnTo>
                <a:lnTo>
                  <a:pt x="6934746" y="0"/>
                </a:lnTo>
                <a:cubicBezTo>
                  <a:pt x="6963666" y="0"/>
                  <a:pt x="6987111" y="23445"/>
                  <a:pt x="6987111" y="52365"/>
                </a:cubicBezTo>
                <a:lnTo>
                  <a:pt x="6987111" y="391895"/>
                </a:lnTo>
                <a:cubicBezTo>
                  <a:pt x="6987111" y="420815"/>
                  <a:pt x="6963666" y="444260"/>
                  <a:pt x="6934746" y="444260"/>
                </a:cubicBezTo>
                <a:lnTo>
                  <a:pt x="2561818" y="444260"/>
                </a:lnTo>
                <a:lnTo>
                  <a:pt x="2558683" y="443627"/>
                </a:lnTo>
                <a:lnTo>
                  <a:pt x="1821835" y="443627"/>
                </a:lnTo>
                <a:cubicBezTo>
                  <a:pt x="1793076" y="443627"/>
                  <a:pt x="1769763" y="466940"/>
                  <a:pt x="1769763" y="495699"/>
                </a:cubicBezTo>
                <a:lnTo>
                  <a:pt x="1769763" y="833331"/>
                </a:lnTo>
                <a:lnTo>
                  <a:pt x="1770085" y="834108"/>
                </a:lnTo>
                <a:lnTo>
                  <a:pt x="1770085" y="940818"/>
                </a:lnTo>
                <a:cubicBezTo>
                  <a:pt x="1770085" y="969738"/>
                  <a:pt x="1746640" y="993183"/>
                  <a:pt x="1717720" y="993183"/>
                </a:cubicBezTo>
                <a:lnTo>
                  <a:pt x="52366" y="993183"/>
                </a:lnTo>
                <a:cubicBezTo>
                  <a:pt x="23446" y="993183"/>
                  <a:pt x="1" y="969738"/>
                  <a:pt x="1" y="940818"/>
                </a:cubicBezTo>
                <a:lnTo>
                  <a:pt x="1" y="648961"/>
                </a:lnTo>
                <a:lnTo>
                  <a:pt x="0" y="648958"/>
                </a:lnTo>
                <a:lnTo>
                  <a:pt x="0" y="309428"/>
                </a:lnTo>
                <a:lnTo>
                  <a:pt x="1" y="309425"/>
                </a:lnTo>
                <a:lnTo>
                  <a:pt x="1" y="52365"/>
                </a:lnTo>
                <a:cubicBezTo>
                  <a:pt x="1" y="23445"/>
                  <a:pt x="23446" y="0"/>
                  <a:pt x="52366" y="0"/>
                </a:cubicBezTo>
                <a:close/>
              </a:path>
            </a:pathLst>
          </a:custGeom>
          <a:solidFill>
            <a:srgbClr val="58585A">
              <a:alpha val="49000"/>
            </a:srgbClr>
          </a:solidFill>
          <a:ln w="12700" cmpd="sng">
            <a:solidFill>
              <a:srgbClr val="FFFFFF"/>
            </a:solidFill>
            <a:round/>
            <a:headEnd/>
            <a:tailEnd/>
          </a:ln>
        </p:spPr>
        <p:txBody>
          <a:bodyPr wrap="square" lIns="71988" tIns="108000" rIns="71988" bIns="45718" anchor="t">
            <a:noAutofit/>
          </a:bodyPr>
          <a:lstStyle/>
          <a:p>
            <a:pPr algn="ctr"/>
            <a:r>
              <a:rPr lang="en-US" sz="1600" dirty="0">
                <a:solidFill>
                  <a:srgbClr val="FFFFFF"/>
                </a:solidFill>
                <a:ea typeface="MS PGothic" charset="0"/>
                <a:cs typeface="Arial" charset="0"/>
              </a:rPr>
              <a:t>Access, Mobility, Network applications</a:t>
            </a:r>
          </a:p>
        </p:txBody>
      </p:sp>
      <p:sp>
        <p:nvSpPr>
          <p:cNvPr id="16" name="Rounded Rectangle 2"/>
          <p:cNvSpPr/>
          <p:nvPr/>
        </p:nvSpPr>
        <p:spPr bwMode="auto">
          <a:xfrm>
            <a:off x="3409248" y="4759020"/>
            <a:ext cx="850909" cy="310909"/>
          </a:xfrm>
          <a:prstGeom prst="roundRect">
            <a:avLst/>
          </a:prstGeom>
          <a:solidFill>
            <a:schemeClr val="tx1">
              <a:lumMod val="60000"/>
              <a:lumOff val="40000"/>
              <a:alpha val="53000"/>
            </a:schemeClr>
          </a:solid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defTabSz="914354">
              <a:spcBef>
                <a:spcPct val="50000"/>
              </a:spcBef>
            </a:pPr>
            <a:r>
              <a:rPr lang="en-US" sz="1600" dirty="0">
                <a:solidFill>
                  <a:schemeClr val="bg1"/>
                </a:solidFill>
              </a:rPr>
              <a:t>Mobile</a:t>
            </a:r>
            <a:endParaRPr lang="en-US" sz="1600" dirty="0"/>
          </a:p>
        </p:txBody>
      </p:sp>
      <p:sp>
        <p:nvSpPr>
          <p:cNvPr id="17" name="Rounded Rectangle 51"/>
          <p:cNvSpPr/>
          <p:nvPr/>
        </p:nvSpPr>
        <p:spPr bwMode="auto">
          <a:xfrm>
            <a:off x="3402138" y="5163853"/>
            <a:ext cx="850909" cy="310909"/>
          </a:xfrm>
          <a:prstGeom prst="roundRect">
            <a:avLst/>
          </a:prstGeom>
          <a:solidFill>
            <a:schemeClr val="tx1">
              <a:lumMod val="60000"/>
              <a:lumOff val="40000"/>
              <a:alpha val="53000"/>
            </a:schemeClr>
          </a:solid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defTabSz="914354">
              <a:spcBef>
                <a:spcPct val="50000"/>
              </a:spcBef>
            </a:pPr>
            <a:r>
              <a:rPr lang="en-US" sz="1600" dirty="0">
                <a:solidFill>
                  <a:schemeClr val="bg1"/>
                </a:solidFill>
              </a:rPr>
              <a:t>Fixed</a:t>
            </a:r>
          </a:p>
        </p:txBody>
      </p:sp>
      <p:grpSp>
        <p:nvGrpSpPr>
          <p:cNvPr id="18" name="Group 17"/>
          <p:cNvGrpSpPr/>
          <p:nvPr/>
        </p:nvGrpSpPr>
        <p:grpSpPr>
          <a:xfrm>
            <a:off x="8170982" y="3547814"/>
            <a:ext cx="471985" cy="280912"/>
            <a:chOff x="10155963" y="2847119"/>
            <a:chExt cx="956740" cy="569424"/>
          </a:xfrm>
          <a:solidFill>
            <a:schemeClr val="bg1"/>
          </a:solidFill>
        </p:grpSpPr>
        <p:sp>
          <p:nvSpPr>
            <p:cNvPr id="19" name="Freeform 9"/>
            <p:cNvSpPr>
              <a:spLocks noChangeAspect="1"/>
            </p:cNvSpPr>
            <p:nvPr/>
          </p:nvSpPr>
          <p:spPr bwMode="auto">
            <a:xfrm>
              <a:off x="10155963" y="2847119"/>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20" name="Freeform 7"/>
            <p:cNvSpPr>
              <a:spLocks noChangeAspect="1" noEditPoints="1"/>
            </p:cNvSpPr>
            <p:nvPr/>
          </p:nvSpPr>
          <p:spPr bwMode="auto">
            <a:xfrm>
              <a:off x="10537777" y="3020669"/>
              <a:ext cx="207184" cy="297550"/>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grpFill/>
            <a:ln>
              <a:noFill/>
            </a:ln>
            <a:extLst/>
          </p:spPr>
          <p:txBody>
            <a:bodyPr lIns="68579" tIns="34289" rIns="68579" bIns="34289"/>
            <a:lstStyle/>
            <a:p>
              <a:endParaRPr lang="en-US" sz="1800" dirty="0"/>
            </a:p>
          </p:txBody>
        </p:sp>
      </p:grpSp>
      <p:grpSp>
        <p:nvGrpSpPr>
          <p:cNvPr id="21" name="Group 20"/>
          <p:cNvGrpSpPr/>
          <p:nvPr/>
        </p:nvGrpSpPr>
        <p:grpSpPr>
          <a:xfrm>
            <a:off x="4457604" y="3510592"/>
            <a:ext cx="471985" cy="280912"/>
            <a:chOff x="10155966" y="3447516"/>
            <a:chExt cx="956740" cy="569424"/>
          </a:xfrm>
          <a:solidFill>
            <a:schemeClr val="bg1"/>
          </a:solidFill>
        </p:grpSpPr>
        <p:sp>
          <p:nvSpPr>
            <p:cNvPr id="22" name="Freeform 3"/>
            <p:cNvSpPr>
              <a:spLocks noChangeAspect="1" noEditPoints="1"/>
            </p:cNvSpPr>
            <p:nvPr/>
          </p:nvSpPr>
          <p:spPr bwMode="auto">
            <a:xfrm>
              <a:off x="10385407" y="3687039"/>
              <a:ext cx="474097" cy="21382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grpFill/>
            <a:ln>
              <a:noFill/>
            </a:ln>
            <a:extLst/>
          </p:spPr>
          <p:txBody>
            <a:bodyPr lIns="68532" tIns="34268" rIns="68532" bIns="34268"/>
            <a:lstStyle/>
            <a:p>
              <a:endParaRPr lang="en-US" sz="1800" dirty="0"/>
            </a:p>
          </p:txBody>
        </p:sp>
        <p:sp>
          <p:nvSpPr>
            <p:cNvPr id="23" name="Freeform 9"/>
            <p:cNvSpPr>
              <a:spLocks noChangeAspect="1"/>
            </p:cNvSpPr>
            <p:nvPr/>
          </p:nvSpPr>
          <p:spPr bwMode="auto">
            <a:xfrm>
              <a:off x="10155966" y="3447516"/>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grpSp>
      <p:grpSp>
        <p:nvGrpSpPr>
          <p:cNvPr id="24" name="Group 23"/>
          <p:cNvGrpSpPr/>
          <p:nvPr/>
        </p:nvGrpSpPr>
        <p:grpSpPr>
          <a:xfrm>
            <a:off x="7075998" y="3535407"/>
            <a:ext cx="471985" cy="280912"/>
            <a:chOff x="10155969" y="4090974"/>
            <a:chExt cx="956740" cy="569424"/>
          </a:xfrm>
          <a:solidFill>
            <a:schemeClr val="bg1"/>
          </a:solidFill>
        </p:grpSpPr>
        <p:sp>
          <p:nvSpPr>
            <p:cNvPr id="25" name="Freeform 9"/>
            <p:cNvSpPr>
              <a:spLocks noChangeAspect="1"/>
            </p:cNvSpPr>
            <p:nvPr/>
          </p:nvSpPr>
          <p:spPr bwMode="auto">
            <a:xfrm>
              <a:off x="10155969" y="4090974"/>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26" name="Freeform 7"/>
            <p:cNvSpPr>
              <a:spLocks noChangeAspect="1" noEditPoints="1"/>
            </p:cNvSpPr>
            <p:nvPr/>
          </p:nvSpPr>
          <p:spPr bwMode="auto">
            <a:xfrm>
              <a:off x="10510583" y="4247298"/>
              <a:ext cx="302110" cy="30217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p:spPr>
          <p:txBody>
            <a:bodyPr lIns="68580" tIns="34290" rIns="68580" bIns="34290"/>
            <a:lstStyle/>
            <a:p>
              <a:endParaRPr lang="en-US" sz="1800" dirty="0"/>
            </a:p>
          </p:txBody>
        </p:sp>
      </p:grpSp>
      <p:grpSp>
        <p:nvGrpSpPr>
          <p:cNvPr id="27" name="Group 26"/>
          <p:cNvGrpSpPr/>
          <p:nvPr/>
        </p:nvGrpSpPr>
        <p:grpSpPr>
          <a:xfrm>
            <a:off x="3358353" y="3523000"/>
            <a:ext cx="471985" cy="280912"/>
            <a:chOff x="10172905" y="4734431"/>
            <a:chExt cx="956740" cy="569424"/>
          </a:xfrm>
          <a:solidFill>
            <a:schemeClr val="bg1"/>
          </a:solidFill>
        </p:grpSpPr>
        <p:sp>
          <p:nvSpPr>
            <p:cNvPr id="28" name="Freeform 9"/>
            <p:cNvSpPr>
              <a:spLocks noChangeAspect="1"/>
            </p:cNvSpPr>
            <p:nvPr/>
          </p:nvSpPr>
          <p:spPr bwMode="auto">
            <a:xfrm>
              <a:off x="10172905" y="4734431"/>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29" name="Freeform 3"/>
            <p:cNvSpPr>
              <a:spLocks noChangeAspect="1" noEditPoints="1"/>
            </p:cNvSpPr>
            <p:nvPr/>
          </p:nvSpPr>
          <p:spPr bwMode="auto">
            <a:xfrm>
              <a:off x="10438375" y="4888160"/>
              <a:ext cx="409235" cy="342082"/>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grpFill/>
            <a:ln>
              <a:noFill/>
            </a:ln>
            <a:extLst/>
          </p:spPr>
          <p:txBody>
            <a:bodyPr lIns="68532" tIns="34268" rIns="68532" bIns="34268"/>
            <a:lstStyle/>
            <a:p>
              <a:endParaRPr lang="en-US" sz="1800" dirty="0"/>
            </a:p>
          </p:txBody>
        </p:sp>
      </p:grpSp>
      <p:grpSp>
        <p:nvGrpSpPr>
          <p:cNvPr id="30" name="Group 29"/>
          <p:cNvGrpSpPr/>
          <p:nvPr/>
        </p:nvGrpSpPr>
        <p:grpSpPr>
          <a:xfrm>
            <a:off x="2872735" y="4421912"/>
            <a:ext cx="2360869" cy="170191"/>
            <a:chOff x="2550997" y="3450373"/>
            <a:chExt cx="2794726" cy="187210"/>
          </a:xfrm>
        </p:grpSpPr>
        <p:cxnSp>
          <p:nvCxnSpPr>
            <p:cNvPr id="31" name="Straight Connector 60"/>
            <p:cNvCxnSpPr>
              <a:cxnSpLocks noChangeShapeType="1"/>
            </p:cNvCxnSpPr>
            <p:nvPr>
              <p:custDataLst>
                <p:tags r:id="rId13"/>
              </p:custDataLst>
            </p:nvPr>
          </p:nvCxnSpPr>
          <p:spPr bwMode="auto">
            <a:xfrm>
              <a:off x="2550997" y="3450373"/>
              <a:ext cx="2794726" cy="4595"/>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2" name="Straight Connector 61"/>
            <p:cNvCxnSpPr>
              <a:cxnSpLocks noChangeShapeType="1"/>
            </p:cNvCxnSpPr>
            <p:nvPr>
              <p:custDataLst>
                <p:tags r:id="rId14"/>
              </p:custDataLst>
            </p:nvPr>
          </p:nvCxnSpPr>
          <p:spPr bwMode="auto">
            <a:xfrm>
              <a:off x="2550997" y="3543979"/>
              <a:ext cx="2794726" cy="8113"/>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33" name="Straight Connector 62"/>
            <p:cNvCxnSpPr>
              <a:cxnSpLocks noChangeShapeType="1"/>
            </p:cNvCxnSpPr>
            <p:nvPr>
              <p:custDataLst>
                <p:tags r:id="rId15"/>
              </p:custDataLst>
            </p:nvPr>
          </p:nvCxnSpPr>
          <p:spPr bwMode="auto">
            <a:xfrm>
              <a:off x="2550997" y="3637583"/>
              <a:ext cx="2793718"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sp>
        <p:nvSpPr>
          <p:cNvPr id="34" name="TextBox 33"/>
          <p:cNvSpPr txBox="1"/>
          <p:nvPr/>
        </p:nvSpPr>
        <p:spPr>
          <a:xfrm>
            <a:off x="5075777" y="4352439"/>
            <a:ext cx="1651975" cy="307777"/>
          </a:xfrm>
          <a:prstGeom prst="rect">
            <a:avLst/>
          </a:prstGeom>
          <a:noFill/>
        </p:spPr>
        <p:txBody>
          <a:bodyPr wrap="square" lIns="36000" rIns="36000" rtlCol="0">
            <a:spAutoFit/>
          </a:bodyPr>
          <a:lstStyle/>
          <a:p>
            <a:pPr algn="ctr"/>
            <a:r>
              <a:rPr lang="en-US" sz="1400" dirty="0">
                <a:solidFill>
                  <a:schemeClr val="bg1"/>
                </a:solidFill>
              </a:rPr>
              <a:t>Network Slices</a:t>
            </a:r>
          </a:p>
        </p:txBody>
      </p:sp>
      <p:grpSp>
        <p:nvGrpSpPr>
          <p:cNvPr id="35" name="Group 34"/>
          <p:cNvGrpSpPr/>
          <p:nvPr/>
        </p:nvGrpSpPr>
        <p:grpSpPr>
          <a:xfrm>
            <a:off x="9552689" y="3771215"/>
            <a:ext cx="766668" cy="456299"/>
            <a:chOff x="10155963" y="2847119"/>
            <a:chExt cx="956740" cy="569424"/>
          </a:xfrm>
          <a:solidFill>
            <a:schemeClr val="bg1"/>
          </a:solidFill>
        </p:grpSpPr>
        <p:sp>
          <p:nvSpPr>
            <p:cNvPr id="36" name="Freeform 9"/>
            <p:cNvSpPr>
              <a:spLocks noChangeAspect="1"/>
            </p:cNvSpPr>
            <p:nvPr/>
          </p:nvSpPr>
          <p:spPr bwMode="auto">
            <a:xfrm>
              <a:off x="10155963" y="2847119"/>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37" name="Freeform 7"/>
            <p:cNvSpPr>
              <a:spLocks noChangeAspect="1" noEditPoints="1"/>
            </p:cNvSpPr>
            <p:nvPr/>
          </p:nvSpPr>
          <p:spPr bwMode="auto">
            <a:xfrm>
              <a:off x="10537777" y="3020669"/>
              <a:ext cx="207184" cy="297550"/>
            </a:xfrm>
            <a:custGeom>
              <a:avLst/>
              <a:gdLst>
                <a:gd name="T0" fmla="*/ 2147483647 w 325"/>
                <a:gd name="T1" fmla="*/ 2147483647 h 468"/>
                <a:gd name="T2" fmla="*/ 2147483647 w 325"/>
                <a:gd name="T3" fmla="*/ 2147483647 h 468"/>
                <a:gd name="T4" fmla="*/ 2147483647 w 325"/>
                <a:gd name="T5" fmla="*/ 2147483647 h 468"/>
                <a:gd name="T6" fmla="*/ 2147483647 w 325"/>
                <a:gd name="T7" fmla="*/ 2147483647 h 468"/>
                <a:gd name="T8" fmla="*/ 2147483647 w 325"/>
                <a:gd name="T9" fmla="*/ 2147483647 h 468"/>
                <a:gd name="T10" fmla="*/ 2147483647 w 325"/>
                <a:gd name="T11" fmla="*/ 2147483647 h 468"/>
                <a:gd name="T12" fmla="*/ 2147483647 w 325"/>
                <a:gd name="T13" fmla="*/ 2147483647 h 468"/>
                <a:gd name="T14" fmla="*/ 2147483647 w 325"/>
                <a:gd name="T15" fmla="*/ 2147483647 h 468"/>
                <a:gd name="T16" fmla="*/ 2147483647 w 325"/>
                <a:gd name="T17" fmla="*/ 2147483647 h 468"/>
                <a:gd name="T18" fmla="*/ 2147483647 w 325"/>
                <a:gd name="T19" fmla="*/ 2147483647 h 468"/>
                <a:gd name="T20" fmla="*/ 2147483647 w 325"/>
                <a:gd name="T21" fmla="*/ 2147483647 h 468"/>
                <a:gd name="T22" fmla="*/ 2147483647 w 325"/>
                <a:gd name="T23" fmla="*/ 2147483647 h 468"/>
                <a:gd name="T24" fmla="*/ 2147483647 w 325"/>
                <a:gd name="T25" fmla="*/ 2147483647 h 468"/>
                <a:gd name="T26" fmla="*/ 2147483647 w 325"/>
                <a:gd name="T27" fmla="*/ 0 h 468"/>
                <a:gd name="T28" fmla="*/ 0 w 325"/>
                <a:gd name="T29" fmla="*/ 2147483647 h 468"/>
                <a:gd name="T30" fmla="*/ 2147483647 w 325"/>
                <a:gd name="T31" fmla="*/ 2147483647 h 468"/>
                <a:gd name="T32" fmla="*/ 2147483647 w 325"/>
                <a:gd name="T33" fmla="*/ 2147483647 h 468"/>
                <a:gd name="T34" fmla="*/ 2147483647 w 325"/>
                <a:gd name="T35" fmla="*/ 2147483647 h 468"/>
                <a:gd name="T36" fmla="*/ 2147483647 w 325"/>
                <a:gd name="T37" fmla="*/ 2147483647 h 468"/>
                <a:gd name="T38" fmla="*/ 2147483647 w 325"/>
                <a:gd name="T39" fmla="*/ 2147483647 h 468"/>
                <a:gd name="T40" fmla="*/ 2147483647 w 325"/>
                <a:gd name="T41" fmla="*/ 2147483647 h 468"/>
                <a:gd name="T42" fmla="*/ 2147483647 w 325"/>
                <a:gd name="T43" fmla="*/ 2147483647 h 468"/>
                <a:gd name="T44" fmla="*/ 2147483647 w 325"/>
                <a:gd name="T45" fmla="*/ 2147483647 h 468"/>
                <a:gd name="T46" fmla="*/ 2147483647 w 325"/>
                <a:gd name="T47" fmla="*/ 2147483647 h 468"/>
                <a:gd name="T48" fmla="*/ 2147483647 w 325"/>
                <a:gd name="T49" fmla="*/ 2147483647 h 468"/>
                <a:gd name="T50" fmla="*/ 2147483647 w 325"/>
                <a:gd name="T51" fmla="*/ 2147483647 h 468"/>
                <a:gd name="T52" fmla="*/ 2147483647 w 325"/>
                <a:gd name="T53" fmla="*/ 2147483647 h 468"/>
                <a:gd name="T54" fmla="*/ 2147483647 w 325"/>
                <a:gd name="T55" fmla="*/ 2147483647 h 468"/>
                <a:gd name="T56" fmla="*/ 2147483647 w 325"/>
                <a:gd name="T57" fmla="*/ 2147483647 h 468"/>
                <a:gd name="T58" fmla="*/ 2147483647 w 325"/>
                <a:gd name="T59" fmla="*/ 2147483647 h 468"/>
                <a:gd name="T60" fmla="*/ 2147483647 w 325"/>
                <a:gd name="T61" fmla="*/ 2147483647 h 468"/>
                <a:gd name="T62" fmla="*/ 2147483647 w 325"/>
                <a:gd name="T63" fmla="*/ 2147483647 h 468"/>
                <a:gd name="T64" fmla="*/ 2147483647 w 325"/>
                <a:gd name="T65" fmla="*/ 2147483647 h 468"/>
                <a:gd name="T66" fmla="*/ 2147483647 w 325"/>
                <a:gd name="T67" fmla="*/ 2147483647 h 468"/>
                <a:gd name="T68" fmla="*/ 2147483647 w 325"/>
                <a:gd name="T69" fmla="*/ 2147483647 h 468"/>
                <a:gd name="T70" fmla="*/ 2147483647 w 325"/>
                <a:gd name="T71" fmla="*/ 2147483647 h 468"/>
                <a:gd name="T72" fmla="*/ 2147483647 w 325"/>
                <a:gd name="T73" fmla="*/ 2147483647 h 468"/>
                <a:gd name="T74" fmla="*/ 2147483647 w 325"/>
                <a:gd name="T75" fmla="*/ 2147483647 h 468"/>
                <a:gd name="T76" fmla="*/ 2147483647 w 325"/>
                <a:gd name="T77" fmla="*/ 2147483647 h 468"/>
                <a:gd name="T78" fmla="*/ 2147483647 w 325"/>
                <a:gd name="T79" fmla="*/ 2147483647 h 468"/>
                <a:gd name="T80" fmla="*/ 2147483647 w 325"/>
                <a:gd name="T81" fmla="*/ 2147483647 h 468"/>
                <a:gd name="T82" fmla="*/ 2147483647 w 325"/>
                <a:gd name="T83" fmla="*/ 2147483647 h 468"/>
                <a:gd name="T84" fmla="*/ 2147483647 w 325"/>
                <a:gd name="T85" fmla="*/ 2147483647 h 468"/>
                <a:gd name="T86" fmla="*/ 2147483647 w 325"/>
                <a:gd name="T87" fmla="*/ 2147483647 h 468"/>
                <a:gd name="T88" fmla="*/ 2147483647 w 325"/>
                <a:gd name="T89" fmla="*/ 2147483647 h 468"/>
                <a:gd name="T90" fmla="*/ 2147483647 w 325"/>
                <a:gd name="T91" fmla="*/ 2147483647 h 468"/>
                <a:gd name="T92" fmla="*/ 2147483647 w 325"/>
                <a:gd name="T93" fmla="*/ 2147483647 h 468"/>
                <a:gd name="T94" fmla="*/ 2147483647 w 325"/>
                <a:gd name="T95" fmla="*/ 2147483647 h 468"/>
                <a:gd name="T96" fmla="*/ 2147483647 w 325"/>
                <a:gd name="T97" fmla="*/ 2147483647 h 468"/>
                <a:gd name="T98" fmla="*/ 2147483647 w 325"/>
                <a:gd name="T99" fmla="*/ 2147483647 h 468"/>
                <a:gd name="T100" fmla="*/ 2147483647 w 325"/>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5" h="468">
                  <a:moveTo>
                    <a:pt x="304" y="257"/>
                  </a:moveTo>
                  <a:cubicBezTo>
                    <a:pt x="304" y="79"/>
                    <a:pt x="304" y="79"/>
                    <a:pt x="304" y="79"/>
                  </a:cubicBezTo>
                  <a:cubicBezTo>
                    <a:pt x="304" y="74"/>
                    <a:pt x="301" y="71"/>
                    <a:pt x="296" y="71"/>
                  </a:cubicBezTo>
                  <a:cubicBezTo>
                    <a:pt x="292" y="71"/>
                    <a:pt x="288" y="74"/>
                    <a:pt x="288" y="79"/>
                  </a:cubicBezTo>
                  <a:cubicBezTo>
                    <a:pt x="288" y="257"/>
                    <a:pt x="288" y="257"/>
                    <a:pt x="288" y="257"/>
                  </a:cubicBezTo>
                  <a:cubicBezTo>
                    <a:pt x="286" y="258"/>
                    <a:pt x="283" y="259"/>
                    <a:pt x="281" y="261"/>
                  </a:cubicBezTo>
                  <a:cubicBezTo>
                    <a:pt x="279" y="258"/>
                    <a:pt x="276" y="255"/>
                    <a:pt x="273" y="253"/>
                  </a:cubicBezTo>
                  <a:cubicBezTo>
                    <a:pt x="273" y="53"/>
                    <a:pt x="273" y="53"/>
                    <a:pt x="273" y="53"/>
                  </a:cubicBezTo>
                  <a:cubicBezTo>
                    <a:pt x="273" y="40"/>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3"/>
                    <a:pt x="114" y="375"/>
                    <a:pt x="118" y="385"/>
                  </a:cubicBezTo>
                  <a:cubicBezTo>
                    <a:pt x="119" y="387"/>
                    <a:pt x="121" y="390"/>
                    <a:pt x="122" y="393"/>
                  </a:cubicBezTo>
                  <a:cubicBezTo>
                    <a:pt x="31" y="393"/>
                    <a:pt x="31" y="393"/>
                    <a:pt x="31" y="393"/>
                  </a:cubicBezTo>
                  <a:cubicBezTo>
                    <a:pt x="23" y="393"/>
                    <a:pt x="16" y="387"/>
                    <a:pt x="16" y="379"/>
                  </a:cubicBezTo>
                  <a:cubicBezTo>
                    <a:pt x="16" y="37"/>
                    <a:pt x="16" y="37"/>
                    <a:pt x="16" y="37"/>
                  </a:cubicBezTo>
                  <a:cubicBezTo>
                    <a:pt x="16" y="27"/>
                    <a:pt x="23" y="16"/>
                    <a:pt x="36" y="16"/>
                  </a:cubicBezTo>
                  <a:cubicBezTo>
                    <a:pt x="274" y="16"/>
                    <a:pt x="274" y="16"/>
                    <a:pt x="274" y="16"/>
                  </a:cubicBezTo>
                  <a:cubicBezTo>
                    <a:pt x="282" y="16"/>
                    <a:pt x="288" y="23"/>
                    <a:pt x="288" y="31"/>
                  </a:cubicBezTo>
                  <a:cubicBezTo>
                    <a:pt x="288" y="47"/>
                    <a:pt x="288" y="47"/>
                    <a:pt x="288" y="47"/>
                  </a:cubicBezTo>
                  <a:cubicBezTo>
                    <a:pt x="288" y="51"/>
                    <a:pt x="292" y="55"/>
                    <a:pt x="296" y="55"/>
                  </a:cubicBezTo>
                  <a:cubicBezTo>
                    <a:pt x="301" y="55"/>
                    <a:pt x="304" y="51"/>
                    <a:pt x="304" y="47"/>
                  </a:cubicBezTo>
                  <a:cubicBezTo>
                    <a:pt x="304" y="31"/>
                    <a:pt x="304" y="31"/>
                    <a:pt x="304" y="31"/>
                  </a:cubicBezTo>
                  <a:cubicBezTo>
                    <a:pt x="304" y="14"/>
                    <a:pt x="291" y="0"/>
                    <a:pt x="274" y="0"/>
                  </a:cubicBezTo>
                  <a:cubicBezTo>
                    <a:pt x="36" y="0"/>
                    <a:pt x="36" y="0"/>
                    <a:pt x="36" y="0"/>
                  </a:cubicBezTo>
                  <a:cubicBezTo>
                    <a:pt x="16" y="0"/>
                    <a:pt x="0" y="16"/>
                    <a:pt x="0" y="37"/>
                  </a:cubicBezTo>
                  <a:cubicBezTo>
                    <a:pt x="0" y="379"/>
                    <a:pt x="0" y="379"/>
                    <a:pt x="0" y="379"/>
                  </a:cubicBezTo>
                  <a:cubicBezTo>
                    <a:pt x="0" y="396"/>
                    <a:pt x="14" y="409"/>
                    <a:pt x="31" y="409"/>
                  </a:cubicBezTo>
                  <a:cubicBezTo>
                    <a:pt x="132" y="409"/>
                    <a:pt x="132" y="409"/>
                    <a:pt x="132" y="409"/>
                  </a:cubicBezTo>
                  <a:cubicBezTo>
                    <a:pt x="150" y="435"/>
                    <a:pt x="182" y="468"/>
                    <a:pt x="235" y="468"/>
                  </a:cubicBezTo>
                  <a:cubicBezTo>
                    <a:pt x="294" y="468"/>
                    <a:pt x="325" y="427"/>
                    <a:pt x="325" y="386"/>
                  </a:cubicBezTo>
                  <a:cubicBezTo>
                    <a:pt x="325" y="282"/>
                    <a:pt x="325" y="282"/>
                    <a:pt x="325" y="282"/>
                  </a:cubicBezTo>
                  <a:cubicBezTo>
                    <a:pt x="325" y="270"/>
                    <a:pt x="316" y="260"/>
                    <a:pt x="304" y="257"/>
                  </a:cubicBezTo>
                  <a:close/>
                  <a:moveTo>
                    <a:pt x="94" y="271"/>
                  </a:moveTo>
                  <a:cubicBezTo>
                    <a:pt x="95" y="280"/>
                    <a:pt x="98" y="307"/>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9"/>
                    <a:pt x="257" y="53"/>
                  </a:cubicBezTo>
                  <a:cubicBezTo>
                    <a:pt x="257" y="249"/>
                    <a:pt x="257" y="249"/>
                    <a:pt x="257" y="249"/>
                  </a:cubicBezTo>
                  <a:cubicBezTo>
                    <a:pt x="256" y="249"/>
                    <a:pt x="256" y="249"/>
                    <a:pt x="256" y="249"/>
                  </a:cubicBezTo>
                  <a:cubicBezTo>
                    <a:pt x="250" y="249"/>
                    <a:pt x="245" y="251"/>
                    <a:pt x="240" y="254"/>
                  </a:cubicBezTo>
                  <a:cubicBezTo>
                    <a:pt x="235" y="248"/>
                    <a:pt x="227" y="244"/>
                    <a:pt x="218" y="244"/>
                  </a:cubicBezTo>
                  <a:cubicBezTo>
                    <a:pt x="217" y="244"/>
                    <a:pt x="217" y="244"/>
                    <a:pt x="217" y="244"/>
                  </a:cubicBezTo>
                  <a:cubicBezTo>
                    <a:pt x="213" y="244"/>
                    <a:pt x="209" y="244"/>
                    <a:pt x="206" y="246"/>
                  </a:cubicBezTo>
                  <a:cubicBezTo>
                    <a:pt x="206" y="177"/>
                    <a:pt x="206" y="177"/>
                    <a:pt x="206" y="177"/>
                  </a:cubicBezTo>
                  <a:cubicBezTo>
                    <a:pt x="206" y="162"/>
                    <a:pt x="194" y="150"/>
                    <a:pt x="179" y="150"/>
                  </a:cubicBezTo>
                  <a:cubicBezTo>
                    <a:pt x="178" y="150"/>
                    <a:pt x="178" y="150"/>
                    <a:pt x="178" y="150"/>
                  </a:cubicBezTo>
                  <a:cubicBezTo>
                    <a:pt x="163" y="150"/>
                    <a:pt x="152" y="162"/>
                    <a:pt x="152" y="177"/>
                  </a:cubicBezTo>
                  <a:cubicBezTo>
                    <a:pt x="152" y="305"/>
                    <a:pt x="152" y="305"/>
                    <a:pt x="152" y="305"/>
                  </a:cubicBezTo>
                  <a:cubicBezTo>
                    <a:pt x="149" y="289"/>
                    <a:pt x="145" y="269"/>
                    <a:pt x="135" y="253"/>
                  </a:cubicBezTo>
                  <a:cubicBezTo>
                    <a:pt x="135" y="252"/>
                    <a:pt x="135" y="252"/>
                    <a:pt x="135" y="252"/>
                  </a:cubicBezTo>
                  <a:cubicBezTo>
                    <a:pt x="127" y="242"/>
                    <a:pt x="120" y="240"/>
                    <a:pt x="115" y="240"/>
                  </a:cubicBezTo>
                  <a:cubicBezTo>
                    <a:pt x="109" y="240"/>
                    <a:pt x="104" y="242"/>
                    <a:pt x="101" y="246"/>
                  </a:cubicBezTo>
                  <a:cubicBezTo>
                    <a:pt x="95" y="252"/>
                    <a:pt x="93" y="261"/>
                    <a:pt x="94" y="271"/>
                  </a:cubicBezTo>
                  <a:close/>
                  <a:moveTo>
                    <a:pt x="309" y="386"/>
                  </a:moveTo>
                  <a:cubicBezTo>
                    <a:pt x="309" y="418"/>
                    <a:pt x="286" y="452"/>
                    <a:pt x="235" y="452"/>
                  </a:cubicBezTo>
                  <a:cubicBezTo>
                    <a:pt x="173" y="452"/>
                    <a:pt x="143" y="400"/>
                    <a:pt x="133" y="378"/>
                  </a:cubicBezTo>
                  <a:cubicBezTo>
                    <a:pt x="121" y="352"/>
                    <a:pt x="112" y="293"/>
                    <a:pt x="110" y="270"/>
                  </a:cubicBezTo>
                  <a:cubicBezTo>
                    <a:pt x="109" y="263"/>
                    <a:pt x="111" y="259"/>
                    <a:pt x="112" y="257"/>
                  </a:cubicBezTo>
                  <a:cubicBezTo>
                    <a:pt x="113" y="256"/>
                    <a:pt x="114" y="256"/>
                    <a:pt x="115" y="256"/>
                  </a:cubicBezTo>
                  <a:cubicBezTo>
                    <a:pt x="116" y="256"/>
                    <a:pt x="118" y="257"/>
                    <a:pt x="121" y="261"/>
                  </a:cubicBezTo>
                  <a:cubicBezTo>
                    <a:pt x="130" y="276"/>
                    <a:pt x="133" y="294"/>
                    <a:pt x="136" y="309"/>
                  </a:cubicBezTo>
                  <a:cubicBezTo>
                    <a:pt x="139" y="327"/>
                    <a:pt x="142" y="344"/>
                    <a:pt x="157" y="344"/>
                  </a:cubicBezTo>
                  <a:cubicBezTo>
                    <a:pt x="159" y="344"/>
                    <a:pt x="160" y="344"/>
                    <a:pt x="161" y="344"/>
                  </a:cubicBezTo>
                  <a:cubicBezTo>
                    <a:pt x="165" y="343"/>
                    <a:pt x="168" y="340"/>
                    <a:pt x="168" y="336"/>
                  </a:cubicBezTo>
                  <a:cubicBezTo>
                    <a:pt x="168" y="177"/>
                    <a:pt x="168" y="177"/>
                    <a:pt x="168" y="177"/>
                  </a:cubicBezTo>
                  <a:cubicBezTo>
                    <a:pt x="168" y="171"/>
                    <a:pt x="172" y="166"/>
                    <a:pt x="178" y="166"/>
                  </a:cubicBezTo>
                  <a:cubicBezTo>
                    <a:pt x="179" y="166"/>
                    <a:pt x="179" y="166"/>
                    <a:pt x="179" y="166"/>
                  </a:cubicBezTo>
                  <a:cubicBezTo>
                    <a:pt x="185" y="166"/>
                    <a:pt x="190" y="171"/>
                    <a:pt x="190" y="177"/>
                  </a:cubicBezTo>
                  <a:cubicBezTo>
                    <a:pt x="190" y="270"/>
                    <a:pt x="190" y="270"/>
                    <a:pt x="190" y="270"/>
                  </a:cubicBezTo>
                  <a:cubicBezTo>
                    <a:pt x="190" y="274"/>
                    <a:pt x="193" y="278"/>
                    <a:pt x="198" y="278"/>
                  </a:cubicBezTo>
                  <a:cubicBezTo>
                    <a:pt x="202" y="278"/>
                    <a:pt x="206" y="274"/>
                    <a:pt x="206" y="270"/>
                  </a:cubicBezTo>
                  <a:cubicBezTo>
                    <a:pt x="206" y="264"/>
                    <a:pt x="211" y="260"/>
                    <a:pt x="217" y="260"/>
                  </a:cubicBezTo>
                  <a:cubicBezTo>
                    <a:pt x="218" y="260"/>
                    <a:pt x="218" y="260"/>
                    <a:pt x="218" y="260"/>
                  </a:cubicBezTo>
                  <a:cubicBezTo>
                    <a:pt x="224" y="260"/>
                    <a:pt x="229" y="264"/>
                    <a:pt x="229" y="270"/>
                  </a:cubicBezTo>
                  <a:cubicBezTo>
                    <a:pt x="229" y="275"/>
                    <a:pt x="229" y="275"/>
                    <a:pt x="229" y="275"/>
                  </a:cubicBezTo>
                  <a:cubicBezTo>
                    <a:pt x="229" y="280"/>
                    <a:pt x="233" y="283"/>
                    <a:pt x="237" y="283"/>
                  </a:cubicBezTo>
                  <a:cubicBezTo>
                    <a:pt x="242" y="283"/>
                    <a:pt x="245" y="280"/>
                    <a:pt x="245" y="275"/>
                  </a:cubicBezTo>
                  <a:cubicBezTo>
                    <a:pt x="245" y="270"/>
                    <a:pt x="250" y="265"/>
                    <a:pt x="256" y="265"/>
                  </a:cubicBezTo>
                  <a:cubicBezTo>
                    <a:pt x="258" y="265"/>
                    <a:pt x="258" y="265"/>
                    <a:pt x="258" y="265"/>
                  </a:cubicBezTo>
                  <a:cubicBezTo>
                    <a:pt x="264" y="265"/>
                    <a:pt x="269" y="270"/>
                    <a:pt x="269" y="275"/>
                  </a:cubicBezTo>
                  <a:cubicBezTo>
                    <a:pt x="269" y="282"/>
                    <a:pt x="269" y="282"/>
                    <a:pt x="269" y="282"/>
                  </a:cubicBezTo>
                  <a:cubicBezTo>
                    <a:pt x="269" y="287"/>
                    <a:pt x="273" y="290"/>
                    <a:pt x="277" y="290"/>
                  </a:cubicBezTo>
                  <a:cubicBezTo>
                    <a:pt x="281" y="290"/>
                    <a:pt x="285" y="287"/>
                    <a:pt x="285" y="282"/>
                  </a:cubicBezTo>
                  <a:cubicBezTo>
                    <a:pt x="285" y="277"/>
                    <a:pt x="290" y="272"/>
                    <a:pt x="296" y="272"/>
                  </a:cubicBezTo>
                  <a:cubicBezTo>
                    <a:pt x="298" y="272"/>
                    <a:pt x="298" y="272"/>
                    <a:pt x="298" y="272"/>
                  </a:cubicBezTo>
                  <a:cubicBezTo>
                    <a:pt x="304" y="272"/>
                    <a:pt x="309" y="277"/>
                    <a:pt x="309" y="282"/>
                  </a:cubicBezTo>
                  <a:lnTo>
                    <a:pt x="309" y="386"/>
                  </a:lnTo>
                  <a:close/>
                  <a:moveTo>
                    <a:pt x="88" y="380"/>
                  </a:moveTo>
                  <a:cubicBezTo>
                    <a:pt x="91" y="380"/>
                    <a:pt x="93" y="378"/>
                    <a:pt x="93" y="375"/>
                  </a:cubicBezTo>
                  <a:cubicBezTo>
                    <a:pt x="93" y="367"/>
                    <a:pt x="93" y="367"/>
                    <a:pt x="93" y="367"/>
                  </a:cubicBezTo>
                  <a:cubicBezTo>
                    <a:pt x="93" y="365"/>
                    <a:pt x="91" y="363"/>
                    <a:pt x="88" y="363"/>
                  </a:cubicBezTo>
                  <a:cubicBezTo>
                    <a:pt x="70" y="363"/>
                    <a:pt x="70" y="363"/>
                    <a:pt x="70" y="363"/>
                  </a:cubicBezTo>
                  <a:cubicBezTo>
                    <a:pt x="68" y="363"/>
                    <a:pt x="66" y="365"/>
                    <a:pt x="66" y="367"/>
                  </a:cubicBezTo>
                  <a:cubicBezTo>
                    <a:pt x="66" y="375"/>
                    <a:pt x="66" y="375"/>
                    <a:pt x="66" y="375"/>
                  </a:cubicBezTo>
                  <a:cubicBezTo>
                    <a:pt x="66" y="378"/>
                    <a:pt x="68" y="380"/>
                    <a:pt x="70" y="380"/>
                  </a:cubicBezTo>
                  <a:lnTo>
                    <a:pt x="88" y="380"/>
                  </a:lnTo>
                  <a:close/>
                </a:path>
              </a:pathLst>
            </a:custGeom>
            <a:grpFill/>
            <a:ln>
              <a:noFill/>
            </a:ln>
            <a:extLst/>
          </p:spPr>
          <p:txBody>
            <a:bodyPr lIns="68579" tIns="34289" rIns="68579" bIns="34289"/>
            <a:lstStyle/>
            <a:p>
              <a:endParaRPr lang="en-US" sz="1800" dirty="0"/>
            </a:p>
          </p:txBody>
        </p:sp>
      </p:grpSp>
      <p:grpSp>
        <p:nvGrpSpPr>
          <p:cNvPr id="38" name="Group 37"/>
          <p:cNvGrpSpPr/>
          <p:nvPr/>
        </p:nvGrpSpPr>
        <p:grpSpPr>
          <a:xfrm>
            <a:off x="9552692" y="4312712"/>
            <a:ext cx="766668" cy="456299"/>
            <a:chOff x="10155966" y="3447516"/>
            <a:chExt cx="956740" cy="569424"/>
          </a:xfrm>
          <a:solidFill>
            <a:schemeClr val="bg1"/>
          </a:solidFill>
        </p:grpSpPr>
        <p:sp>
          <p:nvSpPr>
            <p:cNvPr id="39" name="Freeform 3"/>
            <p:cNvSpPr>
              <a:spLocks noChangeAspect="1" noEditPoints="1"/>
            </p:cNvSpPr>
            <p:nvPr/>
          </p:nvSpPr>
          <p:spPr bwMode="auto">
            <a:xfrm>
              <a:off x="10385407" y="3687039"/>
              <a:ext cx="474097" cy="21382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2147483647 w 448"/>
                <a:gd name="T67" fmla="*/ 2147483647 h 2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8"/>
                <a:gd name="T103" fmla="*/ 0 h 208"/>
                <a:gd name="T104" fmla="*/ 448 w 448"/>
                <a:gd name="T105" fmla="*/ 208 h 2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8" h="208">
                  <a:moveTo>
                    <a:pt x="447" y="114"/>
                  </a:moveTo>
                  <a:cubicBezTo>
                    <a:pt x="446" y="110"/>
                    <a:pt x="442" y="107"/>
                    <a:pt x="437" y="108"/>
                  </a:cubicBezTo>
                  <a:cubicBezTo>
                    <a:pt x="433" y="109"/>
                    <a:pt x="431" y="114"/>
                    <a:pt x="432" y="118"/>
                  </a:cubicBezTo>
                  <a:cubicBezTo>
                    <a:pt x="432" y="120"/>
                    <a:pt x="432" y="122"/>
                    <a:pt x="432" y="125"/>
                  </a:cubicBezTo>
                  <a:cubicBezTo>
                    <a:pt x="432" y="142"/>
                    <a:pt x="427" y="154"/>
                    <a:pt x="423" y="161"/>
                  </a:cubicBezTo>
                  <a:cubicBezTo>
                    <a:pt x="420" y="164"/>
                    <a:pt x="418" y="167"/>
                    <a:pt x="416" y="169"/>
                  </a:cubicBezTo>
                  <a:cubicBezTo>
                    <a:pt x="416" y="169"/>
                    <a:pt x="416" y="169"/>
                    <a:pt x="416" y="169"/>
                  </a:cubicBezTo>
                  <a:cubicBezTo>
                    <a:pt x="413" y="169"/>
                    <a:pt x="410"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266" y="169"/>
                    <a:pt x="197" y="169"/>
                    <a:pt x="140" y="169"/>
                  </a:cubicBezTo>
                  <a:cubicBezTo>
                    <a:pt x="141" y="167"/>
                    <a:pt x="141" y="165"/>
                    <a:pt x="141" y="163"/>
                  </a:cubicBezTo>
                  <a:cubicBezTo>
                    <a:pt x="141" y="139"/>
                    <a:pt x="121" y="119"/>
                    <a:pt x="96" y="119"/>
                  </a:cubicBezTo>
                  <a:cubicBezTo>
                    <a:pt x="71" y="119"/>
                    <a:pt x="52" y="139"/>
                    <a:pt x="51" y="163"/>
                  </a:cubicBezTo>
                  <a:cubicBezTo>
                    <a:pt x="51" y="165"/>
                    <a:pt x="52" y="167"/>
                    <a:pt x="52" y="169"/>
                  </a:cubicBezTo>
                  <a:cubicBezTo>
                    <a:pt x="40" y="169"/>
                    <a:pt x="32" y="169"/>
                    <a:pt x="29" y="169"/>
                  </a:cubicBezTo>
                  <a:cubicBezTo>
                    <a:pt x="23" y="169"/>
                    <a:pt x="21" y="167"/>
                    <a:pt x="19" y="163"/>
                  </a:cubicBezTo>
                  <a:cubicBezTo>
                    <a:pt x="17" y="159"/>
                    <a:pt x="16" y="152"/>
                    <a:pt x="16" y="147"/>
                  </a:cubicBezTo>
                  <a:cubicBezTo>
                    <a:pt x="16" y="136"/>
                    <a:pt x="21" y="126"/>
                    <a:pt x="30" y="118"/>
                  </a:cubicBezTo>
                  <a:cubicBezTo>
                    <a:pt x="44" y="105"/>
                    <a:pt x="67" y="96"/>
                    <a:pt x="85" y="90"/>
                  </a:cubicBezTo>
                  <a:cubicBezTo>
                    <a:pt x="95" y="87"/>
                    <a:pt x="103" y="85"/>
                    <a:pt x="109" y="84"/>
                  </a:cubicBezTo>
                  <a:cubicBezTo>
                    <a:pt x="114" y="83"/>
                    <a:pt x="117" y="82"/>
                    <a:pt x="119" y="82"/>
                  </a:cubicBezTo>
                  <a:cubicBezTo>
                    <a:pt x="384" y="82"/>
                    <a:pt x="384" y="82"/>
                    <a:pt x="384" y="82"/>
                  </a:cubicBezTo>
                  <a:cubicBezTo>
                    <a:pt x="385" y="82"/>
                    <a:pt x="386" y="82"/>
                    <a:pt x="386" y="83"/>
                  </a:cubicBezTo>
                  <a:cubicBezTo>
                    <a:pt x="392" y="84"/>
                    <a:pt x="406" y="89"/>
                    <a:pt x="417" y="97"/>
                  </a:cubicBezTo>
                  <a:cubicBezTo>
                    <a:pt x="420" y="100"/>
                    <a:pt x="425" y="99"/>
                    <a:pt x="428" y="96"/>
                  </a:cubicBezTo>
                  <a:cubicBezTo>
                    <a:pt x="430" y="92"/>
                    <a:pt x="430" y="87"/>
                    <a:pt x="426" y="84"/>
                  </a:cubicBezTo>
                  <a:cubicBezTo>
                    <a:pt x="412" y="74"/>
                    <a:pt x="397" y="69"/>
                    <a:pt x="390" y="67"/>
                  </a:cubicBezTo>
                  <a:cubicBezTo>
                    <a:pt x="380" y="55"/>
                    <a:pt x="333" y="0"/>
                    <a:pt x="248" y="0"/>
                  </a:cubicBezTo>
                  <a:cubicBezTo>
                    <a:pt x="165" y="0"/>
                    <a:pt x="123" y="53"/>
                    <a:pt x="113" y="67"/>
                  </a:cubicBezTo>
                  <a:cubicBezTo>
                    <a:pt x="105" y="68"/>
                    <a:pt x="82"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29" y="185"/>
                    <a:pt x="29" y="185"/>
                    <a:pt x="29" y="185"/>
                  </a:cubicBezTo>
                  <a:cubicBezTo>
                    <a:pt x="32" y="185"/>
                    <a:pt x="42" y="185"/>
                    <a:pt x="57" y="185"/>
                  </a:cubicBezTo>
                  <a:cubicBezTo>
                    <a:pt x="65" y="199"/>
                    <a:pt x="79" y="208"/>
                    <a:pt x="96" y="208"/>
                  </a:cubicBezTo>
                  <a:cubicBezTo>
                    <a:pt x="113" y="208"/>
                    <a:pt x="127" y="199"/>
                    <a:pt x="135" y="185"/>
                  </a:cubicBezTo>
                  <a:cubicBezTo>
                    <a:pt x="195" y="185"/>
                    <a:pt x="269" y="185"/>
                    <a:pt x="324" y="185"/>
                  </a:cubicBezTo>
                  <a:cubicBezTo>
                    <a:pt x="332" y="199"/>
                    <a:pt x="347" y="208"/>
                    <a:pt x="363" y="208"/>
                  </a:cubicBezTo>
                  <a:cubicBezTo>
                    <a:pt x="380" y="208"/>
                    <a:pt x="395" y="199"/>
                    <a:pt x="402" y="185"/>
                  </a:cubicBezTo>
                  <a:cubicBezTo>
                    <a:pt x="402" y="185"/>
                    <a:pt x="402" y="185"/>
                    <a:pt x="402" y="185"/>
                  </a:cubicBezTo>
                  <a:cubicBezTo>
                    <a:pt x="405" y="185"/>
                    <a:pt x="419" y="185"/>
                    <a:pt x="419" y="185"/>
                  </a:cubicBezTo>
                  <a:cubicBezTo>
                    <a:pt x="420" y="185"/>
                    <a:pt x="422" y="185"/>
                    <a:pt x="423" y="184"/>
                  </a:cubicBezTo>
                  <a:cubicBezTo>
                    <a:pt x="424" y="183"/>
                    <a:pt x="448" y="166"/>
                    <a:pt x="448" y="125"/>
                  </a:cubicBezTo>
                  <a:cubicBezTo>
                    <a:pt x="448" y="121"/>
                    <a:pt x="448" y="117"/>
                    <a:pt x="447" y="114"/>
                  </a:cubicBezTo>
                  <a:close/>
                  <a:moveTo>
                    <a:pt x="368" y="66"/>
                  </a:moveTo>
                  <a:cubicBezTo>
                    <a:pt x="256" y="66"/>
                    <a:pt x="256" y="66"/>
                    <a:pt x="256" y="66"/>
                  </a:cubicBezTo>
                  <a:cubicBezTo>
                    <a:pt x="256" y="16"/>
                    <a:pt x="256" y="16"/>
                    <a:pt x="256" y="16"/>
                  </a:cubicBezTo>
                  <a:cubicBezTo>
                    <a:pt x="296" y="18"/>
                    <a:pt x="326" y="32"/>
                    <a:pt x="346" y="47"/>
                  </a:cubicBezTo>
                  <a:cubicBezTo>
                    <a:pt x="355" y="54"/>
                    <a:pt x="363" y="61"/>
                    <a:pt x="368" y="66"/>
                  </a:cubicBez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7" y="163"/>
                  </a:cubicBezTo>
                  <a:cubicBezTo>
                    <a:pt x="68" y="148"/>
                    <a:pt x="80" y="135"/>
                    <a:pt x="96" y="135"/>
                  </a:cubicBezTo>
                  <a:cubicBezTo>
                    <a:pt x="112" y="135"/>
                    <a:pt x="125" y="148"/>
                    <a:pt x="125" y="163"/>
                  </a:cubicBezTo>
                  <a:cubicBezTo>
                    <a:pt x="125" y="179"/>
                    <a:pt x="112" y="192"/>
                    <a:pt x="96" y="192"/>
                  </a:cubicBezTo>
                  <a:close/>
                  <a:moveTo>
                    <a:pt x="363" y="192"/>
                  </a:moveTo>
                  <a:cubicBezTo>
                    <a:pt x="347" y="192"/>
                    <a:pt x="335" y="179"/>
                    <a:pt x="335" y="163"/>
                  </a:cubicBezTo>
                  <a:cubicBezTo>
                    <a:pt x="335" y="148"/>
                    <a:pt x="347" y="135"/>
                    <a:pt x="363" y="135"/>
                  </a:cubicBezTo>
                  <a:cubicBezTo>
                    <a:pt x="379" y="135"/>
                    <a:pt x="392" y="148"/>
                    <a:pt x="392" y="163"/>
                  </a:cubicBezTo>
                  <a:cubicBezTo>
                    <a:pt x="392" y="179"/>
                    <a:pt x="379" y="192"/>
                    <a:pt x="363" y="192"/>
                  </a:cubicBezTo>
                  <a:close/>
                </a:path>
              </a:pathLst>
            </a:custGeom>
            <a:grpFill/>
            <a:ln>
              <a:noFill/>
            </a:ln>
            <a:extLst/>
          </p:spPr>
          <p:txBody>
            <a:bodyPr lIns="68532" tIns="34268" rIns="68532" bIns="34268"/>
            <a:lstStyle/>
            <a:p>
              <a:endParaRPr lang="en-US" sz="1800" dirty="0"/>
            </a:p>
          </p:txBody>
        </p:sp>
        <p:sp>
          <p:nvSpPr>
            <p:cNvPr id="40" name="Freeform 9"/>
            <p:cNvSpPr>
              <a:spLocks noChangeAspect="1"/>
            </p:cNvSpPr>
            <p:nvPr/>
          </p:nvSpPr>
          <p:spPr bwMode="auto">
            <a:xfrm>
              <a:off x="10155966" y="3447516"/>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grpSp>
      <p:grpSp>
        <p:nvGrpSpPr>
          <p:cNvPr id="41" name="Group 40"/>
          <p:cNvGrpSpPr/>
          <p:nvPr/>
        </p:nvGrpSpPr>
        <p:grpSpPr>
          <a:xfrm>
            <a:off x="9552695" y="4854208"/>
            <a:ext cx="766668" cy="456299"/>
            <a:chOff x="10155969" y="4090974"/>
            <a:chExt cx="956740" cy="569424"/>
          </a:xfrm>
          <a:solidFill>
            <a:schemeClr val="bg1"/>
          </a:solidFill>
        </p:grpSpPr>
        <p:sp>
          <p:nvSpPr>
            <p:cNvPr id="42" name="Freeform 9"/>
            <p:cNvSpPr>
              <a:spLocks noChangeAspect="1"/>
            </p:cNvSpPr>
            <p:nvPr/>
          </p:nvSpPr>
          <p:spPr bwMode="auto">
            <a:xfrm>
              <a:off x="10155969" y="4090974"/>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43" name="Freeform 7"/>
            <p:cNvSpPr>
              <a:spLocks noChangeAspect="1" noEditPoints="1"/>
            </p:cNvSpPr>
            <p:nvPr/>
          </p:nvSpPr>
          <p:spPr bwMode="auto">
            <a:xfrm>
              <a:off x="10510583" y="4247298"/>
              <a:ext cx="302110" cy="302179"/>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p:spPr>
          <p:txBody>
            <a:bodyPr lIns="68580" tIns="34290" rIns="68580" bIns="34290"/>
            <a:lstStyle/>
            <a:p>
              <a:endParaRPr lang="en-US" sz="1800" dirty="0"/>
            </a:p>
          </p:txBody>
        </p:sp>
      </p:grpSp>
      <p:grpSp>
        <p:nvGrpSpPr>
          <p:cNvPr id="44" name="Group 43"/>
          <p:cNvGrpSpPr/>
          <p:nvPr/>
        </p:nvGrpSpPr>
        <p:grpSpPr>
          <a:xfrm>
            <a:off x="9566266" y="5395703"/>
            <a:ext cx="766668" cy="456299"/>
            <a:chOff x="10172905" y="4734431"/>
            <a:chExt cx="956740" cy="569424"/>
          </a:xfrm>
          <a:solidFill>
            <a:schemeClr val="bg1"/>
          </a:solidFill>
        </p:grpSpPr>
        <p:sp>
          <p:nvSpPr>
            <p:cNvPr id="45" name="Freeform 9"/>
            <p:cNvSpPr>
              <a:spLocks noChangeAspect="1"/>
            </p:cNvSpPr>
            <p:nvPr/>
          </p:nvSpPr>
          <p:spPr bwMode="auto">
            <a:xfrm>
              <a:off x="10172905" y="4734431"/>
              <a:ext cx="956740" cy="569424"/>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2147483647 w 474"/>
                <a:gd name="T43" fmla="*/ 2147483647 h 295"/>
                <a:gd name="T44" fmla="*/ 2147483647 w 474"/>
                <a:gd name="T45" fmla="*/ 2147483647 h 295"/>
                <a:gd name="T46" fmla="*/ 2147483647 w 474"/>
                <a:gd name="T47" fmla="*/ 2147483647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0 h 295"/>
                <a:gd name="T60" fmla="*/ 2147483647 w 474"/>
                <a:gd name="T61" fmla="*/ 2147483647 h 295"/>
                <a:gd name="T62" fmla="*/ 0 w 474"/>
                <a:gd name="T63" fmla="*/ 2147483647 h 295"/>
                <a:gd name="T64" fmla="*/ 2147483647 w 474"/>
                <a:gd name="T65" fmla="*/ 2147483647 h 295"/>
                <a:gd name="T66" fmla="*/ 2147483647 w 474"/>
                <a:gd name="T67" fmla="*/ 2147483647 h 295"/>
                <a:gd name="T68" fmla="*/ 2147483647 w 474"/>
                <a:gd name="T69" fmla="*/ 2147483647 h 295"/>
                <a:gd name="T70" fmla="*/ 2147483647 w 474"/>
                <a:gd name="T71" fmla="*/ 2147483647 h 295"/>
                <a:gd name="T72" fmla="*/ 2147483647 w 474"/>
                <a:gd name="T73" fmla="*/ 2147483647 h 295"/>
                <a:gd name="T74" fmla="*/ 2147483647 w 474"/>
                <a:gd name="T75" fmla="*/ 2147483647 h 295"/>
                <a:gd name="T76" fmla="*/ 2147483647 w 474"/>
                <a:gd name="T77" fmla="*/ 2147483647 h 295"/>
                <a:gd name="T78" fmla="*/ 2147483647 w 474"/>
                <a:gd name="T79" fmla="*/ 2147483647 h 295"/>
                <a:gd name="T80" fmla="*/ 2147483647 w 474"/>
                <a:gd name="T81" fmla="*/ 2147483647 h 295"/>
                <a:gd name="T82" fmla="*/ 2147483647 w 474"/>
                <a:gd name="T83" fmla="*/ 2147483647 h 295"/>
                <a:gd name="T84" fmla="*/ 2147483647 w 474"/>
                <a:gd name="T85" fmla="*/ 2147483647 h 2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4" h="295">
                  <a:moveTo>
                    <a:pt x="454" y="182"/>
                  </a:moveTo>
                  <a:cubicBezTo>
                    <a:pt x="461" y="168"/>
                    <a:pt x="466" y="153"/>
                    <a:pt x="466" y="136"/>
                  </a:cubicBezTo>
                  <a:cubicBezTo>
                    <a:pt x="466" y="106"/>
                    <a:pt x="452" y="80"/>
                    <a:pt x="432" y="61"/>
                  </a:cubicBezTo>
                  <a:cubicBezTo>
                    <a:pt x="428" y="58"/>
                    <a:pt x="423" y="59"/>
                    <a:pt x="420" y="63"/>
                  </a:cubicBezTo>
                  <a:cubicBezTo>
                    <a:pt x="418" y="66"/>
                    <a:pt x="418" y="71"/>
                    <a:pt x="422" y="74"/>
                  </a:cubicBezTo>
                  <a:cubicBezTo>
                    <a:pt x="422" y="74"/>
                    <a:pt x="422" y="74"/>
                    <a:pt x="422" y="74"/>
                  </a:cubicBezTo>
                  <a:cubicBezTo>
                    <a:pt x="439" y="90"/>
                    <a:pt x="450" y="112"/>
                    <a:pt x="450" y="136"/>
                  </a:cubicBezTo>
                  <a:cubicBezTo>
                    <a:pt x="450" y="152"/>
                    <a:pt x="445" y="167"/>
                    <a:pt x="437" y="179"/>
                  </a:cubicBezTo>
                  <a:cubicBezTo>
                    <a:pt x="435" y="183"/>
                    <a:pt x="436" y="187"/>
                    <a:pt x="439" y="189"/>
                  </a:cubicBezTo>
                  <a:cubicBezTo>
                    <a:pt x="450" y="200"/>
                    <a:pt x="458" y="214"/>
                    <a:pt x="458" y="230"/>
                  </a:cubicBezTo>
                  <a:cubicBezTo>
                    <a:pt x="458" y="240"/>
                    <a:pt x="453" y="253"/>
                    <a:pt x="445" y="262"/>
                  </a:cubicBezTo>
                  <a:cubicBezTo>
                    <a:pt x="436" y="272"/>
                    <a:pt x="424" y="279"/>
                    <a:pt x="410" y="279"/>
                  </a:cubicBezTo>
                  <a:cubicBezTo>
                    <a:pt x="350" y="279"/>
                    <a:pt x="350" y="279"/>
                    <a:pt x="350" y="279"/>
                  </a:cubicBezTo>
                  <a:cubicBezTo>
                    <a:pt x="74" y="279"/>
                    <a:pt x="74" y="279"/>
                    <a:pt x="74" y="279"/>
                  </a:cubicBezTo>
                  <a:cubicBezTo>
                    <a:pt x="58" y="279"/>
                    <a:pt x="44" y="270"/>
                    <a:pt x="33" y="256"/>
                  </a:cubicBezTo>
                  <a:cubicBezTo>
                    <a:pt x="22" y="243"/>
                    <a:pt x="16" y="225"/>
                    <a:pt x="16" y="209"/>
                  </a:cubicBezTo>
                  <a:cubicBezTo>
                    <a:pt x="16" y="172"/>
                    <a:pt x="42" y="141"/>
                    <a:pt x="77" y="134"/>
                  </a:cubicBezTo>
                  <a:cubicBezTo>
                    <a:pt x="81" y="133"/>
                    <a:pt x="83" y="130"/>
                    <a:pt x="84" y="127"/>
                  </a:cubicBezTo>
                  <a:cubicBezTo>
                    <a:pt x="90" y="65"/>
                    <a:pt x="142" y="16"/>
                    <a:pt x="206" y="16"/>
                  </a:cubicBezTo>
                  <a:cubicBezTo>
                    <a:pt x="247" y="16"/>
                    <a:pt x="282" y="36"/>
                    <a:pt x="305" y="66"/>
                  </a:cubicBezTo>
                  <a:cubicBezTo>
                    <a:pt x="308" y="70"/>
                    <a:pt x="313" y="70"/>
                    <a:pt x="316" y="68"/>
                  </a:cubicBezTo>
                  <a:cubicBezTo>
                    <a:pt x="330" y="58"/>
                    <a:pt x="347" y="52"/>
                    <a:pt x="365" y="52"/>
                  </a:cubicBezTo>
                  <a:cubicBezTo>
                    <a:pt x="376" y="52"/>
                    <a:pt x="386" y="54"/>
                    <a:pt x="395" y="57"/>
                  </a:cubicBezTo>
                  <a:cubicBezTo>
                    <a:pt x="395" y="57"/>
                    <a:pt x="396" y="58"/>
                    <a:pt x="396" y="58"/>
                  </a:cubicBezTo>
                  <a:cubicBezTo>
                    <a:pt x="400" y="59"/>
                    <a:pt x="405" y="58"/>
                    <a:pt x="406" y="54"/>
                  </a:cubicBezTo>
                  <a:cubicBezTo>
                    <a:pt x="407" y="52"/>
                    <a:pt x="407" y="51"/>
                    <a:pt x="407" y="49"/>
                  </a:cubicBezTo>
                  <a:cubicBezTo>
                    <a:pt x="407" y="47"/>
                    <a:pt x="405" y="44"/>
                    <a:pt x="403" y="43"/>
                  </a:cubicBezTo>
                  <a:cubicBezTo>
                    <a:pt x="391" y="38"/>
                    <a:pt x="378" y="36"/>
                    <a:pt x="365" y="36"/>
                  </a:cubicBezTo>
                  <a:cubicBezTo>
                    <a:pt x="346" y="36"/>
                    <a:pt x="328" y="41"/>
                    <a:pt x="313" y="51"/>
                  </a:cubicBezTo>
                  <a:cubicBezTo>
                    <a:pt x="288" y="20"/>
                    <a:pt x="249" y="0"/>
                    <a:pt x="206" y="0"/>
                  </a:cubicBezTo>
                  <a:cubicBezTo>
                    <a:pt x="136" y="0"/>
                    <a:pt x="78" y="52"/>
                    <a:pt x="68" y="120"/>
                  </a:cubicBezTo>
                  <a:cubicBezTo>
                    <a:pt x="29" y="130"/>
                    <a:pt x="0" y="166"/>
                    <a:pt x="0" y="209"/>
                  </a:cubicBezTo>
                  <a:cubicBezTo>
                    <a:pt x="0" y="229"/>
                    <a:pt x="7" y="250"/>
                    <a:pt x="20" y="266"/>
                  </a:cubicBezTo>
                  <a:cubicBezTo>
                    <a:pt x="33" y="283"/>
                    <a:pt x="52" y="295"/>
                    <a:pt x="74" y="295"/>
                  </a:cubicBezTo>
                  <a:cubicBezTo>
                    <a:pt x="350" y="295"/>
                    <a:pt x="350" y="295"/>
                    <a:pt x="350" y="295"/>
                  </a:cubicBezTo>
                  <a:cubicBezTo>
                    <a:pt x="350" y="295"/>
                    <a:pt x="351" y="295"/>
                    <a:pt x="351" y="295"/>
                  </a:cubicBezTo>
                  <a:cubicBezTo>
                    <a:pt x="382" y="295"/>
                    <a:pt x="382" y="295"/>
                    <a:pt x="382" y="295"/>
                  </a:cubicBezTo>
                  <a:cubicBezTo>
                    <a:pt x="382" y="295"/>
                    <a:pt x="382" y="295"/>
                    <a:pt x="382" y="295"/>
                  </a:cubicBezTo>
                  <a:cubicBezTo>
                    <a:pt x="382" y="295"/>
                    <a:pt x="382" y="295"/>
                    <a:pt x="382" y="295"/>
                  </a:cubicBezTo>
                  <a:cubicBezTo>
                    <a:pt x="410" y="295"/>
                    <a:pt x="410" y="295"/>
                    <a:pt x="410" y="295"/>
                  </a:cubicBezTo>
                  <a:cubicBezTo>
                    <a:pt x="430" y="295"/>
                    <a:pt x="446" y="286"/>
                    <a:pt x="457" y="273"/>
                  </a:cubicBezTo>
                  <a:cubicBezTo>
                    <a:pt x="468" y="260"/>
                    <a:pt x="474" y="244"/>
                    <a:pt x="474" y="230"/>
                  </a:cubicBezTo>
                  <a:cubicBezTo>
                    <a:pt x="474" y="211"/>
                    <a:pt x="466" y="194"/>
                    <a:pt x="454" y="182"/>
                  </a:cubicBezTo>
                  <a:close/>
                </a:path>
              </a:pathLst>
            </a:custGeom>
            <a:grpFill/>
            <a:ln>
              <a:noFill/>
            </a:ln>
            <a:extLst/>
          </p:spPr>
          <p:txBody>
            <a:bodyPr lIns="91436" tIns="45718" rIns="91436" bIns="45718"/>
            <a:lstStyle/>
            <a:p>
              <a:endParaRPr lang="sv-SE" sz="1600"/>
            </a:p>
          </p:txBody>
        </p:sp>
        <p:sp>
          <p:nvSpPr>
            <p:cNvPr id="46" name="Freeform 3"/>
            <p:cNvSpPr>
              <a:spLocks noChangeAspect="1" noEditPoints="1"/>
            </p:cNvSpPr>
            <p:nvPr/>
          </p:nvSpPr>
          <p:spPr bwMode="auto">
            <a:xfrm>
              <a:off x="10438375" y="4888160"/>
              <a:ext cx="409235" cy="342082"/>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grpFill/>
            <a:ln>
              <a:noFill/>
            </a:ln>
            <a:extLst/>
          </p:spPr>
          <p:txBody>
            <a:bodyPr lIns="68532" tIns="34268" rIns="68532" bIns="34268"/>
            <a:lstStyle/>
            <a:p>
              <a:endParaRPr lang="en-US" sz="1800" dirty="0"/>
            </a:p>
          </p:txBody>
        </p:sp>
      </p:grpSp>
      <p:cxnSp>
        <p:nvCxnSpPr>
          <p:cNvPr id="47" name="Straight Connector 46"/>
          <p:cNvCxnSpPr>
            <a:cxnSpLocks noChangeShapeType="1"/>
          </p:cNvCxnSpPr>
          <p:nvPr>
            <p:custDataLst>
              <p:tags r:id="rId2"/>
            </p:custDataLst>
          </p:nvPr>
        </p:nvCxnSpPr>
        <p:spPr bwMode="auto">
          <a:xfrm flipH="1" flipV="1">
            <a:off x="9276165" y="4697493"/>
            <a:ext cx="299260" cy="82139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48" name="Straight Connector 47"/>
          <p:cNvCxnSpPr>
            <a:cxnSpLocks noChangeShapeType="1"/>
          </p:cNvCxnSpPr>
          <p:nvPr>
            <p:custDataLst>
              <p:tags r:id="rId3"/>
            </p:custDataLst>
          </p:nvPr>
        </p:nvCxnSpPr>
        <p:spPr bwMode="auto">
          <a:xfrm flipH="1" flipV="1">
            <a:off x="9331639" y="4633916"/>
            <a:ext cx="303972" cy="293216"/>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49" name="Straight Connector 48"/>
          <p:cNvCxnSpPr>
            <a:cxnSpLocks noChangeShapeType="1"/>
          </p:cNvCxnSpPr>
          <p:nvPr>
            <p:custDataLst>
              <p:tags r:id="rId4"/>
            </p:custDataLst>
          </p:nvPr>
        </p:nvCxnSpPr>
        <p:spPr bwMode="auto">
          <a:xfrm flipH="1" flipV="1">
            <a:off x="9331639" y="4515321"/>
            <a:ext cx="205443" cy="5651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0" name="Straight Connector 49"/>
          <p:cNvCxnSpPr>
            <a:cxnSpLocks noChangeShapeType="1"/>
          </p:cNvCxnSpPr>
          <p:nvPr>
            <p:custDataLst>
              <p:tags r:id="rId5"/>
            </p:custDataLst>
          </p:nvPr>
        </p:nvCxnSpPr>
        <p:spPr bwMode="auto">
          <a:xfrm flipH="1">
            <a:off x="9276165" y="4154041"/>
            <a:ext cx="260916" cy="24097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nvGrpSpPr>
          <p:cNvPr id="51" name="Group 50"/>
          <p:cNvGrpSpPr/>
          <p:nvPr/>
        </p:nvGrpSpPr>
        <p:grpSpPr>
          <a:xfrm>
            <a:off x="6593869" y="4423343"/>
            <a:ext cx="2632781" cy="170191"/>
            <a:chOff x="6644244" y="3442422"/>
            <a:chExt cx="2903074" cy="187210"/>
          </a:xfrm>
        </p:grpSpPr>
        <p:cxnSp>
          <p:nvCxnSpPr>
            <p:cNvPr id="52" name="Straight Connector 60"/>
            <p:cNvCxnSpPr>
              <a:cxnSpLocks noChangeShapeType="1"/>
            </p:cNvCxnSpPr>
            <p:nvPr>
              <p:custDataLst>
                <p:tags r:id="rId10"/>
              </p:custDataLst>
            </p:nvPr>
          </p:nvCxnSpPr>
          <p:spPr bwMode="auto">
            <a:xfrm>
              <a:off x="6644244" y="3442422"/>
              <a:ext cx="2903074" cy="15139"/>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3" name="Straight Connector 61"/>
            <p:cNvCxnSpPr>
              <a:cxnSpLocks noChangeShapeType="1"/>
            </p:cNvCxnSpPr>
            <p:nvPr>
              <p:custDataLst>
                <p:tags r:id="rId11"/>
              </p:custDataLst>
            </p:nvPr>
          </p:nvCxnSpPr>
          <p:spPr bwMode="auto">
            <a:xfrm>
              <a:off x="6644244" y="3543597"/>
              <a:ext cx="29030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4" name="Straight Connector 62"/>
            <p:cNvCxnSpPr>
              <a:cxnSpLocks noChangeShapeType="1"/>
            </p:cNvCxnSpPr>
            <p:nvPr>
              <p:custDataLst>
                <p:tags r:id="rId12"/>
              </p:custDataLst>
            </p:nvPr>
          </p:nvCxnSpPr>
          <p:spPr bwMode="auto">
            <a:xfrm>
              <a:off x="6644244" y="3629632"/>
              <a:ext cx="2903074" cy="0"/>
            </a:xfrm>
            <a:prstGeom prst="line">
              <a:avLst/>
            </a:prstGeom>
            <a:noFill/>
            <a:ln w="28575" cap="rnd">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cxnSp>
        <p:nvCxnSpPr>
          <p:cNvPr id="55" name="Straight Connector 19"/>
          <p:cNvCxnSpPr>
            <a:cxnSpLocks noChangeShapeType="1"/>
          </p:cNvCxnSpPr>
          <p:nvPr>
            <p:custDataLst>
              <p:tags r:id="rId6"/>
            </p:custDataLst>
          </p:nvPr>
        </p:nvCxnSpPr>
        <p:spPr bwMode="auto">
          <a:xfrm flipV="1">
            <a:off x="2380998" y="4683376"/>
            <a:ext cx="378551" cy="720185"/>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6" name="Straight Connector 37"/>
          <p:cNvCxnSpPr>
            <a:cxnSpLocks noChangeShapeType="1"/>
          </p:cNvCxnSpPr>
          <p:nvPr>
            <p:custDataLst>
              <p:tags r:id="rId7"/>
            </p:custDataLst>
          </p:nvPr>
        </p:nvCxnSpPr>
        <p:spPr bwMode="auto">
          <a:xfrm flipV="1">
            <a:off x="2387050" y="4597704"/>
            <a:ext cx="372499" cy="31677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7" name="Straight Connector 39"/>
          <p:cNvCxnSpPr>
            <a:cxnSpLocks noChangeShapeType="1"/>
          </p:cNvCxnSpPr>
          <p:nvPr>
            <p:custDataLst>
              <p:tags r:id="rId8"/>
            </p:custDataLst>
          </p:nvPr>
        </p:nvCxnSpPr>
        <p:spPr bwMode="auto">
          <a:xfrm flipV="1">
            <a:off x="2553242" y="4509096"/>
            <a:ext cx="206307" cy="6274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8" name="Straight Connector 41"/>
          <p:cNvCxnSpPr>
            <a:cxnSpLocks noChangeShapeType="1"/>
          </p:cNvCxnSpPr>
          <p:nvPr>
            <p:custDataLst>
              <p:tags r:id="rId9"/>
            </p:custDataLst>
          </p:nvPr>
        </p:nvCxnSpPr>
        <p:spPr bwMode="auto">
          <a:xfrm>
            <a:off x="2387050" y="4154041"/>
            <a:ext cx="372499" cy="24097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59" name="Straight Connector 58"/>
          <p:cNvCxnSpPr/>
          <p:nvPr/>
        </p:nvCxnSpPr>
        <p:spPr bwMode="auto">
          <a:xfrm>
            <a:off x="1223245" y="2446641"/>
            <a:ext cx="0" cy="1707074"/>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60" name="Straight Connector 59"/>
          <p:cNvCxnSpPr/>
          <p:nvPr/>
        </p:nvCxnSpPr>
        <p:spPr bwMode="auto">
          <a:xfrm>
            <a:off x="1219306" y="4153715"/>
            <a:ext cx="2004109" cy="0"/>
          </a:xfrm>
          <a:prstGeom prst="line">
            <a:avLst/>
          </a:prstGeom>
          <a:solidFill>
            <a:schemeClr val="accent1"/>
          </a:solidFill>
          <a:ln w="25400" cap="flat" cmpd="sng" algn="ctr">
            <a:solidFill>
              <a:schemeClr val="bg1"/>
            </a:solidFill>
            <a:prstDash val="solid"/>
            <a:round/>
            <a:headEnd type="none" w="med" len="med"/>
            <a:tailEnd type="oval" w="lg" len="lg"/>
          </a:ln>
          <a:effectLst/>
        </p:spPr>
      </p:cxnSp>
      <p:sp>
        <p:nvSpPr>
          <p:cNvPr id="61" name="Rectangle 60"/>
          <p:cNvSpPr/>
          <p:nvPr/>
        </p:nvSpPr>
        <p:spPr>
          <a:xfrm>
            <a:off x="611761" y="1797943"/>
            <a:ext cx="2749861" cy="630942"/>
          </a:xfrm>
          <a:prstGeom prst="rect">
            <a:avLst/>
          </a:prstGeom>
        </p:spPr>
        <p:txBody>
          <a:bodyPr wrap="square">
            <a:spAutoFit/>
          </a:bodyPr>
          <a:lstStyle/>
          <a:p>
            <a:pPr lvl="0"/>
            <a:r>
              <a:rPr lang="en-US" sz="1400" dirty="0">
                <a:solidFill>
                  <a:srgbClr val="FFFFFF"/>
                </a:solidFill>
              </a:rPr>
              <a:t>Cloud Manager</a:t>
            </a:r>
          </a:p>
          <a:p>
            <a:pPr lvl="0"/>
            <a:r>
              <a:rPr lang="en-US" sz="1400" dirty="0">
                <a:solidFill>
                  <a:srgbClr val="FFFFFF"/>
                </a:solidFill>
              </a:rPr>
              <a:t>Network Manager</a:t>
            </a:r>
          </a:p>
        </p:txBody>
      </p:sp>
      <p:cxnSp>
        <p:nvCxnSpPr>
          <p:cNvPr id="62" name="Straight Connector 61"/>
          <p:cNvCxnSpPr>
            <a:cxnSpLocks/>
          </p:cNvCxnSpPr>
          <p:nvPr/>
        </p:nvCxnSpPr>
        <p:spPr bwMode="auto">
          <a:xfrm>
            <a:off x="4929589" y="2711094"/>
            <a:ext cx="0" cy="1986399"/>
          </a:xfrm>
          <a:prstGeom prst="line">
            <a:avLst/>
          </a:prstGeom>
          <a:solidFill>
            <a:schemeClr val="accent1"/>
          </a:solidFill>
          <a:ln w="25400" cap="flat" cmpd="sng" algn="ctr">
            <a:solidFill>
              <a:schemeClr val="bg1"/>
            </a:solidFill>
            <a:prstDash val="solid"/>
            <a:round/>
            <a:headEnd type="none" w="med" len="med"/>
            <a:tailEnd type="oval" w="lg" len="lg"/>
          </a:ln>
          <a:effectLst/>
        </p:spPr>
      </p:cxnSp>
      <p:cxnSp>
        <p:nvCxnSpPr>
          <p:cNvPr id="63" name="Straight Connector 62"/>
          <p:cNvCxnSpPr>
            <a:cxnSpLocks/>
          </p:cNvCxnSpPr>
          <p:nvPr/>
        </p:nvCxnSpPr>
        <p:spPr bwMode="auto">
          <a:xfrm>
            <a:off x="8709342" y="2711094"/>
            <a:ext cx="0" cy="2655612"/>
          </a:xfrm>
          <a:prstGeom prst="line">
            <a:avLst/>
          </a:prstGeom>
          <a:solidFill>
            <a:schemeClr val="accent1"/>
          </a:solidFill>
          <a:ln w="25400" cap="flat" cmpd="sng" algn="ctr">
            <a:solidFill>
              <a:schemeClr val="bg1"/>
            </a:solidFill>
            <a:prstDash val="solid"/>
            <a:round/>
            <a:headEnd type="none" w="med" len="med"/>
            <a:tailEnd type="oval" w="lg" len="lg"/>
          </a:ln>
          <a:effectLst/>
        </p:spPr>
      </p:cxnSp>
      <p:cxnSp>
        <p:nvCxnSpPr>
          <p:cNvPr id="64" name="Straight Connector 63"/>
          <p:cNvCxnSpPr/>
          <p:nvPr/>
        </p:nvCxnSpPr>
        <p:spPr bwMode="auto">
          <a:xfrm>
            <a:off x="689084" y="2446641"/>
            <a:ext cx="1739198"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sp>
        <p:nvSpPr>
          <p:cNvPr id="65" name="Rectangle 64"/>
          <p:cNvSpPr/>
          <p:nvPr/>
        </p:nvSpPr>
        <p:spPr>
          <a:xfrm>
            <a:off x="4021009" y="1747277"/>
            <a:ext cx="2680486" cy="954107"/>
          </a:xfrm>
          <a:prstGeom prst="rect">
            <a:avLst/>
          </a:prstGeom>
        </p:spPr>
        <p:txBody>
          <a:bodyPr wrap="square">
            <a:spAutoFit/>
          </a:bodyPr>
          <a:lstStyle/>
          <a:p>
            <a:r>
              <a:rPr lang="en-US" sz="1400" dirty="0">
                <a:solidFill>
                  <a:srgbClr val="FFFFFF"/>
                </a:solidFill>
              </a:rPr>
              <a:t>vIMS</a:t>
            </a:r>
          </a:p>
          <a:p>
            <a:r>
              <a:rPr lang="en-US" sz="1400" dirty="0">
                <a:solidFill>
                  <a:srgbClr val="FFFFFF"/>
                </a:solidFill>
              </a:rPr>
              <a:t>Unified Data Management</a:t>
            </a:r>
          </a:p>
          <a:p>
            <a:pPr lvl="0"/>
            <a:r>
              <a:rPr lang="en-US" sz="1400" dirty="0">
                <a:solidFill>
                  <a:srgbClr val="FFFFFF"/>
                </a:solidFill>
                <a:ea typeface="Arial Hebrew" charset="0"/>
                <a:cs typeface="Arial Hebrew" charset="0"/>
              </a:rPr>
              <a:t>5G </a:t>
            </a:r>
            <a:r>
              <a:rPr lang="en-US" sz="1400" dirty="0" err="1">
                <a:solidFill>
                  <a:srgbClr val="FFFFFF"/>
                </a:solidFill>
                <a:ea typeface="Arial Hebrew" charset="0"/>
                <a:cs typeface="Arial Hebrew" charset="0"/>
              </a:rPr>
              <a:t>vEPC</a:t>
            </a:r>
            <a:endParaRPr lang="en-US" sz="1400" dirty="0">
              <a:solidFill>
                <a:srgbClr val="FFFFFF"/>
              </a:solidFill>
              <a:ea typeface="Arial Hebrew" charset="0"/>
              <a:cs typeface="Arial Hebrew" charset="0"/>
            </a:endParaRPr>
          </a:p>
        </p:txBody>
      </p:sp>
      <p:sp>
        <p:nvSpPr>
          <p:cNvPr id="66" name="Rectangle 65"/>
          <p:cNvSpPr/>
          <p:nvPr/>
        </p:nvSpPr>
        <p:spPr>
          <a:xfrm>
            <a:off x="7806450" y="1750993"/>
            <a:ext cx="3367860" cy="1277273"/>
          </a:xfrm>
          <a:prstGeom prst="rect">
            <a:avLst/>
          </a:prstGeom>
        </p:spPr>
        <p:txBody>
          <a:bodyPr wrap="square">
            <a:spAutoFit/>
          </a:bodyPr>
          <a:lstStyle/>
          <a:p>
            <a:pPr lvl="0"/>
            <a:r>
              <a:rPr lang="en-US" sz="1400" dirty="0">
                <a:solidFill>
                  <a:srgbClr val="FFFFFF"/>
                </a:solidFill>
                <a:ea typeface="Arial Hebrew" charset="0"/>
                <a:cs typeface="Arial Hebrew" charset="0"/>
              </a:rPr>
              <a:t>Cloud Execution Environment</a:t>
            </a:r>
          </a:p>
          <a:p>
            <a:pPr lvl="0"/>
            <a:r>
              <a:rPr lang="en-US" sz="1400" dirty="0">
                <a:solidFill>
                  <a:srgbClr val="FFFFFF"/>
                </a:solidFill>
                <a:ea typeface="Arial Hebrew" charset="0"/>
                <a:cs typeface="Arial Hebrew" charset="0"/>
              </a:rPr>
              <a:t>Blade Server Platform 8000</a:t>
            </a:r>
          </a:p>
          <a:p>
            <a:r>
              <a:rPr lang="en-US" sz="1400" dirty="0">
                <a:solidFill>
                  <a:srgbClr val="FFFFFF"/>
                </a:solidFill>
                <a:ea typeface="Arial Hebrew" charset="0"/>
                <a:cs typeface="Arial Hebrew" charset="0"/>
              </a:rPr>
              <a:t>Hyperscale Datacenter System 8000</a:t>
            </a:r>
          </a:p>
          <a:p>
            <a:pPr lvl="0"/>
            <a:endParaRPr lang="en-US" sz="1400" dirty="0">
              <a:solidFill>
                <a:srgbClr val="FFFFFF"/>
              </a:solidFill>
              <a:ea typeface="Arial Hebrew" charset="0"/>
              <a:cs typeface="Arial Hebrew" charset="0"/>
            </a:endParaRPr>
          </a:p>
        </p:txBody>
      </p:sp>
      <p:cxnSp>
        <p:nvCxnSpPr>
          <p:cNvPr id="67" name="Straight Connector 66"/>
          <p:cNvCxnSpPr/>
          <p:nvPr/>
        </p:nvCxnSpPr>
        <p:spPr bwMode="auto">
          <a:xfrm>
            <a:off x="7871175" y="2711201"/>
            <a:ext cx="1739198"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cxnSp>
        <p:nvCxnSpPr>
          <p:cNvPr id="68" name="Straight Connector 67"/>
          <p:cNvCxnSpPr/>
          <p:nvPr/>
        </p:nvCxnSpPr>
        <p:spPr bwMode="auto">
          <a:xfrm>
            <a:off x="4059990" y="2711094"/>
            <a:ext cx="1739198"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spTree>
    <p:custDataLst>
      <p:tags r:id="rId1"/>
    </p:custDataLst>
    <p:extLst>
      <p:ext uri="{BB962C8B-B14F-4D97-AF65-F5344CB8AC3E}">
        <p14:creationId xmlns:p14="http://schemas.microsoft.com/office/powerpoint/2010/main" val="352505548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ice, SIP signaling and other traffic in Option 3x</a:t>
            </a:r>
          </a:p>
        </p:txBody>
      </p:sp>
      <p:grpSp>
        <p:nvGrpSpPr>
          <p:cNvPr id="4" name="Group 3"/>
          <p:cNvGrpSpPr/>
          <p:nvPr/>
        </p:nvGrpSpPr>
        <p:grpSpPr>
          <a:xfrm>
            <a:off x="1187086" y="2043134"/>
            <a:ext cx="774025" cy="1016433"/>
            <a:chOff x="4338871" y="2725624"/>
            <a:chExt cx="1199053" cy="1626215"/>
          </a:xfrm>
        </p:grpSpPr>
        <p:sp>
          <p:nvSpPr>
            <p:cNvPr id="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MME</a:t>
              </a:r>
            </a:p>
          </p:txBody>
        </p:sp>
        <p:sp>
          <p:nvSpPr>
            <p:cNvPr id="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 name="Group 10"/>
          <p:cNvGrpSpPr/>
          <p:nvPr/>
        </p:nvGrpSpPr>
        <p:grpSpPr>
          <a:xfrm>
            <a:off x="1178014" y="3828979"/>
            <a:ext cx="764409" cy="937085"/>
            <a:chOff x="936376" y="2900085"/>
            <a:chExt cx="864096" cy="1240668"/>
          </a:xfrm>
        </p:grpSpPr>
        <p:sp>
          <p:nvSpPr>
            <p:cNvPr id="12"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3"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4"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LTE</a:t>
              </a:r>
              <a:b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b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RAN</a:t>
              </a:r>
            </a:p>
          </p:txBody>
        </p:sp>
        <p:sp>
          <p:nvSpPr>
            <p:cNvPr id="15"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6"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17" name="Elbow Connector 59"/>
          <p:cNvCxnSpPr>
            <a:cxnSpLocks/>
          </p:cNvCxnSpPr>
          <p:nvPr/>
        </p:nvCxnSpPr>
        <p:spPr bwMode="auto">
          <a:xfrm flipV="1">
            <a:off x="1558111" y="3035431"/>
            <a:ext cx="0" cy="756112"/>
          </a:xfrm>
          <a:prstGeom prst="straightConnector1">
            <a:avLst/>
          </a:prstGeom>
          <a:noFill/>
          <a:ln w="28575">
            <a:solidFill>
              <a:schemeClr val="bg1">
                <a:lumMod val="50000"/>
              </a:schemeClr>
            </a:solidFill>
            <a:prstDash val="dash"/>
            <a:round/>
            <a:headEnd/>
            <a:tailEnd/>
          </a:ln>
        </p:spPr>
      </p:cxnSp>
      <p:grpSp>
        <p:nvGrpSpPr>
          <p:cNvPr id="18" name="Group 17"/>
          <p:cNvGrpSpPr/>
          <p:nvPr/>
        </p:nvGrpSpPr>
        <p:grpSpPr>
          <a:xfrm>
            <a:off x="2420123" y="2051703"/>
            <a:ext cx="774025" cy="1016433"/>
            <a:chOff x="4338871" y="2725624"/>
            <a:chExt cx="1199053" cy="1626215"/>
          </a:xfrm>
        </p:grpSpPr>
        <p:sp>
          <p:nvSpPr>
            <p:cNvPr id="1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S-GW</a:t>
              </a:r>
            </a:p>
          </p:txBody>
        </p:sp>
        <p:sp>
          <p:nvSpPr>
            <p:cNvPr id="2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5" name="Text Box 144"/>
          <p:cNvSpPr txBox="1">
            <a:spLocks noChangeAspect="1" noChangeArrowheads="1"/>
          </p:cNvSpPr>
          <p:nvPr/>
        </p:nvSpPr>
        <p:spPr bwMode="auto">
          <a:xfrm>
            <a:off x="2055411" y="3527001"/>
            <a:ext cx="736437"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U</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sp>
        <p:nvSpPr>
          <p:cNvPr id="26" name="Text Box 144"/>
          <p:cNvSpPr txBox="1">
            <a:spLocks noChangeAspect="1" noChangeArrowheads="1"/>
          </p:cNvSpPr>
          <p:nvPr/>
        </p:nvSpPr>
        <p:spPr bwMode="auto">
          <a:xfrm>
            <a:off x="603094" y="3792181"/>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C</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grpSp>
        <p:nvGrpSpPr>
          <p:cNvPr id="27" name="Group 26"/>
          <p:cNvGrpSpPr/>
          <p:nvPr/>
        </p:nvGrpSpPr>
        <p:grpSpPr>
          <a:xfrm>
            <a:off x="2413101" y="3804944"/>
            <a:ext cx="764409" cy="937085"/>
            <a:chOff x="936376" y="2900085"/>
            <a:chExt cx="864096" cy="1240668"/>
          </a:xfrm>
        </p:grpSpPr>
        <p:sp>
          <p:nvSpPr>
            <p:cNvPr id="28"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9"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0"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lang="en-US" altLang="en-US" sz="1600" kern="0" dirty="0">
                  <a:ea typeface="Segoe UI" panose="020B0502040204020203" pitchFamily="34" charset="0"/>
                  <a:cs typeface="Arial" panose="020B0604020202020204" pitchFamily="34" charset="0"/>
                </a:rPr>
                <a:t>NR</a:t>
              </a:r>
              <a:endPar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endParaRPr>
            </a:p>
          </p:txBody>
        </p:sp>
        <p:sp>
          <p:nvSpPr>
            <p:cNvPr id="31"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2"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33" name="Connector: Elbow 27"/>
          <p:cNvCxnSpPr>
            <a:cxnSpLocks/>
          </p:cNvCxnSpPr>
          <p:nvPr/>
        </p:nvCxnSpPr>
        <p:spPr bwMode="auto">
          <a:xfrm>
            <a:off x="1929788" y="4357761"/>
            <a:ext cx="481207" cy="0"/>
          </a:xfrm>
          <a:prstGeom prst="straightConnector1">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34" name="Text Box 144"/>
          <p:cNvSpPr txBox="1">
            <a:spLocks noChangeAspect="1" noChangeArrowheads="1"/>
          </p:cNvSpPr>
          <p:nvPr/>
        </p:nvSpPr>
        <p:spPr bwMode="auto">
          <a:xfrm>
            <a:off x="1802172" y="4184837"/>
            <a:ext cx="736437"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X2</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cxnSp>
        <p:nvCxnSpPr>
          <p:cNvPr id="35" name="Connector: Elbow 27"/>
          <p:cNvCxnSpPr>
            <a:cxnSpLocks/>
          </p:cNvCxnSpPr>
          <p:nvPr/>
        </p:nvCxnSpPr>
        <p:spPr bwMode="auto">
          <a:xfrm flipV="1">
            <a:off x="2758839" y="3059567"/>
            <a:ext cx="456" cy="698342"/>
          </a:xfrm>
          <a:prstGeom prst="straightConnector1">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36" name="TextBox 35"/>
          <p:cNvSpPr txBox="1"/>
          <p:nvPr/>
        </p:nvSpPr>
        <p:spPr>
          <a:xfrm>
            <a:off x="4464915" y="5769539"/>
            <a:ext cx="8201704" cy="400110"/>
          </a:xfrm>
          <a:prstGeom prst="rect">
            <a:avLst/>
          </a:prstGeom>
          <a:noFill/>
        </p:spPr>
        <p:txBody>
          <a:bodyPr wrap="square" rtlCol="0">
            <a:spAutoFit/>
          </a:bodyPr>
          <a:lstStyle/>
          <a:p>
            <a:r>
              <a:rPr lang="sv-SE" kern="0" dirty="0"/>
              <a:t>Voice (QCI=1) and SIP </a:t>
            </a:r>
            <a:r>
              <a:rPr lang="sv-SE" kern="0" dirty="0" err="1"/>
              <a:t>signalling</a:t>
            </a:r>
            <a:r>
              <a:rPr lang="sv-SE" kern="0" dirty="0"/>
              <a:t> (QCI=5) </a:t>
            </a:r>
          </a:p>
        </p:txBody>
      </p:sp>
      <p:sp>
        <p:nvSpPr>
          <p:cNvPr id="37" name="Line 7"/>
          <p:cNvSpPr>
            <a:spLocks noChangeShapeType="1"/>
          </p:cNvSpPr>
          <p:nvPr/>
        </p:nvSpPr>
        <p:spPr bwMode="auto">
          <a:xfrm>
            <a:off x="1606467" y="4755251"/>
            <a:ext cx="0" cy="339244"/>
          </a:xfrm>
          <a:prstGeom prst="line">
            <a:avLst/>
          </a:prstGeom>
          <a:noFill/>
          <a:ln w="19050">
            <a:solidFill>
              <a:srgbClr val="8F3F7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8" name="Line 7"/>
          <p:cNvSpPr>
            <a:spLocks noChangeShapeType="1"/>
          </p:cNvSpPr>
          <p:nvPr/>
        </p:nvSpPr>
        <p:spPr bwMode="auto">
          <a:xfrm>
            <a:off x="1490634" y="4766064"/>
            <a:ext cx="0" cy="334293"/>
          </a:xfrm>
          <a:prstGeom prst="line">
            <a:avLst/>
          </a:prstGeom>
          <a:noFill/>
          <a:ln w="19050">
            <a:solidFill>
              <a:srgbClr val="8F3F7B"/>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39" name="Freeform 36"/>
          <p:cNvSpPr>
            <a:spLocks noChangeAspect="1" noEditPoints="1"/>
          </p:cNvSpPr>
          <p:nvPr/>
        </p:nvSpPr>
        <p:spPr bwMode="auto">
          <a:xfrm>
            <a:off x="1446699" y="5097629"/>
            <a:ext cx="222824" cy="45356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Shape 39"/>
          <p:cNvSpPr/>
          <p:nvPr/>
        </p:nvSpPr>
        <p:spPr bwMode="auto">
          <a:xfrm>
            <a:off x="1578364" y="1566699"/>
            <a:ext cx="1317961" cy="3511687"/>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2594305 h 3314700"/>
              <a:gd name="connsiteX2" fmla="*/ 203200 w 1435100"/>
              <a:gd name="connsiteY2" fmla="*/ 2159000 h 3314700"/>
              <a:gd name="connsiteX3" fmla="*/ 0 w 1435100"/>
              <a:gd name="connsiteY3" fmla="*/ 3314700 h 3314700"/>
              <a:gd name="connsiteX0" fmla="*/ 1455834 w 1455834"/>
              <a:gd name="connsiteY0" fmla="*/ 0 h 3314700"/>
              <a:gd name="connsiteX1" fmla="*/ 1290734 w 1455834"/>
              <a:gd name="connsiteY1" fmla="*/ 2594305 h 3314700"/>
              <a:gd name="connsiteX2" fmla="*/ 91169 w 1455834"/>
              <a:gd name="connsiteY2" fmla="*/ 2734442 h 3314700"/>
              <a:gd name="connsiteX3" fmla="*/ 20734 w 1455834"/>
              <a:gd name="connsiteY3" fmla="*/ 3314700 h 3314700"/>
              <a:gd name="connsiteX0" fmla="*/ 1440286 w 1440286"/>
              <a:gd name="connsiteY0" fmla="*/ 0 h 3459042"/>
              <a:gd name="connsiteX1" fmla="*/ 1275186 w 1440286"/>
              <a:gd name="connsiteY1" fmla="*/ 2594305 h 3459042"/>
              <a:gd name="connsiteX2" fmla="*/ 75621 w 1440286"/>
              <a:gd name="connsiteY2" fmla="*/ 2734442 h 3459042"/>
              <a:gd name="connsiteX3" fmla="*/ 78717 w 1440286"/>
              <a:gd name="connsiteY3" fmla="*/ 3459042 h 3459042"/>
              <a:gd name="connsiteX0" fmla="*/ 1377786 w 1377786"/>
              <a:gd name="connsiteY0" fmla="*/ 0 h 3459042"/>
              <a:gd name="connsiteX1" fmla="*/ 1212686 w 1377786"/>
              <a:gd name="connsiteY1" fmla="*/ 2594305 h 3459042"/>
              <a:gd name="connsiteX2" fmla="*/ 92779 w 1377786"/>
              <a:gd name="connsiteY2" fmla="*/ 2797952 h 3459042"/>
              <a:gd name="connsiteX3" fmla="*/ 16217 w 1377786"/>
              <a:gd name="connsiteY3" fmla="*/ 3459042 h 3459042"/>
            </a:gdLst>
            <a:ahLst/>
            <a:cxnLst>
              <a:cxn ang="0">
                <a:pos x="connsiteX0" y="connsiteY0"/>
              </a:cxn>
              <a:cxn ang="0">
                <a:pos x="connsiteX1" y="connsiteY1"/>
              </a:cxn>
              <a:cxn ang="0">
                <a:pos x="connsiteX2" y="connsiteY2"/>
              </a:cxn>
              <a:cxn ang="0">
                <a:pos x="connsiteX3" y="connsiteY3"/>
              </a:cxn>
            </a:cxnLst>
            <a:rect l="l" t="t" r="r" b="b"/>
            <a:pathLst>
              <a:path w="1377786" h="3459042">
                <a:moveTo>
                  <a:pt x="1377786" y="0"/>
                </a:moveTo>
                <a:cubicBezTo>
                  <a:pt x="1259253" y="190500"/>
                  <a:pt x="1426854" y="2127980"/>
                  <a:pt x="1212686" y="2594305"/>
                </a:cubicBezTo>
                <a:cubicBezTo>
                  <a:pt x="998518" y="3060630"/>
                  <a:pt x="304446" y="2677886"/>
                  <a:pt x="92779" y="2797952"/>
                </a:cubicBezTo>
                <a:cubicBezTo>
                  <a:pt x="-118888" y="2918018"/>
                  <a:pt x="111467" y="3454809"/>
                  <a:pt x="16217" y="3459042"/>
                </a:cubicBezTo>
              </a:path>
            </a:pathLst>
          </a:custGeom>
          <a:noFill/>
          <a:ln w="25400" cap="flat" cmpd="sng" algn="ctr">
            <a:solidFill>
              <a:srgbClr val="0070C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41" name="Freeform: Shape 40"/>
          <p:cNvSpPr/>
          <p:nvPr/>
        </p:nvSpPr>
        <p:spPr bwMode="auto">
          <a:xfrm>
            <a:off x="3875922" y="5963899"/>
            <a:ext cx="496486" cy="12348"/>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2594305 h 3314700"/>
              <a:gd name="connsiteX2" fmla="*/ 203200 w 1435100"/>
              <a:gd name="connsiteY2" fmla="*/ 2159000 h 3314700"/>
              <a:gd name="connsiteX3" fmla="*/ 0 w 1435100"/>
              <a:gd name="connsiteY3" fmla="*/ 3314700 h 3314700"/>
              <a:gd name="connsiteX0" fmla="*/ 1455834 w 1455834"/>
              <a:gd name="connsiteY0" fmla="*/ 0 h 3314700"/>
              <a:gd name="connsiteX1" fmla="*/ 1290734 w 1455834"/>
              <a:gd name="connsiteY1" fmla="*/ 2594305 h 3314700"/>
              <a:gd name="connsiteX2" fmla="*/ 91169 w 1455834"/>
              <a:gd name="connsiteY2" fmla="*/ 2734442 h 3314700"/>
              <a:gd name="connsiteX3" fmla="*/ 20734 w 1455834"/>
              <a:gd name="connsiteY3" fmla="*/ 3314700 h 3314700"/>
              <a:gd name="connsiteX0" fmla="*/ 1455834 w 1455834"/>
              <a:gd name="connsiteY0" fmla="*/ 0 h 3314700"/>
              <a:gd name="connsiteX1" fmla="*/ 91169 w 1455834"/>
              <a:gd name="connsiteY1" fmla="*/ 2734442 h 3314700"/>
              <a:gd name="connsiteX2" fmla="*/ 20734 w 1455834"/>
              <a:gd name="connsiteY2" fmla="*/ 3314700 h 3314700"/>
              <a:gd name="connsiteX0" fmla="*/ 1435100 w 1435100"/>
              <a:gd name="connsiteY0" fmla="*/ 0 h 3314700"/>
              <a:gd name="connsiteX1" fmla="*/ 0 w 1435100"/>
              <a:gd name="connsiteY1" fmla="*/ 3314700 h 3314700"/>
              <a:gd name="connsiteX0" fmla="*/ 372981 w 372981"/>
              <a:gd name="connsiteY0" fmla="*/ 0 h 812778"/>
              <a:gd name="connsiteX1" fmla="*/ 0 w 372981"/>
              <a:gd name="connsiteY1" fmla="*/ 812778 h 812778"/>
              <a:gd name="connsiteX0" fmla="*/ 519022 w 519022"/>
              <a:gd name="connsiteY0" fmla="*/ 0 h 12163"/>
              <a:gd name="connsiteX1" fmla="*/ 0 w 519022"/>
              <a:gd name="connsiteY1" fmla="*/ 12163 h 12163"/>
            </a:gdLst>
            <a:ahLst/>
            <a:cxnLst>
              <a:cxn ang="0">
                <a:pos x="connsiteX0" y="connsiteY0"/>
              </a:cxn>
              <a:cxn ang="0">
                <a:pos x="connsiteX1" y="connsiteY1"/>
              </a:cxn>
            </a:cxnLst>
            <a:rect l="l" t="t" r="r" b="b"/>
            <a:pathLst>
              <a:path w="519022" h="12163">
                <a:moveTo>
                  <a:pt x="519022" y="0"/>
                </a:moveTo>
                <a:lnTo>
                  <a:pt x="0" y="12163"/>
                </a:lnTo>
              </a:path>
            </a:pathLst>
          </a:custGeom>
          <a:noFill/>
          <a:ln w="25400" cap="flat" cmpd="sng" algn="ctr">
            <a:solidFill>
              <a:srgbClr val="0070C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42" name="TextBox 41"/>
          <p:cNvSpPr txBox="1"/>
          <p:nvPr/>
        </p:nvSpPr>
        <p:spPr>
          <a:xfrm>
            <a:off x="4457122" y="6134970"/>
            <a:ext cx="6298442" cy="400110"/>
          </a:xfrm>
          <a:prstGeom prst="rect">
            <a:avLst/>
          </a:prstGeom>
          <a:noFill/>
        </p:spPr>
        <p:txBody>
          <a:bodyPr wrap="square" rtlCol="0">
            <a:spAutoFit/>
          </a:bodyPr>
          <a:lstStyle/>
          <a:p>
            <a:r>
              <a:rPr lang="sv-SE" kern="0" dirty="0" err="1"/>
              <a:t>Other</a:t>
            </a:r>
            <a:r>
              <a:rPr lang="sv-SE" kern="0" dirty="0"/>
              <a:t> </a:t>
            </a:r>
            <a:r>
              <a:rPr lang="sv-SE" kern="0" dirty="0" err="1"/>
              <a:t>traffic</a:t>
            </a:r>
            <a:r>
              <a:rPr lang="sv-SE" kern="0" dirty="0"/>
              <a:t> (QCI=7/8/9)</a:t>
            </a:r>
            <a:endParaRPr lang="en-US" dirty="0"/>
          </a:p>
        </p:txBody>
      </p:sp>
      <p:sp>
        <p:nvSpPr>
          <p:cNvPr id="43" name="Freeform: Shape 42"/>
          <p:cNvSpPr/>
          <p:nvPr/>
        </p:nvSpPr>
        <p:spPr bwMode="auto">
          <a:xfrm>
            <a:off x="3904719" y="6312324"/>
            <a:ext cx="496486" cy="12348"/>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2594305 h 3314700"/>
              <a:gd name="connsiteX2" fmla="*/ 203200 w 1435100"/>
              <a:gd name="connsiteY2" fmla="*/ 2159000 h 3314700"/>
              <a:gd name="connsiteX3" fmla="*/ 0 w 1435100"/>
              <a:gd name="connsiteY3" fmla="*/ 3314700 h 3314700"/>
              <a:gd name="connsiteX0" fmla="*/ 1455834 w 1455834"/>
              <a:gd name="connsiteY0" fmla="*/ 0 h 3314700"/>
              <a:gd name="connsiteX1" fmla="*/ 1290734 w 1455834"/>
              <a:gd name="connsiteY1" fmla="*/ 2594305 h 3314700"/>
              <a:gd name="connsiteX2" fmla="*/ 91169 w 1455834"/>
              <a:gd name="connsiteY2" fmla="*/ 2734442 h 3314700"/>
              <a:gd name="connsiteX3" fmla="*/ 20734 w 1455834"/>
              <a:gd name="connsiteY3" fmla="*/ 3314700 h 3314700"/>
              <a:gd name="connsiteX0" fmla="*/ 1455834 w 1455834"/>
              <a:gd name="connsiteY0" fmla="*/ 0 h 3314700"/>
              <a:gd name="connsiteX1" fmla="*/ 91169 w 1455834"/>
              <a:gd name="connsiteY1" fmla="*/ 2734442 h 3314700"/>
              <a:gd name="connsiteX2" fmla="*/ 20734 w 1455834"/>
              <a:gd name="connsiteY2" fmla="*/ 3314700 h 3314700"/>
              <a:gd name="connsiteX0" fmla="*/ 1435100 w 1435100"/>
              <a:gd name="connsiteY0" fmla="*/ 0 h 3314700"/>
              <a:gd name="connsiteX1" fmla="*/ 0 w 1435100"/>
              <a:gd name="connsiteY1" fmla="*/ 3314700 h 3314700"/>
              <a:gd name="connsiteX0" fmla="*/ 372981 w 372981"/>
              <a:gd name="connsiteY0" fmla="*/ 0 h 812778"/>
              <a:gd name="connsiteX1" fmla="*/ 0 w 372981"/>
              <a:gd name="connsiteY1" fmla="*/ 812778 h 812778"/>
              <a:gd name="connsiteX0" fmla="*/ 519022 w 519022"/>
              <a:gd name="connsiteY0" fmla="*/ 0 h 12163"/>
              <a:gd name="connsiteX1" fmla="*/ 0 w 519022"/>
              <a:gd name="connsiteY1" fmla="*/ 12163 h 12163"/>
            </a:gdLst>
            <a:ahLst/>
            <a:cxnLst>
              <a:cxn ang="0">
                <a:pos x="connsiteX0" y="connsiteY0"/>
              </a:cxn>
              <a:cxn ang="0">
                <a:pos x="connsiteX1" y="connsiteY1"/>
              </a:cxn>
            </a:cxnLst>
            <a:rect l="l" t="t" r="r" b="b"/>
            <a:pathLst>
              <a:path w="519022" h="12163">
                <a:moveTo>
                  <a:pt x="519022" y="0"/>
                </a:moveTo>
                <a:lnTo>
                  <a:pt x="0" y="12163"/>
                </a:lnTo>
              </a:path>
            </a:pathLst>
          </a:custGeom>
          <a:noFill/>
          <a:ln w="25400" cap="flat" cmpd="sng" algn="ctr">
            <a:solidFill>
              <a:srgbClr val="92D05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44" name="Freeform: Shape 43"/>
          <p:cNvSpPr/>
          <p:nvPr/>
        </p:nvSpPr>
        <p:spPr bwMode="auto">
          <a:xfrm>
            <a:off x="1663960" y="1854520"/>
            <a:ext cx="1484155" cy="3300671"/>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1174338 w 1435100"/>
              <a:gd name="connsiteY3" fmla="*/ 2562487 h 3314700"/>
              <a:gd name="connsiteX4" fmla="*/ 0 w 1435100"/>
              <a:gd name="connsiteY4" fmla="*/ 3314700 h 3314700"/>
              <a:gd name="connsiteX0" fmla="*/ 1435100 w 1435100"/>
              <a:gd name="connsiteY0" fmla="*/ 0 h 3314700"/>
              <a:gd name="connsiteX1" fmla="*/ 1270000 w 1435100"/>
              <a:gd name="connsiteY1" fmla="*/ 1155700 h 3314700"/>
              <a:gd name="connsiteX2" fmla="*/ 1159107 w 1435100"/>
              <a:gd name="connsiteY2" fmla="*/ 1989305 h 3314700"/>
              <a:gd name="connsiteX3" fmla="*/ 1174338 w 1435100"/>
              <a:gd name="connsiteY3" fmla="*/ 2562487 h 3314700"/>
              <a:gd name="connsiteX4" fmla="*/ 0 w 1435100"/>
              <a:gd name="connsiteY4" fmla="*/ 3314700 h 3314700"/>
              <a:gd name="connsiteX0" fmla="*/ 1435100 w 1435100"/>
              <a:gd name="connsiteY0" fmla="*/ 0 h 3314700"/>
              <a:gd name="connsiteX1" fmla="*/ 1270000 w 1435100"/>
              <a:gd name="connsiteY1" fmla="*/ 1155700 h 3314700"/>
              <a:gd name="connsiteX2" fmla="*/ 1174338 w 1435100"/>
              <a:gd name="connsiteY2" fmla="*/ 2562487 h 3314700"/>
              <a:gd name="connsiteX3" fmla="*/ 0 w 1435100"/>
              <a:gd name="connsiteY3" fmla="*/ 3314700 h 3314700"/>
              <a:gd name="connsiteX0" fmla="*/ 1551524 w 1551524"/>
              <a:gd name="connsiteY0" fmla="*/ 0 h 3251190"/>
              <a:gd name="connsiteX1" fmla="*/ 1386424 w 1551524"/>
              <a:gd name="connsiteY1" fmla="*/ 1155700 h 3251190"/>
              <a:gd name="connsiteX2" fmla="*/ 1290762 w 1551524"/>
              <a:gd name="connsiteY2" fmla="*/ 2562487 h 3251190"/>
              <a:gd name="connsiteX3" fmla="*/ 0 w 1551524"/>
              <a:gd name="connsiteY3" fmla="*/ 3251190 h 3251190"/>
            </a:gdLst>
            <a:ahLst/>
            <a:cxnLst>
              <a:cxn ang="0">
                <a:pos x="connsiteX0" y="connsiteY0"/>
              </a:cxn>
              <a:cxn ang="0">
                <a:pos x="connsiteX1" y="connsiteY1"/>
              </a:cxn>
              <a:cxn ang="0">
                <a:pos x="connsiteX2" y="connsiteY2"/>
              </a:cxn>
              <a:cxn ang="0">
                <a:pos x="connsiteX3" y="connsiteY3"/>
              </a:cxn>
            </a:cxnLst>
            <a:rect l="l" t="t" r="r" b="b"/>
            <a:pathLst>
              <a:path w="1551524" h="3251190">
                <a:moveTo>
                  <a:pt x="1551524" y="0"/>
                </a:moveTo>
                <a:cubicBezTo>
                  <a:pt x="1432991" y="190500"/>
                  <a:pt x="1429884" y="728619"/>
                  <a:pt x="1386424" y="1155700"/>
                </a:cubicBezTo>
                <a:cubicBezTo>
                  <a:pt x="1342964" y="1582781"/>
                  <a:pt x="1502429" y="2202654"/>
                  <a:pt x="1290762" y="2562487"/>
                </a:cubicBezTo>
                <a:cubicBezTo>
                  <a:pt x="1256895" y="2755104"/>
                  <a:pt x="15625" y="3114943"/>
                  <a:pt x="0" y="3251190"/>
                </a:cubicBezTo>
              </a:path>
            </a:pathLst>
          </a:custGeom>
          <a:noFill/>
          <a:ln w="25400" cap="flat" cmpd="sng" algn="ctr">
            <a:solidFill>
              <a:srgbClr val="92D05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cxnSp>
        <p:nvCxnSpPr>
          <p:cNvPr id="45" name="Straight Connector 44"/>
          <p:cNvCxnSpPr/>
          <p:nvPr/>
        </p:nvCxnSpPr>
        <p:spPr bwMode="auto">
          <a:xfrm flipH="1">
            <a:off x="10099434" y="6020235"/>
            <a:ext cx="364436" cy="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46" name="Straight Connector 45"/>
          <p:cNvCxnSpPr/>
          <p:nvPr/>
        </p:nvCxnSpPr>
        <p:spPr bwMode="auto">
          <a:xfrm flipH="1">
            <a:off x="10095909" y="6268380"/>
            <a:ext cx="364436" cy="1"/>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47" name="TextBox 46"/>
          <p:cNvSpPr txBox="1"/>
          <p:nvPr/>
        </p:nvSpPr>
        <p:spPr>
          <a:xfrm>
            <a:off x="10517719" y="5839836"/>
            <a:ext cx="1611373" cy="338554"/>
          </a:xfrm>
          <a:prstGeom prst="rect">
            <a:avLst/>
          </a:prstGeom>
          <a:noFill/>
        </p:spPr>
        <p:txBody>
          <a:bodyPr wrap="square" rtlCol="0">
            <a:spAutoFit/>
          </a:bodyPr>
          <a:lstStyle/>
          <a:p>
            <a:r>
              <a:rPr lang="en-US" sz="1600" b="1" dirty="0"/>
              <a:t>Control plane</a:t>
            </a:r>
          </a:p>
        </p:txBody>
      </p:sp>
      <p:sp>
        <p:nvSpPr>
          <p:cNvPr id="48" name="TextBox 47"/>
          <p:cNvSpPr txBox="1"/>
          <p:nvPr/>
        </p:nvSpPr>
        <p:spPr>
          <a:xfrm>
            <a:off x="10493560" y="6108649"/>
            <a:ext cx="1611373" cy="338554"/>
          </a:xfrm>
          <a:prstGeom prst="rect">
            <a:avLst/>
          </a:prstGeom>
          <a:noFill/>
        </p:spPr>
        <p:txBody>
          <a:bodyPr wrap="square" rtlCol="0">
            <a:spAutoFit/>
          </a:bodyPr>
          <a:lstStyle/>
          <a:p>
            <a:r>
              <a:rPr lang="en-US" sz="1600" b="1" dirty="0"/>
              <a:t>User plane</a:t>
            </a:r>
          </a:p>
        </p:txBody>
      </p:sp>
      <p:sp>
        <p:nvSpPr>
          <p:cNvPr id="49" name="Line 7"/>
          <p:cNvSpPr>
            <a:spLocks noChangeShapeType="1"/>
          </p:cNvSpPr>
          <p:nvPr/>
        </p:nvSpPr>
        <p:spPr bwMode="auto">
          <a:xfrm flipH="1">
            <a:off x="1652250" y="4766065"/>
            <a:ext cx="1085004" cy="355331"/>
          </a:xfrm>
          <a:prstGeom prst="line">
            <a:avLst/>
          </a:prstGeom>
          <a:noFill/>
          <a:ln w="19050">
            <a:solidFill>
              <a:srgbClr val="8F3F7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TextBox 49"/>
          <p:cNvSpPr txBox="1"/>
          <p:nvPr/>
        </p:nvSpPr>
        <p:spPr>
          <a:xfrm>
            <a:off x="8671341" y="2020194"/>
            <a:ext cx="3578007" cy="400110"/>
          </a:xfrm>
          <a:prstGeom prst="rect">
            <a:avLst/>
          </a:prstGeom>
          <a:solidFill>
            <a:schemeClr val="bg1"/>
          </a:solidFill>
        </p:spPr>
        <p:txBody>
          <a:bodyPr wrap="square" rtlCol="0">
            <a:spAutoFit/>
          </a:bodyPr>
          <a:lstStyle/>
          <a:p>
            <a:endParaRPr lang="en-US" dirty="0"/>
          </a:p>
        </p:txBody>
      </p:sp>
      <p:grpSp>
        <p:nvGrpSpPr>
          <p:cNvPr id="51" name="Group 50"/>
          <p:cNvGrpSpPr/>
          <p:nvPr/>
        </p:nvGrpSpPr>
        <p:grpSpPr>
          <a:xfrm>
            <a:off x="4717024" y="1991944"/>
            <a:ext cx="774025" cy="1016433"/>
            <a:chOff x="4338871" y="2725624"/>
            <a:chExt cx="1199053" cy="1626215"/>
          </a:xfrm>
        </p:grpSpPr>
        <p:sp>
          <p:nvSpPr>
            <p:cNvPr id="5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5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5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5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MME</a:t>
              </a:r>
            </a:p>
          </p:txBody>
        </p:sp>
        <p:sp>
          <p:nvSpPr>
            <p:cNvPr id="5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5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8" name="Group 57"/>
          <p:cNvGrpSpPr/>
          <p:nvPr/>
        </p:nvGrpSpPr>
        <p:grpSpPr>
          <a:xfrm>
            <a:off x="4707952" y="3777789"/>
            <a:ext cx="764409" cy="937085"/>
            <a:chOff x="936376" y="2900085"/>
            <a:chExt cx="864096" cy="1240668"/>
          </a:xfrm>
        </p:grpSpPr>
        <p:sp>
          <p:nvSpPr>
            <p:cNvPr id="59"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60"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61"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LTE</a:t>
              </a:r>
              <a:b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b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RAN</a:t>
              </a:r>
            </a:p>
          </p:txBody>
        </p:sp>
        <p:sp>
          <p:nvSpPr>
            <p:cNvPr id="62"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63"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64" name="Elbow Connector 59"/>
          <p:cNvCxnSpPr>
            <a:cxnSpLocks/>
          </p:cNvCxnSpPr>
          <p:nvPr/>
        </p:nvCxnSpPr>
        <p:spPr bwMode="auto">
          <a:xfrm flipV="1">
            <a:off x="5088049" y="2984241"/>
            <a:ext cx="0" cy="756112"/>
          </a:xfrm>
          <a:prstGeom prst="straightConnector1">
            <a:avLst/>
          </a:prstGeom>
          <a:noFill/>
          <a:ln w="28575">
            <a:solidFill>
              <a:schemeClr val="bg1">
                <a:lumMod val="50000"/>
              </a:schemeClr>
            </a:solidFill>
            <a:prstDash val="dash"/>
            <a:round/>
            <a:headEnd/>
            <a:tailEnd/>
          </a:ln>
        </p:spPr>
      </p:cxnSp>
      <p:grpSp>
        <p:nvGrpSpPr>
          <p:cNvPr id="65" name="Group 64"/>
          <p:cNvGrpSpPr/>
          <p:nvPr/>
        </p:nvGrpSpPr>
        <p:grpSpPr>
          <a:xfrm>
            <a:off x="5950061" y="2000513"/>
            <a:ext cx="774025" cy="1016433"/>
            <a:chOff x="4338871" y="2725624"/>
            <a:chExt cx="1199053" cy="1626215"/>
          </a:xfrm>
        </p:grpSpPr>
        <p:sp>
          <p:nvSpPr>
            <p:cNvPr id="6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S-GW</a:t>
              </a:r>
            </a:p>
          </p:txBody>
        </p:sp>
        <p:sp>
          <p:nvSpPr>
            <p:cNvPr id="7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2" name="Text Box 144"/>
          <p:cNvSpPr txBox="1">
            <a:spLocks noChangeAspect="1" noChangeArrowheads="1"/>
          </p:cNvSpPr>
          <p:nvPr/>
        </p:nvSpPr>
        <p:spPr bwMode="auto">
          <a:xfrm>
            <a:off x="5585349" y="3475811"/>
            <a:ext cx="736437"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U</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sp>
        <p:nvSpPr>
          <p:cNvPr id="73" name="Text Box 144"/>
          <p:cNvSpPr txBox="1">
            <a:spLocks noChangeAspect="1" noChangeArrowheads="1"/>
          </p:cNvSpPr>
          <p:nvPr/>
        </p:nvSpPr>
        <p:spPr bwMode="auto">
          <a:xfrm>
            <a:off x="4133032" y="323132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C</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grpSp>
        <p:nvGrpSpPr>
          <p:cNvPr id="74" name="Group 73"/>
          <p:cNvGrpSpPr/>
          <p:nvPr/>
        </p:nvGrpSpPr>
        <p:grpSpPr>
          <a:xfrm>
            <a:off x="5943039" y="3753754"/>
            <a:ext cx="764409" cy="937085"/>
            <a:chOff x="936376" y="2900085"/>
            <a:chExt cx="864096" cy="1240668"/>
          </a:xfrm>
        </p:grpSpPr>
        <p:sp>
          <p:nvSpPr>
            <p:cNvPr id="75"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76"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77"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lang="en-US" altLang="en-US" sz="1600" kern="0" dirty="0">
                  <a:ea typeface="Segoe UI" panose="020B0502040204020203" pitchFamily="34" charset="0"/>
                  <a:cs typeface="Arial" panose="020B0604020202020204" pitchFamily="34" charset="0"/>
                </a:rPr>
                <a:t>NR</a:t>
              </a:r>
              <a:endPar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endParaRPr>
            </a:p>
          </p:txBody>
        </p:sp>
        <p:sp>
          <p:nvSpPr>
            <p:cNvPr id="78"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79"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80" name="Connector: Elbow 27"/>
          <p:cNvCxnSpPr>
            <a:cxnSpLocks/>
          </p:cNvCxnSpPr>
          <p:nvPr/>
        </p:nvCxnSpPr>
        <p:spPr bwMode="auto">
          <a:xfrm>
            <a:off x="5459726" y="4306571"/>
            <a:ext cx="481207" cy="0"/>
          </a:xfrm>
          <a:prstGeom prst="straightConnector1">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81" name="Text Box 144"/>
          <p:cNvSpPr txBox="1">
            <a:spLocks noChangeAspect="1" noChangeArrowheads="1"/>
          </p:cNvSpPr>
          <p:nvPr/>
        </p:nvSpPr>
        <p:spPr bwMode="auto">
          <a:xfrm>
            <a:off x="5332110" y="4133647"/>
            <a:ext cx="736437"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X2</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cxnSp>
        <p:nvCxnSpPr>
          <p:cNvPr id="82" name="Connector: Elbow 27"/>
          <p:cNvCxnSpPr>
            <a:cxnSpLocks/>
          </p:cNvCxnSpPr>
          <p:nvPr/>
        </p:nvCxnSpPr>
        <p:spPr bwMode="auto">
          <a:xfrm flipV="1">
            <a:off x="6288777" y="3008377"/>
            <a:ext cx="456" cy="698342"/>
          </a:xfrm>
          <a:prstGeom prst="straightConnector1">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83" name="Line 7"/>
          <p:cNvSpPr>
            <a:spLocks noChangeShapeType="1"/>
          </p:cNvSpPr>
          <p:nvPr/>
        </p:nvSpPr>
        <p:spPr bwMode="auto">
          <a:xfrm>
            <a:off x="5144566" y="4714874"/>
            <a:ext cx="11023" cy="347073"/>
          </a:xfrm>
          <a:prstGeom prst="line">
            <a:avLst/>
          </a:prstGeom>
          <a:noFill/>
          <a:ln w="19050">
            <a:solidFill>
              <a:srgbClr val="8F3F7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4" name="Line 7"/>
          <p:cNvSpPr>
            <a:spLocks noChangeShapeType="1"/>
          </p:cNvSpPr>
          <p:nvPr/>
        </p:nvSpPr>
        <p:spPr bwMode="auto">
          <a:xfrm>
            <a:off x="5032655" y="4714184"/>
            <a:ext cx="0" cy="421378"/>
          </a:xfrm>
          <a:prstGeom prst="line">
            <a:avLst/>
          </a:prstGeom>
          <a:noFill/>
          <a:ln w="19050">
            <a:solidFill>
              <a:srgbClr val="8F3F7B"/>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85" name="Freeform 36"/>
          <p:cNvSpPr>
            <a:spLocks noChangeAspect="1" noEditPoints="1"/>
          </p:cNvSpPr>
          <p:nvPr/>
        </p:nvSpPr>
        <p:spPr bwMode="auto">
          <a:xfrm>
            <a:off x="4976637" y="5046439"/>
            <a:ext cx="222824" cy="45356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Shape 85"/>
          <p:cNvSpPr/>
          <p:nvPr/>
        </p:nvSpPr>
        <p:spPr bwMode="auto">
          <a:xfrm>
            <a:off x="5095140" y="1775001"/>
            <a:ext cx="1318765" cy="3293543"/>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2594305 h 3314700"/>
              <a:gd name="connsiteX2" fmla="*/ 203200 w 1435100"/>
              <a:gd name="connsiteY2" fmla="*/ 2159000 h 3314700"/>
              <a:gd name="connsiteX3" fmla="*/ 0 w 1435100"/>
              <a:gd name="connsiteY3" fmla="*/ 3314700 h 3314700"/>
              <a:gd name="connsiteX0" fmla="*/ 1455834 w 1455834"/>
              <a:gd name="connsiteY0" fmla="*/ 0 h 3314700"/>
              <a:gd name="connsiteX1" fmla="*/ 1290734 w 1455834"/>
              <a:gd name="connsiteY1" fmla="*/ 2594305 h 3314700"/>
              <a:gd name="connsiteX2" fmla="*/ 91169 w 1455834"/>
              <a:gd name="connsiteY2" fmla="*/ 2734442 h 3314700"/>
              <a:gd name="connsiteX3" fmla="*/ 20734 w 1455834"/>
              <a:gd name="connsiteY3" fmla="*/ 3314700 h 3314700"/>
              <a:gd name="connsiteX0" fmla="*/ 1442916 w 1442916"/>
              <a:gd name="connsiteY0" fmla="*/ 0 h 3059098"/>
              <a:gd name="connsiteX1" fmla="*/ 1290734 w 1442916"/>
              <a:gd name="connsiteY1" fmla="*/ 2338703 h 3059098"/>
              <a:gd name="connsiteX2" fmla="*/ 91169 w 1442916"/>
              <a:gd name="connsiteY2" fmla="*/ 2478840 h 3059098"/>
              <a:gd name="connsiteX3" fmla="*/ 20734 w 1442916"/>
              <a:gd name="connsiteY3" fmla="*/ 3059098 h 3059098"/>
              <a:gd name="connsiteX0" fmla="*/ 1439713 w 1439713"/>
              <a:gd name="connsiteY0" fmla="*/ 0 h 3290357"/>
              <a:gd name="connsiteX1" fmla="*/ 1287531 w 1439713"/>
              <a:gd name="connsiteY1" fmla="*/ 2338703 h 3290357"/>
              <a:gd name="connsiteX2" fmla="*/ 87966 w 1439713"/>
              <a:gd name="connsiteY2" fmla="*/ 2478840 h 3290357"/>
              <a:gd name="connsiteX3" fmla="*/ 30448 w 1439713"/>
              <a:gd name="connsiteY3" fmla="*/ 3290357 h 3290357"/>
              <a:gd name="connsiteX0" fmla="*/ 1409265 w 1409265"/>
              <a:gd name="connsiteY0" fmla="*/ 0 h 3290357"/>
              <a:gd name="connsiteX1" fmla="*/ 1257083 w 1409265"/>
              <a:gd name="connsiteY1" fmla="*/ 2338703 h 3290357"/>
              <a:gd name="connsiteX2" fmla="*/ 186197 w 1409265"/>
              <a:gd name="connsiteY2" fmla="*/ 2513482 h 3290357"/>
              <a:gd name="connsiteX3" fmla="*/ 0 w 1409265"/>
              <a:gd name="connsiteY3" fmla="*/ 3290357 h 3290357"/>
              <a:gd name="connsiteX0" fmla="*/ 1378627 w 1378627"/>
              <a:gd name="connsiteY0" fmla="*/ 0 h 3244168"/>
              <a:gd name="connsiteX1" fmla="*/ 1226445 w 1378627"/>
              <a:gd name="connsiteY1" fmla="*/ 2338703 h 3244168"/>
              <a:gd name="connsiteX2" fmla="*/ 155559 w 1378627"/>
              <a:gd name="connsiteY2" fmla="*/ 2513482 h 3244168"/>
              <a:gd name="connsiteX3" fmla="*/ 0 w 1378627"/>
              <a:gd name="connsiteY3" fmla="*/ 3244168 h 3244168"/>
            </a:gdLst>
            <a:ahLst/>
            <a:cxnLst>
              <a:cxn ang="0">
                <a:pos x="connsiteX0" y="connsiteY0"/>
              </a:cxn>
              <a:cxn ang="0">
                <a:pos x="connsiteX1" y="connsiteY1"/>
              </a:cxn>
              <a:cxn ang="0">
                <a:pos x="connsiteX2" y="connsiteY2"/>
              </a:cxn>
              <a:cxn ang="0">
                <a:pos x="connsiteX3" y="connsiteY3"/>
              </a:cxn>
            </a:cxnLst>
            <a:rect l="l" t="t" r="r" b="b"/>
            <a:pathLst>
              <a:path w="1378627" h="3244168">
                <a:moveTo>
                  <a:pt x="1378627" y="0"/>
                </a:moveTo>
                <a:cubicBezTo>
                  <a:pt x="1260094" y="190500"/>
                  <a:pt x="1430290" y="1919789"/>
                  <a:pt x="1226445" y="2338703"/>
                </a:cubicBezTo>
                <a:cubicBezTo>
                  <a:pt x="1022600" y="2757617"/>
                  <a:pt x="367226" y="2393416"/>
                  <a:pt x="155559" y="2513482"/>
                </a:cubicBezTo>
                <a:cubicBezTo>
                  <a:pt x="-56108" y="2633548"/>
                  <a:pt x="95250" y="3239935"/>
                  <a:pt x="0" y="3244168"/>
                </a:cubicBezTo>
              </a:path>
            </a:pathLst>
          </a:custGeom>
          <a:noFill/>
          <a:ln w="25400" cap="flat" cmpd="sng" algn="ctr">
            <a:solidFill>
              <a:srgbClr val="0070C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87" name="Freeform: Shape 86"/>
          <p:cNvSpPr/>
          <p:nvPr/>
        </p:nvSpPr>
        <p:spPr bwMode="auto">
          <a:xfrm>
            <a:off x="5176630" y="1803330"/>
            <a:ext cx="1501423" cy="3252512"/>
          </a:xfrm>
          <a:custGeom>
            <a:avLst/>
            <a:gdLst>
              <a:gd name="connsiteX0" fmla="*/ 2552700 w 2552700"/>
              <a:gd name="connsiteY0" fmla="*/ 0 h 3491521"/>
              <a:gd name="connsiteX1" fmla="*/ 1231900 w 2552700"/>
              <a:gd name="connsiteY1" fmla="*/ 3429000 h 3491521"/>
              <a:gd name="connsiteX2" fmla="*/ 787400 w 2552700"/>
              <a:gd name="connsiteY2" fmla="*/ 2222500 h 3491521"/>
              <a:gd name="connsiteX3" fmla="*/ 0 w 2552700"/>
              <a:gd name="connsiteY3" fmla="*/ 2298700 h 3491521"/>
              <a:gd name="connsiteX0" fmla="*/ 2552700 w 2552700"/>
              <a:gd name="connsiteY0" fmla="*/ 0 h 3345555"/>
              <a:gd name="connsiteX1" fmla="*/ 1231900 w 2552700"/>
              <a:gd name="connsiteY1" fmla="*/ 3289300 h 3345555"/>
              <a:gd name="connsiteX2" fmla="*/ 787400 w 2552700"/>
              <a:gd name="connsiteY2" fmla="*/ 2082800 h 3345555"/>
              <a:gd name="connsiteX3" fmla="*/ 0 w 2552700"/>
              <a:gd name="connsiteY3" fmla="*/ 2159000 h 3345555"/>
              <a:gd name="connsiteX0" fmla="*/ 2552700 w 2552700"/>
              <a:gd name="connsiteY0" fmla="*/ 0 h 2170232"/>
              <a:gd name="connsiteX1" fmla="*/ 2336800 w 2552700"/>
              <a:gd name="connsiteY1" fmla="*/ 1346200 h 2170232"/>
              <a:gd name="connsiteX2" fmla="*/ 787400 w 2552700"/>
              <a:gd name="connsiteY2" fmla="*/ 2082800 h 2170232"/>
              <a:gd name="connsiteX3" fmla="*/ 0 w 2552700"/>
              <a:gd name="connsiteY3" fmla="*/ 2159000 h 2170232"/>
              <a:gd name="connsiteX0" fmla="*/ 2552700 w 2552700"/>
              <a:gd name="connsiteY0" fmla="*/ 0 h 2279920"/>
              <a:gd name="connsiteX1" fmla="*/ 2336800 w 2552700"/>
              <a:gd name="connsiteY1" fmla="*/ 1346200 h 2279920"/>
              <a:gd name="connsiteX2" fmla="*/ 1054100 w 2552700"/>
              <a:gd name="connsiteY2" fmla="*/ 2235200 h 2279920"/>
              <a:gd name="connsiteX3" fmla="*/ 0 w 2552700"/>
              <a:gd name="connsiteY3" fmla="*/ 2159000 h 2279920"/>
              <a:gd name="connsiteX0" fmla="*/ 1561574 w 1561574"/>
              <a:gd name="connsiteY0" fmla="*/ 0 h 3314700"/>
              <a:gd name="connsiteX1" fmla="*/ 1345674 w 1561574"/>
              <a:gd name="connsiteY1" fmla="*/ 1346200 h 3314700"/>
              <a:gd name="connsiteX2" fmla="*/ 62974 w 1561574"/>
              <a:gd name="connsiteY2" fmla="*/ 2235200 h 3314700"/>
              <a:gd name="connsiteX3" fmla="*/ 126474 w 1561574"/>
              <a:gd name="connsiteY3" fmla="*/ 3314700 h 3314700"/>
              <a:gd name="connsiteX0" fmla="*/ 1435100 w 1435100"/>
              <a:gd name="connsiteY0" fmla="*/ 0 h 3314700"/>
              <a:gd name="connsiteX1" fmla="*/ 1219200 w 1435100"/>
              <a:gd name="connsiteY1" fmla="*/ 1346200 h 3314700"/>
              <a:gd name="connsiteX2" fmla="*/ 203200 w 1435100"/>
              <a:gd name="connsiteY2" fmla="*/ 2159000 h 3314700"/>
              <a:gd name="connsiteX3" fmla="*/ 0 w 1435100"/>
              <a:gd name="connsiteY3" fmla="*/ 3314700 h 3314700"/>
              <a:gd name="connsiteX0" fmla="*/ 1435100 w 1435100"/>
              <a:gd name="connsiteY0" fmla="*/ 0 h 3314700"/>
              <a:gd name="connsiteX1" fmla="*/ 1219200 w 1435100"/>
              <a:gd name="connsiteY1" fmla="*/ 1193800 h 3314700"/>
              <a:gd name="connsiteX2" fmla="*/ 203200 w 1435100"/>
              <a:gd name="connsiteY2" fmla="*/ 2159000 h 3314700"/>
              <a:gd name="connsiteX3" fmla="*/ 0 w 1435100"/>
              <a:gd name="connsiteY3" fmla="*/ 3314700 h 3314700"/>
              <a:gd name="connsiteX0" fmla="*/ 1435100 w 1435100"/>
              <a:gd name="connsiteY0" fmla="*/ 0 h 3314700"/>
              <a:gd name="connsiteX1" fmla="*/ 203200 w 1435100"/>
              <a:gd name="connsiteY1" fmla="*/ 2159000 h 3314700"/>
              <a:gd name="connsiteX2" fmla="*/ 0 w 1435100"/>
              <a:gd name="connsiteY2"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0 w 1435100"/>
              <a:gd name="connsiteY3" fmla="*/ 3314700 h 3314700"/>
              <a:gd name="connsiteX0" fmla="*/ 1435100 w 1435100"/>
              <a:gd name="connsiteY0" fmla="*/ 0 h 3314700"/>
              <a:gd name="connsiteX1" fmla="*/ 1270000 w 1435100"/>
              <a:gd name="connsiteY1" fmla="*/ 1155700 h 3314700"/>
              <a:gd name="connsiteX2" fmla="*/ 203200 w 1435100"/>
              <a:gd name="connsiteY2" fmla="*/ 2159000 h 3314700"/>
              <a:gd name="connsiteX3" fmla="*/ 1174338 w 1435100"/>
              <a:gd name="connsiteY3" fmla="*/ 2562487 h 3314700"/>
              <a:gd name="connsiteX4" fmla="*/ 0 w 1435100"/>
              <a:gd name="connsiteY4" fmla="*/ 3314700 h 3314700"/>
              <a:gd name="connsiteX0" fmla="*/ 1435100 w 1435100"/>
              <a:gd name="connsiteY0" fmla="*/ 0 h 3314700"/>
              <a:gd name="connsiteX1" fmla="*/ 1270000 w 1435100"/>
              <a:gd name="connsiteY1" fmla="*/ 1155700 h 3314700"/>
              <a:gd name="connsiteX2" fmla="*/ 1159107 w 1435100"/>
              <a:gd name="connsiteY2" fmla="*/ 1989305 h 3314700"/>
              <a:gd name="connsiteX3" fmla="*/ 1174338 w 1435100"/>
              <a:gd name="connsiteY3" fmla="*/ 2562487 h 3314700"/>
              <a:gd name="connsiteX4" fmla="*/ 0 w 1435100"/>
              <a:gd name="connsiteY4" fmla="*/ 3314700 h 3314700"/>
              <a:gd name="connsiteX0" fmla="*/ 1435100 w 1435100"/>
              <a:gd name="connsiteY0" fmla="*/ 0 h 3314700"/>
              <a:gd name="connsiteX1" fmla="*/ 1270000 w 1435100"/>
              <a:gd name="connsiteY1" fmla="*/ 1155700 h 3314700"/>
              <a:gd name="connsiteX2" fmla="*/ 1174338 w 1435100"/>
              <a:gd name="connsiteY2" fmla="*/ 2562487 h 3314700"/>
              <a:gd name="connsiteX3" fmla="*/ 0 w 1435100"/>
              <a:gd name="connsiteY3" fmla="*/ 3314700 h 3314700"/>
              <a:gd name="connsiteX0" fmla="*/ 1531689 w 1531689"/>
              <a:gd name="connsiteY0" fmla="*/ 0 h 3314700"/>
              <a:gd name="connsiteX1" fmla="*/ 1366589 w 1531689"/>
              <a:gd name="connsiteY1" fmla="*/ 1155700 h 3314700"/>
              <a:gd name="connsiteX2" fmla="*/ 1270927 w 1531689"/>
              <a:gd name="connsiteY2" fmla="*/ 2562487 h 3314700"/>
              <a:gd name="connsiteX3" fmla="*/ 59874 w 1531689"/>
              <a:gd name="connsiteY3" fmla="*/ 2596372 h 3314700"/>
              <a:gd name="connsiteX4" fmla="*/ 96589 w 1531689"/>
              <a:gd name="connsiteY4" fmla="*/ 3314700 h 3314700"/>
              <a:gd name="connsiteX0" fmla="*/ 1531689 w 1531689"/>
              <a:gd name="connsiteY0" fmla="*/ 0 h 3314700"/>
              <a:gd name="connsiteX1" fmla="*/ 1366589 w 1531689"/>
              <a:gd name="connsiteY1" fmla="*/ 1155700 h 3314700"/>
              <a:gd name="connsiteX2" fmla="*/ 1219257 w 1531689"/>
              <a:gd name="connsiteY2" fmla="*/ 2434686 h 3314700"/>
              <a:gd name="connsiteX3" fmla="*/ 59874 w 1531689"/>
              <a:gd name="connsiteY3" fmla="*/ 2596372 h 3314700"/>
              <a:gd name="connsiteX4" fmla="*/ 96589 w 1531689"/>
              <a:gd name="connsiteY4" fmla="*/ 3314700 h 3314700"/>
              <a:gd name="connsiteX0" fmla="*/ 1667618 w 1667618"/>
              <a:gd name="connsiteY0" fmla="*/ 0 h 3290357"/>
              <a:gd name="connsiteX1" fmla="*/ 1502518 w 1667618"/>
              <a:gd name="connsiteY1" fmla="*/ 1155700 h 3290357"/>
              <a:gd name="connsiteX2" fmla="*/ 1355186 w 1667618"/>
              <a:gd name="connsiteY2" fmla="*/ 2434686 h 3290357"/>
              <a:gd name="connsiteX3" fmla="*/ 195803 w 1667618"/>
              <a:gd name="connsiteY3" fmla="*/ 2596372 h 3290357"/>
              <a:gd name="connsiteX4" fmla="*/ 0 w 1667618"/>
              <a:gd name="connsiteY4" fmla="*/ 3290357 h 3290357"/>
              <a:gd name="connsiteX0" fmla="*/ 1667618 w 1667618"/>
              <a:gd name="connsiteY0" fmla="*/ 0 h 3290357"/>
              <a:gd name="connsiteX1" fmla="*/ 1502518 w 1667618"/>
              <a:gd name="connsiteY1" fmla="*/ 1155700 h 3290357"/>
              <a:gd name="connsiteX2" fmla="*/ 1355186 w 1667618"/>
              <a:gd name="connsiteY2" fmla="*/ 2434686 h 3290357"/>
              <a:gd name="connsiteX3" fmla="*/ 293844 w 1667618"/>
              <a:gd name="connsiteY3" fmla="*/ 2619467 h 3290357"/>
              <a:gd name="connsiteX4" fmla="*/ 0 w 1667618"/>
              <a:gd name="connsiteY4" fmla="*/ 3290357 h 3290357"/>
              <a:gd name="connsiteX0" fmla="*/ 1569576 w 1569576"/>
              <a:gd name="connsiteY0" fmla="*/ 0 h 3203752"/>
              <a:gd name="connsiteX1" fmla="*/ 1404476 w 1569576"/>
              <a:gd name="connsiteY1" fmla="*/ 1155700 h 3203752"/>
              <a:gd name="connsiteX2" fmla="*/ 1257144 w 1569576"/>
              <a:gd name="connsiteY2" fmla="*/ 2434686 h 3203752"/>
              <a:gd name="connsiteX3" fmla="*/ 195802 w 1569576"/>
              <a:gd name="connsiteY3" fmla="*/ 2619467 h 3203752"/>
              <a:gd name="connsiteX4" fmla="*/ 0 w 1569576"/>
              <a:gd name="connsiteY4" fmla="*/ 3203752 h 32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576" h="3203752">
                <a:moveTo>
                  <a:pt x="1569576" y="0"/>
                </a:moveTo>
                <a:cubicBezTo>
                  <a:pt x="1451043" y="190500"/>
                  <a:pt x="1456548" y="749919"/>
                  <a:pt x="1404476" y="1155700"/>
                </a:cubicBezTo>
                <a:cubicBezTo>
                  <a:pt x="1352404" y="1561481"/>
                  <a:pt x="1458590" y="2190725"/>
                  <a:pt x="1257144" y="2434686"/>
                </a:cubicBezTo>
                <a:cubicBezTo>
                  <a:pt x="1055698" y="2678647"/>
                  <a:pt x="391525" y="2494098"/>
                  <a:pt x="195802" y="2619467"/>
                </a:cubicBezTo>
                <a:cubicBezTo>
                  <a:pt x="79" y="2744836"/>
                  <a:pt x="125210" y="3131702"/>
                  <a:pt x="0" y="3203752"/>
                </a:cubicBezTo>
              </a:path>
            </a:pathLst>
          </a:custGeom>
          <a:noFill/>
          <a:ln w="25400" cap="flat" cmpd="sng" algn="ctr">
            <a:solidFill>
              <a:srgbClr val="92D05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88" name="Line 7"/>
          <p:cNvSpPr>
            <a:spLocks noChangeShapeType="1"/>
          </p:cNvSpPr>
          <p:nvPr/>
        </p:nvSpPr>
        <p:spPr bwMode="auto">
          <a:xfrm flipH="1">
            <a:off x="5182188" y="4714875"/>
            <a:ext cx="1085004" cy="355331"/>
          </a:xfrm>
          <a:prstGeom prst="line">
            <a:avLst/>
          </a:prstGeom>
          <a:noFill/>
          <a:ln w="19050">
            <a:solidFill>
              <a:srgbClr val="8F3F7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TextBox 88"/>
          <p:cNvSpPr txBox="1"/>
          <p:nvPr/>
        </p:nvSpPr>
        <p:spPr>
          <a:xfrm>
            <a:off x="7656270" y="1793319"/>
            <a:ext cx="4324541" cy="1477328"/>
          </a:xfrm>
          <a:prstGeom prst="rect">
            <a:avLst/>
          </a:prstGeom>
          <a:solidFill>
            <a:schemeClr val="bg1"/>
          </a:solidFill>
        </p:spPr>
        <p:txBody>
          <a:bodyPr wrap="square" rtlCol="0">
            <a:spAutoFit/>
          </a:bodyPr>
          <a:lstStyle/>
          <a:p>
            <a:pPr marL="342900" indent="-342900">
              <a:buFont typeface="Arial" panose="020B0604020202020204" pitchFamily="34" charset="0"/>
              <a:buChar char="•"/>
            </a:pPr>
            <a:r>
              <a:rPr lang="en-US" kern="0" dirty="0"/>
              <a:t>NAS between UE and MME via </a:t>
            </a:r>
            <a:r>
              <a:rPr lang="en-US" kern="0" dirty="0" err="1"/>
              <a:t>eNB</a:t>
            </a:r>
            <a:r>
              <a:rPr lang="en-US" kern="0" dirty="0"/>
              <a:t>/LTE</a:t>
            </a:r>
          </a:p>
          <a:p>
            <a:pPr marL="342900" indent="-342900">
              <a:buFont typeface="Arial" panose="020B0604020202020204" pitchFamily="34" charset="0"/>
              <a:buChar char="•"/>
            </a:pPr>
            <a:r>
              <a:rPr lang="en-US" dirty="0"/>
              <a:t>Requires simultaneous UL/DL on both RATs (dual connectivity)</a:t>
            </a:r>
            <a:endParaRPr lang="en-US" kern="0" dirty="0"/>
          </a:p>
        </p:txBody>
      </p:sp>
    </p:spTree>
    <p:extLst>
      <p:ext uri="{BB962C8B-B14F-4D97-AF65-F5344CB8AC3E}">
        <p14:creationId xmlns:p14="http://schemas.microsoft.com/office/powerpoint/2010/main" val="408523880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S with 5G </a:t>
            </a:r>
            <a:r>
              <a:rPr lang="en-US" dirty="0" err="1"/>
              <a:t>Epc</a:t>
            </a:r>
            <a:r>
              <a:rPr lang="en-US" dirty="0"/>
              <a:t> Deployment and Interworking</a:t>
            </a:r>
          </a:p>
        </p:txBody>
      </p:sp>
      <p:sp>
        <p:nvSpPr>
          <p:cNvPr id="3" name="Text Placeholder 2"/>
          <p:cNvSpPr>
            <a:spLocks noGrp="1"/>
          </p:cNvSpPr>
          <p:nvPr>
            <p:ph type="body" idx="1"/>
          </p:nvPr>
        </p:nvSpPr>
        <p:spPr>
          <a:xfrm>
            <a:off x="529168" y="2219722"/>
            <a:ext cx="5047174" cy="3852000"/>
          </a:xfrm>
        </p:spPr>
        <p:txBody>
          <a:bodyPr/>
          <a:lstStyle/>
          <a:p>
            <a:r>
              <a:rPr lang="en-US" dirty="0"/>
              <a:t>CS interworking as in 4G EPC for:</a:t>
            </a:r>
          </a:p>
          <a:p>
            <a:pPr lvl="1"/>
            <a:r>
              <a:rPr lang="en-US" dirty="0"/>
              <a:t>SMS over NAS</a:t>
            </a:r>
          </a:p>
          <a:p>
            <a:pPr lvl="1"/>
            <a:r>
              <a:rPr lang="en-US" dirty="0"/>
              <a:t>Fallback to CS voice (CSFB)</a:t>
            </a:r>
          </a:p>
          <a:p>
            <a:pPr lvl="1"/>
            <a:r>
              <a:rPr lang="en-US" dirty="0"/>
              <a:t>SRVCC</a:t>
            </a:r>
          </a:p>
        </p:txBody>
      </p:sp>
      <p:sp>
        <p:nvSpPr>
          <p:cNvPr id="95" name="TextBox 94"/>
          <p:cNvSpPr txBox="1"/>
          <p:nvPr/>
        </p:nvSpPr>
        <p:spPr>
          <a:xfrm>
            <a:off x="8353342" y="5642366"/>
            <a:ext cx="2596044" cy="707886"/>
          </a:xfrm>
          <a:prstGeom prst="rect">
            <a:avLst/>
          </a:prstGeom>
          <a:noFill/>
        </p:spPr>
        <p:txBody>
          <a:bodyPr wrap="square" rtlCol="0">
            <a:spAutoFit/>
          </a:bodyPr>
          <a:lstStyle/>
          <a:p>
            <a:r>
              <a:rPr lang="en-US" sz="2000" b="1" dirty="0">
                <a:solidFill>
                  <a:srgbClr val="00285F"/>
                </a:solidFill>
              </a:rPr>
              <a:t>IMS with 5G EPC deployment</a:t>
            </a:r>
          </a:p>
        </p:txBody>
      </p:sp>
      <p:grpSp>
        <p:nvGrpSpPr>
          <p:cNvPr id="96" name="Group 261"/>
          <p:cNvGrpSpPr>
            <a:grpSpLocks noChangeAspect="1"/>
          </p:cNvGrpSpPr>
          <p:nvPr/>
        </p:nvGrpSpPr>
        <p:grpSpPr bwMode="auto">
          <a:xfrm>
            <a:off x="9612907" y="3920030"/>
            <a:ext cx="747463" cy="1039799"/>
            <a:chOff x="239" y="1832"/>
            <a:chExt cx="363" cy="520"/>
          </a:xfrm>
        </p:grpSpPr>
        <p:sp>
          <p:nvSpPr>
            <p:cNvPr id="9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9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9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5G</a:t>
              </a:r>
              <a:br>
                <a:rPr lang="en-US" altLang="en-US" sz="1600" dirty="0">
                  <a:solidFill>
                    <a:srgbClr val="8F3F7B"/>
                  </a:solidFill>
                  <a:ea typeface="MS PGothic" panose="020B0600070205080204" pitchFamily="34" charset="-128"/>
                  <a:cs typeface="MS PGothic" panose="020B0600070205080204" pitchFamily="34" charset="-128"/>
                </a:rPr>
              </a:br>
              <a:r>
                <a:rPr lang="en-US" altLang="en-US" sz="1600" dirty="0">
                  <a:solidFill>
                    <a:srgbClr val="8F3F7B"/>
                  </a:solidFill>
                  <a:ea typeface="MS PGothic" panose="020B0600070205080204" pitchFamily="34" charset="-128"/>
                  <a:cs typeface="MS PGothic" panose="020B0600070205080204" pitchFamily="34" charset="-128"/>
                </a:rPr>
                <a:t>EPC</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10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1"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02" name="Group 261"/>
          <p:cNvGrpSpPr>
            <a:grpSpLocks noChangeAspect="1"/>
          </p:cNvGrpSpPr>
          <p:nvPr/>
        </p:nvGrpSpPr>
        <p:grpSpPr bwMode="auto">
          <a:xfrm>
            <a:off x="10674540" y="3911958"/>
            <a:ext cx="747463" cy="1039799"/>
            <a:chOff x="239" y="1832"/>
            <a:chExt cx="363" cy="520"/>
          </a:xfrm>
        </p:grpSpPr>
        <p:sp>
          <p:nvSpPr>
            <p:cNvPr id="10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IMS Core</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10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7"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108" name="Connector: Elbow 123"/>
          <p:cNvCxnSpPr>
            <a:cxnSpLocks/>
            <a:stCxn id="99" idx="3"/>
            <a:endCxn id="105" idx="1"/>
          </p:cNvCxnSpPr>
          <p:nvPr/>
        </p:nvCxnSpPr>
        <p:spPr bwMode="auto">
          <a:xfrm flipV="1">
            <a:off x="10321246" y="4702806"/>
            <a:ext cx="388299" cy="8072"/>
          </a:xfrm>
          <a:prstGeom prst="straightConnector1">
            <a:avLst/>
          </a:prstGeom>
          <a:solidFill>
            <a:schemeClr val="accent1"/>
          </a:solidFill>
          <a:ln w="12700" cap="flat" cmpd="sng" algn="ctr">
            <a:solidFill>
              <a:srgbClr val="7B0663"/>
            </a:solidFill>
            <a:prstDash val="solid"/>
            <a:round/>
            <a:headEnd type="none" w="med" len="med"/>
            <a:tailEnd type="none" w="med" len="med"/>
          </a:ln>
          <a:effectLst/>
        </p:spPr>
      </p:cxnSp>
      <p:sp>
        <p:nvSpPr>
          <p:cNvPr id="109" name="Line 7"/>
          <p:cNvSpPr>
            <a:spLocks noChangeShapeType="1"/>
          </p:cNvSpPr>
          <p:nvPr/>
        </p:nvSpPr>
        <p:spPr bwMode="auto">
          <a:xfrm>
            <a:off x="8864216" y="2095911"/>
            <a:ext cx="760233" cy="0"/>
          </a:xfrm>
          <a:prstGeom prst="line">
            <a:avLst/>
          </a:prstGeom>
          <a:noFill/>
          <a:ln w="12700">
            <a:solidFill>
              <a:srgbClr val="00B0F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110" name="Group 109"/>
          <p:cNvGrpSpPr/>
          <p:nvPr/>
        </p:nvGrpSpPr>
        <p:grpSpPr>
          <a:xfrm>
            <a:off x="9598576" y="1434226"/>
            <a:ext cx="795090" cy="1011662"/>
            <a:chOff x="7082284" y="5472519"/>
            <a:chExt cx="756791" cy="1085673"/>
          </a:xfrm>
        </p:grpSpPr>
        <p:sp>
          <p:nvSpPr>
            <p:cNvPr id="111" name="Text Box 5"/>
            <p:cNvSpPr txBox="1">
              <a:spLocks noChangeAspect="1" noChangeArrowheads="1"/>
            </p:cNvSpPr>
            <p:nvPr/>
          </p:nvSpPr>
          <p:spPr bwMode="auto">
            <a:xfrm>
              <a:off x="7209686" y="6104342"/>
              <a:ext cx="501984" cy="411215"/>
            </a:xfrm>
            <a:prstGeom prst="rect">
              <a:avLst/>
            </a:prstGeom>
            <a:noFill/>
            <a:ln>
              <a:noFill/>
            </a:ln>
            <a:extLst>
              <a:ext uri="{909E8E84-426E-40DD-AFC4-6F175D3DCCD1}">
                <a14:hiddenFill xmlns:a14="http://schemas.microsoft.com/office/drawing/2010/main">
                  <a:solidFill>
                    <a:srgbClr val="00A9D4"/>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spcBef>
                  <a:spcPts val="300"/>
                </a:spcBef>
              </a:pPr>
              <a:r>
                <a:rPr lang="en-US" sz="1400" dirty="0">
                  <a:solidFill>
                    <a:srgbClr val="00A9D4"/>
                  </a:solidFill>
                </a:rPr>
                <a:t>MSC</a:t>
              </a:r>
            </a:p>
            <a:p>
              <a:pPr algn="ctr" eaLnBrk="1" hangingPunct="1">
                <a:lnSpc>
                  <a:spcPct val="80000"/>
                </a:lnSpc>
                <a:spcBef>
                  <a:spcPts val="300"/>
                </a:spcBef>
              </a:pPr>
              <a:r>
                <a:rPr lang="en-US" sz="1400" dirty="0">
                  <a:solidFill>
                    <a:srgbClr val="00A9D4"/>
                  </a:solidFill>
                </a:rPr>
                <a:t>MGCF</a:t>
              </a:r>
              <a:endParaRPr lang="sv-SE" sz="1100" dirty="0">
                <a:solidFill>
                  <a:srgbClr val="00A9D4"/>
                </a:solidFill>
              </a:endParaRPr>
            </a:p>
          </p:txBody>
        </p:sp>
        <p:sp>
          <p:nvSpPr>
            <p:cNvPr id="112" name="Freeform 10"/>
            <p:cNvSpPr>
              <a:spLocks noChangeAspect="1" noEditPoints="1"/>
            </p:cNvSpPr>
            <p:nvPr/>
          </p:nvSpPr>
          <p:spPr bwMode="auto">
            <a:xfrm>
              <a:off x="7082284" y="5472519"/>
              <a:ext cx="756791" cy="1085673"/>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2147483647 w 410"/>
                <a:gd name="T81" fmla="*/ 2147483647 h 589"/>
                <a:gd name="T82" fmla="*/ 2147483647 w 410"/>
                <a:gd name="T83" fmla="*/ 2147483647 h 589"/>
                <a:gd name="T84" fmla="*/ 2147483647 w 410"/>
                <a:gd name="T85" fmla="*/ 2147483647 h 589"/>
                <a:gd name="T86" fmla="*/ 2147483647 w 410"/>
                <a:gd name="T87" fmla="*/ 2147483647 h 589"/>
                <a:gd name="T88" fmla="*/ 2147483647 w 410"/>
                <a:gd name="T89" fmla="*/ 2147483647 h 589"/>
                <a:gd name="T90" fmla="*/ 2147483647 w 410"/>
                <a:gd name="T91" fmla="*/ 2147483647 h 589"/>
                <a:gd name="T92" fmla="*/ 2147483647 w 410"/>
                <a:gd name="T93" fmla="*/ 214748364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00A9D4"/>
            </a:solidFill>
            <a:ln>
              <a:noFill/>
            </a:ln>
          </p:spPr>
          <p:txBody>
            <a:bodyPr tIns="1080000" anchor="ctr"/>
            <a:lstStyle/>
            <a:p>
              <a:pPr algn="ctr"/>
              <a:endParaRPr lang="en-US" sz="2400"/>
            </a:p>
          </p:txBody>
        </p:sp>
      </p:grpSp>
      <p:grpSp>
        <p:nvGrpSpPr>
          <p:cNvPr id="113" name="Group 278"/>
          <p:cNvGrpSpPr>
            <a:grpSpLocks noChangeAspect="1"/>
          </p:cNvGrpSpPr>
          <p:nvPr/>
        </p:nvGrpSpPr>
        <p:grpSpPr bwMode="auto">
          <a:xfrm>
            <a:off x="8195138" y="1351326"/>
            <a:ext cx="796320" cy="1144902"/>
            <a:chOff x="3106" y="2389"/>
            <a:chExt cx="363" cy="520"/>
          </a:xfrm>
        </p:grpSpPr>
        <p:sp>
          <p:nvSpPr>
            <p:cNvPr id="11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altLang="sv-SE" sz="900">
                <a:solidFill>
                  <a:srgbClr val="000000"/>
                </a:solidFill>
              </a:endParaRPr>
            </a:p>
          </p:txBody>
        </p:sp>
        <p:sp>
          <p:nvSpPr>
            <p:cNvPr id="115" name="Oval 221"/>
            <p:cNvSpPr>
              <a:spLocks noChangeAspect="1" noChangeArrowheads="1"/>
            </p:cNvSpPr>
            <p:nvPr/>
          </p:nvSpPr>
          <p:spPr bwMode="auto">
            <a:xfrm>
              <a:off x="3111" y="2396"/>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altLang="sv-SE" sz="900">
                <a:solidFill>
                  <a:srgbClr val="000000"/>
                </a:solidFill>
              </a:endParaRPr>
            </a:p>
          </p:txBody>
        </p:sp>
        <p:sp>
          <p:nvSpPr>
            <p:cNvPr id="11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sv-SE" sz="1400" dirty="0">
                  <a:solidFill>
                    <a:schemeClr val="bg1">
                      <a:lumMod val="65000"/>
                    </a:schemeClr>
                  </a:solidFill>
                  <a:ea typeface="MS PGothic" pitchFamily="34" charset="-128"/>
                </a:rPr>
                <a:t>2G/3G RAN </a:t>
              </a:r>
            </a:p>
          </p:txBody>
        </p:sp>
        <p:sp>
          <p:nvSpPr>
            <p:cNvPr id="11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altLang="sv-SE" sz="900">
                <a:solidFill>
                  <a:srgbClr val="000000"/>
                </a:solidFill>
              </a:endParaRPr>
            </a:p>
          </p:txBody>
        </p:sp>
        <p:sp>
          <p:nvSpPr>
            <p:cNvPr id="118" name="Freeform 11"/>
            <p:cNvSpPr>
              <a:spLocks noChangeAspect="1" noEditPoints="1"/>
            </p:cNvSpPr>
            <p:nvPr/>
          </p:nvSpPr>
          <p:spPr bwMode="auto">
            <a:xfrm>
              <a:off x="3106" y="2389"/>
              <a:ext cx="363" cy="520"/>
            </a:xfrm>
            <a:custGeom>
              <a:avLst/>
              <a:gdLst>
                <a:gd name="T0" fmla="*/ 440937 w 410"/>
                <a:gd name="T1" fmla="*/ 252700 h 589"/>
                <a:gd name="T2" fmla="*/ 414078 w 410"/>
                <a:gd name="T3" fmla="*/ 610960 h 589"/>
                <a:gd name="T4" fmla="*/ 17906 w 410"/>
                <a:gd name="T5" fmla="*/ 585370 h 589"/>
                <a:gd name="T6" fmla="*/ 229422 w 410"/>
                <a:gd name="T7" fmla="*/ 17059 h 589"/>
                <a:gd name="T8" fmla="*/ 449891 w 410"/>
                <a:gd name="T9" fmla="*/ 227111 h 589"/>
                <a:gd name="T10" fmla="*/ 458843 w 410"/>
                <a:gd name="T11" fmla="*/ 218580 h 589"/>
                <a:gd name="T12" fmla="*/ 0 w 410"/>
                <a:gd name="T13" fmla="*/ 218580 h 589"/>
                <a:gd name="T14" fmla="*/ 1118 w 410"/>
                <a:gd name="T15" fmla="*/ 585370 h 589"/>
                <a:gd name="T16" fmla="*/ 414078 w 410"/>
                <a:gd name="T17" fmla="*/ 628021 h 589"/>
                <a:gd name="T18" fmla="*/ 458843 w 410"/>
                <a:gd name="T19" fmla="*/ 252700 h 589"/>
                <a:gd name="T20" fmla="*/ 340216 w 410"/>
                <a:gd name="T21" fmla="*/ 308145 h 589"/>
                <a:gd name="T22" fmla="*/ 282021 w 410"/>
                <a:gd name="T23" fmla="*/ 146077 h 589"/>
                <a:gd name="T24" fmla="*/ 266353 w 410"/>
                <a:gd name="T25" fmla="*/ 122618 h 589"/>
                <a:gd name="T26" fmla="*/ 264115 w 410"/>
                <a:gd name="T27" fmla="*/ 146077 h 589"/>
                <a:gd name="T28" fmla="*/ 193609 w 410"/>
                <a:gd name="T29" fmla="*/ 146077 h 589"/>
                <a:gd name="T30" fmla="*/ 241733 w 410"/>
                <a:gd name="T31" fmla="*/ 114089 h 589"/>
                <a:gd name="T32" fmla="*/ 247328 w 410"/>
                <a:gd name="T33" fmla="*/ 99161 h 589"/>
                <a:gd name="T34" fmla="*/ 175703 w 410"/>
                <a:gd name="T35" fmla="*/ 146077 h 589"/>
                <a:gd name="T36" fmla="*/ 118628 w 410"/>
                <a:gd name="T37" fmla="*/ 308145 h 589"/>
                <a:gd name="T38" fmla="*/ 125343 w 410"/>
                <a:gd name="T39" fmla="*/ 323074 h 589"/>
                <a:gd name="T40" fmla="*/ 191371 w 410"/>
                <a:gd name="T41" fmla="*/ 317742 h 589"/>
                <a:gd name="T42" fmla="*/ 267473 w 410"/>
                <a:gd name="T43" fmla="*/ 317742 h 589"/>
                <a:gd name="T44" fmla="*/ 334620 w 410"/>
                <a:gd name="T45" fmla="*/ 323074 h 589"/>
                <a:gd name="T46" fmla="*/ 340216 w 410"/>
                <a:gd name="T47" fmla="*/ 308145 h 589"/>
                <a:gd name="T48" fmla="*/ 252923 w 410"/>
                <a:gd name="T49" fmla="*/ 237773 h 589"/>
                <a:gd name="T50" fmla="*/ 203681 w 410"/>
                <a:gd name="T51" fmla="*/ 237773 h 589"/>
                <a:gd name="T52" fmla="*/ 280902 w 410"/>
                <a:gd name="T53" fmla="*/ 306012 h 589"/>
                <a:gd name="T54" fmla="*/ 176822 w 410"/>
                <a:gd name="T55" fmla="*/ 306012 h 589"/>
                <a:gd name="T56" fmla="*/ 185775 w 410"/>
                <a:gd name="T57" fmla="*/ 262297 h 589"/>
                <a:gd name="T58" fmla="*/ 271949 w 410"/>
                <a:gd name="T59" fmla="*/ 262297 h 589"/>
                <a:gd name="T60" fmla="*/ 280902 w 410"/>
                <a:gd name="T61" fmla="*/ 306012 h 589"/>
                <a:gd name="T62" fmla="*/ 293212 w 410"/>
                <a:gd name="T63" fmla="*/ 195124 h 589"/>
                <a:gd name="T64" fmla="*/ 302165 w 410"/>
                <a:gd name="T65" fmla="*/ 146077 h 589"/>
                <a:gd name="T66" fmla="*/ 293212 w 410"/>
                <a:gd name="T67" fmla="*/ 95962 h 589"/>
                <a:gd name="T68" fmla="*/ 320071 w 410"/>
                <a:gd name="T69" fmla="*/ 146077 h 589"/>
                <a:gd name="T70" fmla="*/ 297690 w 410"/>
                <a:gd name="T71" fmla="*/ 197256 h 589"/>
                <a:gd name="T72" fmla="*/ 324549 w 410"/>
                <a:gd name="T73" fmla="*/ 215382 h 589"/>
                <a:gd name="T74" fmla="*/ 340216 w 410"/>
                <a:gd name="T75" fmla="*/ 146077 h 589"/>
                <a:gd name="T76" fmla="*/ 324549 w 410"/>
                <a:gd name="T77" fmla="*/ 76770 h 589"/>
                <a:gd name="T78" fmla="*/ 358121 w 410"/>
                <a:gd name="T79" fmla="*/ 146077 h 589"/>
                <a:gd name="T80" fmla="*/ 330143 w 410"/>
                <a:gd name="T81" fmla="*/ 216449 h 589"/>
                <a:gd name="T82" fmla="*/ 165632 w 410"/>
                <a:gd name="T83" fmla="*/ 195124 h 589"/>
                <a:gd name="T84" fmla="*/ 156679 w 410"/>
                <a:gd name="T85" fmla="*/ 146077 h 589"/>
                <a:gd name="T86" fmla="*/ 165632 w 410"/>
                <a:gd name="T87" fmla="*/ 95962 h 589"/>
                <a:gd name="T88" fmla="*/ 138771 w 410"/>
                <a:gd name="T89" fmla="*/ 146077 h 589"/>
                <a:gd name="T90" fmla="*/ 161154 w 410"/>
                <a:gd name="T91" fmla="*/ 197256 h 589"/>
                <a:gd name="T92" fmla="*/ 134296 w 410"/>
                <a:gd name="T93" fmla="*/ 215382 h 589"/>
                <a:gd name="T94" fmla="*/ 118628 w 410"/>
                <a:gd name="T95" fmla="*/ 146077 h 589"/>
                <a:gd name="T96" fmla="*/ 134296 w 410"/>
                <a:gd name="T97" fmla="*/ 76770 h 589"/>
                <a:gd name="T98" fmla="*/ 100721 w 410"/>
                <a:gd name="T99" fmla="*/ 146077 h 589"/>
                <a:gd name="T100" fmla="*/ 128700 w 410"/>
                <a:gd name="T101" fmla="*/ 216449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900"/>
            </a:p>
          </p:txBody>
        </p:sp>
      </p:grpSp>
      <p:sp>
        <p:nvSpPr>
          <p:cNvPr id="119" name="Line 7"/>
          <p:cNvSpPr>
            <a:spLocks noChangeShapeType="1"/>
          </p:cNvSpPr>
          <p:nvPr/>
        </p:nvSpPr>
        <p:spPr bwMode="auto">
          <a:xfrm flipH="1">
            <a:off x="9985088" y="2427811"/>
            <a:ext cx="24327" cy="1447300"/>
          </a:xfrm>
          <a:prstGeom prst="line">
            <a:avLst/>
          </a:prstGeom>
          <a:ln w="9525" cap="flat" cmpd="sng" algn="ctr">
            <a:solidFill>
              <a:schemeClr val="accent1"/>
            </a:solidFill>
            <a:prstDash val="dash"/>
            <a:round/>
            <a:headEnd type="none" w="med" len="med"/>
            <a:tailEnd type="none"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a:lstStyle/>
          <a:p>
            <a:endParaRPr lang="en-US">
              <a:latin typeface="+mn-lt"/>
            </a:endParaRPr>
          </a:p>
        </p:txBody>
      </p:sp>
      <p:cxnSp>
        <p:nvCxnSpPr>
          <p:cNvPr id="120" name="Connector: Elbow 119"/>
          <p:cNvCxnSpPr>
            <a:cxnSpLocks/>
            <a:stCxn id="106" idx="0"/>
          </p:cNvCxnSpPr>
          <p:nvPr/>
        </p:nvCxnSpPr>
        <p:spPr bwMode="auto">
          <a:xfrm rot="16200000" flipV="1">
            <a:off x="9743186" y="2606872"/>
            <a:ext cx="1920719" cy="689454"/>
          </a:xfrm>
          <a:prstGeom prst="bentConnector3">
            <a:avLst>
              <a:gd name="adj1" fmla="val 95340"/>
            </a:avLst>
          </a:prstGeom>
          <a:solidFill>
            <a:schemeClr val="accent1"/>
          </a:solidFill>
          <a:ln w="12700" cap="flat" cmpd="sng" algn="ctr">
            <a:solidFill>
              <a:srgbClr val="7B0663"/>
            </a:solidFill>
            <a:prstDash val="solid"/>
            <a:round/>
            <a:headEnd type="none" w="med" len="med"/>
            <a:tailEnd type="none" w="med" len="med"/>
          </a:ln>
          <a:effectLst/>
        </p:spPr>
      </p:cxnSp>
      <p:sp>
        <p:nvSpPr>
          <p:cNvPr id="121" name="Arc 120"/>
          <p:cNvSpPr/>
          <p:nvPr/>
        </p:nvSpPr>
        <p:spPr bwMode="auto">
          <a:xfrm>
            <a:off x="7624449" y="2262681"/>
            <a:ext cx="1189567" cy="985837"/>
          </a:xfrm>
          <a:prstGeom prst="arc">
            <a:avLst>
              <a:gd name="adj1" fmla="val 5400000"/>
              <a:gd name="adj2" fmla="val 16497911"/>
            </a:avLst>
          </a:prstGeom>
          <a:noFill/>
          <a:ln w="38100">
            <a:solidFill>
              <a:srgbClr val="8F3F7B"/>
            </a:solidFill>
            <a:prstDash val="dash"/>
            <a:round/>
            <a:headEnd type="none"/>
            <a:tailEnd type="triangle"/>
          </a:ln>
          <a:extLst>
            <a:ext uri="{909E8E84-426E-40DD-AFC4-6F175D3DCCD1}">
              <a14:hiddenFill xmlns:a14="http://schemas.microsoft.com/office/drawing/2010/main">
                <a:noFill/>
              </a14:hiddenFill>
            </a:ext>
          </a:extLst>
        </p:spPr>
        <p:txBody>
          <a:bodyPr/>
          <a:lstStyle/>
          <a:p>
            <a:endParaRPr lang="en-US"/>
          </a:p>
        </p:txBody>
      </p:sp>
      <p:sp>
        <p:nvSpPr>
          <p:cNvPr id="122" name="Rectangle 3"/>
          <p:cNvSpPr>
            <a:spLocks noChangeArrowheads="1"/>
          </p:cNvSpPr>
          <p:nvPr/>
        </p:nvSpPr>
        <p:spPr bwMode="auto">
          <a:xfrm>
            <a:off x="7731703" y="2631507"/>
            <a:ext cx="5342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p>
            <a:pPr>
              <a:spcBef>
                <a:spcPct val="50000"/>
              </a:spcBef>
            </a:pPr>
            <a:r>
              <a:rPr lang="sv-SE" sz="1200" b="1" dirty="0">
                <a:solidFill>
                  <a:srgbClr val="7B0663"/>
                </a:solidFill>
              </a:rPr>
              <a:t>SRVCC</a:t>
            </a:r>
            <a:endParaRPr lang="en-US" sz="1200" b="1" dirty="0">
              <a:solidFill>
                <a:srgbClr val="7B0663"/>
              </a:solidFill>
            </a:endParaRPr>
          </a:p>
        </p:txBody>
      </p:sp>
      <p:sp>
        <p:nvSpPr>
          <p:cNvPr id="123" name="Rectangle 3"/>
          <p:cNvSpPr>
            <a:spLocks noChangeArrowheads="1"/>
          </p:cNvSpPr>
          <p:nvPr/>
        </p:nvSpPr>
        <p:spPr bwMode="auto">
          <a:xfrm>
            <a:off x="9068448" y="2523207"/>
            <a:ext cx="8720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p>
            <a:pPr>
              <a:spcBef>
                <a:spcPct val="50000"/>
              </a:spcBef>
            </a:pPr>
            <a:r>
              <a:rPr lang="sv-SE" sz="1200" b="1" dirty="0">
                <a:solidFill>
                  <a:srgbClr val="7B0663"/>
                </a:solidFill>
              </a:rPr>
              <a:t>SMS</a:t>
            </a:r>
            <a:br>
              <a:rPr lang="sv-SE" sz="1200" b="1" dirty="0">
                <a:solidFill>
                  <a:srgbClr val="7B0663"/>
                </a:solidFill>
              </a:rPr>
            </a:br>
            <a:r>
              <a:rPr lang="sv-SE" sz="1200" b="1" dirty="0">
                <a:solidFill>
                  <a:srgbClr val="7B0663"/>
                </a:solidFill>
              </a:rPr>
              <a:t>CS </a:t>
            </a:r>
            <a:r>
              <a:rPr lang="sv-SE" sz="1200" b="1" dirty="0" err="1">
                <a:solidFill>
                  <a:srgbClr val="7B0663"/>
                </a:solidFill>
              </a:rPr>
              <a:t>Fallback</a:t>
            </a:r>
            <a:br>
              <a:rPr lang="en-US" sz="1200" b="1" dirty="0">
                <a:solidFill>
                  <a:srgbClr val="7B0663"/>
                </a:solidFill>
              </a:rPr>
            </a:br>
            <a:r>
              <a:rPr lang="en-US" sz="1200" b="1" dirty="0">
                <a:solidFill>
                  <a:srgbClr val="7B0663"/>
                </a:solidFill>
              </a:rPr>
              <a:t>SRVCC</a:t>
            </a:r>
            <a:endParaRPr lang="sv-SE" sz="1200" b="1" dirty="0">
              <a:solidFill>
                <a:srgbClr val="7B0663"/>
              </a:solidFill>
            </a:endParaRPr>
          </a:p>
        </p:txBody>
      </p:sp>
      <p:grpSp>
        <p:nvGrpSpPr>
          <p:cNvPr id="124" name="Group 278"/>
          <p:cNvGrpSpPr>
            <a:grpSpLocks noChangeAspect="1"/>
          </p:cNvGrpSpPr>
          <p:nvPr/>
        </p:nvGrpSpPr>
        <p:grpSpPr bwMode="auto">
          <a:xfrm>
            <a:off x="8197332" y="3118392"/>
            <a:ext cx="734077" cy="1053987"/>
            <a:chOff x="3106" y="2389"/>
            <a:chExt cx="363" cy="520"/>
          </a:xfrm>
        </p:grpSpPr>
        <p:sp>
          <p:nvSpPr>
            <p:cNvPr id="12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2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2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8F3F7B"/>
                  </a:solidFill>
                  <a:effectLst/>
                  <a:uLnTx/>
                  <a:uFillTx/>
                  <a:latin typeface="Arial" pitchFamily="34" charset="0"/>
                  <a:ea typeface="MS PGothic" pitchFamily="34" charset="-128"/>
                </a:rPr>
                <a:t>LTE</a:t>
              </a:r>
              <a:endParaRPr kumimoji="0" lang="en-US" altLang="en-US" sz="2000" b="0" i="0" u="none" strike="noStrike" kern="0" cap="none" spc="0" normalizeH="0" baseline="0" noProof="0" dirty="0">
                <a:ln>
                  <a:noFill/>
                </a:ln>
                <a:solidFill>
                  <a:srgbClr val="8F3F7B"/>
                </a:solidFill>
                <a:effectLst/>
                <a:uLnTx/>
                <a:uFillTx/>
                <a:latin typeface="Arial" pitchFamily="34" charset="0"/>
                <a:ea typeface="MS PGothic" pitchFamily="34" charset="-128"/>
              </a:endParaRPr>
            </a:p>
          </p:txBody>
        </p:sp>
        <p:sp>
          <p:nvSpPr>
            <p:cNvPr id="12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2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130" name="Group 278"/>
          <p:cNvGrpSpPr>
            <a:grpSpLocks noChangeAspect="1"/>
          </p:cNvGrpSpPr>
          <p:nvPr/>
        </p:nvGrpSpPr>
        <p:grpSpPr bwMode="auto">
          <a:xfrm>
            <a:off x="8197332" y="4280094"/>
            <a:ext cx="734077" cy="1053987"/>
            <a:chOff x="3106" y="2389"/>
            <a:chExt cx="363" cy="520"/>
          </a:xfrm>
        </p:grpSpPr>
        <p:sp>
          <p:nvSpPr>
            <p:cNvPr id="13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3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3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dirty="0">
                  <a:ln>
                    <a:noFill/>
                  </a:ln>
                  <a:solidFill>
                    <a:srgbClr val="8F3F7B"/>
                  </a:solidFill>
                  <a:effectLst/>
                  <a:uLnTx/>
                  <a:uFillTx/>
                  <a:latin typeface="Arial" pitchFamily="34" charset="0"/>
                  <a:ea typeface="MS PGothic" pitchFamily="34" charset="-128"/>
                </a:rPr>
                <a:t> </a:t>
              </a:r>
              <a:r>
                <a:rPr kumimoji="0" lang="en-US" altLang="en-US" sz="1600" b="0" i="0" u="none" strike="noStrike" kern="0" cap="none" spc="0" normalizeH="0" baseline="0" noProof="0" dirty="0">
                  <a:ln>
                    <a:noFill/>
                  </a:ln>
                  <a:solidFill>
                    <a:srgbClr val="8F3F7B"/>
                  </a:solidFill>
                  <a:effectLst/>
                  <a:uLnTx/>
                  <a:uFillTx/>
                  <a:latin typeface="Arial" pitchFamily="34" charset="0"/>
                  <a:ea typeface="MS PGothic" pitchFamily="34" charset="-128"/>
                </a:rPr>
                <a:t>NR</a:t>
              </a:r>
            </a:p>
          </p:txBody>
        </p:sp>
        <p:sp>
          <p:nvSpPr>
            <p:cNvPr id="13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3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136" name="Connector: Elbow 135"/>
          <p:cNvCxnSpPr>
            <a:cxnSpLocks/>
            <a:stCxn id="127" idx="3"/>
          </p:cNvCxnSpPr>
          <p:nvPr/>
        </p:nvCxnSpPr>
        <p:spPr bwMode="auto">
          <a:xfrm>
            <a:off x="8892986" y="3920030"/>
            <a:ext cx="732794" cy="535396"/>
          </a:xfrm>
          <a:prstGeom prst="bentConnector3">
            <a:avLst/>
          </a:prstGeom>
          <a:solidFill>
            <a:schemeClr val="accent1"/>
          </a:solidFill>
          <a:ln w="12700" cap="flat" cmpd="sng" algn="ctr">
            <a:solidFill>
              <a:srgbClr val="7B0663"/>
            </a:solidFill>
            <a:prstDash val="dash"/>
            <a:round/>
            <a:headEnd type="none" w="med" len="med"/>
            <a:tailEnd type="none" w="med" len="med"/>
          </a:ln>
          <a:effectLst/>
        </p:spPr>
      </p:cxnSp>
      <p:cxnSp>
        <p:nvCxnSpPr>
          <p:cNvPr id="137" name="Connector: Elbow 136"/>
          <p:cNvCxnSpPr>
            <a:cxnSpLocks/>
            <a:stCxn id="133" idx="3"/>
          </p:cNvCxnSpPr>
          <p:nvPr/>
        </p:nvCxnSpPr>
        <p:spPr bwMode="auto">
          <a:xfrm flipV="1">
            <a:off x="8892986" y="4455426"/>
            <a:ext cx="732794" cy="62630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138" name="Connector: Elbow 137"/>
          <p:cNvCxnSpPr>
            <a:cxnSpLocks/>
            <a:stCxn id="127" idx="2"/>
            <a:endCxn id="132" idx="0"/>
          </p:cNvCxnSpPr>
          <p:nvPr/>
        </p:nvCxnSpPr>
        <p:spPr bwMode="auto">
          <a:xfrm rot="16200000" flipH="1">
            <a:off x="8489740" y="4220663"/>
            <a:ext cx="146226" cy="1011"/>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139" name="Straight Arrow Connector 138"/>
          <p:cNvCxnSpPr>
            <a:cxnSpLocks/>
          </p:cNvCxnSpPr>
          <p:nvPr/>
        </p:nvCxnSpPr>
        <p:spPr bwMode="auto">
          <a:xfrm flipV="1">
            <a:off x="6823001" y="1474059"/>
            <a:ext cx="0" cy="3228746"/>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w="med" len="med"/>
          </a:ln>
          <a:effectLst/>
        </p:spPr>
      </p:cxnSp>
      <p:sp>
        <p:nvSpPr>
          <p:cNvPr id="140" name="Rectangle 3"/>
          <p:cNvSpPr>
            <a:spLocks noChangeArrowheads="1"/>
          </p:cNvSpPr>
          <p:nvPr/>
        </p:nvSpPr>
        <p:spPr bwMode="auto">
          <a:xfrm>
            <a:off x="6517584" y="2036051"/>
            <a:ext cx="673261" cy="461665"/>
          </a:xfrm>
          <a:prstGeom prst="rect">
            <a:avLst/>
          </a:prstGeom>
          <a:solidFill>
            <a:schemeClr val="bg1"/>
          </a:solidFill>
          <a:ln>
            <a:noFill/>
          </a:ln>
          <a:extLst/>
        </p:spPr>
        <p:txBody>
          <a:bodyPr wrap="none" lIns="0" rIns="0">
            <a:spAutoFit/>
          </a:bodyPr>
          <a:lstStyle/>
          <a:p>
            <a:pPr>
              <a:spcBef>
                <a:spcPct val="50000"/>
              </a:spcBef>
            </a:pPr>
            <a:r>
              <a:rPr lang="en-US" sz="1200" b="1" dirty="0">
                <a:solidFill>
                  <a:schemeClr val="bg1">
                    <a:lumMod val="65000"/>
                  </a:schemeClr>
                </a:solidFill>
              </a:rPr>
              <a:t>CS voice</a:t>
            </a:r>
            <a:br>
              <a:rPr lang="en-US" sz="1200" b="1" dirty="0">
                <a:solidFill>
                  <a:schemeClr val="bg1">
                    <a:lumMod val="65000"/>
                  </a:schemeClr>
                </a:solidFill>
              </a:rPr>
            </a:br>
            <a:r>
              <a:rPr lang="en-US" sz="1200" b="1" dirty="0">
                <a:solidFill>
                  <a:schemeClr val="bg1">
                    <a:lumMod val="65000"/>
                  </a:schemeClr>
                </a:solidFill>
              </a:rPr>
              <a:t>coverage</a:t>
            </a:r>
          </a:p>
        </p:txBody>
      </p:sp>
      <p:cxnSp>
        <p:nvCxnSpPr>
          <p:cNvPr id="141" name="Straight Arrow Connector 140"/>
          <p:cNvCxnSpPr>
            <a:cxnSpLocks/>
          </p:cNvCxnSpPr>
          <p:nvPr/>
        </p:nvCxnSpPr>
        <p:spPr bwMode="auto">
          <a:xfrm>
            <a:off x="7521854" y="3248518"/>
            <a:ext cx="0" cy="2194093"/>
          </a:xfrm>
          <a:prstGeom prst="straightConnector1">
            <a:avLst/>
          </a:prstGeom>
          <a:solidFill>
            <a:schemeClr val="accent1"/>
          </a:solidFill>
          <a:ln w="12700" cap="flat" cmpd="sng" algn="ctr">
            <a:solidFill>
              <a:srgbClr val="7030A0"/>
            </a:solidFill>
            <a:prstDash val="solid"/>
            <a:round/>
            <a:headEnd type="triangle" w="med" len="med"/>
            <a:tailEnd type="triangle"/>
          </a:ln>
          <a:effectLst/>
        </p:spPr>
      </p:cxnSp>
      <p:sp>
        <p:nvSpPr>
          <p:cNvPr id="142" name="Rectangle 3"/>
          <p:cNvSpPr>
            <a:spLocks noChangeArrowheads="1"/>
          </p:cNvSpPr>
          <p:nvPr/>
        </p:nvSpPr>
        <p:spPr bwMode="auto">
          <a:xfrm>
            <a:off x="7235572" y="4708927"/>
            <a:ext cx="673261" cy="461665"/>
          </a:xfrm>
          <a:prstGeom prst="rect">
            <a:avLst/>
          </a:prstGeom>
          <a:solidFill>
            <a:schemeClr val="bg1"/>
          </a:solidFill>
          <a:ln>
            <a:noFill/>
          </a:ln>
          <a:extLst/>
        </p:spPr>
        <p:txBody>
          <a:bodyPr wrap="square" lIns="0" rIns="0">
            <a:spAutoFit/>
          </a:bodyPr>
          <a:lstStyle/>
          <a:p>
            <a:pPr>
              <a:spcBef>
                <a:spcPct val="50000"/>
              </a:spcBef>
            </a:pPr>
            <a:r>
              <a:rPr lang="en-US" sz="1200" b="1" dirty="0">
                <a:solidFill>
                  <a:srgbClr val="8F3F7B"/>
                </a:solidFill>
              </a:rPr>
              <a:t>LTE+NR</a:t>
            </a:r>
            <a:br>
              <a:rPr lang="en-US" sz="1200" b="1" dirty="0">
                <a:solidFill>
                  <a:srgbClr val="8F3F7B"/>
                </a:solidFill>
              </a:rPr>
            </a:br>
            <a:r>
              <a:rPr lang="en-US" sz="1200" b="1" dirty="0">
                <a:solidFill>
                  <a:srgbClr val="8F3F7B"/>
                </a:solidFill>
              </a:rPr>
              <a:t>coverage</a:t>
            </a:r>
          </a:p>
        </p:txBody>
      </p:sp>
    </p:spTree>
    <p:extLst>
      <p:ext uri="{BB962C8B-B14F-4D97-AF65-F5344CB8AC3E}">
        <p14:creationId xmlns:p14="http://schemas.microsoft.com/office/powerpoint/2010/main" val="171424600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S with 5gc deployment</a:t>
            </a:r>
            <a:br>
              <a:rPr lang="en-US" dirty="0"/>
            </a:br>
            <a:r>
              <a:rPr lang="en-US" sz="2800" dirty="0">
                <a:latin typeface="+mn-lt"/>
              </a:rPr>
              <a:t>5GC Standalone</a:t>
            </a:r>
          </a:p>
        </p:txBody>
      </p:sp>
      <p:sp>
        <p:nvSpPr>
          <p:cNvPr id="3" name="Text Placeholder 2"/>
          <p:cNvSpPr>
            <a:spLocks noGrp="1"/>
          </p:cNvSpPr>
          <p:nvPr>
            <p:ph type="body" idx="1"/>
          </p:nvPr>
        </p:nvSpPr>
        <p:spPr>
          <a:xfrm>
            <a:off x="118352" y="1483067"/>
            <a:ext cx="7698779" cy="5046816"/>
          </a:xfrm>
        </p:spPr>
        <p:txBody>
          <a:bodyPr/>
          <a:lstStyle/>
          <a:p>
            <a:r>
              <a:rPr lang="en-US" dirty="0"/>
              <a:t>5GC (Rel. 15) to support:</a:t>
            </a:r>
          </a:p>
          <a:p>
            <a:pPr lvl="1"/>
            <a:r>
              <a:rPr lang="en-US" dirty="0"/>
              <a:t>NR, LTE and Wi-Fi</a:t>
            </a:r>
          </a:p>
          <a:p>
            <a:pPr lvl="1"/>
            <a:r>
              <a:rPr lang="en-US" dirty="0"/>
              <a:t>NR control and user plane</a:t>
            </a:r>
          </a:p>
          <a:p>
            <a:pPr lvl="1"/>
            <a:r>
              <a:rPr lang="en-US" dirty="0"/>
              <a:t>Emergency and regulatory requirements</a:t>
            </a:r>
          </a:p>
          <a:p>
            <a:r>
              <a:rPr lang="en-US" dirty="0"/>
              <a:t>IMS Support</a:t>
            </a:r>
          </a:p>
          <a:p>
            <a:pPr lvl="1"/>
            <a:r>
              <a:rPr lang="en-US" dirty="0"/>
              <a:t>UE shall establish a PDU session with </a:t>
            </a:r>
            <a:r>
              <a:rPr lang="en-US" i="1" dirty="0"/>
              <a:t>session type=IP</a:t>
            </a:r>
            <a:r>
              <a:rPr lang="en-US" dirty="0"/>
              <a:t> for corresponding DNN</a:t>
            </a:r>
          </a:p>
          <a:p>
            <a:pPr lvl="1"/>
            <a:r>
              <a:rPr lang="en-US" i="1" dirty="0"/>
              <a:t>SSC mode 1 </a:t>
            </a:r>
            <a:r>
              <a:rPr lang="en-US" dirty="0"/>
              <a:t>should be used for the PDU session</a:t>
            </a:r>
          </a:p>
          <a:p>
            <a:pPr lvl="1"/>
            <a:r>
              <a:rPr lang="en-US" dirty="0"/>
              <a:t>P-CSCF discovery shall take place during the PDU session establishment procedure</a:t>
            </a:r>
          </a:p>
          <a:p>
            <a:pPr lvl="1"/>
            <a:r>
              <a:rPr lang="en-US" dirty="0"/>
              <a:t>It shall be possible establish at least one </a:t>
            </a:r>
            <a:r>
              <a:rPr lang="en-US" dirty="0" err="1"/>
              <a:t>QoS</a:t>
            </a:r>
            <a:r>
              <a:rPr lang="en-US" dirty="0"/>
              <a:t> flow with QFI for signaling</a:t>
            </a:r>
          </a:p>
          <a:p>
            <a:pPr lvl="1"/>
            <a:r>
              <a:rPr lang="en-US" dirty="0"/>
              <a:t>All associated media flows (RTP &amp; RTCP) to support a single media component are carried within the same </a:t>
            </a:r>
            <a:r>
              <a:rPr lang="en-US" dirty="0" err="1"/>
              <a:t>QoS</a:t>
            </a:r>
            <a:r>
              <a:rPr lang="en-US" dirty="0"/>
              <a:t> flow</a:t>
            </a:r>
          </a:p>
          <a:p>
            <a:endParaRPr lang="en-US" dirty="0"/>
          </a:p>
        </p:txBody>
      </p:sp>
      <p:sp>
        <p:nvSpPr>
          <p:cNvPr id="4" name="TextBox 3"/>
          <p:cNvSpPr txBox="1"/>
          <p:nvPr/>
        </p:nvSpPr>
        <p:spPr>
          <a:xfrm>
            <a:off x="8027451" y="1486346"/>
            <a:ext cx="2514362" cy="1015663"/>
          </a:xfrm>
          <a:prstGeom prst="rect">
            <a:avLst/>
          </a:prstGeom>
          <a:noFill/>
        </p:spPr>
        <p:txBody>
          <a:bodyPr wrap="square" rtlCol="0">
            <a:spAutoFit/>
          </a:bodyPr>
          <a:lstStyle/>
          <a:p>
            <a:r>
              <a:rPr lang="en-US" b="1">
                <a:solidFill>
                  <a:srgbClr val="00285F"/>
                </a:solidFill>
              </a:rPr>
              <a:t>IMS with 5GC deployment </a:t>
            </a:r>
            <a:br>
              <a:rPr lang="en-US" b="1">
                <a:solidFill>
                  <a:srgbClr val="00285F"/>
                </a:solidFill>
              </a:rPr>
            </a:br>
            <a:r>
              <a:rPr lang="en-US" b="1">
                <a:solidFill>
                  <a:srgbClr val="00285F"/>
                </a:solidFill>
              </a:rPr>
              <a:t>(</a:t>
            </a:r>
            <a:r>
              <a:rPr lang="en-US" sz="2000" b="1">
                <a:solidFill>
                  <a:srgbClr val="00285F"/>
                </a:solidFill>
              </a:rPr>
              <a:t>options 2, 4, 5, 7)</a:t>
            </a:r>
          </a:p>
        </p:txBody>
      </p:sp>
      <p:grpSp>
        <p:nvGrpSpPr>
          <p:cNvPr id="5" name="Group 278"/>
          <p:cNvGrpSpPr>
            <a:grpSpLocks noChangeAspect="1"/>
          </p:cNvGrpSpPr>
          <p:nvPr/>
        </p:nvGrpSpPr>
        <p:grpSpPr bwMode="auto">
          <a:xfrm>
            <a:off x="8027451" y="2899860"/>
            <a:ext cx="734077" cy="1053987"/>
            <a:chOff x="3106" y="2389"/>
            <a:chExt cx="363" cy="520"/>
          </a:xfrm>
        </p:grpSpPr>
        <p:sp>
          <p:nvSpPr>
            <p:cNvPr id="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NR</a:t>
              </a:r>
              <a:endParaRPr kumimoji="0" lang="en-US" altLang="en-US" sz="2000" b="0" i="0" u="none" strike="noStrike" kern="0" cap="none" spc="0" normalizeH="0" baseline="0">
                <a:ln>
                  <a:noFill/>
                </a:ln>
                <a:solidFill>
                  <a:srgbClr val="8F3F7B"/>
                </a:solidFill>
                <a:effectLst/>
                <a:uLnTx/>
                <a:uFillTx/>
                <a:latin typeface="Arial" pitchFamily="34" charset="0"/>
                <a:ea typeface="MS PGothic" pitchFamily="34" charset="-128"/>
              </a:endParaRPr>
            </a:p>
          </p:txBody>
        </p:sp>
        <p:sp>
          <p:nvSpPr>
            <p:cNvPr id="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1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grpSp>
        <p:nvGrpSpPr>
          <p:cNvPr id="11" name="Group 261"/>
          <p:cNvGrpSpPr>
            <a:grpSpLocks noChangeAspect="1"/>
          </p:cNvGrpSpPr>
          <p:nvPr/>
        </p:nvGrpSpPr>
        <p:grpSpPr bwMode="auto">
          <a:xfrm>
            <a:off x="9420894" y="3446046"/>
            <a:ext cx="747463" cy="1039799"/>
            <a:chOff x="239" y="1832"/>
            <a:chExt cx="363" cy="520"/>
          </a:xfrm>
        </p:grpSpPr>
        <p:sp>
          <p:nvSpPr>
            <p:cNvPr id="1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5GC</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1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6"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7" name="Group 261"/>
          <p:cNvGrpSpPr>
            <a:grpSpLocks noChangeAspect="1"/>
          </p:cNvGrpSpPr>
          <p:nvPr/>
        </p:nvGrpSpPr>
        <p:grpSpPr bwMode="auto">
          <a:xfrm>
            <a:off x="10482527" y="3437974"/>
            <a:ext cx="747463" cy="1039799"/>
            <a:chOff x="239" y="1832"/>
            <a:chExt cx="363" cy="520"/>
          </a:xfrm>
        </p:grpSpPr>
        <p:sp>
          <p:nvSpPr>
            <p:cNvPr id="1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IMS Core</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2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2"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3" name="Group 278"/>
          <p:cNvGrpSpPr>
            <a:grpSpLocks noChangeAspect="1"/>
          </p:cNvGrpSpPr>
          <p:nvPr/>
        </p:nvGrpSpPr>
        <p:grpSpPr bwMode="auto">
          <a:xfrm>
            <a:off x="8027451" y="4061562"/>
            <a:ext cx="734077" cy="1053987"/>
            <a:chOff x="3106" y="2389"/>
            <a:chExt cx="363" cy="520"/>
          </a:xfrm>
        </p:grpSpPr>
        <p:sp>
          <p:nvSpPr>
            <p:cNvPr id="2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a:ln>
                    <a:noFill/>
                  </a:ln>
                  <a:solidFill>
                    <a:srgbClr val="8F3F7B"/>
                  </a:solidFill>
                  <a:effectLst/>
                  <a:uLnTx/>
                  <a:uFillTx/>
                  <a:latin typeface="Arial" pitchFamily="34" charset="0"/>
                  <a:ea typeface="MS PGothic" pitchFamily="34" charset="-128"/>
                </a:rPr>
                <a:t> </a:t>
              </a: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LTE</a:t>
              </a:r>
            </a:p>
          </p:txBody>
        </p:sp>
        <p:sp>
          <p:nvSpPr>
            <p:cNvPr id="2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2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sp>
        <p:nvSpPr>
          <p:cNvPr id="29" name="Oval 48"/>
          <p:cNvSpPr>
            <a:spLocks noChangeAspect="1" noChangeArrowheads="1"/>
          </p:cNvSpPr>
          <p:nvPr/>
        </p:nvSpPr>
        <p:spPr bwMode="auto">
          <a:xfrm>
            <a:off x="10292319" y="2949122"/>
            <a:ext cx="1051498" cy="565428"/>
          </a:xfrm>
          <a:prstGeom prst="ellipse">
            <a:avLst/>
          </a:prstGeom>
          <a:blipFill dpi="0" rotWithShape="1">
            <a:blip r:embed="rId3"/>
            <a:srcRect/>
            <a:stretch>
              <a:fillRect/>
            </a:stretch>
          </a:blip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50000"/>
              </a:spcBef>
            </a:pPr>
            <a:r>
              <a:rPr lang="en-US" sz="1100" b="1">
                <a:solidFill>
                  <a:schemeClr val="bg1"/>
                </a:solidFill>
              </a:rPr>
              <a:t>Voice</a:t>
            </a:r>
            <a:br>
              <a:rPr lang="en-US" sz="1100" b="1">
                <a:solidFill>
                  <a:schemeClr val="bg1"/>
                </a:solidFill>
              </a:rPr>
            </a:br>
            <a:r>
              <a:rPr lang="en-US" sz="1100" b="1">
                <a:solidFill>
                  <a:schemeClr val="bg1"/>
                </a:solidFill>
              </a:rPr>
              <a:t>Video</a:t>
            </a:r>
            <a:br>
              <a:rPr lang="en-US" sz="1100" b="1">
                <a:solidFill>
                  <a:schemeClr val="bg1"/>
                </a:solidFill>
              </a:rPr>
            </a:br>
            <a:r>
              <a:rPr lang="en-US" sz="1100" b="1">
                <a:solidFill>
                  <a:schemeClr val="bg1"/>
                </a:solidFill>
              </a:rPr>
              <a:t>SMS</a:t>
            </a:r>
          </a:p>
        </p:txBody>
      </p:sp>
      <p:sp>
        <p:nvSpPr>
          <p:cNvPr id="30" name="Oval 48"/>
          <p:cNvSpPr>
            <a:spLocks noChangeAspect="1" noChangeArrowheads="1"/>
          </p:cNvSpPr>
          <p:nvPr/>
        </p:nvSpPr>
        <p:spPr bwMode="auto">
          <a:xfrm>
            <a:off x="10933755" y="3387122"/>
            <a:ext cx="1051498" cy="354867"/>
          </a:xfrm>
          <a:prstGeom prst="ellipse">
            <a:avLst/>
          </a:prstGeom>
          <a:solidFill>
            <a:srgbClr val="00A9D4"/>
          </a:solidFill>
          <a:ln w="12700" cap="flat" cmpd="sng" algn="ctr">
            <a:solidFill>
              <a:schemeClr val="tx1"/>
            </a:solidFill>
            <a:prstDash val="dash"/>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200" b="1">
                <a:solidFill>
                  <a:schemeClr val="bg1"/>
                </a:solidFill>
              </a:rPr>
              <a:t>RCS</a:t>
            </a:r>
          </a:p>
        </p:txBody>
      </p:sp>
      <p:cxnSp>
        <p:nvCxnSpPr>
          <p:cNvPr id="31" name="Connector: Elbow 30"/>
          <p:cNvCxnSpPr>
            <a:cxnSpLocks/>
            <a:stCxn id="8" idx="3"/>
            <a:endCxn id="14" idx="1"/>
          </p:cNvCxnSpPr>
          <p:nvPr/>
        </p:nvCxnSpPr>
        <p:spPr bwMode="auto">
          <a:xfrm>
            <a:off x="8723105" y="3701498"/>
            <a:ext cx="732794" cy="53539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2" name="Connector: Elbow 31"/>
          <p:cNvCxnSpPr>
            <a:cxnSpLocks/>
            <a:stCxn id="26" idx="3"/>
          </p:cNvCxnSpPr>
          <p:nvPr/>
        </p:nvCxnSpPr>
        <p:spPr bwMode="auto">
          <a:xfrm flipV="1">
            <a:off x="8723105" y="4245494"/>
            <a:ext cx="726998" cy="61770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3" name="Connector: Elbow 32"/>
          <p:cNvCxnSpPr>
            <a:cxnSpLocks/>
            <a:stCxn id="8" idx="2"/>
            <a:endCxn id="25" idx="0"/>
          </p:cNvCxnSpPr>
          <p:nvPr/>
        </p:nvCxnSpPr>
        <p:spPr bwMode="auto">
          <a:xfrm rot="16200000" flipH="1">
            <a:off x="8319859" y="4002131"/>
            <a:ext cx="146226" cy="1011"/>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4" name="Connector: Elbow 33"/>
          <p:cNvCxnSpPr>
            <a:cxnSpLocks/>
          </p:cNvCxnSpPr>
          <p:nvPr/>
        </p:nvCxnSpPr>
        <p:spPr bwMode="auto">
          <a:xfrm>
            <a:off x="10168357" y="4228822"/>
            <a:ext cx="328584" cy="12700"/>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spTree>
    <p:extLst>
      <p:ext uri="{BB962C8B-B14F-4D97-AF65-F5344CB8AC3E}">
        <p14:creationId xmlns:p14="http://schemas.microsoft.com/office/powerpoint/2010/main" val="310738359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MS with 5GC Deployment</a:t>
            </a:r>
            <a:br>
              <a:rPr lang="en-US" dirty="0"/>
            </a:br>
            <a:r>
              <a:rPr lang="en-US" sz="3100" dirty="0">
                <a:latin typeface="+mn-lt"/>
              </a:rPr>
              <a:t>Interworking via EPC</a:t>
            </a:r>
            <a:br>
              <a:rPr lang="en-US" sz="3100" dirty="0"/>
            </a:br>
            <a:endParaRPr lang="en-US" sz="3100" dirty="0"/>
          </a:p>
        </p:txBody>
      </p:sp>
      <p:sp>
        <p:nvSpPr>
          <p:cNvPr id="3" name="Text Placeholder 2"/>
          <p:cNvSpPr>
            <a:spLocks noGrp="1"/>
          </p:cNvSpPr>
          <p:nvPr>
            <p:ph type="body" idx="1"/>
          </p:nvPr>
        </p:nvSpPr>
        <p:spPr>
          <a:xfrm>
            <a:off x="529167" y="1799999"/>
            <a:ext cx="6681101" cy="4564251"/>
          </a:xfrm>
        </p:spPr>
        <p:txBody>
          <a:bodyPr/>
          <a:lstStyle/>
          <a:p>
            <a:r>
              <a:rPr lang="en-US" dirty="0"/>
              <a:t>Seamless voice service provided using IRAT HO between 4G and 5G by tight interworking 5GC/EPC</a:t>
            </a:r>
          </a:p>
          <a:p>
            <a:r>
              <a:rPr lang="en-US" dirty="0"/>
              <a:t>CS interworking  from EPC 4G  for the case:</a:t>
            </a:r>
          </a:p>
          <a:p>
            <a:pPr lvl="1"/>
            <a:r>
              <a:rPr lang="en-US" dirty="0">
                <a:sym typeface="Wingdings" panose="05000000000000000000" pitchFamily="2" charset="2"/>
              </a:rPr>
              <a:t>5G RAN (LTE+NR) with 5GC does not provide IMS voice service in full coverage</a:t>
            </a:r>
          </a:p>
          <a:p>
            <a:pPr lvl="1"/>
            <a:r>
              <a:rPr lang="en-US" dirty="0">
                <a:sym typeface="Wingdings" panose="05000000000000000000" pitchFamily="2" charset="2"/>
              </a:rPr>
              <a:t>Surrounding 4G with EPC provides IMS voice service</a:t>
            </a:r>
          </a:p>
          <a:p>
            <a:r>
              <a:rPr lang="en-US" dirty="0">
                <a:sym typeface="Wingdings" panose="05000000000000000000" pitchFamily="2" charset="2"/>
              </a:rPr>
              <a:t>Support for SMS over NAS in 5GC via SMSF</a:t>
            </a:r>
            <a:endParaRPr lang="en-US" dirty="0"/>
          </a:p>
        </p:txBody>
      </p:sp>
      <p:sp>
        <p:nvSpPr>
          <p:cNvPr id="4" name="TextBox 3"/>
          <p:cNvSpPr txBox="1"/>
          <p:nvPr/>
        </p:nvSpPr>
        <p:spPr>
          <a:xfrm>
            <a:off x="7966449" y="1354640"/>
            <a:ext cx="3422535" cy="707886"/>
          </a:xfrm>
          <a:prstGeom prst="rect">
            <a:avLst/>
          </a:prstGeom>
          <a:noFill/>
        </p:spPr>
        <p:txBody>
          <a:bodyPr wrap="square" rtlCol="0">
            <a:spAutoFit/>
          </a:bodyPr>
          <a:lstStyle/>
          <a:p>
            <a:r>
              <a:rPr lang="en-US" sz="2000" b="1" dirty="0">
                <a:solidFill>
                  <a:srgbClr val="00285F"/>
                </a:solidFill>
              </a:rPr>
              <a:t>IMS with both EPC and 5GC deployment</a:t>
            </a:r>
          </a:p>
        </p:txBody>
      </p:sp>
      <p:grpSp>
        <p:nvGrpSpPr>
          <p:cNvPr id="56" name="Group 278"/>
          <p:cNvGrpSpPr>
            <a:grpSpLocks noChangeAspect="1"/>
          </p:cNvGrpSpPr>
          <p:nvPr/>
        </p:nvGrpSpPr>
        <p:grpSpPr bwMode="auto">
          <a:xfrm>
            <a:off x="8626690" y="4065473"/>
            <a:ext cx="734077" cy="1053987"/>
            <a:chOff x="3106" y="2389"/>
            <a:chExt cx="363" cy="520"/>
          </a:xfrm>
        </p:grpSpPr>
        <p:sp>
          <p:nvSpPr>
            <p:cNvPr id="5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5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5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8F3F7B"/>
                  </a:solidFill>
                  <a:effectLst/>
                  <a:uLnTx/>
                  <a:uFillTx/>
                  <a:latin typeface="Arial" pitchFamily="34" charset="0"/>
                  <a:ea typeface="MS PGothic" pitchFamily="34" charset="-128"/>
                </a:rPr>
                <a:t>LTE</a:t>
              </a:r>
              <a:endParaRPr kumimoji="0" lang="en-US" altLang="en-US" sz="2000" b="0" i="0" u="none" strike="noStrike" kern="0" cap="none" spc="0" normalizeH="0" baseline="0" noProof="0" dirty="0">
                <a:ln>
                  <a:noFill/>
                </a:ln>
                <a:solidFill>
                  <a:srgbClr val="8F3F7B"/>
                </a:solidFill>
                <a:effectLst/>
                <a:uLnTx/>
                <a:uFillTx/>
                <a:latin typeface="Arial" pitchFamily="34" charset="0"/>
                <a:ea typeface="MS PGothic" pitchFamily="34" charset="-128"/>
              </a:endParaRPr>
            </a:p>
          </p:txBody>
        </p:sp>
        <p:sp>
          <p:nvSpPr>
            <p:cNvPr id="6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6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62" name="Group 261"/>
          <p:cNvGrpSpPr>
            <a:grpSpLocks noChangeAspect="1"/>
          </p:cNvGrpSpPr>
          <p:nvPr/>
        </p:nvGrpSpPr>
        <p:grpSpPr bwMode="auto">
          <a:xfrm>
            <a:off x="11071640" y="4080648"/>
            <a:ext cx="747463" cy="1039799"/>
            <a:chOff x="239" y="1832"/>
            <a:chExt cx="363" cy="520"/>
          </a:xfrm>
        </p:grpSpPr>
        <p:sp>
          <p:nvSpPr>
            <p:cNvPr id="6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6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6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IMS Core</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6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67"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68" name="Line 7"/>
          <p:cNvSpPr>
            <a:spLocks noChangeShapeType="1"/>
          </p:cNvSpPr>
          <p:nvPr/>
        </p:nvSpPr>
        <p:spPr bwMode="auto">
          <a:xfrm>
            <a:off x="9249774" y="3147417"/>
            <a:ext cx="760233" cy="0"/>
          </a:xfrm>
          <a:prstGeom prst="line">
            <a:avLst/>
          </a:prstGeom>
          <a:noFill/>
          <a:ln w="12700">
            <a:solidFill>
              <a:srgbClr val="00B0F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69" name="Group 68"/>
          <p:cNvGrpSpPr/>
          <p:nvPr/>
        </p:nvGrpSpPr>
        <p:grpSpPr>
          <a:xfrm>
            <a:off x="9984134" y="2485732"/>
            <a:ext cx="795090" cy="1011662"/>
            <a:chOff x="7082284" y="5472519"/>
            <a:chExt cx="756791" cy="1085673"/>
          </a:xfrm>
        </p:grpSpPr>
        <p:sp>
          <p:nvSpPr>
            <p:cNvPr id="70" name="Text Box 5"/>
            <p:cNvSpPr txBox="1">
              <a:spLocks noChangeAspect="1" noChangeArrowheads="1"/>
            </p:cNvSpPr>
            <p:nvPr/>
          </p:nvSpPr>
          <p:spPr bwMode="auto">
            <a:xfrm>
              <a:off x="7209686" y="6104342"/>
              <a:ext cx="501984" cy="411215"/>
            </a:xfrm>
            <a:prstGeom prst="rect">
              <a:avLst/>
            </a:prstGeom>
            <a:noFill/>
            <a:ln>
              <a:noFill/>
            </a:ln>
            <a:extLst>
              <a:ext uri="{909E8E84-426E-40DD-AFC4-6F175D3DCCD1}">
                <a14:hiddenFill xmlns:a14="http://schemas.microsoft.com/office/drawing/2010/main">
                  <a:solidFill>
                    <a:srgbClr val="00A9D4"/>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spcBef>
                  <a:spcPts val="300"/>
                </a:spcBef>
              </a:pPr>
              <a:r>
                <a:rPr lang="en-US" sz="1400" dirty="0">
                  <a:solidFill>
                    <a:srgbClr val="00A9D4"/>
                  </a:solidFill>
                </a:rPr>
                <a:t>MSC</a:t>
              </a:r>
            </a:p>
            <a:p>
              <a:pPr algn="ctr" eaLnBrk="1" hangingPunct="1">
                <a:lnSpc>
                  <a:spcPct val="80000"/>
                </a:lnSpc>
                <a:spcBef>
                  <a:spcPts val="300"/>
                </a:spcBef>
              </a:pPr>
              <a:r>
                <a:rPr lang="en-US" sz="1400" dirty="0">
                  <a:solidFill>
                    <a:srgbClr val="00A9D4"/>
                  </a:solidFill>
                </a:rPr>
                <a:t>MGCF</a:t>
              </a:r>
              <a:endParaRPr lang="sv-SE" sz="1100" dirty="0">
                <a:solidFill>
                  <a:srgbClr val="00A9D4"/>
                </a:solidFill>
              </a:endParaRPr>
            </a:p>
          </p:txBody>
        </p:sp>
        <p:sp>
          <p:nvSpPr>
            <p:cNvPr id="71" name="Freeform 10"/>
            <p:cNvSpPr>
              <a:spLocks noChangeAspect="1" noEditPoints="1"/>
            </p:cNvSpPr>
            <p:nvPr/>
          </p:nvSpPr>
          <p:spPr bwMode="auto">
            <a:xfrm>
              <a:off x="7082284" y="5472519"/>
              <a:ext cx="756791" cy="1085673"/>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2147483647 w 410"/>
                <a:gd name="T81" fmla="*/ 2147483647 h 589"/>
                <a:gd name="T82" fmla="*/ 2147483647 w 410"/>
                <a:gd name="T83" fmla="*/ 2147483647 h 589"/>
                <a:gd name="T84" fmla="*/ 2147483647 w 410"/>
                <a:gd name="T85" fmla="*/ 2147483647 h 589"/>
                <a:gd name="T86" fmla="*/ 2147483647 w 410"/>
                <a:gd name="T87" fmla="*/ 2147483647 h 589"/>
                <a:gd name="T88" fmla="*/ 2147483647 w 410"/>
                <a:gd name="T89" fmla="*/ 2147483647 h 589"/>
                <a:gd name="T90" fmla="*/ 2147483647 w 410"/>
                <a:gd name="T91" fmla="*/ 2147483647 h 589"/>
                <a:gd name="T92" fmla="*/ 2147483647 w 410"/>
                <a:gd name="T93" fmla="*/ 214748364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00A9D4"/>
            </a:solidFill>
            <a:ln>
              <a:noFill/>
            </a:ln>
          </p:spPr>
          <p:txBody>
            <a:bodyPr tIns="1080000" anchor="ctr"/>
            <a:lstStyle/>
            <a:p>
              <a:pPr algn="ctr"/>
              <a:endParaRPr lang="en-US" sz="2400"/>
            </a:p>
          </p:txBody>
        </p:sp>
      </p:grpSp>
      <p:grpSp>
        <p:nvGrpSpPr>
          <p:cNvPr id="72" name="Group 278"/>
          <p:cNvGrpSpPr>
            <a:grpSpLocks noChangeAspect="1"/>
          </p:cNvGrpSpPr>
          <p:nvPr/>
        </p:nvGrpSpPr>
        <p:grpSpPr bwMode="auto">
          <a:xfrm>
            <a:off x="8580696" y="2402832"/>
            <a:ext cx="796320" cy="1144902"/>
            <a:chOff x="3106" y="2389"/>
            <a:chExt cx="363" cy="520"/>
          </a:xfrm>
        </p:grpSpPr>
        <p:sp>
          <p:nvSpPr>
            <p:cNvPr id="7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p>
              <a:pPr algn="ctr"/>
              <a:endParaRPr lang="sv-SE" altLang="sv-SE" sz="900">
                <a:solidFill>
                  <a:srgbClr val="000000"/>
                </a:solidFill>
              </a:endParaRPr>
            </a:p>
          </p:txBody>
        </p:sp>
        <p:sp>
          <p:nvSpPr>
            <p:cNvPr id="74" name="Oval 221"/>
            <p:cNvSpPr>
              <a:spLocks noChangeAspect="1" noChangeArrowheads="1"/>
            </p:cNvSpPr>
            <p:nvPr/>
          </p:nvSpPr>
          <p:spPr bwMode="auto">
            <a:xfrm>
              <a:off x="3111" y="2396"/>
              <a:ext cx="352" cy="355"/>
            </a:xfrm>
            <a:prstGeom prst="ellipse">
              <a:avLst/>
            </a:prstGeom>
            <a:solidFill>
              <a:schemeClr val="bg1"/>
            </a:solidFill>
            <a:ln w="12700" algn="ctr">
              <a:solidFill>
                <a:schemeClr val="bg1"/>
              </a:solidFill>
              <a:round/>
              <a:headEnd/>
              <a:tailEnd/>
            </a:ln>
          </p:spPr>
          <p:txBody>
            <a:bodyPr wrap="none" lIns="0" rIns="0" anchor="ctr"/>
            <a:lstStyle/>
            <a:p>
              <a:pPr algn="ctr"/>
              <a:endParaRPr lang="sv-SE" altLang="sv-SE" sz="900">
                <a:solidFill>
                  <a:srgbClr val="000000"/>
                </a:solidFill>
              </a:endParaRPr>
            </a:p>
          </p:txBody>
        </p:sp>
        <p:sp>
          <p:nvSpPr>
            <p:cNvPr id="7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sv-SE" sz="1400" dirty="0">
                  <a:solidFill>
                    <a:schemeClr val="bg1">
                      <a:lumMod val="65000"/>
                    </a:schemeClr>
                  </a:solidFill>
                  <a:ea typeface="MS PGothic" pitchFamily="34" charset="-128"/>
                </a:rPr>
                <a:t>2G/3G RAN </a:t>
              </a:r>
            </a:p>
          </p:txBody>
        </p:sp>
        <p:sp>
          <p:nvSpPr>
            <p:cNvPr id="7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p>
              <a:pPr algn="ctr"/>
              <a:endParaRPr lang="sv-SE" altLang="sv-SE" sz="900">
                <a:solidFill>
                  <a:srgbClr val="000000"/>
                </a:solidFill>
              </a:endParaRPr>
            </a:p>
          </p:txBody>
        </p:sp>
        <p:sp>
          <p:nvSpPr>
            <p:cNvPr id="77" name="Freeform 11"/>
            <p:cNvSpPr>
              <a:spLocks noChangeAspect="1" noEditPoints="1"/>
            </p:cNvSpPr>
            <p:nvPr/>
          </p:nvSpPr>
          <p:spPr bwMode="auto">
            <a:xfrm>
              <a:off x="3106" y="2389"/>
              <a:ext cx="363" cy="520"/>
            </a:xfrm>
            <a:custGeom>
              <a:avLst/>
              <a:gdLst>
                <a:gd name="T0" fmla="*/ 440937 w 410"/>
                <a:gd name="T1" fmla="*/ 252700 h 589"/>
                <a:gd name="T2" fmla="*/ 414078 w 410"/>
                <a:gd name="T3" fmla="*/ 610960 h 589"/>
                <a:gd name="T4" fmla="*/ 17906 w 410"/>
                <a:gd name="T5" fmla="*/ 585370 h 589"/>
                <a:gd name="T6" fmla="*/ 229422 w 410"/>
                <a:gd name="T7" fmla="*/ 17059 h 589"/>
                <a:gd name="T8" fmla="*/ 449891 w 410"/>
                <a:gd name="T9" fmla="*/ 227111 h 589"/>
                <a:gd name="T10" fmla="*/ 458843 w 410"/>
                <a:gd name="T11" fmla="*/ 218580 h 589"/>
                <a:gd name="T12" fmla="*/ 0 w 410"/>
                <a:gd name="T13" fmla="*/ 218580 h 589"/>
                <a:gd name="T14" fmla="*/ 1118 w 410"/>
                <a:gd name="T15" fmla="*/ 585370 h 589"/>
                <a:gd name="T16" fmla="*/ 414078 w 410"/>
                <a:gd name="T17" fmla="*/ 628021 h 589"/>
                <a:gd name="T18" fmla="*/ 458843 w 410"/>
                <a:gd name="T19" fmla="*/ 252700 h 589"/>
                <a:gd name="T20" fmla="*/ 340216 w 410"/>
                <a:gd name="T21" fmla="*/ 308145 h 589"/>
                <a:gd name="T22" fmla="*/ 282021 w 410"/>
                <a:gd name="T23" fmla="*/ 146077 h 589"/>
                <a:gd name="T24" fmla="*/ 266353 w 410"/>
                <a:gd name="T25" fmla="*/ 122618 h 589"/>
                <a:gd name="T26" fmla="*/ 264115 w 410"/>
                <a:gd name="T27" fmla="*/ 146077 h 589"/>
                <a:gd name="T28" fmla="*/ 193609 w 410"/>
                <a:gd name="T29" fmla="*/ 146077 h 589"/>
                <a:gd name="T30" fmla="*/ 241733 w 410"/>
                <a:gd name="T31" fmla="*/ 114089 h 589"/>
                <a:gd name="T32" fmla="*/ 247328 w 410"/>
                <a:gd name="T33" fmla="*/ 99161 h 589"/>
                <a:gd name="T34" fmla="*/ 175703 w 410"/>
                <a:gd name="T35" fmla="*/ 146077 h 589"/>
                <a:gd name="T36" fmla="*/ 118628 w 410"/>
                <a:gd name="T37" fmla="*/ 308145 h 589"/>
                <a:gd name="T38" fmla="*/ 125343 w 410"/>
                <a:gd name="T39" fmla="*/ 323074 h 589"/>
                <a:gd name="T40" fmla="*/ 191371 w 410"/>
                <a:gd name="T41" fmla="*/ 317742 h 589"/>
                <a:gd name="T42" fmla="*/ 267473 w 410"/>
                <a:gd name="T43" fmla="*/ 317742 h 589"/>
                <a:gd name="T44" fmla="*/ 334620 w 410"/>
                <a:gd name="T45" fmla="*/ 323074 h 589"/>
                <a:gd name="T46" fmla="*/ 340216 w 410"/>
                <a:gd name="T47" fmla="*/ 308145 h 589"/>
                <a:gd name="T48" fmla="*/ 252923 w 410"/>
                <a:gd name="T49" fmla="*/ 237773 h 589"/>
                <a:gd name="T50" fmla="*/ 203681 w 410"/>
                <a:gd name="T51" fmla="*/ 237773 h 589"/>
                <a:gd name="T52" fmla="*/ 280902 w 410"/>
                <a:gd name="T53" fmla="*/ 306012 h 589"/>
                <a:gd name="T54" fmla="*/ 176822 w 410"/>
                <a:gd name="T55" fmla="*/ 306012 h 589"/>
                <a:gd name="T56" fmla="*/ 185775 w 410"/>
                <a:gd name="T57" fmla="*/ 262297 h 589"/>
                <a:gd name="T58" fmla="*/ 271949 w 410"/>
                <a:gd name="T59" fmla="*/ 262297 h 589"/>
                <a:gd name="T60" fmla="*/ 280902 w 410"/>
                <a:gd name="T61" fmla="*/ 306012 h 589"/>
                <a:gd name="T62" fmla="*/ 293212 w 410"/>
                <a:gd name="T63" fmla="*/ 195124 h 589"/>
                <a:gd name="T64" fmla="*/ 302165 w 410"/>
                <a:gd name="T65" fmla="*/ 146077 h 589"/>
                <a:gd name="T66" fmla="*/ 293212 w 410"/>
                <a:gd name="T67" fmla="*/ 95962 h 589"/>
                <a:gd name="T68" fmla="*/ 320071 w 410"/>
                <a:gd name="T69" fmla="*/ 146077 h 589"/>
                <a:gd name="T70" fmla="*/ 297690 w 410"/>
                <a:gd name="T71" fmla="*/ 197256 h 589"/>
                <a:gd name="T72" fmla="*/ 324549 w 410"/>
                <a:gd name="T73" fmla="*/ 215382 h 589"/>
                <a:gd name="T74" fmla="*/ 340216 w 410"/>
                <a:gd name="T75" fmla="*/ 146077 h 589"/>
                <a:gd name="T76" fmla="*/ 324549 w 410"/>
                <a:gd name="T77" fmla="*/ 76770 h 589"/>
                <a:gd name="T78" fmla="*/ 358121 w 410"/>
                <a:gd name="T79" fmla="*/ 146077 h 589"/>
                <a:gd name="T80" fmla="*/ 330143 w 410"/>
                <a:gd name="T81" fmla="*/ 216449 h 589"/>
                <a:gd name="T82" fmla="*/ 165632 w 410"/>
                <a:gd name="T83" fmla="*/ 195124 h 589"/>
                <a:gd name="T84" fmla="*/ 156679 w 410"/>
                <a:gd name="T85" fmla="*/ 146077 h 589"/>
                <a:gd name="T86" fmla="*/ 165632 w 410"/>
                <a:gd name="T87" fmla="*/ 95962 h 589"/>
                <a:gd name="T88" fmla="*/ 138771 w 410"/>
                <a:gd name="T89" fmla="*/ 146077 h 589"/>
                <a:gd name="T90" fmla="*/ 161154 w 410"/>
                <a:gd name="T91" fmla="*/ 197256 h 589"/>
                <a:gd name="T92" fmla="*/ 134296 w 410"/>
                <a:gd name="T93" fmla="*/ 215382 h 589"/>
                <a:gd name="T94" fmla="*/ 118628 w 410"/>
                <a:gd name="T95" fmla="*/ 146077 h 589"/>
                <a:gd name="T96" fmla="*/ 134296 w 410"/>
                <a:gd name="T97" fmla="*/ 76770 h 589"/>
                <a:gd name="T98" fmla="*/ 100721 w 410"/>
                <a:gd name="T99" fmla="*/ 146077 h 589"/>
                <a:gd name="T100" fmla="*/ 128700 w 410"/>
                <a:gd name="T101" fmla="*/ 216449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900"/>
            </a:p>
          </p:txBody>
        </p:sp>
      </p:grpSp>
      <p:sp>
        <p:nvSpPr>
          <p:cNvPr id="78" name="Line 7"/>
          <p:cNvSpPr>
            <a:spLocks noChangeShapeType="1"/>
          </p:cNvSpPr>
          <p:nvPr/>
        </p:nvSpPr>
        <p:spPr bwMode="auto">
          <a:xfrm>
            <a:off x="10394973" y="3479317"/>
            <a:ext cx="3539" cy="557061"/>
          </a:xfrm>
          <a:prstGeom prst="line">
            <a:avLst/>
          </a:prstGeom>
          <a:ln w="9525" cap="flat" cmpd="sng" algn="ctr">
            <a:solidFill>
              <a:schemeClr val="accent1"/>
            </a:solidFill>
            <a:prstDash val="dash"/>
            <a:round/>
            <a:headEnd type="none" w="med" len="med"/>
            <a:tailEnd type="none"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a:lstStyle/>
          <a:p>
            <a:endParaRPr lang="en-US">
              <a:latin typeface="+mn-lt"/>
            </a:endParaRPr>
          </a:p>
        </p:txBody>
      </p:sp>
      <p:cxnSp>
        <p:nvCxnSpPr>
          <p:cNvPr id="79" name="Connector: Elbow 78"/>
          <p:cNvCxnSpPr>
            <a:cxnSpLocks/>
          </p:cNvCxnSpPr>
          <p:nvPr/>
        </p:nvCxnSpPr>
        <p:spPr bwMode="auto">
          <a:xfrm rot="16200000" flipV="1">
            <a:off x="10570167" y="3216953"/>
            <a:ext cx="1031774" cy="683357"/>
          </a:xfrm>
          <a:prstGeom prst="bentConnector3">
            <a:avLst>
              <a:gd name="adj1" fmla="val 95342"/>
            </a:avLst>
          </a:prstGeom>
          <a:solidFill>
            <a:schemeClr val="accent1"/>
          </a:solidFill>
          <a:ln w="12700" cap="flat" cmpd="sng" algn="ctr">
            <a:solidFill>
              <a:srgbClr val="7B0663"/>
            </a:solidFill>
            <a:prstDash val="solid"/>
            <a:round/>
            <a:headEnd type="none" w="med" len="med"/>
            <a:tailEnd type="none" w="med" len="med"/>
          </a:ln>
          <a:effectLst/>
        </p:spPr>
      </p:cxnSp>
      <p:sp>
        <p:nvSpPr>
          <p:cNvPr id="80" name="Arc 79"/>
          <p:cNvSpPr/>
          <p:nvPr/>
        </p:nvSpPr>
        <p:spPr bwMode="auto">
          <a:xfrm>
            <a:off x="8010007" y="3314187"/>
            <a:ext cx="1189567" cy="985837"/>
          </a:xfrm>
          <a:prstGeom prst="arc">
            <a:avLst>
              <a:gd name="adj1" fmla="val 5400000"/>
              <a:gd name="adj2" fmla="val 16497911"/>
            </a:avLst>
          </a:prstGeom>
          <a:noFill/>
          <a:ln w="38100">
            <a:solidFill>
              <a:srgbClr val="8F3F7B"/>
            </a:solidFill>
            <a:prstDash val="dash"/>
            <a:round/>
            <a:headEnd type="none"/>
            <a:tailEnd type="triangle"/>
          </a:ln>
          <a:extLst>
            <a:ext uri="{909E8E84-426E-40DD-AFC4-6F175D3DCCD1}">
              <a14:hiddenFill xmlns:a14="http://schemas.microsoft.com/office/drawing/2010/main">
                <a:noFill/>
              </a14:hiddenFill>
            </a:ext>
          </a:extLst>
        </p:spPr>
        <p:txBody>
          <a:bodyPr/>
          <a:lstStyle/>
          <a:p>
            <a:endParaRPr lang="en-US"/>
          </a:p>
        </p:txBody>
      </p:sp>
      <p:sp>
        <p:nvSpPr>
          <p:cNvPr id="81" name="Rectangle 3"/>
          <p:cNvSpPr>
            <a:spLocks noChangeArrowheads="1"/>
          </p:cNvSpPr>
          <p:nvPr/>
        </p:nvSpPr>
        <p:spPr bwMode="auto">
          <a:xfrm>
            <a:off x="8117261" y="3683013"/>
            <a:ext cx="5342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p>
            <a:pPr>
              <a:spcBef>
                <a:spcPct val="50000"/>
              </a:spcBef>
            </a:pPr>
            <a:r>
              <a:rPr lang="sv-SE" sz="1200" b="1" dirty="0">
                <a:solidFill>
                  <a:srgbClr val="7B0663"/>
                </a:solidFill>
              </a:rPr>
              <a:t>SRVCC</a:t>
            </a:r>
            <a:endParaRPr lang="en-US" sz="1200" b="1" dirty="0">
              <a:solidFill>
                <a:srgbClr val="7B0663"/>
              </a:solidFill>
            </a:endParaRPr>
          </a:p>
        </p:txBody>
      </p:sp>
      <p:sp>
        <p:nvSpPr>
          <p:cNvPr id="82" name="Rectangle 3"/>
          <p:cNvSpPr>
            <a:spLocks noChangeArrowheads="1"/>
          </p:cNvSpPr>
          <p:nvPr/>
        </p:nvSpPr>
        <p:spPr bwMode="auto">
          <a:xfrm>
            <a:off x="9517791" y="3528858"/>
            <a:ext cx="8720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p>
            <a:pPr>
              <a:spcBef>
                <a:spcPct val="50000"/>
              </a:spcBef>
            </a:pPr>
            <a:r>
              <a:rPr lang="sv-SE" sz="1200" b="1" dirty="0">
                <a:solidFill>
                  <a:srgbClr val="7B0663"/>
                </a:solidFill>
              </a:rPr>
              <a:t>SMS</a:t>
            </a:r>
            <a:br>
              <a:rPr lang="sv-SE" sz="1200" b="1" dirty="0">
                <a:solidFill>
                  <a:srgbClr val="7B0663"/>
                </a:solidFill>
              </a:rPr>
            </a:br>
            <a:r>
              <a:rPr lang="sv-SE" sz="1200" b="1" dirty="0">
                <a:solidFill>
                  <a:srgbClr val="7B0663"/>
                </a:solidFill>
              </a:rPr>
              <a:t>CS </a:t>
            </a:r>
            <a:r>
              <a:rPr lang="sv-SE" sz="1200" b="1" dirty="0" err="1">
                <a:solidFill>
                  <a:srgbClr val="7B0663"/>
                </a:solidFill>
              </a:rPr>
              <a:t>Fallback</a:t>
            </a:r>
            <a:br>
              <a:rPr lang="sv-SE" sz="1200" b="1" dirty="0">
                <a:solidFill>
                  <a:srgbClr val="7B0663"/>
                </a:solidFill>
              </a:rPr>
            </a:br>
            <a:r>
              <a:rPr lang="sv-SE" sz="1200" b="1" dirty="0">
                <a:solidFill>
                  <a:srgbClr val="7B0663"/>
                </a:solidFill>
              </a:rPr>
              <a:t>SRVCC</a:t>
            </a:r>
            <a:endParaRPr lang="en-US" sz="1200" b="1" dirty="0">
              <a:solidFill>
                <a:srgbClr val="7B0663"/>
              </a:solidFill>
            </a:endParaRPr>
          </a:p>
        </p:txBody>
      </p:sp>
      <p:grpSp>
        <p:nvGrpSpPr>
          <p:cNvPr id="83" name="Group 261"/>
          <p:cNvGrpSpPr>
            <a:grpSpLocks noChangeAspect="1"/>
          </p:cNvGrpSpPr>
          <p:nvPr/>
        </p:nvGrpSpPr>
        <p:grpSpPr bwMode="auto">
          <a:xfrm>
            <a:off x="9984134" y="5324452"/>
            <a:ext cx="747463" cy="1039799"/>
            <a:chOff x="239" y="1832"/>
            <a:chExt cx="363" cy="520"/>
          </a:xfrm>
        </p:grpSpPr>
        <p:sp>
          <p:nvSpPr>
            <p:cNvPr id="8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8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8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5GC</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8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88"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89" name="Group 278"/>
          <p:cNvGrpSpPr>
            <a:grpSpLocks noChangeAspect="1"/>
          </p:cNvGrpSpPr>
          <p:nvPr/>
        </p:nvGrpSpPr>
        <p:grpSpPr bwMode="auto">
          <a:xfrm>
            <a:off x="8658729" y="5310217"/>
            <a:ext cx="734077" cy="1053987"/>
            <a:chOff x="3106" y="2389"/>
            <a:chExt cx="363" cy="520"/>
          </a:xfrm>
        </p:grpSpPr>
        <p:sp>
          <p:nvSpPr>
            <p:cNvPr id="90"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91"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92" name="Text Box 222"/>
            <p:cNvSpPr txBox="1">
              <a:spLocks noChangeAspect="1" noChangeArrowheads="1"/>
            </p:cNvSpPr>
            <p:nvPr/>
          </p:nvSpPr>
          <p:spPr bwMode="auto">
            <a:xfrm>
              <a:off x="3118"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8F3F7B"/>
                  </a:solidFill>
                  <a:effectLst/>
                  <a:uLnTx/>
                  <a:uFillTx/>
                  <a:latin typeface="Arial" pitchFamily="34" charset="0"/>
                  <a:ea typeface="MS PGothic" pitchFamily="34" charset="-128"/>
                </a:rPr>
                <a:t>5G RAN</a:t>
              </a:r>
            </a:p>
          </p:txBody>
        </p:sp>
        <p:sp>
          <p:nvSpPr>
            <p:cNvPr id="93"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94"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95" name="Connector: Elbow 74"/>
          <p:cNvCxnSpPr>
            <a:cxnSpLocks/>
          </p:cNvCxnSpPr>
          <p:nvPr/>
        </p:nvCxnSpPr>
        <p:spPr bwMode="auto">
          <a:xfrm>
            <a:off x="9392806" y="6086084"/>
            <a:ext cx="617201" cy="0"/>
          </a:xfrm>
          <a:prstGeom prst="straightConnector1">
            <a:avLst/>
          </a:prstGeom>
          <a:solidFill>
            <a:schemeClr val="accent1"/>
          </a:solidFill>
          <a:ln w="12700" cap="flat" cmpd="sng" algn="ctr">
            <a:solidFill>
              <a:srgbClr val="7B0663"/>
            </a:solidFill>
            <a:prstDash val="solid"/>
            <a:round/>
            <a:headEnd type="none" w="med" len="med"/>
            <a:tailEnd type="none" w="med" len="med"/>
          </a:ln>
          <a:effectLst/>
        </p:spPr>
      </p:cxnSp>
      <p:cxnSp>
        <p:nvCxnSpPr>
          <p:cNvPr id="96" name="Connector: Elbow 95"/>
          <p:cNvCxnSpPr>
            <a:cxnSpLocks/>
          </p:cNvCxnSpPr>
          <p:nvPr/>
        </p:nvCxnSpPr>
        <p:spPr bwMode="auto">
          <a:xfrm rot="5400000" flipH="1" flipV="1">
            <a:off x="10619977" y="5191999"/>
            <a:ext cx="971261" cy="850954"/>
          </a:xfrm>
          <a:prstGeom prst="bentConnector3">
            <a:avLst>
              <a:gd name="adj1" fmla="val -357"/>
            </a:avLst>
          </a:prstGeom>
          <a:solidFill>
            <a:schemeClr val="accent1"/>
          </a:solidFill>
          <a:ln w="12700" cap="flat" cmpd="sng" algn="ctr">
            <a:solidFill>
              <a:srgbClr val="7B0663"/>
            </a:solidFill>
            <a:prstDash val="solid"/>
            <a:round/>
            <a:headEnd type="none" w="med" len="med"/>
            <a:tailEnd type="none" w="med" len="med"/>
          </a:ln>
          <a:effectLst/>
        </p:spPr>
      </p:cxnSp>
      <p:sp>
        <p:nvSpPr>
          <p:cNvPr id="97" name="Line 7"/>
          <p:cNvSpPr>
            <a:spLocks noChangeShapeType="1"/>
          </p:cNvSpPr>
          <p:nvPr/>
        </p:nvSpPr>
        <p:spPr bwMode="auto">
          <a:xfrm>
            <a:off x="10355806" y="5100830"/>
            <a:ext cx="0" cy="215550"/>
          </a:xfrm>
          <a:prstGeom prst="line">
            <a:avLst/>
          </a:prstGeom>
          <a:noFill/>
          <a:ln w="12700">
            <a:solidFill>
              <a:srgbClr val="8F3F7B"/>
            </a:solidFill>
            <a:round/>
            <a:headEnd/>
            <a:tailEnd/>
          </a:ln>
          <a:extLst>
            <a:ext uri="{909E8E84-426E-40DD-AFC4-6F175D3DCCD1}">
              <a14:hiddenFill xmlns:a14="http://schemas.microsoft.com/office/drawing/2010/main">
                <a:noFill/>
              </a14:hiddenFill>
            </a:ext>
          </a:extLst>
        </p:spPr>
        <p:txBody>
          <a:bodyPr/>
          <a:lstStyle/>
          <a:p>
            <a:endParaRPr lang="en-US"/>
          </a:p>
        </p:txBody>
      </p:sp>
      <p:cxnSp>
        <p:nvCxnSpPr>
          <p:cNvPr id="98" name="Connector: Elbow 83"/>
          <p:cNvCxnSpPr>
            <a:cxnSpLocks/>
            <a:stCxn id="59" idx="3"/>
          </p:cNvCxnSpPr>
          <p:nvPr/>
        </p:nvCxnSpPr>
        <p:spPr bwMode="auto">
          <a:xfrm>
            <a:off x="9322344" y="4867111"/>
            <a:ext cx="694870" cy="12157"/>
          </a:xfrm>
          <a:prstGeom prst="straightConnector1">
            <a:avLst/>
          </a:prstGeom>
          <a:solidFill>
            <a:schemeClr val="accent1"/>
          </a:solidFill>
          <a:ln w="12700" cap="flat" cmpd="sng" algn="ctr">
            <a:solidFill>
              <a:srgbClr val="7B0663"/>
            </a:solidFill>
            <a:prstDash val="solid"/>
            <a:round/>
            <a:headEnd type="none" w="med" len="med"/>
            <a:tailEnd type="none" w="med" len="med"/>
          </a:ln>
          <a:effectLst/>
        </p:spPr>
      </p:cxnSp>
      <p:grpSp>
        <p:nvGrpSpPr>
          <p:cNvPr id="99" name="Group 261"/>
          <p:cNvGrpSpPr>
            <a:grpSpLocks noChangeAspect="1"/>
          </p:cNvGrpSpPr>
          <p:nvPr/>
        </p:nvGrpSpPr>
        <p:grpSpPr bwMode="auto">
          <a:xfrm>
            <a:off x="9990593" y="4094645"/>
            <a:ext cx="747463" cy="1039799"/>
            <a:chOff x="239" y="1832"/>
            <a:chExt cx="363" cy="520"/>
          </a:xfrm>
        </p:grpSpPr>
        <p:sp>
          <p:nvSpPr>
            <p:cNvPr id="10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MME</a:t>
              </a:r>
              <a:br>
                <a:rPr lang="en-US" altLang="en-US" sz="1600" dirty="0">
                  <a:solidFill>
                    <a:srgbClr val="8F3F7B"/>
                  </a:solidFill>
                  <a:ea typeface="MS PGothic" panose="020B0600070205080204" pitchFamily="34" charset="-128"/>
                  <a:cs typeface="MS PGothic" panose="020B0600070205080204" pitchFamily="34" charset="-128"/>
                </a:rPr>
              </a:br>
              <a:r>
                <a:rPr lang="en-US" altLang="en-US" sz="1600" dirty="0">
                  <a:solidFill>
                    <a:srgbClr val="8F3F7B"/>
                  </a:solidFill>
                  <a:ea typeface="MS PGothic" panose="020B0600070205080204" pitchFamily="34" charset="-128"/>
                  <a:cs typeface="MS PGothic" panose="020B0600070205080204" pitchFamily="34" charset="-128"/>
                </a:rPr>
                <a:t>SGW</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10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sv-SE" altLang="en-US" sz="500"/>
            </a:p>
          </p:txBody>
        </p:sp>
        <p:sp>
          <p:nvSpPr>
            <p:cNvPr id="104"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105" name="Straight Arrow Connector 104"/>
          <p:cNvCxnSpPr>
            <a:cxnSpLocks/>
          </p:cNvCxnSpPr>
          <p:nvPr/>
        </p:nvCxnSpPr>
        <p:spPr bwMode="auto">
          <a:xfrm flipV="1">
            <a:off x="7484660" y="2485732"/>
            <a:ext cx="0" cy="3047724"/>
          </a:xfrm>
          <a:prstGeom prst="straightConnector1">
            <a:avLst/>
          </a:prstGeom>
          <a:solidFill>
            <a:schemeClr val="accent1"/>
          </a:solidFill>
          <a:ln w="12700" cap="flat" cmpd="sng" algn="ctr">
            <a:solidFill>
              <a:schemeClr val="bg1">
                <a:lumMod val="75000"/>
              </a:schemeClr>
            </a:solidFill>
            <a:prstDash val="solid"/>
            <a:round/>
            <a:headEnd type="none" w="med" len="med"/>
            <a:tailEnd type="triangle" w="med" len="med"/>
          </a:ln>
          <a:effectLst/>
        </p:spPr>
      </p:cxnSp>
      <p:sp>
        <p:nvSpPr>
          <p:cNvPr id="106" name="Rectangle 3"/>
          <p:cNvSpPr>
            <a:spLocks noChangeArrowheads="1"/>
          </p:cNvSpPr>
          <p:nvPr/>
        </p:nvSpPr>
        <p:spPr bwMode="auto">
          <a:xfrm>
            <a:off x="7179243" y="2916584"/>
            <a:ext cx="673261" cy="461665"/>
          </a:xfrm>
          <a:prstGeom prst="rect">
            <a:avLst/>
          </a:prstGeom>
          <a:solidFill>
            <a:schemeClr val="bg1"/>
          </a:solidFill>
          <a:ln>
            <a:noFill/>
          </a:ln>
          <a:extLst/>
        </p:spPr>
        <p:txBody>
          <a:bodyPr wrap="none" lIns="0" rIns="0">
            <a:spAutoFit/>
          </a:bodyPr>
          <a:lstStyle/>
          <a:p>
            <a:pPr>
              <a:spcBef>
                <a:spcPct val="50000"/>
              </a:spcBef>
            </a:pPr>
            <a:r>
              <a:rPr lang="en-US" sz="1200" b="1" dirty="0">
                <a:solidFill>
                  <a:schemeClr val="bg1">
                    <a:lumMod val="65000"/>
                  </a:schemeClr>
                </a:solidFill>
              </a:rPr>
              <a:t>CS voice</a:t>
            </a:r>
            <a:br>
              <a:rPr lang="en-US" sz="1200" b="1" dirty="0">
                <a:solidFill>
                  <a:schemeClr val="bg1">
                    <a:lumMod val="65000"/>
                  </a:schemeClr>
                </a:solidFill>
              </a:rPr>
            </a:br>
            <a:r>
              <a:rPr lang="en-US" sz="1200" b="1" dirty="0">
                <a:solidFill>
                  <a:schemeClr val="bg1">
                    <a:lumMod val="65000"/>
                  </a:schemeClr>
                </a:solidFill>
              </a:rPr>
              <a:t>coverage</a:t>
            </a:r>
          </a:p>
        </p:txBody>
      </p:sp>
      <p:cxnSp>
        <p:nvCxnSpPr>
          <p:cNvPr id="107" name="Straight Arrow Connector 106"/>
          <p:cNvCxnSpPr>
            <a:cxnSpLocks/>
          </p:cNvCxnSpPr>
          <p:nvPr/>
        </p:nvCxnSpPr>
        <p:spPr bwMode="auto">
          <a:xfrm>
            <a:off x="7940174" y="4204658"/>
            <a:ext cx="0" cy="2082804"/>
          </a:xfrm>
          <a:prstGeom prst="straightConnector1">
            <a:avLst/>
          </a:prstGeom>
          <a:solidFill>
            <a:schemeClr val="accent1"/>
          </a:solidFill>
          <a:ln w="12700" cap="flat" cmpd="sng" algn="ctr">
            <a:solidFill>
              <a:srgbClr val="7030A0"/>
            </a:solidFill>
            <a:prstDash val="solid"/>
            <a:round/>
            <a:headEnd type="triangle" w="med" len="med"/>
            <a:tailEnd type="triangle"/>
          </a:ln>
          <a:effectLst/>
        </p:spPr>
      </p:cxnSp>
      <p:sp>
        <p:nvSpPr>
          <p:cNvPr id="108" name="Rectangle 3"/>
          <p:cNvSpPr>
            <a:spLocks noChangeArrowheads="1"/>
          </p:cNvSpPr>
          <p:nvPr/>
        </p:nvSpPr>
        <p:spPr bwMode="auto">
          <a:xfrm>
            <a:off x="7625490" y="5002642"/>
            <a:ext cx="673261" cy="461665"/>
          </a:xfrm>
          <a:prstGeom prst="rect">
            <a:avLst/>
          </a:prstGeom>
          <a:solidFill>
            <a:schemeClr val="bg1"/>
          </a:solidFill>
          <a:ln>
            <a:noFill/>
          </a:ln>
          <a:extLst/>
        </p:spPr>
        <p:txBody>
          <a:bodyPr wrap="square" lIns="0" rIns="0">
            <a:spAutoFit/>
          </a:bodyPr>
          <a:lstStyle/>
          <a:p>
            <a:pPr>
              <a:spcBef>
                <a:spcPct val="50000"/>
              </a:spcBef>
            </a:pPr>
            <a:r>
              <a:rPr lang="en-US" sz="1200" b="1" dirty="0">
                <a:solidFill>
                  <a:srgbClr val="8F3F7B"/>
                </a:solidFill>
              </a:rPr>
              <a:t>LTE+NR coverage</a:t>
            </a:r>
          </a:p>
        </p:txBody>
      </p:sp>
    </p:spTree>
    <p:extLst>
      <p:ext uri="{BB962C8B-B14F-4D97-AF65-F5344CB8AC3E}">
        <p14:creationId xmlns:p14="http://schemas.microsoft.com/office/powerpoint/2010/main" val="232138151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744" y="239714"/>
            <a:ext cx="10957810" cy="1085371"/>
          </a:xfrm>
        </p:spPr>
        <p:txBody>
          <a:bodyPr>
            <a:normAutofit/>
          </a:bodyPr>
          <a:lstStyle/>
          <a:p>
            <a:r>
              <a:rPr lang="en-US" sz="4000" dirty="0"/>
              <a:t>Voice and emergency call on RAN</a:t>
            </a:r>
          </a:p>
        </p:txBody>
      </p:sp>
      <p:graphicFrame>
        <p:nvGraphicFramePr>
          <p:cNvPr id="5" name="Table 4"/>
          <p:cNvGraphicFramePr>
            <a:graphicFrameLocks noGrp="1"/>
          </p:cNvGraphicFramePr>
          <p:nvPr>
            <p:extLst>
              <p:ext uri="{D42A27DB-BD31-4B8C-83A1-F6EECF244321}">
                <p14:modId xmlns:p14="http://schemas.microsoft.com/office/powerpoint/2010/main" val="1485309018"/>
              </p:ext>
            </p:extLst>
          </p:nvPr>
        </p:nvGraphicFramePr>
        <p:xfrm>
          <a:off x="740230" y="1325086"/>
          <a:ext cx="10482942" cy="4879251"/>
        </p:xfrm>
        <a:graphic>
          <a:graphicData uri="http://schemas.openxmlformats.org/drawingml/2006/table">
            <a:tbl>
              <a:tblPr firstRow="1" bandRow="1">
                <a:tableStyleId>{5C22544A-7EE6-4342-B048-85BDC9FD1C3A}</a:tableStyleId>
              </a:tblPr>
              <a:tblGrid>
                <a:gridCol w="3494314">
                  <a:extLst>
                    <a:ext uri="{9D8B030D-6E8A-4147-A177-3AD203B41FA5}">
                      <a16:colId xmlns:a16="http://schemas.microsoft.com/office/drawing/2014/main" val="3320884987"/>
                    </a:ext>
                  </a:extLst>
                </a:gridCol>
                <a:gridCol w="3494314">
                  <a:extLst>
                    <a:ext uri="{9D8B030D-6E8A-4147-A177-3AD203B41FA5}">
                      <a16:colId xmlns:a16="http://schemas.microsoft.com/office/drawing/2014/main" val="449867191"/>
                    </a:ext>
                  </a:extLst>
                </a:gridCol>
                <a:gridCol w="3494314">
                  <a:extLst>
                    <a:ext uri="{9D8B030D-6E8A-4147-A177-3AD203B41FA5}">
                      <a16:colId xmlns:a16="http://schemas.microsoft.com/office/drawing/2014/main" val="2187513408"/>
                    </a:ext>
                  </a:extLst>
                </a:gridCol>
              </a:tblGrid>
              <a:tr h="568361">
                <a:tc>
                  <a:txBody>
                    <a:bodyPr/>
                    <a:lstStyle/>
                    <a:p>
                      <a:endParaRPr lang="en-US" dirty="0"/>
                    </a:p>
                  </a:txBody>
                  <a:tcPr/>
                </a:tc>
                <a:tc>
                  <a:txBody>
                    <a:bodyPr/>
                    <a:lstStyle/>
                    <a:p>
                      <a:r>
                        <a:rPr lang="en-US" dirty="0"/>
                        <a:t>5G EPC deployment (option 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0" dirty="0"/>
                        <a:t>5GC deployment  (option 2)</a:t>
                      </a:r>
                    </a:p>
                  </a:txBody>
                  <a:tcPr/>
                </a:tc>
                <a:extLst>
                  <a:ext uri="{0D108BD9-81ED-4DB2-BD59-A6C34878D82A}">
                    <a16:rowId xmlns:a16="http://schemas.microsoft.com/office/drawing/2014/main" val="3823781763"/>
                  </a:ext>
                </a:extLst>
              </a:tr>
              <a:tr h="1470092">
                <a:tc>
                  <a:txBody>
                    <a:bodyPr/>
                    <a:lstStyle/>
                    <a:p>
                      <a:r>
                        <a:rPr lang="en-US" dirty="0"/>
                        <a:t>RAN support of voice and emergency</a:t>
                      </a:r>
                      <a:r>
                        <a:rPr lang="en-US" baseline="0" dirty="0"/>
                        <a:t> call related functionality</a:t>
                      </a:r>
                      <a:endParaRPr lang="en-US"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Same QCI for voice and emergency call</a:t>
                      </a:r>
                      <a:endParaRPr lang="en-US" sz="2000" dirty="0"/>
                    </a:p>
                    <a:p>
                      <a:pPr marL="285750" indent="-285750">
                        <a:buFont typeface="Arial" panose="020B0604020202020204" pitchFamily="34" charset="0"/>
                        <a:buChar char="•"/>
                      </a:pPr>
                      <a:r>
                        <a:rPr lang="en-US" sz="1800" dirty="0"/>
                        <a:t>Emergency call (broadcast) indication</a:t>
                      </a:r>
                    </a:p>
                    <a:p>
                      <a:pPr marL="285750" indent="-285750">
                        <a:buFont typeface="Arial" panose="020B0604020202020204" pitchFamily="34" charset="0"/>
                        <a:buChar char="•"/>
                      </a:pPr>
                      <a:r>
                        <a:rPr lang="en-US" sz="1800" dirty="0"/>
                        <a:t>Support of SRVCC and CSFB</a:t>
                      </a:r>
                      <a:endParaRPr lang="en-US" sz="20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Same 5QI for voice and emergency ca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0" dirty="0"/>
                        <a:t>Emergency call </a:t>
                      </a:r>
                      <a:r>
                        <a:rPr lang="en-US" sz="1800" dirty="0"/>
                        <a:t>(broadcast)</a:t>
                      </a:r>
                      <a:r>
                        <a:rPr lang="en-US" sz="1800" kern="0" dirty="0"/>
                        <a:t> indication</a:t>
                      </a:r>
                    </a:p>
                  </a:txBody>
                  <a:tcPr/>
                </a:tc>
                <a:extLst>
                  <a:ext uri="{0D108BD9-81ED-4DB2-BD59-A6C34878D82A}">
                    <a16:rowId xmlns:a16="http://schemas.microsoft.com/office/drawing/2014/main" val="4209301853"/>
                  </a:ext>
                </a:extLst>
              </a:tr>
              <a:tr h="365760">
                <a:tc>
                  <a:txBody>
                    <a:bodyPr/>
                    <a:lstStyle/>
                    <a:p>
                      <a:r>
                        <a:rPr lang="en-US" dirty="0"/>
                        <a:t>Voice media</a:t>
                      </a:r>
                    </a:p>
                  </a:txBody>
                  <a:tcPr/>
                </a:tc>
                <a:tc>
                  <a:txBody>
                    <a:bodyPr/>
                    <a:lstStyle/>
                    <a:p>
                      <a:r>
                        <a:rPr lang="en-US" dirty="0"/>
                        <a:t>QCI=1</a:t>
                      </a:r>
                      <a:r>
                        <a:rPr lang="en-US" baseline="0" dirty="0"/>
                        <a:t> bearer</a:t>
                      </a:r>
                      <a:endParaRPr lang="en-US" dirty="0"/>
                    </a:p>
                  </a:txBody>
                  <a:tcPr/>
                </a:tc>
                <a:tc>
                  <a:txBody>
                    <a:bodyPr/>
                    <a:lstStyle/>
                    <a:p>
                      <a:r>
                        <a:rPr lang="en-US" sz="1800" kern="0" dirty="0"/>
                        <a:t>QoS flow with 5QI=1</a:t>
                      </a:r>
                      <a:endParaRPr lang="en-US" dirty="0"/>
                    </a:p>
                  </a:txBody>
                  <a:tcPr/>
                </a:tc>
                <a:extLst>
                  <a:ext uri="{0D108BD9-81ED-4DB2-BD59-A6C34878D82A}">
                    <a16:rowId xmlns:a16="http://schemas.microsoft.com/office/drawing/2014/main" val="2992725077"/>
                  </a:ext>
                </a:extLst>
              </a:tr>
              <a:tr h="365760">
                <a:tc>
                  <a:txBody>
                    <a:bodyPr/>
                    <a:lstStyle/>
                    <a:p>
                      <a:r>
                        <a:rPr lang="en-US" dirty="0"/>
                        <a:t>Video media</a:t>
                      </a:r>
                    </a:p>
                  </a:txBody>
                  <a:tcPr/>
                </a:tc>
                <a:tc>
                  <a:txBody>
                    <a:bodyPr/>
                    <a:lstStyle/>
                    <a:p>
                      <a:r>
                        <a:rPr lang="en-US" sz="1800" dirty="0"/>
                        <a:t>QCI=2 or QCI=8 bearer</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dirty="0"/>
                        <a:t>QoS flow with 5QI=2</a:t>
                      </a:r>
                      <a:r>
                        <a:rPr lang="en-US" sz="1800" kern="0" baseline="0" dirty="0"/>
                        <a:t> or 7</a:t>
                      </a:r>
                      <a:endParaRPr lang="en-US" dirty="0"/>
                    </a:p>
                  </a:txBody>
                  <a:tcPr/>
                </a:tc>
                <a:extLst>
                  <a:ext uri="{0D108BD9-81ED-4DB2-BD59-A6C34878D82A}">
                    <a16:rowId xmlns:a16="http://schemas.microsoft.com/office/drawing/2014/main" val="2409757900"/>
                  </a:ext>
                </a:extLst>
              </a:tr>
              <a:tr h="378970">
                <a:tc>
                  <a:txBody>
                    <a:bodyPr/>
                    <a:lstStyle/>
                    <a:p>
                      <a:r>
                        <a:rPr lang="en-US" dirty="0"/>
                        <a:t>SIP signaling</a:t>
                      </a:r>
                    </a:p>
                  </a:txBody>
                  <a:tcPr/>
                </a:tc>
                <a:tc>
                  <a:txBody>
                    <a:bodyPr/>
                    <a:lstStyle/>
                    <a:p>
                      <a:r>
                        <a:rPr lang="en-US" sz="1800" dirty="0"/>
                        <a:t>QCI=5 bearer</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0" dirty="0"/>
                        <a:t>QoS flow with 5QI=5</a:t>
                      </a:r>
                    </a:p>
                  </a:txBody>
                  <a:tcPr/>
                </a:tc>
                <a:extLst>
                  <a:ext uri="{0D108BD9-81ED-4DB2-BD59-A6C34878D82A}">
                    <a16:rowId xmlns:a16="http://schemas.microsoft.com/office/drawing/2014/main" val="385371636"/>
                  </a:ext>
                </a:extLst>
              </a:tr>
              <a:tr h="1299110">
                <a:tc>
                  <a:txBody>
                    <a:bodyPr/>
                    <a:lstStyle/>
                    <a:p>
                      <a:r>
                        <a:rPr lang="en-US" dirty="0"/>
                        <a:t>Comm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rPr>
                        <a:t>Legacy behavior (4G) if all these </a:t>
                      </a:r>
                      <a:br>
                        <a:rPr lang="en-US" sz="1800" dirty="0">
                          <a:solidFill>
                            <a:schemeClr val="tx1"/>
                          </a:solidFill>
                        </a:rPr>
                      </a:br>
                      <a:r>
                        <a:rPr lang="en-US" sz="1800" dirty="0">
                          <a:solidFill>
                            <a:schemeClr val="tx1"/>
                          </a:solidFill>
                        </a:rPr>
                        <a:t>bearers on L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latin typeface="+mn-lt"/>
                          <a:ea typeface="+mn-ea"/>
                          <a:cs typeface="+mn-cs"/>
                        </a:rPr>
                        <a:t>If NR has only limited </a:t>
                      </a:r>
                      <a:r>
                        <a:rPr lang="en-US" sz="1800" kern="1200" baseline="0" dirty="0" err="1">
                          <a:solidFill>
                            <a:schemeClr val="tx1"/>
                          </a:solidFill>
                          <a:latin typeface="+mn-lt"/>
                          <a:ea typeface="+mn-ea"/>
                          <a:cs typeface="+mn-cs"/>
                        </a:rPr>
                        <a:t>QoS</a:t>
                      </a:r>
                      <a:r>
                        <a:rPr lang="en-US" sz="1800" kern="1200" baseline="0" dirty="0">
                          <a:solidFill>
                            <a:schemeClr val="tx1"/>
                          </a:solidFill>
                          <a:latin typeface="+mn-lt"/>
                          <a:ea typeface="+mn-ea"/>
                          <a:cs typeface="+mn-cs"/>
                        </a:rPr>
                        <a:t> support, then NR only used as data booster.</a:t>
                      </a:r>
                      <a:r>
                        <a:rPr lang="en-US" sz="1800"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latin typeface="+mn-lt"/>
                          <a:ea typeface="+mn-ea"/>
                          <a:cs typeface="+mn-cs"/>
                        </a:rPr>
                        <a:t>Tight-interworking between EPC and 5GC: bidirectional mapping between 5QI/QFI and QCI</a:t>
                      </a:r>
                    </a:p>
                  </a:txBody>
                  <a:tcPr/>
                </a:tc>
                <a:extLst>
                  <a:ext uri="{0D108BD9-81ED-4DB2-BD59-A6C34878D82A}">
                    <a16:rowId xmlns:a16="http://schemas.microsoft.com/office/drawing/2014/main" val="674608679"/>
                  </a:ext>
                </a:extLst>
              </a:tr>
            </a:tbl>
          </a:graphicData>
        </a:graphic>
      </p:graphicFrame>
    </p:spTree>
    <p:extLst>
      <p:ext uri="{BB962C8B-B14F-4D97-AF65-F5344CB8AC3E}">
        <p14:creationId xmlns:p14="http://schemas.microsoft.com/office/powerpoint/2010/main" val="233078855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S over NAS in 5GC</a:t>
            </a:r>
          </a:p>
        </p:txBody>
      </p:sp>
      <p:sp>
        <p:nvSpPr>
          <p:cNvPr id="3" name="Text Placeholder 2"/>
          <p:cNvSpPr>
            <a:spLocks noGrp="1"/>
          </p:cNvSpPr>
          <p:nvPr>
            <p:ph type="body" idx="1"/>
          </p:nvPr>
        </p:nvSpPr>
        <p:spPr>
          <a:xfrm>
            <a:off x="529168" y="1800000"/>
            <a:ext cx="5341546" cy="3852000"/>
          </a:xfrm>
        </p:spPr>
        <p:txBody>
          <a:bodyPr/>
          <a:lstStyle/>
          <a:p>
            <a:r>
              <a:rPr lang="en-US" dirty="0"/>
              <a:t>SMSF for originating and terminating SMS use cases</a:t>
            </a:r>
          </a:p>
          <a:p>
            <a:pPr lvl="1"/>
            <a:r>
              <a:rPr lang="en-US" dirty="0"/>
              <a:t>Interworking with SMS-C and AMF</a:t>
            </a:r>
          </a:p>
          <a:p>
            <a:r>
              <a:rPr lang="en-US" dirty="0"/>
              <a:t>SMS transport between UE and AMF via NAS</a:t>
            </a:r>
          </a:p>
          <a:p>
            <a:r>
              <a:rPr lang="en-US" dirty="0"/>
              <a:t>Separate/independent AMF and SMSF Registration and Subscription Management with UDM</a:t>
            </a:r>
          </a:p>
        </p:txBody>
      </p:sp>
      <p:grpSp>
        <p:nvGrpSpPr>
          <p:cNvPr id="10" name="Group 9"/>
          <p:cNvGrpSpPr/>
          <p:nvPr/>
        </p:nvGrpSpPr>
        <p:grpSpPr>
          <a:xfrm>
            <a:off x="10550324" y="1703138"/>
            <a:ext cx="629016" cy="918888"/>
            <a:chOff x="7082284" y="5472519"/>
            <a:chExt cx="756791" cy="1085673"/>
          </a:xfrm>
        </p:grpSpPr>
        <p:sp>
          <p:nvSpPr>
            <p:cNvPr id="11" name="Text Box 5"/>
            <p:cNvSpPr txBox="1">
              <a:spLocks noChangeAspect="1" noChangeArrowheads="1"/>
            </p:cNvSpPr>
            <p:nvPr/>
          </p:nvSpPr>
          <p:spPr bwMode="auto">
            <a:xfrm>
              <a:off x="7221602" y="6135403"/>
              <a:ext cx="462871" cy="349095"/>
            </a:xfrm>
            <a:prstGeom prst="rect">
              <a:avLst/>
            </a:prstGeom>
            <a:noFill/>
            <a:ln>
              <a:noFill/>
            </a:ln>
            <a:extLst>
              <a:ext uri="{909E8E84-426E-40DD-AFC4-6F175D3DCCD1}">
                <a14:hiddenFill xmlns:a14="http://schemas.microsoft.com/office/drawing/2010/main">
                  <a:solidFill>
                    <a:srgbClr val="00A9D4"/>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spcBef>
                  <a:spcPts val="300"/>
                </a:spcBef>
              </a:pPr>
              <a:r>
                <a:rPr lang="en-US" sz="1200" b="1">
                  <a:solidFill>
                    <a:srgbClr val="00A9D4"/>
                  </a:solidFill>
                </a:rPr>
                <a:t>SMS-</a:t>
              </a:r>
              <a:br>
                <a:rPr lang="en-US" sz="1200" b="1">
                  <a:solidFill>
                    <a:srgbClr val="00A9D4"/>
                  </a:solidFill>
                </a:rPr>
              </a:br>
              <a:r>
                <a:rPr lang="en-US" sz="1200" b="1">
                  <a:solidFill>
                    <a:srgbClr val="00A9D4"/>
                  </a:solidFill>
                </a:rPr>
                <a:t>C</a:t>
              </a:r>
              <a:endParaRPr lang="en-US" sz="1050" b="1">
                <a:solidFill>
                  <a:srgbClr val="00A9D4"/>
                </a:solidFill>
              </a:endParaRPr>
            </a:p>
          </p:txBody>
        </p:sp>
        <p:sp>
          <p:nvSpPr>
            <p:cNvPr id="12" name="Freeform 10"/>
            <p:cNvSpPr>
              <a:spLocks noChangeAspect="1" noEditPoints="1"/>
            </p:cNvSpPr>
            <p:nvPr/>
          </p:nvSpPr>
          <p:spPr bwMode="auto">
            <a:xfrm>
              <a:off x="7082284" y="5472519"/>
              <a:ext cx="756791" cy="1085673"/>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2147483647 w 410"/>
                <a:gd name="T81" fmla="*/ 2147483647 h 589"/>
                <a:gd name="T82" fmla="*/ 2147483647 w 410"/>
                <a:gd name="T83" fmla="*/ 2147483647 h 589"/>
                <a:gd name="T84" fmla="*/ 2147483647 w 410"/>
                <a:gd name="T85" fmla="*/ 2147483647 h 589"/>
                <a:gd name="T86" fmla="*/ 2147483647 w 410"/>
                <a:gd name="T87" fmla="*/ 2147483647 h 589"/>
                <a:gd name="T88" fmla="*/ 2147483647 w 410"/>
                <a:gd name="T89" fmla="*/ 2147483647 h 589"/>
                <a:gd name="T90" fmla="*/ 2147483647 w 410"/>
                <a:gd name="T91" fmla="*/ 2147483647 h 589"/>
                <a:gd name="T92" fmla="*/ 2147483647 w 410"/>
                <a:gd name="T93" fmla="*/ 214748364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00A9D4"/>
            </a:solidFill>
            <a:ln>
              <a:noFill/>
            </a:ln>
          </p:spPr>
          <p:txBody>
            <a:bodyPr tIns="1080000" anchor="ctr"/>
            <a:lstStyle/>
            <a:p>
              <a:pPr algn="ctr"/>
              <a:endParaRPr lang="en-US"/>
            </a:p>
          </p:txBody>
        </p:sp>
      </p:grpSp>
      <p:grpSp>
        <p:nvGrpSpPr>
          <p:cNvPr id="13" name="Group 12"/>
          <p:cNvGrpSpPr/>
          <p:nvPr/>
        </p:nvGrpSpPr>
        <p:grpSpPr>
          <a:xfrm>
            <a:off x="9611982" y="3017513"/>
            <a:ext cx="653819" cy="887541"/>
            <a:chOff x="4338871" y="2725624"/>
            <a:chExt cx="1199053" cy="1626215"/>
          </a:xfrm>
        </p:grpSpPr>
        <p:sp>
          <p:nvSpPr>
            <p:cNvPr id="1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1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1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1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a:t>SMSF</a:t>
              </a:r>
            </a:p>
          </p:txBody>
        </p:sp>
        <p:sp>
          <p:nvSpPr>
            <p:cNvPr id="1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1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grpSp>
        <p:nvGrpSpPr>
          <p:cNvPr id="20" name="Group 19"/>
          <p:cNvGrpSpPr/>
          <p:nvPr/>
        </p:nvGrpSpPr>
        <p:grpSpPr>
          <a:xfrm>
            <a:off x="9069084" y="4413820"/>
            <a:ext cx="653819" cy="887541"/>
            <a:chOff x="4338871" y="2725624"/>
            <a:chExt cx="1199053" cy="1626215"/>
          </a:xfrm>
        </p:grpSpPr>
        <p:sp>
          <p:nvSpPr>
            <p:cNvPr id="2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2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2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2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a:t>AMF</a:t>
              </a:r>
            </a:p>
          </p:txBody>
        </p:sp>
        <p:sp>
          <p:nvSpPr>
            <p:cNvPr id="2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900"/>
            </a:p>
          </p:txBody>
        </p:sp>
        <p:sp>
          <p:nvSpPr>
            <p:cNvPr id="26"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a:p>
          </p:txBody>
        </p:sp>
      </p:grpSp>
      <p:sp>
        <p:nvSpPr>
          <p:cNvPr id="27" name="Line 7"/>
          <p:cNvSpPr>
            <a:spLocks noChangeShapeType="1"/>
          </p:cNvSpPr>
          <p:nvPr/>
        </p:nvSpPr>
        <p:spPr bwMode="auto">
          <a:xfrm flipV="1">
            <a:off x="9420500" y="3863983"/>
            <a:ext cx="481513" cy="549835"/>
          </a:xfrm>
          <a:prstGeom prst="line">
            <a:avLst/>
          </a:pr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sp>
        <p:nvSpPr>
          <p:cNvPr id="28" name="Line 7"/>
          <p:cNvSpPr>
            <a:spLocks noChangeShapeType="1"/>
          </p:cNvSpPr>
          <p:nvPr/>
        </p:nvSpPr>
        <p:spPr bwMode="auto">
          <a:xfrm flipH="1" flipV="1">
            <a:off x="7180019" y="4869372"/>
            <a:ext cx="1875825" cy="0"/>
          </a:xfrm>
          <a:prstGeom prst="line">
            <a:avLst/>
          </a:pr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grpSp>
        <p:nvGrpSpPr>
          <p:cNvPr id="29" name="Group 28"/>
          <p:cNvGrpSpPr/>
          <p:nvPr/>
        </p:nvGrpSpPr>
        <p:grpSpPr>
          <a:xfrm>
            <a:off x="8497758" y="2946456"/>
            <a:ext cx="658597" cy="946872"/>
            <a:chOff x="2530204" y="1718022"/>
            <a:chExt cx="1186277" cy="1647323"/>
          </a:xfrm>
        </p:grpSpPr>
        <p:sp>
          <p:nvSpPr>
            <p:cNvPr id="3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400"/>
            </a:p>
          </p:txBody>
        </p:sp>
        <p:sp>
          <p:nvSpPr>
            <p:cNvPr id="3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400"/>
            </a:p>
          </p:txBody>
        </p:sp>
        <p:sp>
          <p:nvSpPr>
            <p:cNvPr id="3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400"/>
            </a:p>
          </p:txBody>
        </p:sp>
        <p:grpSp>
          <p:nvGrpSpPr>
            <p:cNvPr id="33" name="Group 274"/>
            <p:cNvGrpSpPr>
              <a:grpSpLocks noChangeAspect="1"/>
            </p:cNvGrpSpPr>
            <p:nvPr/>
          </p:nvGrpSpPr>
          <p:grpSpPr bwMode="auto">
            <a:xfrm>
              <a:off x="2590950" y="1853233"/>
              <a:ext cx="1125531" cy="1512112"/>
              <a:chOff x="3147" y="3024"/>
              <a:chExt cx="257" cy="366"/>
            </a:xfrm>
          </p:grpSpPr>
          <p:grpSp>
            <p:nvGrpSpPr>
              <p:cNvPr id="34" name="Group 7"/>
              <p:cNvGrpSpPr>
                <a:grpSpLocks noChangeAspect="1"/>
              </p:cNvGrpSpPr>
              <p:nvPr/>
            </p:nvGrpSpPr>
            <p:grpSpPr bwMode="auto">
              <a:xfrm>
                <a:off x="3147" y="3024"/>
                <a:ext cx="257" cy="366"/>
                <a:chOff x="2283" y="1698"/>
                <a:chExt cx="983" cy="1402"/>
              </a:xfrm>
            </p:grpSpPr>
            <p:pic>
              <p:nvPicPr>
                <p:cNvPr id="3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3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a:ea typeface="MS PGothic" pitchFamily="34" charset="-128"/>
                  </a:rPr>
                  <a:t>UDM</a:t>
                </a:r>
                <a:endParaRPr lang="en-US" altLang="en-US" sz="1400">
                  <a:ea typeface="MS PGothic" charset="-128"/>
                </a:endParaRPr>
              </a:p>
            </p:txBody>
          </p:sp>
        </p:grpSp>
      </p:grpSp>
      <p:sp>
        <p:nvSpPr>
          <p:cNvPr id="38" name="Line 7"/>
          <p:cNvSpPr>
            <a:spLocks noChangeShapeType="1"/>
          </p:cNvSpPr>
          <p:nvPr/>
        </p:nvSpPr>
        <p:spPr bwMode="auto">
          <a:xfrm flipH="1" flipV="1">
            <a:off x="8836835" y="3870663"/>
            <a:ext cx="541095" cy="554820"/>
          </a:xfrm>
          <a:prstGeom prst="line">
            <a:avLst/>
          </a:pr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sp>
        <p:nvSpPr>
          <p:cNvPr id="39" name="Line 7"/>
          <p:cNvSpPr>
            <a:spLocks noChangeShapeType="1"/>
          </p:cNvSpPr>
          <p:nvPr/>
        </p:nvSpPr>
        <p:spPr bwMode="auto">
          <a:xfrm flipH="1">
            <a:off x="8802707" y="2335530"/>
            <a:ext cx="1734913" cy="711963"/>
          </a:xfrm>
          <a:custGeom>
            <a:avLst/>
            <a:gdLst>
              <a:gd name="connsiteX0" fmla="*/ 0 w 1734913"/>
              <a:gd name="connsiteY0" fmla="*/ 0 h 793744"/>
              <a:gd name="connsiteX1" fmla="*/ 1734913 w 1734913"/>
              <a:gd name="connsiteY1" fmla="*/ 793744 h 793744"/>
              <a:gd name="connsiteX0" fmla="*/ 0 w 1766100"/>
              <a:gd name="connsiteY0" fmla="*/ 0 h 793744"/>
              <a:gd name="connsiteX1" fmla="*/ 1766100 w 1766100"/>
              <a:gd name="connsiteY1" fmla="*/ 42664 h 793744"/>
              <a:gd name="connsiteX2" fmla="*/ 1734913 w 1766100"/>
              <a:gd name="connsiteY2" fmla="*/ 793744 h 793744"/>
              <a:gd name="connsiteX0" fmla="*/ 0 w 1766100"/>
              <a:gd name="connsiteY0" fmla="*/ 0 h 793744"/>
              <a:gd name="connsiteX1" fmla="*/ 1766100 w 1766100"/>
              <a:gd name="connsiteY1" fmla="*/ 42664 h 793744"/>
              <a:gd name="connsiteX2" fmla="*/ 1734913 w 1766100"/>
              <a:gd name="connsiteY2" fmla="*/ 793744 h 793744"/>
              <a:gd name="connsiteX0" fmla="*/ 0 w 1825722"/>
              <a:gd name="connsiteY0" fmla="*/ 0 h 793744"/>
              <a:gd name="connsiteX1" fmla="*/ 1766100 w 1825722"/>
              <a:gd name="connsiteY1" fmla="*/ 42664 h 793744"/>
              <a:gd name="connsiteX2" fmla="*/ 1439528 w 1825722"/>
              <a:gd name="connsiteY2" fmla="*/ 499864 h 793744"/>
              <a:gd name="connsiteX3" fmla="*/ 1734913 w 1825722"/>
              <a:gd name="connsiteY3" fmla="*/ 793744 h 793744"/>
              <a:gd name="connsiteX0" fmla="*/ 0 w 1888306"/>
              <a:gd name="connsiteY0" fmla="*/ 0 h 793744"/>
              <a:gd name="connsiteX1" fmla="*/ 1766100 w 1888306"/>
              <a:gd name="connsiteY1" fmla="*/ 42664 h 793744"/>
              <a:gd name="connsiteX2" fmla="*/ 1734913 w 1888306"/>
              <a:gd name="connsiteY2" fmla="*/ 793744 h 793744"/>
              <a:gd name="connsiteX0" fmla="*/ 0 w 1766100"/>
              <a:gd name="connsiteY0" fmla="*/ 0 h 793744"/>
              <a:gd name="connsiteX1" fmla="*/ 1766100 w 1766100"/>
              <a:gd name="connsiteY1" fmla="*/ 42664 h 793744"/>
              <a:gd name="connsiteX2" fmla="*/ 1734913 w 1766100"/>
              <a:gd name="connsiteY2" fmla="*/ 793744 h 793744"/>
              <a:gd name="connsiteX0" fmla="*/ 0 w 1734913"/>
              <a:gd name="connsiteY0" fmla="*/ 0 h 793744"/>
              <a:gd name="connsiteX1" fmla="*/ 1722557 w 1734913"/>
              <a:gd name="connsiteY1" fmla="*/ 6256 h 793744"/>
              <a:gd name="connsiteX2" fmla="*/ 1734913 w 1734913"/>
              <a:gd name="connsiteY2" fmla="*/ 793744 h 793744"/>
            </a:gdLst>
            <a:ahLst/>
            <a:cxnLst>
              <a:cxn ang="0">
                <a:pos x="connsiteX0" y="connsiteY0"/>
              </a:cxn>
              <a:cxn ang="0">
                <a:pos x="connsiteX1" y="connsiteY1"/>
              </a:cxn>
              <a:cxn ang="0">
                <a:pos x="connsiteX2" y="connsiteY2"/>
              </a:cxn>
            </a:cxnLst>
            <a:rect l="l" t="t" r="r" b="b"/>
            <a:pathLst>
              <a:path w="1734913" h="793744">
                <a:moveTo>
                  <a:pt x="0" y="0"/>
                </a:moveTo>
                <a:lnTo>
                  <a:pt x="1722557" y="6256"/>
                </a:lnTo>
                <a:lnTo>
                  <a:pt x="1734913" y="793744"/>
                </a:lnTo>
              </a:path>
            </a:pathLst>
          </a:cu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sp>
        <p:nvSpPr>
          <p:cNvPr id="40" name="Line 7"/>
          <p:cNvSpPr>
            <a:spLocks noChangeShapeType="1"/>
          </p:cNvSpPr>
          <p:nvPr/>
        </p:nvSpPr>
        <p:spPr bwMode="auto">
          <a:xfrm flipV="1">
            <a:off x="9998306" y="2612141"/>
            <a:ext cx="819729" cy="407155"/>
          </a:xfrm>
          <a:prstGeom prst="line">
            <a:avLst/>
          </a:pr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sp>
        <p:nvSpPr>
          <p:cNvPr id="41" name="Line 7"/>
          <p:cNvSpPr>
            <a:spLocks noChangeShapeType="1"/>
          </p:cNvSpPr>
          <p:nvPr/>
        </p:nvSpPr>
        <p:spPr bwMode="auto">
          <a:xfrm>
            <a:off x="9152541" y="3501578"/>
            <a:ext cx="489312" cy="0"/>
          </a:xfrm>
          <a:prstGeom prst="line">
            <a:avLst/>
          </a:prstGeom>
          <a:noFill/>
          <a:ln w="12700">
            <a:solidFill>
              <a:schemeClr val="bg2"/>
            </a:solidFill>
            <a:prstDash val="dash"/>
            <a:round/>
            <a:headEnd/>
            <a:tailEnd type="none"/>
          </a:ln>
          <a:extLst>
            <a:ext uri="{909E8E84-426E-40DD-AFC4-6F175D3DCCD1}">
              <a14:hiddenFill xmlns:a14="http://schemas.microsoft.com/office/drawing/2010/main">
                <a:noFill/>
              </a14:hiddenFill>
            </a:ext>
          </a:extLst>
        </p:spPr>
        <p:txBody>
          <a:bodyPr/>
          <a:lstStyle/>
          <a:p>
            <a:endParaRPr lang="en-US"/>
          </a:p>
        </p:txBody>
      </p:sp>
      <p:sp>
        <p:nvSpPr>
          <p:cNvPr id="42" name="Text Box 144"/>
          <p:cNvSpPr txBox="1">
            <a:spLocks noChangeAspect="1" noChangeArrowheads="1"/>
          </p:cNvSpPr>
          <p:nvPr/>
        </p:nvSpPr>
        <p:spPr bwMode="auto">
          <a:xfrm>
            <a:off x="9420574" y="4135905"/>
            <a:ext cx="992350"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N20</a:t>
            </a:r>
          </a:p>
        </p:txBody>
      </p:sp>
      <p:sp>
        <p:nvSpPr>
          <p:cNvPr id="43" name="Text Box 144"/>
          <p:cNvSpPr txBox="1">
            <a:spLocks noChangeAspect="1" noChangeArrowheads="1"/>
          </p:cNvSpPr>
          <p:nvPr/>
        </p:nvSpPr>
        <p:spPr bwMode="auto">
          <a:xfrm>
            <a:off x="8887973" y="3260309"/>
            <a:ext cx="992350"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a:t>N21</a:t>
            </a:r>
          </a:p>
        </p:txBody>
      </p:sp>
      <p:sp>
        <p:nvSpPr>
          <p:cNvPr id="44" name="Text Box 144"/>
          <p:cNvSpPr txBox="1">
            <a:spLocks noChangeAspect="1" noChangeArrowheads="1"/>
          </p:cNvSpPr>
          <p:nvPr/>
        </p:nvSpPr>
        <p:spPr bwMode="auto">
          <a:xfrm>
            <a:off x="8365522" y="4060936"/>
            <a:ext cx="992350"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N8</a:t>
            </a:r>
          </a:p>
        </p:txBody>
      </p:sp>
      <p:sp>
        <p:nvSpPr>
          <p:cNvPr id="46" name="Freeform 4"/>
          <p:cNvSpPr>
            <a:spLocks noChangeAspect="1" noEditPoints="1"/>
          </p:cNvSpPr>
          <p:nvPr/>
        </p:nvSpPr>
        <p:spPr bwMode="auto">
          <a:xfrm>
            <a:off x="6747259" y="4619207"/>
            <a:ext cx="432761" cy="59284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4" name="Group 278"/>
          <p:cNvGrpSpPr>
            <a:grpSpLocks noChangeAspect="1"/>
          </p:cNvGrpSpPr>
          <p:nvPr/>
        </p:nvGrpSpPr>
        <p:grpSpPr bwMode="auto">
          <a:xfrm>
            <a:off x="7631445" y="4252966"/>
            <a:ext cx="734077" cy="1053987"/>
            <a:chOff x="3106" y="2389"/>
            <a:chExt cx="363" cy="520"/>
          </a:xfrm>
        </p:grpSpPr>
        <p:sp>
          <p:nvSpPr>
            <p:cNvPr id="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a:ln>
                    <a:noFill/>
                  </a:ln>
                  <a:solidFill>
                    <a:srgbClr val="8F3F7B"/>
                  </a:solidFill>
                  <a:effectLst/>
                  <a:uLnTx/>
                  <a:uFillTx/>
                  <a:latin typeface="Arial" pitchFamily="34" charset="0"/>
                  <a:ea typeface="MS PGothic" pitchFamily="34" charset="-128"/>
                </a:rPr>
                <a:t> 5G-RAN</a:t>
              </a:r>
              <a:endPar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endParaRPr>
            </a:p>
          </p:txBody>
        </p:sp>
        <p:sp>
          <p:nvSpPr>
            <p:cNvPr id="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sp>
        <p:nvSpPr>
          <p:cNvPr id="47" name="Text Box 144"/>
          <p:cNvSpPr txBox="1">
            <a:spLocks noChangeAspect="1" noChangeArrowheads="1"/>
          </p:cNvSpPr>
          <p:nvPr/>
        </p:nvSpPr>
        <p:spPr bwMode="auto">
          <a:xfrm>
            <a:off x="8382070" y="4923869"/>
            <a:ext cx="638256"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N1 </a:t>
            </a:r>
            <a:br>
              <a:rPr lang="en-US" altLang="en-US" sz="1600" dirty="0"/>
            </a:br>
            <a:r>
              <a:rPr lang="en-US" altLang="en-US" sz="1600" dirty="0"/>
              <a:t>(NAS)</a:t>
            </a:r>
          </a:p>
        </p:txBody>
      </p:sp>
    </p:spTree>
    <p:extLst>
      <p:ext uri="{BB962C8B-B14F-4D97-AF65-F5344CB8AC3E}">
        <p14:creationId xmlns:p14="http://schemas.microsoft.com/office/powerpoint/2010/main" val="107644223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Services and Network slicing in 5GC </a:t>
            </a:r>
          </a:p>
        </p:txBody>
      </p:sp>
      <p:sp>
        <p:nvSpPr>
          <p:cNvPr id="4" name="Rectangle 3"/>
          <p:cNvSpPr/>
          <p:nvPr/>
        </p:nvSpPr>
        <p:spPr bwMode="auto">
          <a:xfrm>
            <a:off x="4814094" y="1737228"/>
            <a:ext cx="3240444" cy="1819045"/>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err="1">
                <a:ln>
                  <a:noFill/>
                </a:ln>
                <a:solidFill>
                  <a:schemeClr val="tx1"/>
                </a:solidFill>
                <a:effectLst/>
                <a:uLnTx/>
                <a:uFillTx/>
              </a:rPr>
              <a:t>CIoT</a:t>
            </a:r>
            <a:r>
              <a:rPr kumimoji="0" lang="en-US" sz="1400" b="0" i="0" u="none" strike="noStrike" kern="0" cap="none" spc="0" normalizeH="0" baseline="0" noProof="0" dirty="0">
                <a:ln>
                  <a:noFill/>
                </a:ln>
                <a:solidFill>
                  <a:schemeClr val="tx1"/>
                </a:solidFill>
                <a:effectLst/>
                <a:uLnTx/>
                <a:uFillTx/>
              </a:rPr>
              <a:t> Core network instance</a:t>
            </a:r>
          </a:p>
        </p:txBody>
      </p:sp>
      <p:sp>
        <p:nvSpPr>
          <p:cNvPr id="5" name="Rectangle 4"/>
          <p:cNvSpPr/>
          <p:nvPr/>
        </p:nvSpPr>
        <p:spPr bwMode="auto">
          <a:xfrm>
            <a:off x="3572721" y="1737229"/>
            <a:ext cx="1090748" cy="3730032"/>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Arial" charset="0"/>
              </a:rPr>
              <a:t>RAN</a:t>
            </a:r>
          </a:p>
        </p:txBody>
      </p:sp>
      <p:sp>
        <p:nvSpPr>
          <p:cNvPr id="6" name="Freeform 3"/>
          <p:cNvSpPr>
            <a:spLocks noChangeAspect="1"/>
          </p:cNvSpPr>
          <p:nvPr/>
        </p:nvSpPr>
        <p:spPr bwMode="auto">
          <a:xfrm>
            <a:off x="8400949" y="2917964"/>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285F"/>
          </a:solidFill>
          <a:ln w="9525" cap="flat" cmpd="sng" algn="ctr">
            <a:noFill/>
            <a:prstDash val="solid"/>
            <a:round/>
            <a:headEnd type="none" w="med" len="med"/>
            <a:tailEnd type="none" w="med" len="med"/>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br>
              <a:rPr kumimoji="0" lang="en-US" sz="1400" b="0" i="0" u="none" strike="noStrike" kern="0" cap="none" spc="0" normalizeH="0" baseline="0" noProof="0" dirty="0">
                <a:ln>
                  <a:noFill/>
                </a:ln>
                <a:solidFill>
                  <a:srgbClr val="00285F"/>
                </a:solidFill>
                <a:effectLst/>
                <a:uLnTx/>
                <a:uFillTx/>
              </a:rPr>
            </a:br>
            <a:r>
              <a:rPr kumimoji="0" lang="en-US" sz="1400" b="0" i="0" u="none" strike="noStrike" kern="0" cap="none" spc="0" normalizeH="0" baseline="0" noProof="0" dirty="0">
                <a:ln>
                  <a:noFill/>
                </a:ln>
                <a:solidFill>
                  <a:srgbClr val="00285F"/>
                </a:solidFill>
                <a:effectLst/>
                <a:uLnTx/>
                <a:uFillTx/>
              </a:rPr>
              <a:t> </a:t>
            </a:r>
            <a:r>
              <a:rPr kumimoji="0" lang="en-US" sz="1400" b="0" i="0" u="none" strike="noStrike" kern="0" cap="none" spc="0" normalizeH="0" baseline="0" noProof="0" dirty="0" err="1">
                <a:ln>
                  <a:noFill/>
                </a:ln>
                <a:solidFill>
                  <a:srgbClr val="00285F"/>
                </a:solidFill>
                <a:effectLst/>
                <a:uLnTx/>
                <a:uFillTx/>
              </a:rPr>
              <a:t>CIoT</a:t>
            </a:r>
            <a:endParaRPr kumimoji="0" lang="en-US" sz="1400" b="0" i="0" u="none" strike="noStrike" kern="0" cap="none" spc="0" normalizeH="0" baseline="0" noProof="0" dirty="0">
              <a:ln>
                <a:noFill/>
              </a:ln>
              <a:solidFill>
                <a:srgbClr val="00285F"/>
              </a:solidFill>
              <a:effectLst/>
              <a:uLnTx/>
              <a:uFillTx/>
            </a:endParaRPr>
          </a:p>
        </p:txBody>
      </p:sp>
      <p:grpSp>
        <p:nvGrpSpPr>
          <p:cNvPr id="7" name="Group 278"/>
          <p:cNvGrpSpPr>
            <a:grpSpLocks noChangeAspect="1"/>
          </p:cNvGrpSpPr>
          <p:nvPr/>
        </p:nvGrpSpPr>
        <p:grpSpPr bwMode="auto">
          <a:xfrm>
            <a:off x="3661370" y="4043956"/>
            <a:ext cx="553824" cy="795180"/>
            <a:chOff x="3106" y="2389"/>
            <a:chExt cx="363" cy="520"/>
          </a:xfrm>
        </p:grpSpPr>
        <p:sp>
          <p:nvSpPr>
            <p:cNvPr id="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Arial" pitchFamily="34" charset="0"/>
              </a:endParaRPr>
            </a:p>
          </p:txBody>
        </p:sp>
        <p:sp>
          <p:nvSpPr>
            <p:cNvPr id="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Arial" pitchFamily="34" charset="0"/>
              </a:endParaRPr>
            </a:p>
          </p:txBody>
        </p:sp>
        <p:sp>
          <p:nvSpPr>
            <p:cNvPr id="1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dirty="0">
                  <a:ln>
                    <a:noFill/>
                  </a:ln>
                  <a:solidFill>
                    <a:srgbClr val="8F3F7B"/>
                  </a:solidFill>
                  <a:effectLst/>
                  <a:uLnTx/>
                  <a:uFillTx/>
                  <a:latin typeface="Arial" pitchFamily="34" charset="0"/>
                  <a:ea typeface="MS PGothic" pitchFamily="34" charset="-128"/>
                </a:rPr>
                <a:t> 5G</a:t>
              </a: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dirty="0">
                  <a:ln>
                    <a:noFill/>
                  </a:ln>
                  <a:solidFill>
                    <a:srgbClr val="8F3F7B"/>
                  </a:solidFill>
                  <a:effectLst/>
                  <a:uLnTx/>
                  <a:uFillTx/>
                  <a:latin typeface="Arial" pitchFamily="34" charset="0"/>
                  <a:ea typeface="MS PGothic" pitchFamily="34" charset="-128"/>
                </a:rPr>
                <a:t>RAN</a:t>
              </a:r>
            </a:p>
          </p:txBody>
        </p:sp>
        <p:sp>
          <p:nvSpPr>
            <p:cNvPr id="1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Arial" pitchFamily="34" charset="0"/>
              </a:endParaRPr>
            </a:p>
          </p:txBody>
        </p:sp>
        <p:sp>
          <p:nvSpPr>
            <p:cNvPr id="1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sp>
        <p:nvSpPr>
          <p:cNvPr id="13" name="Rectangle 44"/>
          <p:cNvSpPr>
            <a:spLocks noChangeArrowheads="1"/>
          </p:cNvSpPr>
          <p:nvPr/>
        </p:nvSpPr>
        <p:spPr bwMode="auto">
          <a:xfrm flipV="1">
            <a:off x="1991533" y="4273625"/>
            <a:ext cx="1095743" cy="1142796"/>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58585A"/>
                </a:solidFill>
                <a:effectLst/>
                <a:uLnTx/>
                <a:uFillTx/>
              </a:rPr>
              <a:t>MBB Device</a:t>
            </a:r>
          </a:p>
        </p:txBody>
      </p:sp>
      <p:grpSp>
        <p:nvGrpSpPr>
          <p:cNvPr id="14" name="Group 13"/>
          <p:cNvGrpSpPr/>
          <p:nvPr/>
        </p:nvGrpSpPr>
        <p:grpSpPr>
          <a:xfrm>
            <a:off x="2306805" y="4550659"/>
            <a:ext cx="465198" cy="666000"/>
            <a:chOff x="1690243" y="3902109"/>
            <a:chExt cx="465198" cy="666000"/>
          </a:xfrm>
        </p:grpSpPr>
        <p:sp>
          <p:nvSpPr>
            <p:cNvPr id="15"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16"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17"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8585A"/>
                  </a:solidFill>
                  <a:effectLst/>
                  <a:uLnTx/>
                  <a:uFillTx/>
                  <a:latin typeface="Arial" charset="0"/>
                  <a:ea typeface="ＭＳ Ｐゴシック" pitchFamily="34" charset="-128"/>
                  <a:cs typeface="Arial" charset="0"/>
                </a:rPr>
                <a:t>Device</a:t>
              </a:r>
            </a:p>
          </p:txBody>
        </p:sp>
        <p:sp>
          <p:nvSpPr>
            <p:cNvPr id="18"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19"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cxnSp>
        <p:nvCxnSpPr>
          <p:cNvPr id="20" name="Straight Connector 248"/>
          <p:cNvCxnSpPr>
            <a:cxnSpLocks noChangeShapeType="1"/>
          </p:cNvCxnSpPr>
          <p:nvPr/>
        </p:nvCxnSpPr>
        <p:spPr bwMode="auto">
          <a:xfrm flipV="1">
            <a:off x="2772003" y="4524770"/>
            <a:ext cx="915304" cy="250590"/>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1" name="Elbow Connector 21"/>
          <p:cNvCxnSpPr>
            <a:stCxn id="9" idx="7"/>
          </p:cNvCxnSpPr>
          <p:nvPr/>
        </p:nvCxnSpPr>
        <p:spPr bwMode="auto">
          <a:xfrm rot="5400000" flipH="1" flipV="1">
            <a:off x="5822200" y="1489147"/>
            <a:ext cx="950204" cy="4339822"/>
          </a:xfrm>
          <a:prstGeom prst="bentConnector2">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22" name="Straight Connector 248"/>
          <p:cNvCxnSpPr>
            <a:cxnSpLocks noChangeShapeType="1"/>
          </p:cNvCxnSpPr>
          <p:nvPr/>
        </p:nvCxnSpPr>
        <p:spPr bwMode="auto">
          <a:xfrm flipV="1">
            <a:off x="2747654" y="4736822"/>
            <a:ext cx="921344" cy="273727"/>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3" name="Straight Connector 203"/>
          <p:cNvCxnSpPr>
            <a:cxnSpLocks noChangeShapeType="1"/>
            <a:stCxn id="35" idx="2"/>
          </p:cNvCxnSpPr>
          <p:nvPr/>
        </p:nvCxnSpPr>
        <p:spPr bwMode="auto">
          <a:xfrm rot="10800000" flipV="1">
            <a:off x="5472742" y="2188564"/>
            <a:ext cx="116600" cy="453694"/>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4" name="Straight Connector 169"/>
          <p:cNvCxnSpPr>
            <a:cxnSpLocks/>
          </p:cNvCxnSpPr>
          <p:nvPr/>
        </p:nvCxnSpPr>
        <p:spPr bwMode="auto">
          <a:xfrm flipV="1">
            <a:off x="3989442" y="3078333"/>
            <a:ext cx="1299170" cy="980316"/>
          </a:xfrm>
          <a:prstGeom prst="bentConnector3">
            <a:avLst>
              <a:gd name="adj1" fmla="val -1908"/>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sp>
        <p:nvSpPr>
          <p:cNvPr id="25" name="Rectangle 44"/>
          <p:cNvSpPr>
            <a:spLocks noChangeArrowheads="1"/>
          </p:cNvSpPr>
          <p:nvPr/>
        </p:nvSpPr>
        <p:spPr bwMode="auto">
          <a:xfrm flipV="1">
            <a:off x="1991533" y="3191007"/>
            <a:ext cx="1095743" cy="1007581"/>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err="1">
                <a:ln>
                  <a:noFill/>
                </a:ln>
                <a:solidFill>
                  <a:srgbClr val="58585A"/>
                </a:solidFill>
                <a:effectLst/>
                <a:uLnTx/>
                <a:uFillTx/>
              </a:rPr>
              <a:t>CIoT</a:t>
            </a:r>
            <a:r>
              <a:rPr kumimoji="0" lang="en-US" sz="1000" b="1" i="0" u="none" strike="noStrike" kern="0" cap="none" spc="0" normalizeH="0" baseline="0" noProof="0" dirty="0">
                <a:ln>
                  <a:noFill/>
                </a:ln>
                <a:solidFill>
                  <a:srgbClr val="58585A"/>
                </a:solidFill>
                <a:effectLst/>
                <a:uLnTx/>
                <a:uFillTx/>
              </a:rPr>
              <a:t> Device</a:t>
            </a:r>
          </a:p>
        </p:txBody>
      </p:sp>
      <p:grpSp>
        <p:nvGrpSpPr>
          <p:cNvPr id="26" name="Group 25"/>
          <p:cNvGrpSpPr/>
          <p:nvPr/>
        </p:nvGrpSpPr>
        <p:grpSpPr>
          <a:xfrm>
            <a:off x="2302434" y="3286910"/>
            <a:ext cx="465198" cy="666000"/>
            <a:chOff x="1690243" y="3902109"/>
            <a:chExt cx="465198" cy="666000"/>
          </a:xfrm>
        </p:grpSpPr>
        <p:sp>
          <p:nvSpPr>
            <p:cNvPr id="27"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28"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29"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8585A"/>
                  </a:solidFill>
                  <a:effectLst/>
                  <a:uLnTx/>
                  <a:uFillTx/>
                  <a:latin typeface="Arial" charset="0"/>
                  <a:ea typeface="ＭＳ Ｐゴシック" pitchFamily="34" charset="-128"/>
                  <a:cs typeface="Arial" charset="0"/>
                </a:rPr>
                <a:t>Device</a:t>
              </a:r>
            </a:p>
          </p:txBody>
        </p:sp>
        <p:sp>
          <p:nvSpPr>
            <p:cNvPr id="30"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31"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cxnSp>
        <p:nvCxnSpPr>
          <p:cNvPr id="32" name="Straight Connector 248"/>
          <p:cNvCxnSpPr>
            <a:cxnSpLocks noChangeShapeType="1"/>
            <a:stCxn id="29" idx="3"/>
            <a:endCxn id="9" idx="2"/>
          </p:cNvCxnSpPr>
          <p:nvPr/>
        </p:nvCxnSpPr>
        <p:spPr bwMode="auto">
          <a:xfrm>
            <a:off x="2743283" y="3793455"/>
            <a:ext cx="925715" cy="532637"/>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grpSp>
        <p:nvGrpSpPr>
          <p:cNvPr id="33" name="Group 45"/>
          <p:cNvGrpSpPr>
            <a:grpSpLocks noChangeAspect="1"/>
          </p:cNvGrpSpPr>
          <p:nvPr/>
        </p:nvGrpSpPr>
        <p:grpSpPr bwMode="auto">
          <a:xfrm>
            <a:off x="5583435" y="1981812"/>
            <a:ext cx="428873" cy="582717"/>
            <a:chOff x="1057" y="1587"/>
            <a:chExt cx="363" cy="520"/>
          </a:xfrm>
        </p:grpSpPr>
        <p:sp>
          <p:nvSpPr>
            <p:cNvPr id="34"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00" b="0" i="0" u="none" strike="noStrike" kern="0" cap="none" spc="0" normalizeH="0" baseline="0" noProof="0" dirty="0">
                  <a:ln>
                    <a:noFill/>
                  </a:ln>
                  <a:solidFill>
                    <a:srgbClr val="00A9D4"/>
                  </a:solidFill>
                  <a:effectLst/>
                  <a:uLnTx/>
                  <a:uFillTx/>
                  <a:latin typeface="Segoe UI" panose="020B0502040204020203" pitchFamily="34" charset="0"/>
                  <a:ea typeface="Segoe UI" panose="020B0502040204020203" pitchFamily="34" charset="0"/>
                  <a:cs typeface="Segoe UI" panose="020B0502040204020203" pitchFamily="34" charset="0"/>
                </a:rPr>
                <a:t>AUSF/UDM</a:t>
              </a:r>
            </a:p>
          </p:txBody>
        </p:sp>
        <p:sp>
          <p:nvSpPr>
            <p:cNvPr id="37"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cxnSp>
        <p:nvCxnSpPr>
          <p:cNvPr id="39" name="Straight Connector 248"/>
          <p:cNvCxnSpPr>
            <a:cxnSpLocks noChangeShapeType="1"/>
          </p:cNvCxnSpPr>
          <p:nvPr/>
        </p:nvCxnSpPr>
        <p:spPr bwMode="auto">
          <a:xfrm>
            <a:off x="2734420" y="3937374"/>
            <a:ext cx="937630" cy="520633"/>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sp>
        <p:nvSpPr>
          <p:cNvPr id="40" name="Rectangle 39"/>
          <p:cNvSpPr/>
          <p:nvPr/>
        </p:nvSpPr>
        <p:spPr bwMode="auto">
          <a:xfrm>
            <a:off x="4827642" y="3648215"/>
            <a:ext cx="3240444" cy="1819045"/>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lvl="0" indent="0"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chemeClr val="tx1"/>
                </a:solidFill>
                <a:effectLst/>
                <a:uLnTx/>
                <a:uFillTx/>
              </a:rPr>
              <a:t>MBB Core network instance</a:t>
            </a:r>
          </a:p>
        </p:txBody>
      </p:sp>
      <p:cxnSp>
        <p:nvCxnSpPr>
          <p:cNvPr id="41" name="Straight Connector 203"/>
          <p:cNvCxnSpPr>
            <a:cxnSpLocks noChangeShapeType="1"/>
            <a:endCxn id="75" idx="1"/>
          </p:cNvCxnSpPr>
          <p:nvPr/>
        </p:nvCxnSpPr>
        <p:spPr bwMode="auto">
          <a:xfrm>
            <a:off x="5694230" y="4982527"/>
            <a:ext cx="1836248" cy="235159"/>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42" name="Straight Connector 203"/>
          <p:cNvCxnSpPr>
            <a:cxnSpLocks noChangeShapeType="1"/>
            <a:stCxn id="45" idx="2"/>
            <a:endCxn id="63" idx="0"/>
          </p:cNvCxnSpPr>
          <p:nvPr/>
        </p:nvCxnSpPr>
        <p:spPr bwMode="auto">
          <a:xfrm rot="10800000" flipV="1">
            <a:off x="5486290" y="4099551"/>
            <a:ext cx="116600" cy="453694"/>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43" name="Group 45"/>
          <p:cNvGrpSpPr>
            <a:grpSpLocks noChangeAspect="1"/>
          </p:cNvGrpSpPr>
          <p:nvPr/>
        </p:nvGrpSpPr>
        <p:grpSpPr bwMode="auto">
          <a:xfrm>
            <a:off x="5596983" y="3892799"/>
            <a:ext cx="428873" cy="582717"/>
            <a:chOff x="1057" y="1587"/>
            <a:chExt cx="363" cy="520"/>
          </a:xfrm>
        </p:grpSpPr>
        <p:sp>
          <p:nvSpPr>
            <p:cNvPr id="44"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00" b="0" i="0" u="none" strike="noStrike" kern="0" cap="none" spc="0" normalizeH="0" baseline="0" noProof="0" dirty="0">
                  <a:ln>
                    <a:noFill/>
                  </a:ln>
                  <a:solidFill>
                    <a:srgbClr val="00A9D4"/>
                  </a:solidFill>
                  <a:effectLst/>
                  <a:uLnTx/>
                  <a:uFillTx/>
                  <a:latin typeface="Segoe UI" panose="020B0502040204020203" pitchFamily="34" charset="0"/>
                  <a:ea typeface="Segoe UI" panose="020B0502040204020203" pitchFamily="34" charset="0"/>
                  <a:cs typeface="Segoe UI" panose="020B0502040204020203" pitchFamily="34" charset="0"/>
                </a:rPr>
                <a:t>AUSF/UDM</a:t>
              </a:r>
            </a:p>
          </p:txBody>
        </p:sp>
        <p:sp>
          <p:nvSpPr>
            <p:cNvPr id="47"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49" name="Group 48"/>
          <p:cNvGrpSpPr/>
          <p:nvPr/>
        </p:nvGrpSpPr>
        <p:grpSpPr>
          <a:xfrm>
            <a:off x="6860510" y="3937374"/>
            <a:ext cx="428873" cy="582717"/>
            <a:chOff x="2418855" y="2964540"/>
            <a:chExt cx="428873" cy="582717"/>
          </a:xfrm>
        </p:grpSpPr>
        <p:sp>
          <p:nvSpPr>
            <p:cNvPr id="50"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800" b="0" i="0" u="none" strike="noStrike" kern="0" cap="none" spc="0" normalizeH="0" baseline="0" noProof="0" dirty="0">
                  <a:ln>
                    <a:noFill/>
                  </a:ln>
                  <a:solidFill>
                    <a:srgbClr val="7B0663"/>
                  </a:solidFill>
                  <a:effectLst/>
                  <a:uLnTx/>
                  <a:uFillTx/>
                  <a:latin typeface="Segoe UI" panose="020B0502040204020203" pitchFamily="34" charset="0"/>
                  <a:ea typeface="Segoe UI" panose="020B0502040204020203" pitchFamily="34" charset="0"/>
                  <a:cs typeface="Segoe UI" panose="020B0502040204020203" pitchFamily="34" charset="0"/>
                </a:rPr>
                <a:t>Policy Control</a:t>
              </a:r>
            </a:p>
          </p:txBody>
        </p:sp>
        <p:sp>
          <p:nvSpPr>
            <p:cNvPr id="53"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5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585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55" name="Group 557"/>
          <p:cNvGrpSpPr>
            <a:grpSpLocks noChangeAspect="1"/>
          </p:cNvGrpSpPr>
          <p:nvPr/>
        </p:nvGrpSpPr>
        <p:grpSpPr bwMode="auto">
          <a:xfrm>
            <a:off x="5970951" y="4569568"/>
            <a:ext cx="428371" cy="618476"/>
            <a:chOff x="3510" y="1858"/>
            <a:chExt cx="363" cy="520"/>
          </a:xfrm>
        </p:grpSpPr>
        <p:sp>
          <p:nvSpPr>
            <p:cNvPr id="56"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57"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58"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 typeface="Arial" pitchFamily="34" charset="0"/>
                <a:buNone/>
                <a:tabLst/>
                <a:defRPr/>
              </a:pPr>
              <a:r>
                <a:rPr kumimoji="0" lang="en-US" altLang="en-US" sz="1000" b="0" i="0" u="none" strike="noStrike" kern="0" cap="none" spc="0" normalizeH="0" baseline="0" noProof="0" dirty="0">
                  <a:ln>
                    <a:noFill/>
                  </a:ln>
                  <a:solidFill>
                    <a:srgbClr val="8F3F7B"/>
                  </a:solidFill>
                  <a:effectLst/>
                  <a:uLnTx/>
                  <a:uFillTx/>
                  <a:latin typeface="Arial" pitchFamily="34" charset="0"/>
                  <a:ea typeface="MS PGothic" pitchFamily="34" charset="-128"/>
                </a:rPr>
                <a:t>SMF</a:t>
              </a:r>
            </a:p>
          </p:txBody>
        </p:sp>
        <p:sp>
          <p:nvSpPr>
            <p:cNvPr id="59"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60"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grpSp>
        <p:nvGrpSpPr>
          <p:cNvPr id="61" name="Group 557"/>
          <p:cNvGrpSpPr>
            <a:grpSpLocks noChangeAspect="1"/>
          </p:cNvGrpSpPr>
          <p:nvPr/>
        </p:nvGrpSpPr>
        <p:grpSpPr bwMode="auto">
          <a:xfrm>
            <a:off x="5272695" y="4544919"/>
            <a:ext cx="428371" cy="618476"/>
            <a:chOff x="3510" y="1858"/>
            <a:chExt cx="363" cy="520"/>
          </a:xfrm>
        </p:grpSpPr>
        <p:sp>
          <p:nvSpPr>
            <p:cNvPr id="62"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63"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64"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 typeface="Arial" pitchFamily="34" charset="0"/>
                <a:buNone/>
                <a:tabLst/>
                <a:defRPr/>
              </a:pPr>
              <a:r>
                <a:rPr lang="en-US" altLang="en-US" sz="1000" kern="0" dirty="0">
                  <a:solidFill>
                    <a:srgbClr val="8F3F7B"/>
                  </a:solidFill>
                  <a:ea typeface="MS PGothic" pitchFamily="34" charset="-128"/>
                </a:rPr>
                <a:t>A</a:t>
              </a:r>
              <a:r>
                <a:rPr kumimoji="0" lang="en-US" altLang="en-US" sz="1000" b="0" i="0" u="none" strike="noStrike" kern="0" cap="none" spc="0" normalizeH="0" baseline="0" noProof="0" dirty="0">
                  <a:ln>
                    <a:noFill/>
                  </a:ln>
                  <a:solidFill>
                    <a:srgbClr val="8F3F7B"/>
                  </a:solidFill>
                  <a:effectLst/>
                  <a:uLnTx/>
                  <a:uFillTx/>
                  <a:latin typeface="Arial" pitchFamily="34" charset="0"/>
                  <a:ea typeface="MS PGothic" pitchFamily="34" charset="-128"/>
                </a:rPr>
                <a:t>MF</a:t>
              </a:r>
            </a:p>
          </p:txBody>
        </p:sp>
        <p:sp>
          <p:nvSpPr>
            <p:cNvPr id="65"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pitchFamily="34" charset="0"/>
              </a:endParaRPr>
            </a:p>
          </p:txBody>
        </p:sp>
        <p:sp>
          <p:nvSpPr>
            <p:cNvPr id="66"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cxnSp>
        <p:nvCxnSpPr>
          <p:cNvPr id="67" name="Straight Connector 66"/>
          <p:cNvCxnSpPr>
            <a:cxnSpLocks/>
            <a:stCxn id="52" idx="1"/>
            <a:endCxn id="63" idx="7"/>
          </p:cNvCxnSpPr>
          <p:nvPr/>
        </p:nvCxnSpPr>
        <p:spPr bwMode="auto">
          <a:xfrm flipH="1">
            <a:off x="5633153" y="4380576"/>
            <a:ext cx="1247442" cy="234503"/>
          </a:xfrm>
          <a:prstGeom prst="line">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cxnSp>
        <p:nvCxnSpPr>
          <p:cNvPr id="68" name="Straight Connector 67"/>
          <p:cNvCxnSpPr>
            <a:cxnSpLocks/>
            <a:stCxn id="52" idx="1"/>
            <a:endCxn id="57" idx="7"/>
          </p:cNvCxnSpPr>
          <p:nvPr/>
        </p:nvCxnSpPr>
        <p:spPr bwMode="auto">
          <a:xfrm flipH="1">
            <a:off x="6331409" y="4380576"/>
            <a:ext cx="549186" cy="259152"/>
          </a:xfrm>
          <a:prstGeom prst="line">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cxnSp>
        <p:nvCxnSpPr>
          <p:cNvPr id="69" name="Straight Connector 68"/>
          <p:cNvCxnSpPr>
            <a:cxnSpLocks/>
            <a:stCxn id="46" idx="2"/>
            <a:endCxn id="57" idx="0"/>
          </p:cNvCxnSpPr>
          <p:nvPr/>
        </p:nvCxnSpPr>
        <p:spPr bwMode="auto">
          <a:xfrm>
            <a:off x="5810238" y="4462069"/>
            <a:ext cx="374308" cy="11582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0" name="Straight Connector 203"/>
          <p:cNvCxnSpPr>
            <a:cxnSpLocks noChangeShapeType="1"/>
          </p:cNvCxnSpPr>
          <p:nvPr/>
        </p:nvCxnSpPr>
        <p:spPr bwMode="auto">
          <a:xfrm rot="10800000">
            <a:off x="4236168" y="4751435"/>
            <a:ext cx="1036528" cy="188069"/>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71" name="Straight Connector 169"/>
          <p:cNvCxnSpPr>
            <a:stCxn id="10" idx="2"/>
          </p:cNvCxnSpPr>
          <p:nvPr/>
        </p:nvCxnSpPr>
        <p:spPr bwMode="auto">
          <a:xfrm rot="16200000" flipH="1">
            <a:off x="6059585" y="2697956"/>
            <a:ext cx="485030" cy="4730687"/>
          </a:xfrm>
          <a:prstGeom prst="bentConnector2">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grpSp>
        <p:nvGrpSpPr>
          <p:cNvPr id="72" name="Group 264"/>
          <p:cNvGrpSpPr>
            <a:grpSpLocks noChangeAspect="1"/>
          </p:cNvGrpSpPr>
          <p:nvPr/>
        </p:nvGrpSpPr>
        <p:grpSpPr bwMode="auto">
          <a:xfrm>
            <a:off x="7530478" y="4765049"/>
            <a:ext cx="433579" cy="612946"/>
            <a:chOff x="644" y="2384"/>
            <a:chExt cx="366" cy="520"/>
          </a:xfrm>
        </p:grpSpPr>
        <p:sp>
          <p:nvSpPr>
            <p:cNvPr id="73"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74"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75" name="Text Box 144"/>
            <p:cNvSpPr txBox="1">
              <a:spLocks noChangeAspect="1" noChangeArrowheads="1"/>
            </p:cNvSpPr>
            <p:nvPr/>
          </p:nvSpPr>
          <p:spPr bwMode="auto">
            <a:xfrm>
              <a:off x="644" y="2716"/>
              <a:ext cx="366"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00" b="0" i="0" u="none" strike="noStrike" kern="0" cap="none" spc="0" normalizeH="0" baseline="0" noProof="0" dirty="0">
                  <a:ln>
                    <a:noFill/>
                  </a:ln>
                  <a:solidFill>
                    <a:srgbClr val="8F3F7B"/>
                  </a:solidFill>
                  <a:effectLst/>
                  <a:uLnTx/>
                  <a:uFillTx/>
                  <a:latin typeface="Arial" charset="0"/>
                  <a:ea typeface="MS PGothic" pitchFamily="34" charset="-128"/>
                  <a:cs typeface="MS PGothic" pitchFamily="34" charset="-128"/>
                </a:rPr>
                <a:t>UPF</a:t>
              </a:r>
              <a:endParaRPr kumimoji="0" lang="en-US" altLang="en-US" sz="900" b="0" i="0" u="none" strike="noStrike" kern="0" cap="none" spc="0" normalizeH="0" baseline="0" noProof="0" dirty="0">
                <a:ln>
                  <a:noFill/>
                </a:ln>
                <a:solidFill>
                  <a:srgbClr val="8F3F7B"/>
                </a:solidFill>
                <a:effectLst/>
                <a:uLnTx/>
                <a:uFillTx/>
                <a:latin typeface="Arial" charset="0"/>
                <a:ea typeface="MS PGothic" pitchFamily="34" charset="-128"/>
                <a:cs typeface="MS PGothic" pitchFamily="34" charset="-128"/>
              </a:endParaRPr>
            </a:p>
          </p:txBody>
        </p:sp>
        <p:sp>
          <p:nvSpPr>
            <p:cNvPr id="76"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77"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grpSp>
        <p:nvGrpSpPr>
          <p:cNvPr id="78" name="Group 261"/>
          <p:cNvGrpSpPr>
            <a:grpSpLocks noChangeAspect="1"/>
          </p:cNvGrpSpPr>
          <p:nvPr/>
        </p:nvGrpSpPr>
        <p:grpSpPr bwMode="auto">
          <a:xfrm>
            <a:off x="8667444" y="4712347"/>
            <a:ext cx="451228" cy="627705"/>
            <a:chOff x="239" y="1832"/>
            <a:chExt cx="363" cy="520"/>
          </a:xfrm>
        </p:grpSpPr>
        <p:sp>
          <p:nvSpPr>
            <p:cNvPr id="7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200" dirty="0"/>
            </a:p>
          </p:txBody>
        </p:sp>
        <p:sp>
          <p:nvSpPr>
            <p:cNvPr id="8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200" dirty="0"/>
            </a:p>
          </p:txBody>
        </p:sp>
        <p:sp>
          <p:nvSpPr>
            <p:cNvPr id="8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100" dirty="0">
                  <a:solidFill>
                    <a:srgbClr val="8F3F7B"/>
                  </a:solidFill>
                  <a:ea typeface="MS PGothic" panose="020B0600070205080204" pitchFamily="34" charset="-128"/>
                  <a:cs typeface="MS PGothic" panose="020B0600070205080204" pitchFamily="34" charset="-128"/>
                </a:rPr>
                <a:t>IMS Core</a:t>
              </a:r>
              <a:endParaRPr lang="en-US" altLang="en-US" sz="500" dirty="0">
                <a:solidFill>
                  <a:srgbClr val="8F3F7B"/>
                </a:solidFill>
                <a:ea typeface="MS PGothic" panose="020B0600070205080204" pitchFamily="34" charset="-128"/>
                <a:cs typeface="MS PGothic" panose="020B0600070205080204" pitchFamily="34" charset="-128"/>
              </a:endParaRPr>
            </a:p>
          </p:txBody>
        </p:sp>
        <p:sp>
          <p:nvSpPr>
            <p:cNvPr id="8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200" dirty="0"/>
            </a:p>
          </p:txBody>
        </p:sp>
        <p:sp>
          <p:nvSpPr>
            <p:cNvPr id="83"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dirty="0"/>
            </a:p>
          </p:txBody>
        </p:sp>
      </p:grpSp>
      <p:sp>
        <p:nvSpPr>
          <p:cNvPr id="84" name="Oval 48"/>
          <p:cNvSpPr>
            <a:spLocks noChangeAspect="1" noChangeArrowheads="1"/>
          </p:cNvSpPr>
          <p:nvPr/>
        </p:nvSpPr>
        <p:spPr bwMode="auto">
          <a:xfrm>
            <a:off x="8467213" y="4209932"/>
            <a:ext cx="1051498" cy="565428"/>
          </a:xfrm>
          <a:prstGeom prst="ellipse">
            <a:avLst/>
          </a:prstGeom>
          <a:blipFill dpi="0" rotWithShape="1">
            <a:blip r:embed="rId3"/>
            <a:srcRect/>
            <a:stretch>
              <a:fillRect/>
            </a:stretch>
          </a:blip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50000"/>
              </a:spcBef>
            </a:pPr>
            <a:r>
              <a:rPr lang="en-US" sz="1100" b="1" dirty="0">
                <a:solidFill>
                  <a:schemeClr val="bg1"/>
                </a:solidFill>
              </a:rPr>
              <a:t>Voice</a:t>
            </a:r>
            <a:br>
              <a:rPr lang="en-US" sz="1100" b="1" dirty="0">
                <a:solidFill>
                  <a:schemeClr val="bg1"/>
                </a:solidFill>
              </a:rPr>
            </a:br>
            <a:r>
              <a:rPr lang="en-US" sz="1100" b="1" dirty="0">
                <a:solidFill>
                  <a:schemeClr val="bg1"/>
                </a:solidFill>
              </a:rPr>
              <a:t>Video</a:t>
            </a:r>
            <a:br>
              <a:rPr lang="en-US" sz="1100" b="1" dirty="0">
                <a:solidFill>
                  <a:schemeClr val="bg1"/>
                </a:solidFill>
              </a:rPr>
            </a:br>
            <a:r>
              <a:rPr lang="en-US" sz="1100" b="1" dirty="0">
                <a:solidFill>
                  <a:schemeClr val="bg1"/>
                </a:solidFill>
              </a:rPr>
              <a:t>SMS</a:t>
            </a:r>
          </a:p>
        </p:txBody>
      </p:sp>
      <p:sp>
        <p:nvSpPr>
          <p:cNvPr id="85" name="Oval 48"/>
          <p:cNvSpPr>
            <a:spLocks noChangeAspect="1" noChangeArrowheads="1"/>
          </p:cNvSpPr>
          <p:nvPr/>
        </p:nvSpPr>
        <p:spPr bwMode="auto">
          <a:xfrm>
            <a:off x="9108649" y="4647932"/>
            <a:ext cx="1051498" cy="354867"/>
          </a:xfrm>
          <a:prstGeom prst="ellipse">
            <a:avLst/>
          </a:prstGeom>
          <a:solidFill>
            <a:srgbClr val="00A9D4"/>
          </a:solidFill>
          <a:ln w="12700" cap="flat" cmpd="sng" algn="ctr">
            <a:solidFill>
              <a:schemeClr val="tx1"/>
            </a:solidFill>
            <a:prstDash val="dash"/>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200" b="1" dirty="0">
                <a:solidFill>
                  <a:schemeClr val="bg1"/>
                </a:solidFill>
              </a:rPr>
              <a:t>RCS</a:t>
            </a:r>
          </a:p>
        </p:txBody>
      </p:sp>
      <p:grpSp>
        <p:nvGrpSpPr>
          <p:cNvPr id="86" name="Group 261"/>
          <p:cNvGrpSpPr>
            <a:grpSpLocks noChangeAspect="1"/>
          </p:cNvGrpSpPr>
          <p:nvPr/>
        </p:nvGrpSpPr>
        <p:grpSpPr bwMode="auto">
          <a:xfrm>
            <a:off x="5271478" y="2673912"/>
            <a:ext cx="428443" cy="580937"/>
            <a:chOff x="239" y="1832"/>
            <a:chExt cx="363" cy="520"/>
          </a:xfrm>
        </p:grpSpPr>
        <p:sp>
          <p:nvSpPr>
            <p:cNvPr id="8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900" dirty="0">
                <a:solidFill>
                  <a:srgbClr val="58585A"/>
                </a:solidFill>
              </a:endParaRPr>
            </a:p>
          </p:txBody>
        </p:sp>
        <p:sp>
          <p:nvSpPr>
            <p:cNvPr id="8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900" dirty="0">
                <a:solidFill>
                  <a:srgbClr val="58585A"/>
                </a:solidFill>
              </a:endParaRPr>
            </a:p>
          </p:txBody>
        </p:sp>
        <p:sp>
          <p:nvSpPr>
            <p:cNvPr id="8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000" dirty="0">
                  <a:solidFill>
                    <a:srgbClr val="8F3F7B"/>
                  </a:solidFill>
                  <a:latin typeface="+mn-lt"/>
                  <a:ea typeface="Segoe UI" panose="020B0502040204020203" pitchFamily="34" charset="0"/>
                  <a:cs typeface="Segoe UI" panose="020B0502040204020203" pitchFamily="34" charset="0"/>
                </a:rPr>
                <a:t>AMF/ SMF</a:t>
              </a:r>
            </a:p>
          </p:txBody>
        </p:sp>
        <p:sp>
          <p:nvSpPr>
            <p:cNvPr id="9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900" dirty="0">
                <a:solidFill>
                  <a:srgbClr val="58585A"/>
                </a:solidFill>
              </a:endParaRPr>
            </a:p>
          </p:txBody>
        </p:sp>
        <p:sp>
          <p:nvSpPr>
            <p:cNvPr id="9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dirty="0"/>
            </a:p>
          </p:txBody>
        </p:sp>
      </p:grpSp>
      <p:grpSp>
        <p:nvGrpSpPr>
          <p:cNvPr id="92" name="Group 91"/>
          <p:cNvGrpSpPr/>
          <p:nvPr/>
        </p:nvGrpSpPr>
        <p:grpSpPr>
          <a:xfrm>
            <a:off x="4887790" y="1999058"/>
            <a:ext cx="508504" cy="640932"/>
            <a:chOff x="4338871" y="2725624"/>
            <a:chExt cx="1199053" cy="1626215"/>
          </a:xfrm>
        </p:grpSpPr>
        <p:sp>
          <p:nvSpPr>
            <p:cNvPr id="9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9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9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9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dirty="0"/>
                <a:t>SMSF</a:t>
              </a:r>
            </a:p>
          </p:txBody>
        </p:sp>
        <p:sp>
          <p:nvSpPr>
            <p:cNvPr id="9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9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600" dirty="0"/>
            </a:p>
          </p:txBody>
        </p:sp>
      </p:grpSp>
      <p:grpSp>
        <p:nvGrpSpPr>
          <p:cNvPr id="99" name="Group 98"/>
          <p:cNvGrpSpPr/>
          <p:nvPr/>
        </p:nvGrpSpPr>
        <p:grpSpPr>
          <a:xfrm>
            <a:off x="4892494" y="3911378"/>
            <a:ext cx="508504" cy="640932"/>
            <a:chOff x="4338871" y="2725624"/>
            <a:chExt cx="1199053" cy="1626215"/>
          </a:xfrm>
        </p:grpSpPr>
        <p:sp>
          <p:nvSpPr>
            <p:cNvPr id="100"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101"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102"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103"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dirty="0"/>
                <a:t>SMSF</a:t>
              </a:r>
            </a:p>
          </p:txBody>
        </p:sp>
        <p:sp>
          <p:nvSpPr>
            <p:cNvPr id="104"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en-US" altLang="en-US" sz="700" dirty="0"/>
            </a:p>
          </p:txBody>
        </p:sp>
        <p:sp>
          <p:nvSpPr>
            <p:cNvPr id="105"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600" dirty="0"/>
            </a:p>
          </p:txBody>
        </p:sp>
      </p:grpSp>
      <p:cxnSp>
        <p:nvCxnSpPr>
          <p:cNvPr id="106" name="Straight Connector 203"/>
          <p:cNvCxnSpPr>
            <a:cxnSpLocks noChangeShapeType="1"/>
          </p:cNvCxnSpPr>
          <p:nvPr/>
        </p:nvCxnSpPr>
        <p:spPr bwMode="auto">
          <a:xfrm rot="16200000" flipH="1">
            <a:off x="5053879" y="2697600"/>
            <a:ext cx="285029" cy="152604"/>
          </a:xfrm>
          <a:prstGeom prst="bentConnector3">
            <a:avLst>
              <a:gd name="adj1" fmla="val 9812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07" name="Straight Connector 203"/>
          <p:cNvCxnSpPr>
            <a:cxnSpLocks noChangeShapeType="1"/>
          </p:cNvCxnSpPr>
          <p:nvPr/>
        </p:nvCxnSpPr>
        <p:spPr bwMode="auto">
          <a:xfrm rot="16200000" flipH="1">
            <a:off x="5042523" y="4579505"/>
            <a:ext cx="296370" cy="171916"/>
          </a:xfrm>
          <a:prstGeom prst="bentConnector3">
            <a:avLst>
              <a:gd name="adj1" fmla="val 10013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08" name="Group 264"/>
          <p:cNvGrpSpPr>
            <a:grpSpLocks noChangeAspect="1"/>
          </p:cNvGrpSpPr>
          <p:nvPr/>
        </p:nvGrpSpPr>
        <p:grpSpPr bwMode="auto">
          <a:xfrm>
            <a:off x="7225597" y="2635200"/>
            <a:ext cx="433579" cy="612946"/>
            <a:chOff x="644" y="2384"/>
            <a:chExt cx="366" cy="520"/>
          </a:xfrm>
        </p:grpSpPr>
        <p:sp>
          <p:nvSpPr>
            <p:cNvPr id="109"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110"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111" name="Text Box 144"/>
            <p:cNvSpPr txBox="1">
              <a:spLocks noChangeAspect="1" noChangeArrowheads="1"/>
            </p:cNvSpPr>
            <p:nvPr/>
          </p:nvSpPr>
          <p:spPr bwMode="auto">
            <a:xfrm>
              <a:off x="644" y="2716"/>
              <a:ext cx="366"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00" b="0" i="0" u="none" strike="noStrike" kern="0" cap="none" spc="0" normalizeH="0" baseline="0" noProof="0" dirty="0">
                  <a:ln>
                    <a:noFill/>
                  </a:ln>
                  <a:solidFill>
                    <a:srgbClr val="8F3F7B"/>
                  </a:solidFill>
                  <a:effectLst/>
                  <a:uLnTx/>
                  <a:uFillTx/>
                  <a:latin typeface="Arial" charset="0"/>
                  <a:ea typeface="MS PGothic" pitchFamily="34" charset="-128"/>
                  <a:cs typeface="MS PGothic" pitchFamily="34" charset="-128"/>
                </a:rPr>
                <a:t>UPF</a:t>
              </a:r>
              <a:endParaRPr kumimoji="0" lang="en-US" altLang="en-US" sz="900" b="0" i="0" u="none" strike="noStrike" kern="0" cap="none" spc="0" normalizeH="0" baseline="0" noProof="0" dirty="0">
                <a:ln>
                  <a:noFill/>
                </a:ln>
                <a:solidFill>
                  <a:srgbClr val="8F3F7B"/>
                </a:solidFill>
                <a:effectLst/>
                <a:uLnTx/>
                <a:uFillTx/>
                <a:latin typeface="Arial" charset="0"/>
                <a:ea typeface="MS PGothic" pitchFamily="34" charset="-128"/>
                <a:cs typeface="MS PGothic" pitchFamily="34" charset="-128"/>
              </a:endParaRPr>
            </a:p>
          </p:txBody>
        </p:sp>
        <p:sp>
          <p:nvSpPr>
            <p:cNvPr id="112"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900" b="0" i="0" u="none" strike="noStrike" kern="0" cap="none" spc="0" normalizeH="0" baseline="0" noProof="0" dirty="0">
                <a:ln>
                  <a:noFill/>
                </a:ln>
                <a:solidFill>
                  <a:srgbClr val="58585A"/>
                </a:solidFill>
                <a:effectLst/>
                <a:uLnTx/>
                <a:uFillTx/>
                <a:latin typeface="Arial" charset="0"/>
              </a:endParaRPr>
            </a:p>
          </p:txBody>
        </p:sp>
        <p:sp>
          <p:nvSpPr>
            <p:cNvPr id="113"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grpSp>
      <p:cxnSp>
        <p:nvCxnSpPr>
          <p:cNvPr id="114" name="Straight Connector 203"/>
          <p:cNvCxnSpPr>
            <a:cxnSpLocks noChangeShapeType="1"/>
          </p:cNvCxnSpPr>
          <p:nvPr/>
        </p:nvCxnSpPr>
        <p:spPr bwMode="auto">
          <a:xfrm>
            <a:off x="5714618" y="3021190"/>
            <a:ext cx="1516902" cy="9750"/>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5" name="Straight Connector 114"/>
          <p:cNvCxnSpPr/>
          <p:nvPr/>
        </p:nvCxnSpPr>
        <p:spPr bwMode="auto">
          <a:xfrm flipH="1">
            <a:off x="208098" y="6166470"/>
            <a:ext cx="364436" cy="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16" name="Straight Connector 115"/>
          <p:cNvCxnSpPr/>
          <p:nvPr/>
        </p:nvCxnSpPr>
        <p:spPr bwMode="auto">
          <a:xfrm flipH="1">
            <a:off x="204573" y="6398817"/>
            <a:ext cx="364436" cy="1"/>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117" name="TextBox 116"/>
          <p:cNvSpPr txBox="1"/>
          <p:nvPr/>
        </p:nvSpPr>
        <p:spPr>
          <a:xfrm>
            <a:off x="626383" y="5970273"/>
            <a:ext cx="1611373" cy="338554"/>
          </a:xfrm>
          <a:prstGeom prst="rect">
            <a:avLst/>
          </a:prstGeom>
          <a:noFill/>
        </p:spPr>
        <p:txBody>
          <a:bodyPr wrap="square" rtlCol="0">
            <a:spAutoFit/>
          </a:bodyPr>
          <a:lstStyle/>
          <a:p>
            <a:r>
              <a:rPr lang="en-US" sz="1600" b="1" dirty="0"/>
              <a:t>Control plane</a:t>
            </a:r>
          </a:p>
        </p:txBody>
      </p:sp>
      <p:sp>
        <p:nvSpPr>
          <p:cNvPr id="118" name="TextBox 117"/>
          <p:cNvSpPr txBox="1"/>
          <p:nvPr/>
        </p:nvSpPr>
        <p:spPr>
          <a:xfrm>
            <a:off x="602224" y="6239086"/>
            <a:ext cx="1611373" cy="338554"/>
          </a:xfrm>
          <a:prstGeom prst="rect">
            <a:avLst/>
          </a:prstGeom>
          <a:noFill/>
        </p:spPr>
        <p:txBody>
          <a:bodyPr wrap="square" rtlCol="0">
            <a:spAutoFit/>
          </a:bodyPr>
          <a:lstStyle/>
          <a:p>
            <a:r>
              <a:rPr lang="en-US" sz="1600" b="1" dirty="0"/>
              <a:t>User plane</a:t>
            </a:r>
          </a:p>
        </p:txBody>
      </p:sp>
    </p:spTree>
    <p:extLst>
      <p:ext uri="{BB962C8B-B14F-4D97-AF65-F5344CB8AC3E}">
        <p14:creationId xmlns:p14="http://schemas.microsoft.com/office/powerpoint/2010/main" val="4271416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0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13" grpId="0" animBg="1"/>
      <p:bldP spid="25" grpId="0" animBg="1"/>
      <p:bldP spid="40"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services on wi-fi</a:t>
            </a:r>
          </a:p>
        </p:txBody>
      </p:sp>
      <p:sp>
        <p:nvSpPr>
          <p:cNvPr id="3" name="Text Placeholder 2"/>
          <p:cNvSpPr>
            <a:spLocks noGrp="1"/>
          </p:cNvSpPr>
          <p:nvPr>
            <p:ph type="body" idx="1"/>
          </p:nvPr>
        </p:nvSpPr>
        <p:spPr>
          <a:xfrm>
            <a:off x="334297" y="1934917"/>
            <a:ext cx="5361967" cy="3852000"/>
          </a:xfrm>
        </p:spPr>
        <p:txBody>
          <a:bodyPr/>
          <a:lstStyle/>
          <a:p>
            <a:r>
              <a:rPr lang="en-US" dirty="0"/>
              <a:t>All IMS services supported via EPC integrated Wi-Fi (single registration) will also be supported via 5GC integrated Wi-Fi</a:t>
            </a:r>
          </a:p>
          <a:p>
            <a:pPr lvl="1"/>
            <a:r>
              <a:rPr lang="en-US" dirty="0"/>
              <a:t>Untrusted Wi-Fi in Rel. 15</a:t>
            </a:r>
          </a:p>
          <a:p>
            <a:r>
              <a:rPr lang="en-US" dirty="0"/>
              <a:t>Support of handover between:</a:t>
            </a:r>
          </a:p>
          <a:p>
            <a:pPr lvl="1"/>
            <a:r>
              <a:rPr lang="en-US" dirty="0"/>
              <a:t>Wi-Fi and LTE</a:t>
            </a:r>
          </a:p>
          <a:p>
            <a:pPr lvl="1"/>
            <a:r>
              <a:rPr lang="en-US" dirty="0"/>
              <a:t>Wi-Fi and NR (is standalone)</a:t>
            </a:r>
          </a:p>
          <a:p>
            <a:endParaRPr lang="en-US" dirty="0"/>
          </a:p>
        </p:txBody>
      </p:sp>
      <p:sp>
        <p:nvSpPr>
          <p:cNvPr id="4" name="TextBox 3"/>
          <p:cNvSpPr txBox="1"/>
          <p:nvPr/>
        </p:nvSpPr>
        <p:spPr>
          <a:xfrm>
            <a:off x="8750462" y="2588161"/>
            <a:ext cx="2778817" cy="707886"/>
          </a:xfrm>
          <a:prstGeom prst="rect">
            <a:avLst/>
          </a:prstGeom>
          <a:noFill/>
        </p:spPr>
        <p:txBody>
          <a:bodyPr wrap="square" rtlCol="0">
            <a:spAutoFit/>
          </a:bodyPr>
          <a:lstStyle/>
          <a:p>
            <a:r>
              <a:rPr lang="en-US" sz="2000" b="1" dirty="0">
                <a:solidFill>
                  <a:srgbClr val="00285F"/>
                </a:solidFill>
              </a:rPr>
              <a:t>EPC integrated Wi-Fi (untrusted Wi-Fi)</a:t>
            </a:r>
          </a:p>
        </p:txBody>
      </p:sp>
      <p:sp>
        <p:nvSpPr>
          <p:cNvPr id="5" name="TextBox 4"/>
          <p:cNvSpPr txBox="1"/>
          <p:nvPr/>
        </p:nvSpPr>
        <p:spPr>
          <a:xfrm>
            <a:off x="9382284" y="5661778"/>
            <a:ext cx="2747376" cy="707886"/>
          </a:xfrm>
          <a:prstGeom prst="rect">
            <a:avLst/>
          </a:prstGeom>
          <a:noFill/>
        </p:spPr>
        <p:txBody>
          <a:bodyPr wrap="square" rtlCol="0">
            <a:spAutoFit/>
          </a:bodyPr>
          <a:lstStyle/>
          <a:p>
            <a:r>
              <a:rPr lang="en-US" b="1" dirty="0">
                <a:solidFill>
                  <a:srgbClr val="00285F"/>
                </a:solidFill>
              </a:rPr>
              <a:t>5GC integrated Wi-Fi</a:t>
            </a:r>
            <a:br>
              <a:rPr lang="en-US" b="1" dirty="0">
                <a:solidFill>
                  <a:srgbClr val="00285F"/>
                </a:solidFill>
              </a:rPr>
            </a:br>
            <a:r>
              <a:rPr lang="en-US" b="1" dirty="0">
                <a:solidFill>
                  <a:srgbClr val="00285F"/>
                </a:solidFill>
              </a:rPr>
              <a:t>(untrusted Wi-Fi)</a:t>
            </a:r>
            <a:endParaRPr lang="en-US" sz="2000" b="1" dirty="0">
              <a:solidFill>
                <a:srgbClr val="00285F"/>
              </a:solidFill>
            </a:endParaRPr>
          </a:p>
        </p:txBody>
      </p:sp>
      <p:grpSp>
        <p:nvGrpSpPr>
          <p:cNvPr id="81" name="Group 80"/>
          <p:cNvGrpSpPr/>
          <p:nvPr/>
        </p:nvGrpSpPr>
        <p:grpSpPr>
          <a:xfrm>
            <a:off x="6746913" y="969800"/>
            <a:ext cx="3460752" cy="3012375"/>
            <a:chOff x="6537687" y="203165"/>
            <a:chExt cx="3958436" cy="3312356"/>
          </a:xfrm>
        </p:grpSpPr>
        <p:grpSp>
          <p:nvGrpSpPr>
            <p:cNvPr id="6" name="Group 278"/>
            <p:cNvGrpSpPr>
              <a:grpSpLocks noChangeAspect="1"/>
            </p:cNvGrpSpPr>
            <p:nvPr/>
          </p:nvGrpSpPr>
          <p:grpSpPr bwMode="auto">
            <a:xfrm>
              <a:off x="6538321" y="203165"/>
              <a:ext cx="734077" cy="1053987"/>
              <a:chOff x="3106" y="2389"/>
              <a:chExt cx="363" cy="520"/>
            </a:xfrm>
          </p:grpSpPr>
          <p:sp>
            <p:nvSpPr>
              <p:cNvPr id="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LTE</a:t>
                </a:r>
                <a:endParaRPr kumimoji="0" lang="en-US" altLang="en-US" sz="2000" b="0" i="0" u="none" strike="noStrike" kern="0" cap="none" spc="0" normalizeH="0" baseline="0">
                  <a:ln>
                    <a:noFill/>
                  </a:ln>
                  <a:solidFill>
                    <a:srgbClr val="8F3F7B"/>
                  </a:solidFill>
                  <a:effectLst/>
                  <a:uLnTx/>
                  <a:uFillTx/>
                  <a:latin typeface="Arial" pitchFamily="34" charset="0"/>
                  <a:ea typeface="MS PGothic" pitchFamily="34" charset="-128"/>
                </a:endParaRPr>
              </a:p>
            </p:txBody>
          </p:sp>
          <p:sp>
            <p:nvSpPr>
              <p:cNvPr id="1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1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grpSp>
          <p:nvGrpSpPr>
            <p:cNvPr id="12" name="Group 281"/>
            <p:cNvGrpSpPr>
              <a:grpSpLocks noChangeAspect="1"/>
            </p:cNvGrpSpPr>
            <p:nvPr/>
          </p:nvGrpSpPr>
          <p:grpSpPr bwMode="auto">
            <a:xfrm>
              <a:off x="6537687" y="2471295"/>
              <a:ext cx="729875" cy="1044226"/>
              <a:chOff x="4290" y="2369"/>
              <a:chExt cx="363" cy="520"/>
            </a:xfrm>
          </p:grpSpPr>
          <p:sp>
            <p:nvSpPr>
              <p:cNvPr id="13" name="AutoShape 256"/>
              <p:cNvSpPr>
                <a:spLocks noChangeAspect="1" noChangeArrowheads="1"/>
              </p:cNvSpPr>
              <p:nvPr/>
            </p:nvSpPr>
            <p:spPr bwMode="auto">
              <a:xfrm>
                <a:off x="4297" y="2517"/>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4" name="Oval 257"/>
              <p:cNvSpPr>
                <a:spLocks noChangeAspect="1" noChangeArrowheads="1"/>
              </p:cNvSpPr>
              <p:nvPr/>
            </p:nvSpPr>
            <p:spPr bwMode="auto">
              <a:xfrm>
                <a:off x="4295" y="2376"/>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5" name="Text Box 258"/>
              <p:cNvSpPr txBox="1">
                <a:spLocks noChangeAspect="1" noChangeArrowheads="1"/>
              </p:cNvSpPr>
              <p:nvPr/>
            </p:nvSpPr>
            <p:spPr bwMode="auto">
              <a:xfrm>
                <a:off x="4307" y="265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WiFi</a:t>
                </a:r>
              </a:p>
            </p:txBody>
          </p:sp>
          <p:sp>
            <p:nvSpPr>
              <p:cNvPr id="16" name="Rectangle 259"/>
              <p:cNvSpPr>
                <a:spLocks noChangeAspect="1" noChangeArrowheads="1"/>
              </p:cNvSpPr>
              <p:nvPr/>
            </p:nvSpPr>
            <p:spPr bwMode="auto">
              <a:xfrm>
                <a:off x="4290" y="236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17" name="Freeform 10"/>
              <p:cNvSpPr>
                <a:spLocks noChangeAspect="1" noEditPoints="1"/>
              </p:cNvSpPr>
              <p:nvPr/>
            </p:nvSpPr>
            <p:spPr bwMode="auto">
              <a:xfrm>
                <a:off x="4290" y="2369"/>
                <a:ext cx="363" cy="519"/>
              </a:xfrm>
              <a:custGeom>
                <a:avLst/>
                <a:gdLst>
                  <a:gd name="T0" fmla="*/ 166479 w 410"/>
                  <a:gd name="T1" fmla="*/ 88754 h 589"/>
                  <a:gd name="T2" fmla="*/ 156338 w 410"/>
                  <a:gd name="T3" fmla="*/ 214582 h 589"/>
                  <a:gd name="T4" fmla="*/ 6760 w 410"/>
                  <a:gd name="T5" fmla="*/ 205594 h 589"/>
                  <a:gd name="T6" fmla="*/ 86621 w 410"/>
                  <a:gd name="T7" fmla="*/ 5992 h 589"/>
                  <a:gd name="T8" fmla="*/ 169860 w 410"/>
                  <a:gd name="T9" fmla="*/ 79767 h 589"/>
                  <a:gd name="T10" fmla="*/ 173239 w 410"/>
                  <a:gd name="T11" fmla="*/ 76770 h 589"/>
                  <a:gd name="T12" fmla="*/ 0 w 410"/>
                  <a:gd name="T13" fmla="*/ 76770 h 589"/>
                  <a:gd name="T14" fmla="*/ 17324 w 410"/>
                  <a:gd name="T15" fmla="*/ 220574 h 589"/>
                  <a:gd name="T16" fmla="*/ 173239 w 410"/>
                  <a:gd name="T17" fmla="*/ 205594 h 589"/>
                  <a:gd name="T18" fmla="*/ 169860 w 410"/>
                  <a:gd name="T19" fmla="*/ 85758 h 589"/>
                  <a:gd name="T20" fmla="*/ 57464 w 410"/>
                  <a:gd name="T21" fmla="*/ 96992 h 589"/>
                  <a:gd name="T22" fmla="*/ 46479 w 410"/>
                  <a:gd name="T23" fmla="*/ 73775 h 589"/>
                  <a:gd name="T24" fmla="*/ 58311 w 410"/>
                  <a:gd name="T25" fmla="*/ 48309 h 589"/>
                  <a:gd name="T26" fmla="*/ 52817 w 410"/>
                  <a:gd name="T27" fmla="*/ 46061 h 589"/>
                  <a:gd name="T28" fmla="*/ 52817 w 410"/>
                  <a:gd name="T29" fmla="*/ 101112 h 589"/>
                  <a:gd name="T30" fmla="*/ 70564 w 410"/>
                  <a:gd name="T31" fmla="*/ 59169 h 589"/>
                  <a:gd name="T32" fmla="*/ 65070 w 410"/>
                  <a:gd name="T33" fmla="*/ 56923 h 589"/>
                  <a:gd name="T34" fmla="*/ 65070 w 410"/>
                  <a:gd name="T35" fmla="*/ 90252 h 589"/>
                  <a:gd name="T36" fmla="*/ 69717 w 410"/>
                  <a:gd name="T37" fmla="*/ 86133 h 589"/>
                  <a:gd name="T38" fmla="*/ 69717 w 410"/>
                  <a:gd name="T39" fmla="*/ 61415 h 589"/>
                  <a:gd name="T40" fmla="*/ 29155 w 410"/>
                  <a:gd name="T41" fmla="*/ 73775 h 589"/>
                  <a:gd name="T42" fmla="*/ 46058 w 410"/>
                  <a:gd name="T43" fmla="*/ 37450 h 589"/>
                  <a:gd name="T44" fmla="*/ 40563 w 410"/>
                  <a:gd name="T45" fmla="*/ 35202 h 589"/>
                  <a:gd name="T46" fmla="*/ 40563 w 410"/>
                  <a:gd name="T47" fmla="*/ 111973 h 589"/>
                  <a:gd name="T48" fmla="*/ 45210 w 410"/>
                  <a:gd name="T49" fmla="*/ 107853 h 589"/>
                  <a:gd name="T50" fmla="*/ 29155 w 410"/>
                  <a:gd name="T51" fmla="*/ 73775 h 589"/>
                  <a:gd name="T52" fmla="*/ 133521 w 410"/>
                  <a:gd name="T53" fmla="*/ 73775 h 589"/>
                  <a:gd name="T54" fmla="*/ 115774 w 410"/>
                  <a:gd name="T55" fmla="*/ 46061 h 589"/>
                  <a:gd name="T56" fmla="*/ 115774 w 410"/>
                  <a:gd name="T57" fmla="*/ 50556 h 589"/>
                  <a:gd name="T58" fmla="*/ 115774 w 410"/>
                  <a:gd name="T59" fmla="*/ 96992 h 589"/>
                  <a:gd name="T60" fmla="*/ 115774 w 410"/>
                  <a:gd name="T61" fmla="*/ 101112 h 589"/>
                  <a:gd name="T62" fmla="*/ 102676 w 410"/>
                  <a:gd name="T63" fmla="*/ 88380 h 589"/>
                  <a:gd name="T64" fmla="*/ 108592 w 410"/>
                  <a:gd name="T65" fmla="*/ 90252 h 589"/>
                  <a:gd name="T66" fmla="*/ 108592 w 410"/>
                  <a:gd name="T67" fmla="*/ 56923 h 589"/>
                  <a:gd name="T68" fmla="*/ 103521 w 410"/>
                  <a:gd name="T69" fmla="*/ 61415 h 589"/>
                  <a:gd name="T70" fmla="*/ 103521 w 410"/>
                  <a:gd name="T71" fmla="*/ 86133 h 589"/>
                  <a:gd name="T72" fmla="*/ 133099 w 410"/>
                  <a:gd name="T73" fmla="*/ 111973 h 589"/>
                  <a:gd name="T74" fmla="*/ 133099 w 410"/>
                  <a:gd name="T75" fmla="*/ 35202 h 589"/>
                  <a:gd name="T76" fmla="*/ 128028 w 410"/>
                  <a:gd name="T77" fmla="*/ 39695 h 589"/>
                  <a:gd name="T78" fmla="*/ 144085 w 410"/>
                  <a:gd name="T79" fmla="*/ 73775 h 589"/>
                  <a:gd name="T80" fmla="*/ 127183 w 410"/>
                  <a:gd name="T81" fmla="*/ 110099 h 589"/>
                  <a:gd name="T82" fmla="*/ 133099 w 410"/>
                  <a:gd name="T83" fmla="*/ 111973 h 589"/>
                  <a:gd name="T84" fmla="*/ 79014 w 410"/>
                  <a:gd name="T85" fmla="*/ 80515 h 589"/>
                  <a:gd name="T86" fmla="*/ 94225 w 410"/>
                  <a:gd name="T87" fmla="*/ 67034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0"/>
                  <a:gd name="T133" fmla="*/ 0 h 589"/>
                  <a:gd name="T134" fmla="*/ 410 w 410"/>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36" y="270"/>
                    </a:moveTo>
                    <a:cubicBezTo>
                      <a:pt x="139" y="267"/>
                      <a:pt x="139" y="262"/>
                      <a:pt x="136" y="259"/>
                    </a:cubicBezTo>
                    <a:cubicBezTo>
                      <a:pt x="136" y="259"/>
                      <a:pt x="136" y="259"/>
                      <a:pt x="136" y="259"/>
                    </a:cubicBezTo>
                    <a:cubicBezTo>
                      <a:pt x="119" y="242"/>
                      <a:pt x="110" y="219"/>
                      <a:pt x="110" y="197"/>
                    </a:cubicBezTo>
                    <a:cubicBezTo>
                      <a:pt x="110" y="174"/>
                      <a:pt x="119" y="152"/>
                      <a:pt x="136" y="135"/>
                    </a:cubicBezTo>
                    <a:cubicBezTo>
                      <a:pt x="137" y="133"/>
                      <a:pt x="138" y="131"/>
                      <a:pt x="138" y="129"/>
                    </a:cubicBezTo>
                    <a:cubicBezTo>
                      <a:pt x="138" y="127"/>
                      <a:pt x="137" y="125"/>
                      <a:pt x="136" y="123"/>
                    </a:cubicBezTo>
                    <a:cubicBezTo>
                      <a:pt x="133" y="120"/>
                      <a:pt x="128" y="120"/>
                      <a:pt x="125" y="123"/>
                    </a:cubicBezTo>
                    <a:cubicBezTo>
                      <a:pt x="104" y="144"/>
                      <a:pt x="94" y="170"/>
                      <a:pt x="94" y="197"/>
                    </a:cubicBezTo>
                    <a:cubicBezTo>
                      <a:pt x="94" y="223"/>
                      <a:pt x="104" y="250"/>
                      <a:pt x="125" y="270"/>
                    </a:cubicBezTo>
                    <a:cubicBezTo>
                      <a:pt x="128" y="273"/>
                      <a:pt x="133" y="273"/>
                      <a:pt x="136" y="270"/>
                    </a:cubicBezTo>
                    <a:moveTo>
                      <a:pt x="167" y="158"/>
                    </a:moveTo>
                    <a:cubicBezTo>
                      <a:pt x="167" y="156"/>
                      <a:pt x="166" y="154"/>
                      <a:pt x="165" y="152"/>
                    </a:cubicBezTo>
                    <a:cubicBezTo>
                      <a:pt x="162" y="149"/>
                      <a:pt x="157" y="149"/>
                      <a:pt x="154" y="152"/>
                    </a:cubicBezTo>
                    <a:cubicBezTo>
                      <a:pt x="141" y="165"/>
                      <a:pt x="135" y="181"/>
                      <a:pt x="135" y="197"/>
                    </a:cubicBezTo>
                    <a:cubicBezTo>
                      <a:pt x="135" y="213"/>
                      <a:pt x="141" y="229"/>
                      <a:pt x="154" y="241"/>
                    </a:cubicBezTo>
                    <a:cubicBezTo>
                      <a:pt x="157" y="244"/>
                      <a:pt x="162" y="244"/>
                      <a:pt x="165" y="241"/>
                    </a:cubicBezTo>
                    <a:cubicBezTo>
                      <a:pt x="168" y="238"/>
                      <a:pt x="168" y="233"/>
                      <a:pt x="165" y="230"/>
                    </a:cubicBezTo>
                    <a:cubicBezTo>
                      <a:pt x="156" y="221"/>
                      <a:pt x="151" y="209"/>
                      <a:pt x="151" y="197"/>
                    </a:cubicBezTo>
                    <a:cubicBezTo>
                      <a:pt x="151" y="185"/>
                      <a:pt x="156" y="173"/>
                      <a:pt x="165" y="164"/>
                    </a:cubicBezTo>
                    <a:cubicBezTo>
                      <a:pt x="166" y="162"/>
                      <a:pt x="167" y="160"/>
                      <a:pt x="167" y="158"/>
                    </a:cubicBezTo>
                    <a:moveTo>
                      <a:pt x="69" y="197"/>
                    </a:moveTo>
                    <a:cubicBezTo>
                      <a:pt x="69" y="164"/>
                      <a:pt x="82" y="131"/>
                      <a:pt x="107" y="106"/>
                    </a:cubicBezTo>
                    <a:cubicBezTo>
                      <a:pt x="108" y="104"/>
                      <a:pt x="109" y="102"/>
                      <a:pt x="109" y="100"/>
                    </a:cubicBezTo>
                    <a:cubicBezTo>
                      <a:pt x="109" y="98"/>
                      <a:pt x="108" y="96"/>
                      <a:pt x="107" y="94"/>
                    </a:cubicBezTo>
                    <a:cubicBezTo>
                      <a:pt x="104" y="91"/>
                      <a:pt x="99" y="91"/>
                      <a:pt x="96" y="94"/>
                    </a:cubicBezTo>
                    <a:cubicBezTo>
                      <a:pt x="67" y="123"/>
                      <a:pt x="53" y="160"/>
                      <a:pt x="53" y="197"/>
                    </a:cubicBezTo>
                    <a:cubicBezTo>
                      <a:pt x="53" y="234"/>
                      <a:pt x="67" y="271"/>
                      <a:pt x="96" y="299"/>
                    </a:cubicBezTo>
                    <a:cubicBezTo>
                      <a:pt x="99" y="302"/>
                      <a:pt x="104" y="302"/>
                      <a:pt x="107" y="299"/>
                    </a:cubicBezTo>
                    <a:cubicBezTo>
                      <a:pt x="110" y="296"/>
                      <a:pt x="110" y="291"/>
                      <a:pt x="107" y="288"/>
                    </a:cubicBezTo>
                    <a:cubicBezTo>
                      <a:pt x="107" y="288"/>
                      <a:pt x="107" y="288"/>
                      <a:pt x="107" y="288"/>
                    </a:cubicBezTo>
                    <a:cubicBezTo>
                      <a:pt x="82" y="263"/>
                      <a:pt x="69" y="230"/>
                      <a:pt x="69" y="197"/>
                    </a:cubicBezTo>
                    <a:moveTo>
                      <a:pt x="286" y="270"/>
                    </a:moveTo>
                    <a:cubicBezTo>
                      <a:pt x="306" y="250"/>
                      <a:pt x="316" y="223"/>
                      <a:pt x="316" y="197"/>
                    </a:cubicBezTo>
                    <a:cubicBezTo>
                      <a:pt x="316" y="170"/>
                      <a:pt x="306" y="144"/>
                      <a:pt x="286" y="123"/>
                    </a:cubicBezTo>
                    <a:cubicBezTo>
                      <a:pt x="283" y="120"/>
                      <a:pt x="278" y="120"/>
                      <a:pt x="274" y="123"/>
                    </a:cubicBezTo>
                    <a:cubicBezTo>
                      <a:pt x="271" y="126"/>
                      <a:pt x="271" y="132"/>
                      <a:pt x="274" y="135"/>
                    </a:cubicBezTo>
                    <a:cubicBezTo>
                      <a:pt x="274" y="135"/>
                      <a:pt x="274" y="135"/>
                      <a:pt x="274" y="135"/>
                    </a:cubicBezTo>
                    <a:cubicBezTo>
                      <a:pt x="292" y="152"/>
                      <a:pt x="300" y="174"/>
                      <a:pt x="300" y="197"/>
                    </a:cubicBezTo>
                    <a:cubicBezTo>
                      <a:pt x="300" y="219"/>
                      <a:pt x="292" y="242"/>
                      <a:pt x="274" y="259"/>
                    </a:cubicBezTo>
                    <a:cubicBezTo>
                      <a:pt x="273" y="260"/>
                      <a:pt x="272" y="263"/>
                      <a:pt x="272" y="265"/>
                    </a:cubicBezTo>
                    <a:cubicBezTo>
                      <a:pt x="272" y="267"/>
                      <a:pt x="273" y="269"/>
                      <a:pt x="274" y="270"/>
                    </a:cubicBezTo>
                    <a:cubicBezTo>
                      <a:pt x="278" y="273"/>
                      <a:pt x="283" y="273"/>
                      <a:pt x="286" y="270"/>
                    </a:cubicBezTo>
                    <a:moveTo>
                      <a:pt x="243" y="236"/>
                    </a:moveTo>
                    <a:cubicBezTo>
                      <a:pt x="243" y="238"/>
                      <a:pt x="244" y="240"/>
                      <a:pt x="245" y="241"/>
                    </a:cubicBezTo>
                    <a:cubicBezTo>
                      <a:pt x="249" y="244"/>
                      <a:pt x="254" y="244"/>
                      <a:pt x="257" y="241"/>
                    </a:cubicBezTo>
                    <a:cubicBezTo>
                      <a:pt x="269" y="229"/>
                      <a:pt x="275" y="213"/>
                      <a:pt x="275" y="197"/>
                    </a:cubicBezTo>
                    <a:cubicBezTo>
                      <a:pt x="275" y="181"/>
                      <a:pt x="269" y="165"/>
                      <a:pt x="257" y="152"/>
                    </a:cubicBezTo>
                    <a:cubicBezTo>
                      <a:pt x="254" y="149"/>
                      <a:pt x="249" y="149"/>
                      <a:pt x="245" y="152"/>
                    </a:cubicBezTo>
                    <a:cubicBezTo>
                      <a:pt x="242" y="155"/>
                      <a:pt x="242" y="161"/>
                      <a:pt x="245" y="164"/>
                    </a:cubicBezTo>
                    <a:cubicBezTo>
                      <a:pt x="255" y="173"/>
                      <a:pt x="259" y="185"/>
                      <a:pt x="259" y="197"/>
                    </a:cubicBezTo>
                    <a:cubicBezTo>
                      <a:pt x="259" y="209"/>
                      <a:pt x="255" y="221"/>
                      <a:pt x="245" y="230"/>
                    </a:cubicBezTo>
                    <a:cubicBezTo>
                      <a:pt x="244" y="231"/>
                      <a:pt x="243" y="234"/>
                      <a:pt x="243" y="236"/>
                    </a:cubicBezTo>
                    <a:moveTo>
                      <a:pt x="315" y="299"/>
                    </a:moveTo>
                    <a:cubicBezTo>
                      <a:pt x="343" y="271"/>
                      <a:pt x="357" y="234"/>
                      <a:pt x="357" y="197"/>
                    </a:cubicBezTo>
                    <a:cubicBezTo>
                      <a:pt x="357" y="160"/>
                      <a:pt x="343" y="123"/>
                      <a:pt x="315" y="94"/>
                    </a:cubicBezTo>
                    <a:cubicBezTo>
                      <a:pt x="312" y="91"/>
                      <a:pt x="307" y="91"/>
                      <a:pt x="303" y="94"/>
                    </a:cubicBezTo>
                    <a:cubicBezTo>
                      <a:pt x="300" y="97"/>
                      <a:pt x="300" y="103"/>
                      <a:pt x="303" y="106"/>
                    </a:cubicBezTo>
                    <a:cubicBezTo>
                      <a:pt x="303" y="106"/>
                      <a:pt x="303" y="106"/>
                      <a:pt x="303" y="106"/>
                    </a:cubicBezTo>
                    <a:cubicBezTo>
                      <a:pt x="329" y="131"/>
                      <a:pt x="341" y="164"/>
                      <a:pt x="341" y="197"/>
                    </a:cubicBezTo>
                    <a:cubicBezTo>
                      <a:pt x="341" y="230"/>
                      <a:pt x="329" y="263"/>
                      <a:pt x="303" y="288"/>
                    </a:cubicBezTo>
                    <a:cubicBezTo>
                      <a:pt x="302" y="289"/>
                      <a:pt x="301" y="291"/>
                      <a:pt x="301" y="294"/>
                    </a:cubicBezTo>
                    <a:cubicBezTo>
                      <a:pt x="301" y="296"/>
                      <a:pt x="302" y="298"/>
                      <a:pt x="303" y="299"/>
                    </a:cubicBezTo>
                    <a:cubicBezTo>
                      <a:pt x="307" y="302"/>
                      <a:pt x="312" y="302"/>
                      <a:pt x="315" y="299"/>
                    </a:cubicBezTo>
                    <a:moveTo>
                      <a:pt x="187" y="179"/>
                    </a:moveTo>
                    <a:cubicBezTo>
                      <a:pt x="177" y="189"/>
                      <a:pt x="177" y="205"/>
                      <a:pt x="187" y="215"/>
                    </a:cubicBezTo>
                    <a:cubicBezTo>
                      <a:pt x="197" y="225"/>
                      <a:pt x="213" y="225"/>
                      <a:pt x="223" y="215"/>
                    </a:cubicBezTo>
                    <a:cubicBezTo>
                      <a:pt x="233" y="205"/>
                      <a:pt x="233" y="189"/>
                      <a:pt x="223" y="179"/>
                    </a:cubicBezTo>
                    <a:cubicBezTo>
                      <a:pt x="213" y="169"/>
                      <a:pt x="197" y="169"/>
                      <a:pt x="187" y="17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8" name="Group 261"/>
            <p:cNvGrpSpPr>
              <a:grpSpLocks noChangeAspect="1"/>
            </p:cNvGrpSpPr>
            <p:nvPr/>
          </p:nvGrpSpPr>
          <p:grpSpPr bwMode="auto">
            <a:xfrm>
              <a:off x="7931764" y="749351"/>
              <a:ext cx="747463" cy="1039799"/>
              <a:chOff x="239" y="1832"/>
              <a:chExt cx="363" cy="520"/>
            </a:xfrm>
          </p:grpSpPr>
          <p:sp>
            <p:nvSpPr>
              <p:cNvPr id="1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5G</a:t>
                </a:r>
                <a:br>
                  <a:rPr lang="en-US" altLang="en-US" sz="1600">
                    <a:solidFill>
                      <a:srgbClr val="8F3F7B"/>
                    </a:solidFill>
                    <a:ea typeface="MS PGothic" panose="020B0600070205080204" pitchFamily="34" charset="-128"/>
                    <a:cs typeface="MS PGothic" panose="020B0600070205080204" pitchFamily="34" charset="-128"/>
                  </a:rPr>
                </a:br>
                <a:r>
                  <a:rPr lang="en-US" altLang="en-US" sz="1600">
                    <a:solidFill>
                      <a:srgbClr val="8F3F7B"/>
                    </a:solidFill>
                    <a:ea typeface="MS PGothic" panose="020B0600070205080204" pitchFamily="34" charset="-128"/>
                    <a:cs typeface="MS PGothic" panose="020B0600070205080204" pitchFamily="34" charset="-128"/>
                  </a:rPr>
                  <a:t>EPC</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2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3"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4" name="Group 261"/>
            <p:cNvGrpSpPr>
              <a:grpSpLocks noChangeAspect="1"/>
            </p:cNvGrpSpPr>
            <p:nvPr/>
          </p:nvGrpSpPr>
          <p:grpSpPr bwMode="auto">
            <a:xfrm>
              <a:off x="8993397" y="741279"/>
              <a:ext cx="747463" cy="1039799"/>
              <a:chOff x="239" y="1832"/>
              <a:chExt cx="363" cy="520"/>
            </a:xfrm>
          </p:grpSpPr>
          <p:sp>
            <p:nvSpPr>
              <p:cNvPr id="25"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6"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7"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IMS Core</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28"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29"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30" name="Group 278"/>
            <p:cNvGrpSpPr>
              <a:grpSpLocks noChangeAspect="1"/>
            </p:cNvGrpSpPr>
            <p:nvPr/>
          </p:nvGrpSpPr>
          <p:grpSpPr bwMode="auto">
            <a:xfrm>
              <a:off x="6538321" y="1364867"/>
              <a:ext cx="734077" cy="1053987"/>
              <a:chOff x="3106" y="2389"/>
              <a:chExt cx="363" cy="520"/>
            </a:xfrm>
          </p:grpSpPr>
          <p:sp>
            <p:nvSpPr>
              <p:cNvPr id="3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3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3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a:ln>
                      <a:noFill/>
                    </a:ln>
                    <a:solidFill>
                      <a:srgbClr val="8F3F7B"/>
                    </a:solidFill>
                    <a:effectLst/>
                    <a:uLnTx/>
                    <a:uFillTx/>
                    <a:latin typeface="Arial" pitchFamily="34" charset="0"/>
                    <a:ea typeface="MS PGothic" pitchFamily="34" charset="-128"/>
                  </a:rPr>
                  <a:t> </a:t>
                </a: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NR</a:t>
                </a:r>
              </a:p>
            </p:txBody>
          </p:sp>
          <p:sp>
            <p:nvSpPr>
              <p:cNvPr id="3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3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sp>
          <p:nvSpPr>
            <p:cNvPr id="36" name="Oval 48"/>
            <p:cNvSpPr>
              <a:spLocks noChangeAspect="1" noChangeArrowheads="1"/>
            </p:cNvSpPr>
            <p:nvPr/>
          </p:nvSpPr>
          <p:spPr bwMode="auto">
            <a:xfrm>
              <a:off x="8803189" y="252427"/>
              <a:ext cx="1051498" cy="565428"/>
            </a:xfrm>
            <a:prstGeom prst="ellipse">
              <a:avLst/>
            </a:prstGeom>
            <a:blipFill dpi="0" rotWithShape="1">
              <a:blip r:embed="rId3"/>
              <a:srcRect/>
              <a:stretch>
                <a:fillRect/>
              </a:stretch>
            </a:blip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50000"/>
                </a:spcBef>
              </a:pPr>
              <a:r>
                <a:rPr lang="en-US" sz="1100" b="1">
                  <a:solidFill>
                    <a:schemeClr val="bg1"/>
                  </a:solidFill>
                </a:rPr>
                <a:t>Voice</a:t>
              </a:r>
              <a:br>
                <a:rPr lang="en-US" sz="1100" b="1">
                  <a:solidFill>
                    <a:schemeClr val="bg1"/>
                  </a:solidFill>
                </a:rPr>
              </a:br>
              <a:r>
                <a:rPr lang="en-US" sz="1100" b="1">
                  <a:solidFill>
                    <a:schemeClr val="bg1"/>
                  </a:solidFill>
                </a:rPr>
                <a:t>Video</a:t>
              </a:r>
              <a:br>
                <a:rPr lang="en-US" sz="1100" b="1">
                  <a:solidFill>
                    <a:schemeClr val="bg1"/>
                  </a:solidFill>
                </a:rPr>
              </a:br>
              <a:r>
                <a:rPr lang="en-US" sz="1100" b="1">
                  <a:solidFill>
                    <a:schemeClr val="bg1"/>
                  </a:solidFill>
                </a:rPr>
                <a:t>SMS</a:t>
              </a:r>
            </a:p>
          </p:txBody>
        </p:sp>
        <p:sp>
          <p:nvSpPr>
            <p:cNvPr id="37" name="Oval 48"/>
            <p:cNvSpPr>
              <a:spLocks noChangeAspect="1" noChangeArrowheads="1"/>
            </p:cNvSpPr>
            <p:nvPr/>
          </p:nvSpPr>
          <p:spPr bwMode="auto">
            <a:xfrm>
              <a:off x="9444625" y="690427"/>
              <a:ext cx="1051498" cy="354867"/>
            </a:xfrm>
            <a:prstGeom prst="ellipse">
              <a:avLst/>
            </a:prstGeom>
            <a:solidFill>
              <a:srgbClr val="00A9D4"/>
            </a:solidFill>
            <a:ln w="12700" cap="flat" cmpd="sng" algn="ctr">
              <a:solidFill>
                <a:schemeClr val="tx1"/>
              </a:solidFill>
              <a:prstDash val="dash"/>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200" b="1">
                  <a:solidFill>
                    <a:schemeClr val="bg1"/>
                  </a:solidFill>
                </a:rPr>
                <a:t>RCS</a:t>
              </a:r>
            </a:p>
          </p:txBody>
        </p:sp>
        <p:cxnSp>
          <p:nvCxnSpPr>
            <p:cNvPr id="38" name="Connector: Elbow 37"/>
            <p:cNvCxnSpPr>
              <a:cxnSpLocks/>
              <a:stCxn id="9" idx="3"/>
              <a:endCxn id="21" idx="1"/>
            </p:cNvCxnSpPr>
            <p:nvPr/>
          </p:nvCxnSpPr>
          <p:spPr bwMode="auto">
            <a:xfrm>
              <a:off x="7233975" y="1004803"/>
              <a:ext cx="732794" cy="53539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39" name="Connector: Elbow 38"/>
            <p:cNvCxnSpPr>
              <a:cxnSpLocks/>
              <a:stCxn id="33" idx="3"/>
              <a:endCxn id="21" idx="1"/>
            </p:cNvCxnSpPr>
            <p:nvPr/>
          </p:nvCxnSpPr>
          <p:spPr bwMode="auto">
            <a:xfrm flipV="1">
              <a:off x="7233975" y="1540199"/>
              <a:ext cx="732794" cy="62630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40" name="Connector: Elbow 39"/>
            <p:cNvCxnSpPr>
              <a:cxnSpLocks/>
              <a:stCxn id="15" idx="3"/>
              <a:endCxn id="21" idx="2"/>
            </p:cNvCxnSpPr>
            <p:nvPr/>
          </p:nvCxnSpPr>
          <p:spPr bwMode="auto">
            <a:xfrm flipV="1">
              <a:off x="7229359" y="1765155"/>
              <a:ext cx="1074077" cy="1500355"/>
            </a:xfrm>
            <a:prstGeom prst="bentConnector2">
              <a:avLst/>
            </a:prstGeom>
            <a:solidFill>
              <a:schemeClr val="accent1"/>
            </a:solidFill>
            <a:ln w="12700" cap="flat" cmpd="sng" algn="ctr">
              <a:solidFill>
                <a:srgbClr val="7B0663"/>
              </a:solidFill>
              <a:prstDash val="solid"/>
              <a:round/>
              <a:headEnd type="none" w="med" len="med"/>
              <a:tailEnd type="none" w="med" len="med"/>
            </a:ln>
            <a:effectLst/>
          </p:spPr>
        </p:cxnSp>
        <p:cxnSp>
          <p:nvCxnSpPr>
            <p:cNvPr id="41" name="Connector: Elbow 40"/>
            <p:cNvCxnSpPr>
              <a:cxnSpLocks/>
              <a:stCxn id="9" idx="2"/>
              <a:endCxn id="32" idx="0"/>
            </p:cNvCxnSpPr>
            <p:nvPr/>
          </p:nvCxnSpPr>
          <p:spPr bwMode="auto">
            <a:xfrm rot="16200000" flipH="1">
              <a:off x="6830729" y="1305436"/>
              <a:ext cx="146226" cy="1011"/>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42" name="Connector: Elbow 41"/>
            <p:cNvCxnSpPr>
              <a:cxnSpLocks/>
              <a:stCxn id="21" idx="3"/>
              <a:endCxn id="27" idx="1"/>
            </p:cNvCxnSpPr>
            <p:nvPr/>
          </p:nvCxnSpPr>
          <p:spPr bwMode="auto">
            <a:xfrm flipV="1">
              <a:off x="8640103" y="1532127"/>
              <a:ext cx="388299" cy="8072"/>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grpSp>
      <p:grpSp>
        <p:nvGrpSpPr>
          <p:cNvPr id="80" name="Group 79"/>
          <p:cNvGrpSpPr/>
          <p:nvPr/>
        </p:nvGrpSpPr>
        <p:grpSpPr>
          <a:xfrm>
            <a:off x="7761843" y="3995415"/>
            <a:ext cx="3375975" cy="2825094"/>
            <a:chOff x="7670689" y="3440658"/>
            <a:chExt cx="4017411" cy="3312356"/>
          </a:xfrm>
        </p:grpSpPr>
        <p:grpSp>
          <p:nvGrpSpPr>
            <p:cNvPr id="43" name="Group 278"/>
            <p:cNvGrpSpPr>
              <a:grpSpLocks noChangeAspect="1"/>
            </p:cNvGrpSpPr>
            <p:nvPr/>
          </p:nvGrpSpPr>
          <p:grpSpPr bwMode="auto">
            <a:xfrm>
              <a:off x="7730298" y="3440658"/>
              <a:ext cx="734077" cy="1053987"/>
              <a:chOff x="3106" y="2389"/>
              <a:chExt cx="363" cy="520"/>
            </a:xfrm>
          </p:grpSpPr>
          <p:sp>
            <p:nvSpPr>
              <p:cNvPr id="4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4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4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NR</a:t>
                </a:r>
                <a:endParaRPr kumimoji="0" lang="en-US" altLang="en-US" sz="2000" b="0" i="0" u="none" strike="noStrike" kern="0" cap="none" spc="0" normalizeH="0" baseline="0">
                  <a:ln>
                    <a:noFill/>
                  </a:ln>
                  <a:solidFill>
                    <a:srgbClr val="8F3F7B"/>
                  </a:solidFill>
                  <a:effectLst/>
                  <a:uLnTx/>
                  <a:uFillTx/>
                  <a:latin typeface="Arial" pitchFamily="34" charset="0"/>
                  <a:ea typeface="MS PGothic" pitchFamily="34" charset="-128"/>
                </a:endParaRPr>
              </a:p>
            </p:txBody>
          </p:sp>
          <p:sp>
            <p:nvSpPr>
              <p:cNvPr id="4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4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grpSp>
          <p:nvGrpSpPr>
            <p:cNvPr id="49" name="Group 281"/>
            <p:cNvGrpSpPr>
              <a:grpSpLocks noChangeAspect="1"/>
            </p:cNvGrpSpPr>
            <p:nvPr/>
          </p:nvGrpSpPr>
          <p:grpSpPr bwMode="auto">
            <a:xfrm>
              <a:off x="7729664" y="5708788"/>
              <a:ext cx="729875" cy="1044226"/>
              <a:chOff x="4290" y="2369"/>
              <a:chExt cx="363" cy="520"/>
            </a:xfrm>
          </p:grpSpPr>
          <p:sp>
            <p:nvSpPr>
              <p:cNvPr id="50" name="AutoShape 256"/>
              <p:cNvSpPr>
                <a:spLocks noChangeAspect="1" noChangeArrowheads="1"/>
              </p:cNvSpPr>
              <p:nvPr/>
            </p:nvSpPr>
            <p:spPr bwMode="auto">
              <a:xfrm>
                <a:off x="4297" y="2517"/>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51" name="Oval 257"/>
              <p:cNvSpPr>
                <a:spLocks noChangeAspect="1" noChangeArrowheads="1"/>
              </p:cNvSpPr>
              <p:nvPr/>
            </p:nvSpPr>
            <p:spPr bwMode="auto">
              <a:xfrm>
                <a:off x="4295" y="2376"/>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52" name="Text Box 258"/>
              <p:cNvSpPr txBox="1">
                <a:spLocks noChangeAspect="1" noChangeArrowheads="1"/>
              </p:cNvSpPr>
              <p:nvPr/>
            </p:nvSpPr>
            <p:spPr bwMode="auto">
              <a:xfrm>
                <a:off x="4307" y="265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WiFi</a:t>
                </a:r>
              </a:p>
            </p:txBody>
          </p:sp>
          <p:sp>
            <p:nvSpPr>
              <p:cNvPr id="53" name="Rectangle 259"/>
              <p:cNvSpPr>
                <a:spLocks noChangeAspect="1" noChangeArrowheads="1"/>
              </p:cNvSpPr>
              <p:nvPr/>
            </p:nvSpPr>
            <p:spPr bwMode="auto">
              <a:xfrm>
                <a:off x="4290" y="236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54" name="Freeform 10"/>
              <p:cNvSpPr>
                <a:spLocks noChangeAspect="1" noEditPoints="1"/>
              </p:cNvSpPr>
              <p:nvPr/>
            </p:nvSpPr>
            <p:spPr bwMode="auto">
              <a:xfrm>
                <a:off x="4290" y="2369"/>
                <a:ext cx="363" cy="519"/>
              </a:xfrm>
              <a:custGeom>
                <a:avLst/>
                <a:gdLst>
                  <a:gd name="T0" fmla="*/ 166479 w 410"/>
                  <a:gd name="T1" fmla="*/ 88754 h 589"/>
                  <a:gd name="T2" fmla="*/ 156338 w 410"/>
                  <a:gd name="T3" fmla="*/ 214582 h 589"/>
                  <a:gd name="T4" fmla="*/ 6760 w 410"/>
                  <a:gd name="T5" fmla="*/ 205594 h 589"/>
                  <a:gd name="T6" fmla="*/ 86621 w 410"/>
                  <a:gd name="T7" fmla="*/ 5992 h 589"/>
                  <a:gd name="T8" fmla="*/ 169860 w 410"/>
                  <a:gd name="T9" fmla="*/ 79767 h 589"/>
                  <a:gd name="T10" fmla="*/ 173239 w 410"/>
                  <a:gd name="T11" fmla="*/ 76770 h 589"/>
                  <a:gd name="T12" fmla="*/ 0 w 410"/>
                  <a:gd name="T13" fmla="*/ 76770 h 589"/>
                  <a:gd name="T14" fmla="*/ 17324 w 410"/>
                  <a:gd name="T15" fmla="*/ 220574 h 589"/>
                  <a:gd name="T16" fmla="*/ 173239 w 410"/>
                  <a:gd name="T17" fmla="*/ 205594 h 589"/>
                  <a:gd name="T18" fmla="*/ 169860 w 410"/>
                  <a:gd name="T19" fmla="*/ 85758 h 589"/>
                  <a:gd name="T20" fmla="*/ 57464 w 410"/>
                  <a:gd name="T21" fmla="*/ 96992 h 589"/>
                  <a:gd name="T22" fmla="*/ 46479 w 410"/>
                  <a:gd name="T23" fmla="*/ 73775 h 589"/>
                  <a:gd name="T24" fmla="*/ 58311 w 410"/>
                  <a:gd name="T25" fmla="*/ 48309 h 589"/>
                  <a:gd name="T26" fmla="*/ 52817 w 410"/>
                  <a:gd name="T27" fmla="*/ 46061 h 589"/>
                  <a:gd name="T28" fmla="*/ 52817 w 410"/>
                  <a:gd name="T29" fmla="*/ 101112 h 589"/>
                  <a:gd name="T30" fmla="*/ 70564 w 410"/>
                  <a:gd name="T31" fmla="*/ 59169 h 589"/>
                  <a:gd name="T32" fmla="*/ 65070 w 410"/>
                  <a:gd name="T33" fmla="*/ 56923 h 589"/>
                  <a:gd name="T34" fmla="*/ 65070 w 410"/>
                  <a:gd name="T35" fmla="*/ 90252 h 589"/>
                  <a:gd name="T36" fmla="*/ 69717 w 410"/>
                  <a:gd name="T37" fmla="*/ 86133 h 589"/>
                  <a:gd name="T38" fmla="*/ 69717 w 410"/>
                  <a:gd name="T39" fmla="*/ 61415 h 589"/>
                  <a:gd name="T40" fmla="*/ 29155 w 410"/>
                  <a:gd name="T41" fmla="*/ 73775 h 589"/>
                  <a:gd name="T42" fmla="*/ 46058 w 410"/>
                  <a:gd name="T43" fmla="*/ 37450 h 589"/>
                  <a:gd name="T44" fmla="*/ 40563 w 410"/>
                  <a:gd name="T45" fmla="*/ 35202 h 589"/>
                  <a:gd name="T46" fmla="*/ 40563 w 410"/>
                  <a:gd name="T47" fmla="*/ 111973 h 589"/>
                  <a:gd name="T48" fmla="*/ 45210 w 410"/>
                  <a:gd name="T49" fmla="*/ 107853 h 589"/>
                  <a:gd name="T50" fmla="*/ 29155 w 410"/>
                  <a:gd name="T51" fmla="*/ 73775 h 589"/>
                  <a:gd name="T52" fmla="*/ 133521 w 410"/>
                  <a:gd name="T53" fmla="*/ 73775 h 589"/>
                  <a:gd name="T54" fmla="*/ 115774 w 410"/>
                  <a:gd name="T55" fmla="*/ 46061 h 589"/>
                  <a:gd name="T56" fmla="*/ 115774 w 410"/>
                  <a:gd name="T57" fmla="*/ 50556 h 589"/>
                  <a:gd name="T58" fmla="*/ 115774 w 410"/>
                  <a:gd name="T59" fmla="*/ 96992 h 589"/>
                  <a:gd name="T60" fmla="*/ 115774 w 410"/>
                  <a:gd name="T61" fmla="*/ 101112 h 589"/>
                  <a:gd name="T62" fmla="*/ 102676 w 410"/>
                  <a:gd name="T63" fmla="*/ 88380 h 589"/>
                  <a:gd name="T64" fmla="*/ 108592 w 410"/>
                  <a:gd name="T65" fmla="*/ 90252 h 589"/>
                  <a:gd name="T66" fmla="*/ 108592 w 410"/>
                  <a:gd name="T67" fmla="*/ 56923 h 589"/>
                  <a:gd name="T68" fmla="*/ 103521 w 410"/>
                  <a:gd name="T69" fmla="*/ 61415 h 589"/>
                  <a:gd name="T70" fmla="*/ 103521 w 410"/>
                  <a:gd name="T71" fmla="*/ 86133 h 589"/>
                  <a:gd name="T72" fmla="*/ 133099 w 410"/>
                  <a:gd name="T73" fmla="*/ 111973 h 589"/>
                  <a:gd name="T74" fmla="*/ 133099 w 410"/>
                  <a:gd name="T75" fmla="*/ 35202 h 589"/>
                  <a:gd name="T76" fmla="*/ 128028 w 410"/>
                  <a:gd name="T77" fmla="*/ 39695 h 589"/>
                  <a:gd name="T78" fmla="*/ 144085 w 410"/>
                  <a:gd name="T79" fmla="*/ 73775 h 589"/>
                  <a:gd name="T80" fmla="*/ 127183 w 410"/>
                  <a:gd name="T81" fmla="*/ 110099 h 589"/>
                  <a:gd name="T82" fmla="*/ 133099 w 410"/>
                  <a:gd name="T83" fmla="*/ 111973 h 589"/>
                  <a:gd name="T84" fmla="*/ 79014 w 410"/>
                  <a:gd name="T85" fmla="*/ 80515 h 589"/>
                  <a:gd name="T86" fmla="*/ 94225 w 410"/>
                  <a:gd name="T87" fmla="*/ 67034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0"/>
                  <a:gd name="T133" fmla="*/ 0 h 589"/>
                  <a:gd name="T134" fmla="*/ 410 w 410"/>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36" y="270"/>
                    </a:moveTo>
                    <a:cubicBezTo>
                      <a:pt x="139" y="267"/>
                      <a:pt x="139" y="262"/>
                      <a:pt x="136" y="259"/>
                    </a:cubicBezTo>
                    <a:cubicBezTo>
                      <a:pt x="136" y="259"/>
                      <a:pt x="136" y="259"/>
                      <a:pt x="136" y="259"/>
                    </a:cubicBezTo>
                    <a:cubicBezTo>
                      <a:pt x="119" y="242"/>
                      <a:pt x="110" y="219"/>
                      <a:pt x="110" y="197"/>
                    </a:cubicBezTo>
                    <a:cubicBezTo>
                      <a:pt x="110" y="174"/>
                      <a:pt x="119" y="152"/>
                      <a:pt x="136" y="135"/>
                    </a:cubicBezTo>
                    <a:cubicBezTo>
                      <a:pt x="137" y="133"/>
                      <a:pt x="138" y="131"/>
                      <a:pt x="138" y="129"/>
                    </a:cubicBezTo>
                    <a:cubicBezTo>
                      <a:pt x="138" y="127"/>
                      <a:pt x="137" y="125"/>
                      <a:pt x="136" y="123"/>
                    </a:cubicBezTo>
                    <a:cubicBezTo>
                      <a:pt x="133" y="120"/>
                      <a:pt x="128" y="120"/>
                      <a:pt x="125" y="123"/>
                    </a:cubicBezTo>
                    <a:cubicBezTo>
                      <a:pt x="104" y="144"/>
                      <a:pt x="94" y="170"/>
                      <a:pt x="94" y="197"/>
                    </a:cubicBezTo>
                    <a:cubicBezTo>
                      <a:pt x="94" y="223"/>
                      <a:pt x="104" y="250"/>
                      <a:pt x="125" y="270"/>
                    </a:cubicBezTo>
                    <a:cubicBezTo>
                      <a:pt x="128" y="273"/>
                      <a:pt x="133" y="273"/>
                      <a:pt x="136" y="270"/>
                    </a:cubicBezTo>
                    <a:moveTo>
                      <a:pt x="167" y="158"/>
                    </a:moveTo>
                    <a:cubicBezTo>
                      <a:pt x="167" y="156"/>
                      <a:pt x="166" y="154"/>
                      <a:pt x="165" y="152"/>
                    </a:cubicBezTo>
                    <a:cubicBezTo>
                      <a:pt x="162" y="149"/>
                      <a:pt x="157" y="149"/>
                      <a:pt x="154" y="152"/>
                    </a:cubicBezTo>
                    <a:cubicBezTo>
                      <a:pt x="141" y="165"/>
                      <a:pt x="135" y="181"/>
                      <a:pt x="135" y="197"/>
                    </a:cubicBezTo>
                    <a:cubicBezTo>
                      <a:pt x="135" y="213"/>
                      <a:pt x="141" y="229"/>
                      <a:pt x="154" y="241"/>
                    </a:cubicBezTo>
                    <a:cubicBezTo>
                      <a:pt x="157" y="244"/>
                      <a:pt x="162" y="244"/>
                      <a:pt x="165" y="241"/>
                    </a:cubicBezTo>
                    <a:cubicBezTo>
                      <a:pt x="168" y="238"/>
                      <a:pt x="168" y="233"/>
                      <a:pt x="165" y="230"/>
                    </a:cubicBezTo>
                    <a:cubicBezTo>
                      <a:pt x="156" y="221"/>
                      <a:pt x="151" y="209"/>
                      <a:pt x="151" y="197"/>
                    </a:cubicBezTo>
                    <a:cubicBezTo>
                      <a:pt x="151" y="185"/>
                      <a:pt x="156" y="173"/>
                      <a:pt x="165" y="164"/>
                    </a:cubicBezTo>
                    <a:cubicBezTo>
                      <a:pt x="166" y="162"/>
                      <a:pt x="167" y="160"/>
                      <a:pt x="167" y="158"/>
                    </a:cubicBezTo>
                    <a:moveTo>
                      <a:pt x="69" y="197"/>
                    </a:moveTo>
                    <a:cubicBezTo>
                      <a:pt x="69" y="164"/>
                      <a:pt x="82" y="131"/>
                      <a:pt x="107" y="106"/>
                    </a:cubicBezTo>
                    <a:cubicBezTo>
                      <a:pt x="108" y="104"/>
                      <a:pt x="109" y="102"/>
                      <a:pt x="109" y="100"/>
                    </a:cubicBezTo>
                    <a:cubicBezTo>
                      <a:pt x="109" y="98"/>
                      <a:pt x="108" y="96"/>
                      <a:pt x="107" y="94"/>
                    </a:cubicBezTo>
                    <a:cubicBezTo>
                      <a:pt x="104" y="91"/>
                      <a:pt x="99" y="91"/>
                      <a:pt x="96" y="94"/>
                    </a:cubicBezTo>
                    <a:cubicBezTo>
                      <a:pt x="67" y="123"/>
                      <a:pt x="53" y="160"/>
                      <a:pt x="53" y="197"/>
                    </a:cubicBezTo>
                    <a:cubicBezTo>
                      <a:pt x="53" y="234"/>
                      <a:pt x="67" y="271"/>
                      <a:pt x="96" y="299"/>
                    </a:cubicBezTo>
                    <a:cubicBezTo>
                      <a:pt x="99" y="302"/>
                      <a:pt x="104" y="302"/>
                      <a:pt x="107" y="299"/>
                    </a:cubicBezTo>
                    <a:cubicBezTo>
                      <a:pt x="110" y="296"/>
                      <a:pt x="110" y="291"/>
                      <a:pt x="107" y="288"/>
                    </a:cubicBezTo>
                    <a:cubicBezTo>
                      <a:pt x="107" y="288"/>
                      <a:pt x="107" y="288"/>
                      <a:pt x="107" y="288"/>
                    </a:cubicBezTo>
                    <a:cubicBezTo>
                      <a:pt x="82" y="263"/>
                      <a:pt x="69" y="230"/>
                      <a:pt x="69" y="197"/>
                    </a:cubicBezTo>
                    <a:moveTo>
                      <a:pt x="286" y="270"/>
                    </a:moveTo>
                    <a:cubicBezTo>
                      <a:pt x="306" y="250"/>
                      <a:pt x="316" y="223"/>
                      <a:pt x="316" y="197"/>
                    </a:cubicBezTo>
                    <a:cubicBezTo>
                      <a:pt x="316" y="170"/>
                      <a:pt x="306" y="144"/>
                      <a:pt x="286" y="123"/>
                    </a:cubicBezTo>
                    <a:cubicBezTo>
                      <a:pt x="283" y="120"/>
                      <a:pt x="278" y="120"/>
                      <a:pt x="274" y="123"/>
                    </a:cubicBezTo>
                    <a:cubicBezTo>
                      <a:pt x="271" y="126"/>
                      <a:pt x="271" y="132"/>
                      <a:pt x="274" y="135"/>
                    </a:cubicBezTo>
                    <a:cubicBezTo>
                      <a:pt x="274" y="135"/>
                      <a:pt x="274" y="135"/>
                      <a:pt x="274" y="135"/>
                    </a:cubicBezTo>
                    <a:cubicBezTo>
                      <a:pt x="292" y="152"/>
                      <a:pt x="300" y="174"/>
                      <a:pt x="300" y="197"/>
                    </a:cubicBezTo>
                    <a:cubicBezTo>
                      <a:pt x="300" y="219"/>
                      <a:pt x="292" y="242"/>
                      <a:pt x="274" y="259"/>
                    </a:cubicBezTo>
                    <a:cubicBezTo>
                      <a:pt x="273" y="260"/>
                      <a:pt x="272" y="263"/>
                      <a:pt x="272" y="265"/>
                    </a:cubicBezTo>
                    <a:cubicBezTo>
                      <a:pt x="272" y="267"/>
                      <a:pt x="273" y="269"/>
                      <a:pt x="274" y="270"/>
                    </a:cubicBezTo>
                    <a:cubicBezTo>
                      <a:pt x="278" y="273"/>
                      <a:pt x="283" y="273"/>
                      <a:pt x="286" y="270"/>
                    </a:cubicBezTo>
                    <a:moveTo>
                      <a:pt x="243" y="236"/>
                    </a:moveTo>
                    <a:cubicBezTo>
                      <a:pt x="243" y="238"/>
                      <a:pt x="244" y="240"/>
                      <a:pt x="245" y="241"/>
                    </a:cubicBezTo>
                    <a:cubicBezTo>
                      <a:pt x="249" y="244"/>
                      <a:pt x="254" y="244"/>
                      <a:pt x="257" y="241"/>
                    </a:cubicBezTo>
                    <a:cubicBezTo>
                      <a:pt x="269" y="229"/>
                      <a:pt x="275" y="213"/>
                      <a:pt x="275" y="197"/>
                    </a:cubicBezTo>
                    <a:cubicBezTo>
                      <a:pt x="275" y="181"/>
                      <a:pt x="269" y="165"/>
                      <a:pt x="257" y="152"/>
                    </a:cubicBezTo>
                    <a:cubicBezTo>
                      <a:pt x="254" y="149"/>
                      <a:pt x="249" y="149"/>
                      <a:pt x="245" y="152"/>
                    </a:cubicBezTo>
                    <a:cubicBezTo>
                      <a:pt x="242" y="155"/>
                      <a:pt x="242" y="161"/>
                      <a:pt x="245" y="164"/>
                    </a:cubicBezTo>
                    <a:cubicBezTo>
                      <a:pt x="255" y="173"/>
                      <a:pt x="259" y="185"/>
                      <a:pt x="259" y="197"/>
                    </a:cubicBezTo>
                    <a:cubicBezTo>
                      <a:pt x="259" y="209"/>
                      <a:pt x="255" y="221"/>
                      <a:pt x="245" y="230"/>
                    </a:cubicBezTo>
                    <a:cubicBezTo>
                      <a:pt x="244" y="231"/>
                      <a:pt x="243" y="234"/>
                      <a:pt x="243" y="236"/>
                    </a:cubicBezTo>
                    <a:moveTo>
                      <a:pt x="315" y="299"/>
                    </a:moveTo>
                    <a:cubicBezTo>
                      <a:pt x="343" y="271"/>
                      <a:pt x="357" y="234"/>
                      <a:pt x="357" y="197"/>
                    </a:cubicBezTo>
                    <a:cubicBezTo>
                      <a:pt x="357" y="160"/>
                      <a:pt x="343" y="123"/>
                      <a:pt x="315" y="94"/>
                    </a:cubicBezTo>
                    <a:cubicBezTo>
                      <a:pt x="312" y="91"/>
                      <a:pt x="307" y="91"/>
                      <a:pt x="303" y="94"/>
                    </a:cubicBezTo>
                    <a:cubicBezTo>
                      <a:pt x="300" y="97"/>
                      <a:pt x="300" y="103"/>
                      <a:pt x="303" y="106"/>
                    </a:cubicBezTo>
                    <a:cubicBezTo>
                      <a:pt x="303" y="106"/>
                      <a:pt x="303" y="106"/>
                      <a:pt x="303" y="106"/>
                    </a:cubicBezTo>
                    <a:cubicBezTo>
                      <a:pt x="329" y="131"/>
                      <a:pt x="341" y="164"/>
                      <a:pt x="341" y="197"/>
                    </a:cubicBezTo>
                    <a:cubicBezTo>
                      <a:pt x="341" y="230"/>
                      <a:pt x="329" y="263"/>
                      <a:pt x="303" y="288"/>
                    </a:cubicBezTo>
                    <a:cubicBezTo>
                      <a:pt x="302" y="289"/>
                      <a:pt x="301" y="291"/>
                      <a:pt x="301" y="294"/>
                    </a:cubicBezTo>
                    <a:cubicBezTo>
                      <a:pt x="301" y="296"/>
                      <a:pt x="302" y="298"/>
                      <a:pt x="303" y="299"/>
                    </a:cubicBezTo>
                    <a:cubicBezTo>
                      <a:pt x="307" y="302"/>
                      <a:pt x="312" y="302"/>
                      <a:pt x="315" y="299"/>
                    </a:cubicBezTo>
                    <a:moveTo>
                      <a:pt x="187" y="179"/>
                    </a:moveTo>
                    <a:cubicBezTo>
                      <a:pt x="177" y="189"/>
                      <a:pt x="177" y="205"/>
                      <a:pt x="187" y="215"/>
                    </a:cubicBezTo>
                    <a:cubicBezTo>
                      <a:pt x="197" y="225"/>
                      <a:pt x="213" y="225"/>
                      <a:pt x="223" y="215"/>
                    </a:cubicBezTo>
                    <a:cubicBezTo>
                      <a:pt x="233" y="205"/>
                      <a:pt x="233" y="189"/>
                      <a:pt x="223" y="179"/>
                    </a:cubicBezTo>
                    <a:cubicBezTo>
                      <a:pt x="213" y="169"/>
                      <a:pt x="197" y="169"/>
                      <a:pt x="187" y="17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55" name="Group 261"/>
            <p:cNvGrpSpPr>
              <a:grpSpLocks noChangeAspect="1"/>
            </p:cNvGrpSpPr>
            <p:nvPr/>
          </p:nvGrpSpPr>
          <p:grpSpPr bwMode="auto">
            <a:xfrm>
              <a:off x="9123741" y="3986844"/>
              <a:ext cx="747463" cy="1039799"/>
              <a:chOff x="239" y="1832"/>
              <a:chExt cx="363" cy="520"/>
            </a:xfrm>
          </p:grpSpPr>
          <p:sp>
            <p:nvSpPr>
              <p:cNvPr id="5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5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5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a:solidFill>
                      <a:srgbClr val="8F3F7B"/>
                    </a:solidFill>
                    <a:ea typeface="MS PGothic" panose="020B0600070205080204" pitchFamily="34" charset="-128"/>
                    <a:cs typeface="MS PGothic" panose="020B0600070205080204" pitchFamily="34" charset="-128"/>
                  </a:rPr>
                  <a:t>5GC</a:t>
                </a:r>
                <a:endParaRPr lang="en-US" altLang="en-US" sz="800">
                  <a:solidFill>
                    <a:srgbClr val="8F3F7B"/>
                  </a:solidFill>
                  <a:ea typeface="MS PGothic" panose="020B0600070205080204" pitchFamily="34" charset="-128"/>
                  <a:cs typeface="MS PGothic" panose="020B0600070205080204" pitchFamily="34" charset="-128"/>
                </a:endParaRPr>
              </a:p>
            </p:txBody>
          </p:sp>
          <p:sp>
            <p:nvSpPr>
              <p:cNvPr id="5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60"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61" name="Group 261"/>
            <p:cNvGrpSpPr>
              <a:grpSpLocks noChangeAspect="1"/>
            </p:cNvGrpSpPr>
            <p:nvPr/>
          </p:nvGrpSpPr>
          <p:grpSpPr bwMode="auto">
            <a:xfrm>
              <a:off x="10185374" y="3978772"/>
              <a:ext cx="747463" cy="1039799"/>
              <a:chOff x="239" y="1832"/>
              <a:chExt cx="363" cy="520"/>
            </a:xfrm>
          </p:grpSpPr>
          <p:sp>
            <p:nvSpPr>
              <p:cNvPr id="6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6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6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lnSpc>
                    <a:spcPct val="80000"/>
                  </a:lnSpc>
                  <a:spcBef>
                    <a:spcPct val="50000"/>
                  </a:spcBef>
                  <a:buClrTx/>
                  <a:buFontTx/>
                  <a:buNone/>
                </a:pPr>
                <a:r>
                  <a:rPr lang="en-US" altLang="en-US" sz="1600" dirty="0">
                    <a:solidFill>
                      <a:srgbClr val="8F3F7B"/>
                    </a:solidFill>
                    <a:ea typeface="MS PGothic" panose="020B0600070205080204" pitchFamily="34" charset="-128"/>
                    <a:cs typeface="MS PGothic" panose="020B0600070205080204" pitchFamily="34" charset="-128"/>
                  </a:rPr>
                  <a:t>IMS Core</a:t>
                </a:r>
                <a:endParaRPr lang="en-US" altLang="en-US" sz="800" dirty="0">
                  <a:solidFill>
                    <a:srgbClr val="8F3F7B"/>
                  </a:solidFill>
                  <a:ea typeface="MS PGothic" panose="020B0600070205080204" pitchFamily="34" charset="-128"/>
                  <a:cs typeface="MS PGothic" panose="020B0600070205080204" pitchFamily="34" charset="-128"/>
                </a:endParaRPr>
              </a:p>
            </p:txBody>
          </p:sp>
          <p:sp>
            <p:nvSpPr>
              <p:cNvPr id="6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eaLnBrk="0" hangingPunct="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endParaRPr lang="en-US" altLang="en-US" sz="500"/>
              </a:p>
            </p:txBody>
          </p:sp>
          <p:sp>
            <p:nvSpPr>
              <p:cNvPr id="66" name="Freeform 10"/>
              <p:cNvSpPr>
                <a:spLocks noChangeAspect="1" noEditPoints="1"/>
              </p:cNvSpPr>
              <p:nvPr/>
            </p:nvSpPr>
            <p:spPr bwMode="auto">
              <a:xfrm>
                <a:off x="239" y="1832"/>
                <a:ext cx="363" cy="520"/>
              </a:xfrm>
              <a:custGeom>
                <a:avLst/>
                <a:gdLst>
                  <a:gd name="T0" fmla="*/ 166479 w 410"/>
                  <a:gd name="T1" fmla="*/ 93129 h 589"/>
                  <a:gd name="T2" fmla="*/ 156338 w 410"/>
                  <a:gd name="T3" fmla="*/ 225161 h 589"/>
                  <a:gd name="T4" fmla="*/ 6760 w 410"/>
                  <a:gd name="T5" fmla="*/ 215730 h 589"/>
                  <a:gd name="T6" fmla="*/ 86621 w 410"/>
                  <a:gd name="T7" fmla="*/ 6289 h 589"/>
                  <a:gd name="T8" fmla="*/ 169860 w 410"/>
                  <a:gd name="T9" fmla="*/ 83699 h 589"/>
                  <a:gd name="T10" fmla="*/ 173239 w 410"/>
                  <a:gd name="T11" fmla="*/ 80555 h 589"/>
                  <a:gd name="T12" fmla="*/ 0 w 410"/>
                  <a:gd name="T13" fmla="*/ 80555 h 589"/>
                  <a:gd name="T14" fmla="*/ 17324 w 410"/>
                  <a:gd name="T15" fmla="*/ 231448 h 589"/>
                  <a:gd name="T16" fmla="*/ 173239 w 410"/>
                  <a:gd name="T17" fmla="*/ 215730 h 589"/>
                  <a:gd name="T18" fmla="*/ 169860 w 410"/>
                  <a:gd name="T19" fmla="*/ 89986 h 589"/>
                  <a:gd name="T20" fmla="*/ 63381 w 410"/>
                  <a:gd name="T21" fmla="*/ 56586 h 589"/>
                  <a:gd name="T22" fmla="*/ 60423 w 410"/>
                  <a:gd name="T23" fmla="*/ 51476 h 589"/>
                  <a:gd name="T24" fmla="*/ 86621 w 410"/>
                  <a:gd name="T25" fmla="*/ 18076 h 589"/>
                  <a:gd name="T26" fmla="*/ 89577 w 410"/>
                  <a:gd name="T27" fmla="*/ 19254 h 589"/>
                  <a:gd name="T28" fmla="*/ 113240 w 410"/>
                  <a:gd name="T29" fmla="*/ 54621 h 589"/>
                  <a:gd name="T30" fmla="*/ 69717 w 410"/>
                  <a:gd name="T31" fmla="*/ 50298 h 589"/>
                  <a:gd name="T32" fmla="*/ 86621 w 410"/>
                  <a:gd name="T33" fmla="*/ 26720 h 589"/>
                  <a:gd name="T34" fmla="*/ 23663 w 410"/>
                  <a:gd name="T35" fmla="*/ 61694 h 589"/>
                  <a:gd name="T36" fmla="*/ 41409 w 410"/>
                  <a:gd name="T37" fmla="*/ 49512 h 589"/>
                  <a:gd name="T38" fmla="*/ 34226 w 410"/>
                  <a:gd name="T39" fmla="*/ 60908 h 589"/>
                  <a:gd name="T40" fmla="*/ 114084 w 410"/>
                  <a:gd name="T41" fmla="*/ 64051 h 589"/>
                  <a:gd name="T42" fmla="*/ 34648 w 410"/>
                  <a:gd name="T43" fmla="*/ 67195 h 589"/>
                  <a:gd name="T44" fmla="*/ 41409 w 410"/>
                  <a:gd name="T45" fmla="*/ 78198 h 589"/>
                  <a:gd name="T46" fmla="*/ 36761 w 410"/>
                  <a:gd name="T47" fmla="*/ 78198 h 589"/>
                  <a:gd name="T48" fmla="*/ 23663 w 410"/>
                  <a:gd name="T49" fmla="*/ 61694 h 589"/>
                  <a:gd name="T50" fmla="*/ 136901 w 410"/>
                  <a:gd name="T51" fmla="*/ 95094 h 589"/>
                  <a:gd name="T52" fmla="*/ 132253 w 410"/>
                  <a:gd name="T53" fmla="*/ 90772 h 589"/>
                  <a:gd name="T54" fmla="*/ 62959 w 410"/>
                  <a:gd name="T55" fmla="*/ 84091 h 589"/>
                  <a:gd name="T56" fmla="*/ 62959 w 410"/>
                  <a:gd name="T57" fmla="*/ 77805 h 589"/>
                  <a:gd name="T58" fmla="*/ 132253 w 410"/>
                  <a:gd name="T59" fmla="*/ 71124 h 589"/>
                  <a:gd name="T60" fmla="*/ 134366 w 410"/>
                  <a:gd name="T61" fmla="*/ 65623 h 589"/>
                  <a:gd name="T62" fmla="*/ 149577 w 410"/>
                  <a:gd name="T63" fmla="*/ 78591 h 589"/>
                  <a:gd name="T64" fmla="*/ 23663 w 410"/>
                  <a:gd name="T65" fmla="*/ 95880 h 589"/>
                  <a:gd name="T66" fmla="*/ 41409 w 410"/>
                  <a:gd name="T67" fmla="*/ 83699 h 589"/>
                  <a:gd name="T68" fmla="*/ 34226 w 410"/>
                  <a:gd name="T69" fmla="*/ 95094 h 589"/>
                  <a:gd name="T70" fmla="*/ 114084 w 410"/>
                  <a:gd name="T71" fmla="*/ 98239 h 589"/>
                  <a:gd name="T72" fmla="*/ 34648 w 410"/>
                  <a:gd name="T73" fmla="*/ 101381 h 589"/>
                  <a:gd name="T74" fmla="*/ 41409 w 410"/>
                  <a:gd name="T75" fmla="*/ 112384 h 589"/>
                  <a:gd name="T76" fmla="*/ 36761 w 410"/>
                  <a:gd name="T77" fmla="*/ 112384 h 589"/>
                  <a:gd name="T78" fmla="*/ 23663 w 410"/>
                  <a:gd name="T79" fmla="*/ 95880 h 589"/>
                  <a:gd name="T80" fmla="*/ 136901 w 410"/>
                  <a:gd name="T81" fmla="*/ 129280 h 589"/>
                  <a:gd name="T82" fmla="*/ 132253 w 410"/>
                  <a:gd name="T83" fmla="*/ 124960 h 589"/>
                  <a:gd name="T84" fmla="*/ 62959 w 410"/>
                  <a:gd name="T85" fmla="*/ 118279 h 589"/>
                  <a:gd name="T86" fmla="*/ 62959 w 410"/>
                  <a:gd name="T87" fmla="*/ 111991 h 589"/>
                  <a:gd name="T88" fmla="*/ 132253 w 410"/>
                  <a:gd name="T89" fmla="*/ 105311 h 589"/>
                  <a:gd name="T90" fmla="*/ 134366 w 410"/>
                  <a:gd name="T91" fmla="*/ 99810 h 589"/>
                  <a:gd name="T92" fmla="*/ 149577 w 410"/>
                  <a:gd name="T93" fmla="*/ 112777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67" name="Group 278"/>
            <p:cNvGrpSpPr>
              <a:grpSpLocks noChangeAspect="1"/>
            </p:cNvGrpSpPr>
            <p:nvPr/>
          </p:nvGrpSpPr>
          <p:grpSpPr bwMode="auto">
            <a:xfrm>
              <a:off x="7670689" y="4602360"/>
              <a:ext cx="734077" cy="1053987"/>
              <a:chOff x="3106" y="2389"/>
              <a:chExt cx="363" cy="520"/>
            </a:xfrm>
          </p:grpSpPr>
          <p:sp>
            <p:nvSpPr>
              <p:cNvPr id="6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6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7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a:ln>
                      <a:noFill/>
                    </a:ln>
                    <a:solidFill>
                      <a:srgbClr val="8F3F7B"/>
                    </a:solidFill>
                    <a:effectLst/>
                    <a:uLnTx/>
                    <a:uFillTx/>
                    <a:latin typeface="Arial" pitchFamily="34" charset="0"/>
                    <a:ea typeface="MS PGothic" pitchFamily="34" charset="-128"/>
                  </a:rPr>
                  <a:t> </a:t>
                </a:r>
                <a:r>
                  <a:rPr kumimoji="0" lang="en-US" altLang="en-US" sz="1600" b="0" i="0" u="none" strike="noStrike" kern="0" cap="none" spc="0" normalizeH="0" baseline="0">
                    <a:ln>
                      <a:noFill/>
                    </a:ln>
                    <a:solidFill>
                      <a:srgbClr val="8F3F7B"/>
                    </a:solidFill>
                    <a:effectLst/>
                    <a:uLnTx/>
                    <a:uFillTx/>
                    <a:latin typeface="Arial" pitchFamily="34" charset="0"/>
                    <a:ea typeface="MS PGothic" pitchFamily="34" charset="-128"/>
                  </a:rPr>
                  <a:t>LTE</a:t>
                </a:r>
              </a:p>
            </p:txBody>
          </p:sp>
          <p:sp>
            <p:nvSpPr>
              <p:cNvPr id="7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a:ln>
                    <a:noFill/>
                  </a:ln>
                  <a:solidFill>
                    <a:srgbClr val="58585A"/>
                  </a:solidFill>
                  <a:effectLst/>
                  <a:uLnTx/>
                  <a:uFillTx/>
                  <a:latin typeface="Arial" pitchFamily="34" charset="0"/>
                </a:endParaRPr>
              </a:p>
            </p:txBody>
          </p:sp>
          <p:sp>
            <p:nvSpPr>
              <p:cNvPr id="7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58585A"/>
                  </a:solidFill>
                  <a:effectLst/>
                  <a:uLnTx/>
                  <a:uFillTx/>
                </a:endParaRPr>
              </a:p>
            </p:txBody>
          </p:sp>
        </p:grpSp>
        <p:sp>
          <p:nvSpPr>
            <p:cNvPr id="73" name="Oval 48"/>
            <p:cNvSpPr>
              <a:spLocks noChangeAspect="1" noChangeArrowheads="1"/>
            </p:cNvSpPr>
            <p:nvPr/>
          </p:nvSpPr>
          <p:spPr bwMode="auto">
            <a:xfrm>
              <a:off x="9995166" y="3489920"/>
              <a:ext cx="1051498" cy="565428"/>
            </a:xfrm>
            <a:prstGeom prst="ellipse">
              <a:avLst/>
            </a:prstGeom>
            <a:blipFill dpi="0" rotWithShape="1">
              <a:blip r:embed="rId3"/>
              <a:srcRect/>
              <a:stretch>
                <a:fillRect/>
              </a:stretch>
            </a:blip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50000"/>
                </a:spcBef>
              </a:pPr>
              <a:r>
                <a:rPr lang="en-US" sz="1100" b="1" dirty="0">
                  <a:solidFill>
                    <a:schemeClr val="bg1"/>
                  </a:solidFill>
                </a:rPr>
                <a:t>Voice</a:t>
              </a:r>
              <a:br>
                <a:rPr lang="en-US" sz="1100" b="1" dirty="0">
                  <a:solidFill>
                    <a:schemeClr val="bg1"/>
                  </a:solidFill>
                </a:rPr>
              </a:br>
              <a:r>
                <a:rPr lang="en-US" sz="1100" b="1" dirty="0">
                  <a:solidFill>
                    <a:schemeClr val="bg1"/>
                  </a:solidFill>
                </a:rPr>
                <a:t>Video</a:t>
              </a:r>
              <a:br>
                <a:rPr lang="en-US" sz="1100" b="1" dirty="0">
                  <a:solidFill>
                    <a:schemeClr val="bg1"/>
                  </a:solidFill>
                </a:rPr>
              </a:br>
              <a:r>
                <a:rPr lang="en-US" sz="1100" b="1" dirty="0">
                  <a:solidFill>
                    <a:schemeClr val="bg1"/>
                  </a:solidFill>
                </a:rPr>
                <a:t>SMS</a:t>
              </a:r>
            </a:p>
          </p:txBody>
        </p:sp>
        <p:sp>
          <p:nvSpPr>
            <p:cNvPr id="74" name="Oval 48"/>
            <p:cNvSpPr>
              <a:spLocks noChangeAspect="1" noChangeArrowheads="1"/>
            </p:cNvSpPr>
            <p:nvPr/>
          </p:nvSpPr>
          <p:spPr bwMode="auto">
            <a:xfrm>
              <a:off x="10636602" y="3927920"/>
              <a:ext cx="1051498" cy="354867"/>
            </a:xfrm>
            <a:prstGeom prst="ellipse">
              <a:avLst/>
            </a:prstGeom>
            <a:solidFill>
              <a:srgbClr val="00A9D4"/>
            </a:solidFill>
            <a:ln w="12700" cap="flat" cmpd="sng" algn="ctr">
              <a:solidFill>
                <a:schemeClr val="tx1"/>
              </a:solidFill>
              <a:prstDash val="dash"/>
              <a:round/>
              <a:headEnd type="none" w="med" len="med"/>
              <a:tailEnd type="none" w="med" len="med"/>
            </a:ln>
            <a:effectLst/>
            <a:extLst/>
          </p:spPr>
          <p:txBody>
            <a:bodyPr vert="horz" wrap="none" lIns="72000" tIns="45720" rIns="72000" bIns="45720" numCol="1" rtlCol="0" anchor="ctr" anchorCtr="0" compatLnSpc="1">
              <a:prstTxWarp prst="textNoShape">
                <a:avLst/>
              </a:prstTxWarp>
            </a:bodyPr>
            <a:lstStyle/>
            <a:p>
              <a:pPr algn="ctr"/>
              <a:r>
                <a:rPr lang="en-US" sz="1200" b="1">
                  <a:solidFill>
                    <a:schemeClr val="bg1"/>
                  </a:solidFill>
                </a:rPr>
                <a:t>RCS</a:t>
              </a:r>
            </a:p>
          </p:txBody>
        </p:sp>
        <p:cxnSp>
          <p:nvCxnSpPr>
            <p:cNvPr id="75" name="Connector: Elbow 74"/>
            <p:cNvCxnSpPr>
              <a:cxnSpLocks/>
              <a:stCxn id="46" idx="3"/>
              <a:endCxn id="58" idx="1"/>
            </p:cNvCxnSpPr>
            <p:nvPr/>
          </p:nvCxnSpPr>
          <p:spPr bwMode="auto">
            <a:xfrm>
              <a:off x="8425952" y="4242296"/>
              <a:ext cx="732794" cy="535396"/>
            </a:xfrm>
            <a:prstGeom prst="bentConnector3">
              <a:avLst/>
            </a:prstGeom>
            <a:solidFill>
              <a:schemeClr val="accent1"/>
            </a:solidFill>
            <a:ln w="12700" cap="flat" cmpd="sng" algn="ctr">
              <a:solidFill>
                <a:srgbClr val="7B0663"/>
              </a:solidFill>
              <a:prstDash val="solid"/>
              <a:round/>
              <a:headEnd type="none" w="med" len="med"/>
              <a:tailEnd type="none" w="med" len="med"/>
            </a:ln>
            <a:effectLst/>
          </p:spPr>
        </p:cxnSp>
        <p:cxnSp>
          <p:nvCxnSpPr>
            <p:cNvPr id="76" name="Connector: Elbow 75"/>
            <p:cNvCxnSpPr>
              <a:cxnSpLocks/>
              <a:stCxn id="70" idx="3"/>
              <a:endCxn id="58" idx="1"/>
            </p:cNvCxnSpPr>
            <p:nvPr/>
          </p:nvCxnSpPr>
          <p:spPr bwMode="auto">
            <a:xfrm flipV="1">
              <a:off x="8366343" y="4777692"/>
              <a:ext cx="792403" cy="626306"/>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77" name="Connector: Elbow 76"/>
            <p:cNvCxnSpPr>
              <a:cxnSpLocks/>
              <a:stCxn id="52" idx="3"/>
              <a:endCxn id="58" idx="2"/>
            </p:cNvCxnSpPr>
            <p:nvPr/>
          </p:nvCxnSpPr>
          <p:spPr bwMode="auto">
            <a:xfrm flipV="1">
              <a:off x="8421336" y="5002648"/>
              <a:ext cx="1074077" cy="1500355"/>
            </a:xfrm>
            <a:prstGeom prst="bentConnector2">
              <a:avLst/>
            </a:prstGeom>
            <a:solidFill>
              <a:schemeClr val="accent1"/>
            </a:solidFill>
            <a:ln w="12700" cap="flat" cmpd="sng" algn="ctr">
              <a:solidFill>
                <a:srgbClr val="7B0663"/>
              </a:solidFill>
              <a:prstDash val="solid"/>
              <a:round/>
              <a:headEnd type="none" w="med" len="med"/>
              <a:tailEnd type="none" w="med" len="med"/>
            </a:ln>
            <a:effectLst/>
          </p:spPr>
        </p:cxnSp>
        <p:cxnSp>
          <p:nvCxnSpPr>
            <p:cNvPr id="78" name="Connector: Elbow 77"/>
            <p:cNvCxnSpPr>
              <a:cxnSpLocks/>
              <a:stCxn id="46" idx="2"/>
              <a:endCxn id="69" idx="0"/>
            </p:cNvCxnSpPr>
            <p:nvPr/>
          </p:nvCxnSpPr>
          <p:spPr bwMode="auto">
            <a:xfrm rot="5400000">
              <a:off x="7992902" y="4514136"/>
              <a:ext cx="146226" cy="58598"/>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cxnSp>
          <p:nvCxnSpPr>
            <p:cNvPr id="79" name="Connector: Elbow 78"/>
            <p:cNvCxnSpPr>
              <a:cxnSpLocks/>
              <a:stCxn id="58" idx="3"/>
              <a:endCxn id="64" idx="1"/>
            </p:cNvCxnSpPr>
            <p:nvPr/>
          </p:nvCxnSpPr>
          <p:spPr bwMode="auto">
            <a:xfrm flipV="1">
              <a:off x="9832080" y="4769620"/>
              <a:ext cx="388299" cy="8072"/>
            </a:xfrm>
            <a:prstGeom prst="bentConnector3">
              <a:avLst>
                <a:gd name="adj1" fmla="val 50000"/>
              </a:avLst>
            </a:prstGeom>
            <a:solidFill>
              <a:schemeClr val="accent1"/>
            </a:solidFill>
            <a:ln w="12700" cap="flat" cmpd="sng" algn="ctr">
              <a:solidFill>
                <a:srgbClr val="7B0663"/>
              </a:solidFill>
              <a:prstDash val="solid"/>
              <a:round/>
              <a:headEnd type="none" w="med" len="med"/>
              <a:tailEnd type="none" w="med" len="med"/>
            </a:ln>
            <a:effectLst/>
          </p:spPr>
        </p:cxnSp>
      </p:grpSp>
    </p:spTree>
    <p:extLst>
      <p:ext uri="{BB962C8B-B14F-4D97-AF65-F5344CB8AC3E}">
        <p14:creationId xmlns:p14="http://schemas.microsoft.com/office/powerpoint/2010/main" val="321776071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824" y="239714"/>
            <a:ext cx="10478124" cy="1085371"/>
          </a:xfrm>
        </p:spPr>
        <p:txBody>
          <a:bodyPr/>
          <a:lstStyle/>
          <a:p>
            <a:r>
              <a:rPr lang="en-US" sz="4000" dirty="0"/>
              <a:t>5GC and EPC Interworking variants </a:t>
            </a:r>
            <a:r>
              <a:rPr lang="en-US" sz="2800" dirty="0">
                <a:solidFill>
                  <a:srgbClr val="0070C0"/>
                </a:solidFill>
                <a:latin typeface="+mn-lt"/>
              </a:rPr>
              <a:t>CN-Level </a:t>
            </a:r>
            <a:endParaRPr lang="en-US" sz="2800" dirty="0">
              <a:latin typeface="+mn-lt"/>
            </a:endParaRPr>
          </a:p>
        </p:txBody>
      </p:sp>
      <p:grpSp>
        <p:nvGrpSpPr>
          <p:cNvPr id="4" name="Group 3"/>
          <p:cNvGrpSpPr/>
          <p:nvPr/>
        </p:nvGrpSpPr>
        <p:grpSpPr>
          <a:xfrm>
            <a:off x="419656" y="1065460"/>
            <a:ext cx="2484013" cy="4800671"/>
            <a:chOff x="280174" y="1065460"/>
            <a:chExt cx="2484013" cy="4800671"/>
          </a:xfrm>
        </p:grpSpPr>
        <p:grpSp>
          <p:nvGrpSpPr>
            <p:cNvPr id="5" name="Group 261"/>
            <p:cNvGrpSpPr>
              <a:grpSpLocks noChangeAspect="1"/>
            </p:cNvGrpSpPr>
            <p:nvPr/>
          </p:nvGrpSpPr>
          <p:grpSpPr bwMode="auto">
            <a:xfrm>
              <a:off x="553313" y="2791558"/>
              <a:ext cx="651699" cy="931547"/>
              <a:chOff x="239" y="1832"/>
              <a:chExt cx="363" cy="520"/>
            </a:xfrm>
          </p:grpSpPr>
          <p:sp>
            <p:nvSpPr>
              <p:cNvPr id="4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4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600" b="1">
                    <a:solidFill>
                      <a:srgbClr val="8F3F7B"/>
                    </a:solidFill>
                    <a:latin typeface="Segoe UI" panose="020B0502040204020203" pitchFamily="34" charset="0"/>
                    <a:ea typeface="Segoe UI" panose="020B0502040204020203" pitchFamily="34" charset="0"/>
                    <a:cs typeface="Segoe UI" panose="020B0502040204020203" pitchFamily="34" charset="0"/>
                  </a:rPr>
                  <a:t>EPC</a:t>
                </a:r>
              </a:p>
            </p:txBody>
          </p:sp>
          <p:sp>
            <p:nvSpPr>
              <p:cNvPr id="5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6" name="Group 261"/>
            <p:cNvGrpSpPr>
              <a:grpSpLocks noChangeAspect="1"/>
            </p:cNvGrpSpPr>
            <p:nvPr/>
          </p:nvGrpSpPr>
          <p:grpSpPr bwMode="auto">
            <a:xfrm>
              <a:off x="2092666" y="2779194"/>
              <a:ext cx="651699" cy="931547"/>
              <a:chOff x="239" y="1832"/>
              <a:chExt cx="363" cy="520"/>
            </a:xfrm>
          </p:grpSpPr>
          <p:sp>
            <p:nvSpPr>
              <p:cNvPr id="4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4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600" b="1">
                    <a:solidFill>
                      <a:srgbClr val="8F3F7B"/>
                    </a:solidFill>
                    <a:latin typeface="Segoe UI" panose="020B0502040204020203" pitchFamily="34" charset="0"/>
                    <a:ea typeface="Segoe UI" panose="020B0502040204020203" pitchFamily="34" charset="0"/>
                    <a:cs typeface="Segoe UI" panose="020B0502040204020203" pitchFamily="34" charset="0"/>
                  </a:rPr>
                  <a:t>5GC</a:t>
                </a:r>
              </a:p>
            </p:txBody>
          </p:sp>
          <p:sp>
            <p:nvSpPr>
              <p:cNvPr id="4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sp>
          <p:nvSpPr>
            <p:cNvPr id="7" name="TextBox 6"/>
            <p:cNvSpPr txBox="1"/>
            <p:nvPr/>
          </p:nvSpPr>
          <p:spPr>
            <a:xfrm>
              <a:off x="280174" y="1065460"/>
              <a:ext cx="2484013" cy="646331"/>
            </a:xfrm>
            <a:prstGeom prst="rect">
              <a:avLst/>
            </a:prstGeom>
            <a:noFill/>
          </p:spPr>
          <p:txBody>
            <a:bodyPr wrap="none" rtlCol="0">
              <a:spAutoFit/>
            </a:bodyPr>
            <a:lstStyle/>
            <a:p>
              <a:pPr algn="ctr"/>
              <a:r>
                <a:rPr lang="en-US" sz="1800" b="1" dirty="0">
                  <a:latin typeface="Segoe UI" panose="020B0502040204020203" pitchFamily="34" charset="0"/>
                  <a:ea typeface="Segoe UI" panose="020B0502040204020203" pitchFamily="34" charset="0"/>
                  <a:cs typeface="Segoe UI" panose="020B0502040204020203" pitchFamily="34" charset="0"/>
                </a:rPr>
                <a:t>1) Re-attach without </a:t>
              </a:r>
              <a:br>
                <a:rPr lang="en-US" sz="1800" b="1" dirty="0">
                  <a:latin typeface="Segoe UI" panose="020B0502040204020203" pitchFamily="34" charset="0"/>
                  <a:ea typeface="Segoe UI" panose="020B0502040204020203" pitchFamily="34" charset="0"/>
                  <a:cs typeface="Segoe UI" panose="020B0502040204020203" pitchFamily="34" charset="0"/>
                </a:rPr>
              </a:br>
              <a:r>
                <a:rPr lang="en-US" sz="1800" b="1" dirty="0">
                  <a:latin typeface="Segoe UI" panose="020B0502040204020203" pitchFamily="34" charset="0"/>
                  <a:ea typeface="Segoe UI" panose="020B0502040204020203" pitchFamily="34" charset="0"/>
                  <a:cs typeface="Segoe UI" panose="020B0502040204020203" pitchFamily="34" charset="0"/>
                </a:rPr>
                <a:t>keeping IP address</a:t>
              </a:r>
            </a:p>
          </p:txBody>
        </p:sp>
        <p:grpSp>
          <p:nvGrpSpPr>
            <p:cNvPr id="8" name="Group 7"/>
            <p:cNvGrpSpPr/>
            <p:nvPr/>
          </p:nvGrpSpPr>
          <p:grpSpPr>
            <a:xfrm>
              <a:off x="1020472" y="1991794"/>
              <a:ext cx="1375355" cy="862393"/>
              <a:chOff x="9038846" y="4514377"/>
              <a:chExt cx="2250397" cy="1719278"/>
            </a:xfrm>
          </p:grpSpPr>
          <p:sp>
            <p:nvSpPr>
              <p:cNvPr id="40"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41" name="Text Box 35"/>
              <p:cNvSpPr txBox="1">
                <a:spLocks noChangeAspect="1" noChangeArrowheads="1"/>
              </p:cNvSpPr>
              <p:nvPr/>
            </p:nvSpPr>
            <p:spPr bwMode="auto">
              <a:xfrm>
                <a:off x="9409282" y="4979435"/>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IP services </a:t>
                </a:r>
              </a:p>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network </a:t>
                </a:r>
              </a:p>
            </p:txBody>
          </p:sp>
        </p:grpSp>
        <p:grpSp>
          <p:nvGrpSpPr>
            <p:cNvPr id="9" name="Group 261"/>
            <p:cNvGrpSpPr>
              <a:grpSpLocks noChangeAspect="1"/>
            </p:cNvGrpSpPr>
            <p:nvPr/>
          </p:nvGrpSpPr>
          <p:grpSpPr bwMode="auto">
            <a:xfrm>
              <a:off x="2017534" y="1680213"/>
              <a:ext cx="423015" cy="604663"/>
              <a:chOff x="239" y="1832"/>
              <a:chExt cx="363" cy="520"/>
            </a:xfrm>
          </p:grpSpPr>
          <p:sp>
            <p:nvSpPr>
              <p:cNvPr id="35"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200" b="1">
                    <a:solidFill>
                      <a:srgbClr val="8F3F7B"/>
                    </a:solidFill>
                    <a:latin typeface="Segoe UI" panose="020B0502040204020203" pitchFamily="34" charset="0"/>
                    <a:ea typeface="Segoe UI" panose="020B0502040204020203" pitchFamily="34" charset="0"/>
                    <a:cs typeface="Segoe UI" panose="020B0502040204020203" pitchFamily="34" charset="0"/>
                  </a:rPr>
                  <a:t>IMS</a:t>
                </a:r>
              </a:p>
            </p:txBody>
          </p:sp>
          <p:sp>
            <p:nvSpPr>
              <p:cNvPr id="38"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 name="Group 9"/>
            <p:cNvGrpSpPr/>
            <p:nvPr/>
          </p:nvGrpSpPr>
          <p:grpSpPr>
            <a:xfrm>
              <a:off x="1301935" y="5022667"/>
              <a:ext cx="697117" cy="843464"/>
              <a:chOff x="1690243" y="3902109"/>
              <a:chExt cx="465198" cy="666000"/>
            </a:xfrm>
          </p:grpSpPr>
          <p:sp>
            <p:nvSpPr>
              <p:cNvPr id="30"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1800" b="1">
                    <a:solidFill>
                      <a:srgbClr val="58585A"/>
                    </a:solidFill>
                    <a:latin typeface="Segoe UI" panose="020B0502040204020203" pitchFamily="34" charset="0"/>
                    <a:ea typeface="Segoe UI" panose="020B0502040204020203" pitchFamily="34" charset="0"/>
                    <a:cs typeface="Segoe UI" panose="020B0502040204020203" pitchFamily="34" charset="0"/>
                  </a:rPr>
                  <a:t>UE</a:t>
                </a:r>
              </a:p>
            </p:txBody>
          </p:sp>
          <p:sp>
            <p:nvSpPr>
              <p:cNvPr id="33"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1" name="Freeform 6"/>
            <p:cNvSpPr>
              <a:spLocks/>
            </p:cNvSpPr>
            <p:nvPr/>
          </p:nvSpPr>
          <p:spPr bwMode="auto">
            <a:xfrm rot="16797898">
              <a:off x="2067519" y="4863309"/>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2" name="Freeform 6"/>
            <p:cNvSpPr>
              <a:spLocks/>
            </p:cNvSpPr>
            <p:nvPr/>
          </p:nvSpPr>
          <p:spPr bwMode="auto">
            <a:xfrm rot="10332999">
              <a:off x="788220" y="4833534"/>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Connector 12"/>
            <p:cNvCxnSpPr/>
            <p:nvPr/>
          </p:nvCxnSpPr>
          <p:spPr bwMode="auto">
            <a:xfrm>
              <a:off x="877367" y="3701608"/>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4" name="Straight Connector 13"/>
            <p:cNvCxnSpPr/>
            <p:nvPr/>
          </p:nvCxnSpPr>
          <p:spPr bwMode="auto">
            <a:xfrm>
              <a:off x="2428750" y="3699993"/>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5" name="Straight Connector 14"/>
            <p:cNvCxnSpPr>
              <a:cxnSpLocks/>
            </p:cNvCxnSpPr>
            <p:nvPr/>
          </p:nvCxnSpPr>
          <p:spPr bwMode="auto">
            <a:xfrm flipH="1" flipV="1">
              <a:off x="2277206" y="2584997"/>
              <a:ext cx="139512" cy="206561"/>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6" name="Straight Connector 15"/>
            <p:cNvCxnSpPr>
              <a:cxnSpLocks/>
            </p:cNvCxnSpPr>
            <p:nvPr/>
          </p:nvCxnSpPr>
          <p:spPr bwMode="auto">
            <a:xfrm flipV="1">
              <a:off x="928202" y="2598510"/>
              <a:ext cx="197403" cy="187948"/>
            </a:xfrm>
            <a:prstGeom prst="line">
              <a:avLst/>
            </a:prstGeom>
            <a:solidFill>
              <a:schemeClr val="accent1"/>
            </a:solidFill>
            <a:ln w="31750" cap="flat" cmpd="sng" algn="ctr">
              <a:solidFill>
                <a:schemeClr val="tx1"/>
              </a:solidFill>
              <a:prstDash val="solid"/>
              <a:round/>
              <a:headEnd type="none" w="med" len="med"/>
              <a:tailEnd type="none" w="med" len="med"/>
            </a:ln>
            <a:effectLst/>
          </p:spPr>
        </p:cxnSp>
        <p:grpSp>
          <p:nvGrpSpPr>
            <p:cNvPr id="17" name="Group 16"/>
            <p:cNvGrpSpPr/>
            <p:nvPr/>
          </p:nvGrpSpPr>
          <p:grpSpPr>
            <a:xfrm>
              <a:off x="567768" y="3863951"/>
              <a:ext cx="651699" cy="884278"/>
              <a:chOff x="936376" y="2900085"/>
              <a:chExt cx="864097" cy="1240669"/>
            </a:xfrm>
          </p:grpSpPr>
          <p:sp>
            <p:nvSpPr>
              <p:cNvPr id="25"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LTE</a:t>
                </a:r>
              </a:p>
            </p:txBody>
          </p:sp>
          <p:sp>
            <p:nvSpPr>
              <p:cNvPr id="28"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 name="Group 17"/>
            <p:cNvGrpSpPr/>
            <p:nvPr/>
          </p:nvGrpSpPr>
          <p:grpSpPr>
            <a:xfrm>
              <a:off x="2092665" y="3828113"/>
              <a:ext cx="651699" cy="884278"/>
              <a:chOff x="936376" y="2900085"/>
              <a:chExt cx="864097" cy="1240669"/>
            </a:xfrm>
          </p:grpSpPr>
          <p:sp>
            <p:nvSpPr>
              <p:cNvPr id="20"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5G</a:t>
                </a:r>
                <a:br>
                  <a:rPr lang="en-US" altLang="en-US" sz="1600" b="1">
                    <a:latin typeface="Segoe UI" panose="020B0502040204020203" pitchFamily="34" charset="0"/>
                    <a:ea typeface="Segoe UI" panose="020B0502040204020203" pitchFamily="34" charset="0"/>
                    <a:cs typeface="Segoe UI" panose="020B0502040204020203" pitchFamily="34" charset="0"/>
                  </a:rPr>
                </a:br>
                <a:r>
                  <a:rPr lang="en-US" altLang="en-US" sz="1600" b="1">
                    <a:latin typeface="Segoe UI" panose="020B0502040204020203" pitchFamily="34" charset="0"/>
                    <a:ea typeface="Segoe UI" panose="020B0502040204020203" pitchFamily="34" charset="0"/>
                    <a:cs typeface="Segoe UI" panose="020B0502040204020203" pitchFamily="34" charset="0"/>
                  </a:rPr>
                  <a:t>RAN</a:t>
                </a:r>
              </a:p>
            </p:txBody>
          </p:sp>
          <p:sp>
            <p:nvSpPr>
              <p:cNvPr id="23"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4"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9" name="Arrow: Left-Right 18"/>
            <p:cNvSpPr/>
            <p:nvPr/>
          </p:nvSpPr>
          <p:spPr bwMode="auto">
            <a:xfrm>
              <a:off x="1311538" y="4748229"/>
              <a:ext cx="687514" cy="268024"/>
            </a:xfrm>
            <a:prstGeom prst="leftRigh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grpSp>
      <p:cxnSp>
        <p:nvCxnSpPr>
          <p:cNvPr id="52" name="Straight Connector 51"/>
          <p:cNvCxnSpPr/>
          <p:nvPr/>
        </p:nvCxnSpPr>
        <p:spPr bwMode="auto">
          <a:xfrm>
            <a:off x="3549518" y="1239253"/>
            <a:ext cx="0" cy="5173579"/>
          </a:xfrm>
          <a:prstGeom prst="line">
            <a:avLst/>
          </a:prstGeom>
          <a:solidFill>
            <a:schemeClr val="accent1"/>
          </a:solidFill>
          <a:ln w="25400" cap="flat" cmpd="sng" algn="ctr">
            <a:solidFill>
              <a:schemeClr val="tx1"/>
            </a:solidFill>
            <a:prstDash val="dash"/>
            <a:round/>
            <a:headEnd type="none" w="med" len="med"/>
            <a:tailEnd type="none" w="med" len="med"/>
          </a:ln>
          <a:effectLst/>
        </p:spPr>
      </p:cxnSp>
      <p:sp>
        <p:nvSpPr>
          <p:cNvPr id="53" name="Rectangle: Rounded Corners 52"/>
          <p:cNvSpPr/>
          <p:nvPr/>
        </p:nvSpPr>
        <p:spPr bwMode="auto">
          <a:xfrm>
            <a:off x="419656" y="5761457"/>
            <a:ext cx="2851484" cy="722351"/>
          </a:xfrm>
          <a:prstGeom prst="roundRec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600">
                <a:latin typeface="Segoe UI" panose="020B0502040204020203" pitchFamily="34" charset="0"/>
                <a:ea typeface="Segoe UI" panose="020B0502040204020203" pitchFamily="34" charset="0"/>
                <a:cs typeface="Segoe UI" panose="020B0502040204020203" pitchFamily="34" charset="0"/>
              </a:rPr>
              <a:t>New IMS registration req.</a:t>
            </a:r>
            <a:br>
              <a:rPr lang="en-US" sz="1600">
                <a:latin typeface="Segoe UI" panose="020B0502040204020203" pitchFamily="34" charset="0"/>
                <a:ea typeface="Segoe UI" panose="020B0502040204020203" pitchFamily="34" charset="0"/>
                <a:cs typeface="Segoe UI" panose="020B0502040204020203" pitchFamily="34" charset="0"/>
              </a:rPr>
            </a:br>
            <a:r>
              <a:rPr lang="en-US" sz="1600">
                <a:latin typeface="Segoe UI" panose="020B0502040204020203" pitchFamily="34" charset="0"/>
                <a:ea typeface="Segoe UI" panose="020B0502040204020203" pitchFamily="34" charset="0"/>
                <a:cs typeface="Segoe UI" panose="020B0502040204020203" pitchFamily="34" charset="0"/>
              </a:rPr>
              <a:t>No voice call continuity,  </a:t>
            </a:r>
          </a:p>
        </p:txBody>
      </p:sp>
      <p:cxnSp>
        <p:nvCxnSpPr>
          <p:cNvPr id="54" name="Straight Connector 53"/>
          <p:cNvCxnSpPr/>
          <p:nvPr/>
        </p:nvCxnSpPr>
        <p:spPr bwMode="auto">
          <a:xfrm>
            <a:off x="7953163" y="1158226"/>
            <a:ext cx="0" cy="5173579"/>
          </a:xfrm>
          <a:prstGeom prst="line">
            <a:avLst/>
          </a:prstGeom>
          <a:solidFill>
            <a:schemeClr val="accent1"/>
          </a:solidFill>
          <a:ln w="25400" cap="flat" cmpd="sng" algn="ctr">
            <a:solidFill>
              <a:schemeClr val="tx1"/>
            </a:solidFill>
            <a:prstDash val="dash"/>
            <a:round/>
            <a:headEnd type="none" w="med" len="med"/>
            <a:tailEnd type="none" w="med" len="med"/>
          </a:ln>
          <a:effectLst/>
        </p:spPr>
      </p:cxnSp>
      <p:grpSp>
        <p:nvGrpSpPr>
          <p:cNvPr id="55" name="Group 261"/>
          <p:cNvGrpSpPr>
            <a:grpSpLocks noChangeAspect="1"/>
          </p:cNvGrpSpPr>
          <p:nvPr/>
        </p:nvGrpSpPr>
        <p:grpSpPr bwMode="auto">
          <a:xfrm>
            <a:off x="4530358" y="2813469"/>
            <a:ext cx="651699" cy="931547"/>
            <a:chOff x="239" y="1832"/>
            <a:chExt cx="363" cy="520"/>
          </a:xfrm>
        </p:grpSpPr>
        <p:sp>
          <p:nvSpPr>
            <p:cNvPr id="5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5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MME</a:t>
              </a:r>
              <a:b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b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SGW</a:t>
              </a:r>
            </a:p>
          </p:txBody>
        </p:sp>
        <p:sp>
          <p:nvSpPr>
            <p:cNvPr id="5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61" name="Group 261"/>
          <p:cNvGrpSpPr>
            <a:grpSpLocks noChangeAspect="1"/>
          </p:cNvGrpSpPr>
          <p:nvPr/>
        </p:nvGrpSpPr>
        <p:grpSpPr bwMode="auto">
          <a:xfrm>
            <a:off x="6558661" y="2801105"/>
            <a:ext cx="651699" cy="931547"/>
            <a:chOff x="239" y="1832"/>
            <a:chExt cx="363" cy="520"/>
          </a:xfrm>
        </p:grpSpPr>
        <p:sp>
          <p:nvSpPr>
            <p:cNvPr id="6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AMF</a:t>
              </a:r>
            </a:p>
          </p:txBody>
        </p:sp>
        <p:sp>
          <p:nvSpPr>
            <p:cNvPr id="6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sp>
        <p:nvSpPr>
          <p:cNvPr id="67" name="TextBox 66"/>
          <p:cNvSpPr txBox="1"/>
          <p:nvPr/>
        </p:nvSpPr>
        <p:spPr>
          <a:xfrm>
            <a:off x="3668582" y="1087371"/>
            <a:ext cx="4118500" cy="646331"/>
          </a:xfrm>
          <a:prstGeom prst="rect">
            <a:avLst/>
          </a:prstGeom>
          <a:noFill/>
        </p:spPr>
        <p:txBody>
          <a:bodyPr wrap="none" rtlCol="0">
            <a:spAutoFit/>
          </a:bodyPr>
          <a:lstStyle/>
          <a:p>
            <a:pPr algn="ctr"/>
            <a:r>
              <a:rPr lang="en-US" sz="1800" b="1">
                <a:latin typeface="Segoe UI" panose="020B0502040204020203" pitchFamily="34" charset="0"/>
                <a:ea typeface="Segoe UI" panose="020B0502040204020203" pitchFamily="34" charset="0"/>
                <a:cs typeface="Segoe UI" panose="020B0502040204020203" pitchFamily="34" charset="0"/>
              </a:rPr>
              <a:t>2) Handover attach with loose inter-</a:t>
            </a:r>
            <a:br>
              <a:rPr lang="en-US" sz="1800" b="1">
                <a:latin typeface="Segoe UI" panose="020B0502040204020203" pitchFamily="34" charset="0"/>
                <a:ea typeface="Segoe UI" panose="020B0502040204020203" pitchFamily="34" charset="0"/>
                <a:cs typeface="Segoe UI" panose="020B0502040204020203" pitchFamily="34" charset="0"/>
              </a:rPr>
            </a:br>
            <a:r>
              <a:rPr lang="en-US" sz="1800" b="1">
                <a:latin typeface="Segoe UI" panose="020B0502040204020203" pitchFamily="34" charset="0"/>
                <a:ea typeface="Segoe UI" panose="020B0502040204020203" pitchFamily="34" charset="0"/>
                <a:cs typeface="Segoe UI" panose="020B0502040204020203" pitchFamily="34" charset="0"/>
              </a:rPr>
              <a:t>working (keeping IP address)</a:t>
            </a:r>
          </a:p>
        </p:txBody>
      </p:sp>
      <p:grpSp>
        <p:nvGrpSpPr>
          <p:cNvPr id="68" name="Group 67"/>
          <p:cNvGrpSpPr/>
          <p:nvPr/>
        </p:nvGrpSpPr>
        <p:grpSpPr>
          <a:xfrm>
            <a:off x="5226117" y="2013705"/>
            <a:ext cx="1375355" cy="862393"/>
            <a:chOff x="9038846" y="4514377"/>
            <a:chExt cx="2250397" cy="1719278"/>
          </a:xfrm>
        </p:grpSpPr>
        <p:sp>
          <p:nvSpPr>
            <p:cNvPr id="69"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70" name="Text Box 35"/>
            <p:cNvSpPr txBox="1">
              <a:spLocks noChangeAspect="1" noChangeArrowheads="1"/>
            </p:cNvSpPr>
            <p:nvPr/>
          </p:nvSpPr>
          <p:spPr bwMode="auto">
            <a:xfrm>
              <a:off x="9409282" y="4979435"/>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IP services </a:t>
              </a:r>
            </a:p>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network </a:t>
              </a:r>
            </a:p>
          </p:txBody>
        </p:sp>
      </p:grpSp>
      <p:grpSp>
        <p:nvGrpSpPr>
          <p:cNvPr id="71" name="Group 261"/>
          <p:cNvGrpSpPr>
            <a:grpSpLocks noChangeAspect="1"/>
          </p:cNvGrpSpPr>
          <p:nvPr/>
        </p:nvGrpSpPr>
        <p:grpSpPr bwMode="auto">
          <a:xfrm>
            <a:off x="6223179" y="1702124"/>
            <a:ext cx="423015" cy="604663"/>
            <a:chOff x="239" y="1832"/>
            <a:chExt cx="363" cy="520"/>
          </a:xfrm>
        </p:grpSpPr>
        <p:sp>
          <p:nvSpPr>
            <p:cNvPr id="7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7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200" b="1">
                  <a:solidFill>
                    <a:srgbClr val="8F3F7B"/>
                  </a:solidFill>
                  <a:latin typeface="Segoe UI" panose="020B0502040204020203" pitchFamily="34" charset="0"/>
                  <a:ea typeface="Segoe UI" panose="020B0502040204020203" pitchFamily="34" charset="0"/>
                  <a:cs typeface="Segoe UI" panose="020B0502040204020203" pitchFamily="34" charset="0"/>
                </a:rPr>
                <a:t>IMS</a:t>
              </a:r>
            </a:p>
          </p:txBody>
        </p:sp>
        <p:sp>
          <p:nvSpPr>
            <p:cNvPr id="7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77" name="Group 76"/>
          <p:cNvGrpSpPr/>
          <p:nvPr/>
        </p:nvGrpSpPr>
        <p:grpSpPr>
          <a:xfrm>
            <a:off x="5507580" y="5044578"/>
            <a:ext cx="697117" cy="843464"/>
            <a:chOff x="1690243" y="3902109"/>
            <a:chExt cx="465198" cy="666000"/>
          </a:xfrm>
        </p:grpSpPr>
        <p:sp>
          <p:nvSpPr>
            <p:cNvPr id="78"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79"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80"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1800" b="1">
                  <a:solidFill>
                    <a:srgbClr val="58585A"/>
                  </a:solidFill>
                  <a:latin typeface="Segoe UI" panose="020B0502040204020203" pitchFamily="34" charset="0"/>
                  <a:ea typeface="Segoe UI" panose="020B0502040204020203" pitchFamily="34" charset="0"/>
                  <a:cs typeface="Segoe UI" panose="020B0502040204020203" pitchFamily="34" charset="0"/>
                </a:rPr>
                <a:t>UE</a:t>
              </a:r>
            </a:p>
          </p:txBody>
        </p:sp>
        <p:sp>
          <p:nvSpPr>
            <p:cNvPr id="81"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83" name="Freeform 6"/>
          <p:cNvSpPr>
            <a:spLocks/>
          </p:cNvSpPr>
          <p:nvPr/>
        </p:nvSpPr>
        <p:spPr bwMode="auto">
          <a:xfrm rot="16797898">
            <a:off x="6273164" y="4885220"/>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6"/>
          <p:cNvSpPr>
            <a:spLocks/>
          </p:cNvSpPr>
          <p:nvPr/>
        </p:nvSpPr>
        <p:spPr bwMode="auto">
          <a:xfrm rot="10332999">
            <a:off x="4993865" y="4855445"/>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cxnSp>
        <p:nvCxnSpPr>
          <p:cNvPr id="85" name="Straight Connector 84"/>
          <p:cNvCxnSpPr/>
          <p:nvPr/>
        </p:nvCxnSpPr>
        <p:spPr bwMode="auto">
          <a:xfrm>
            <a:off x="4854412" y="3723519"/>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86" name="Straight Connector 85"/>
          <p:cNvCxnSpPr/>
          <p:nvPr/>
        </p:nvCxnSpPr>
        <p:spPr bwMode="auto">
          <a:xfrm>
            <a:off x="6894745" y="3721904"/>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87" name="Straight Connector 86"/>
          <p:cNvCxnSpPr>
            <a:cxnSpLocks/>
          </p:cNvCxnSpPr>
          <p:nvPr/>
        </p:nvCxnSpPr>
        <p:spPr bwMode="auto">
          <a:xfrm flipH="1">
            <a:off x="6158818" y="3457384"/>
            <a:ext cx="408818" cy="0"/>
          </a:xfrm>
          <a:prstGeom prst="line">
            <a:avLst/>
          </a:prstGeom>
          <a:solidFill>
            <a:schemeClr val="accent1"/>
          </a:solidFill>
          <a:ln w="31750" cap="flat" cmpd="sng" algn="ctr">
            <a:solidFill>
              <a:schemeClr val="tx1"/>
            </a:solidFill>
            <a:prstDash val="dash"/>
            <a:round/>
            <a:headEnd type="none" w="med" len="med"/>
            <a:tailEnd type="none" w="med" len="med"/>
          </a:ln>
          <a:effectLst/>
        </p:spPr>
      </p:cxnSp>
      <p:cxnSp>
        <p:nvCxnSpPr>
          <p:cNvPr id="88" name="Straight Connector 87"/>
          <p:cNvCxnSpPr>
            <a:cxnSpLocks/>
          </p:cNvCxnSpPr>
          <p:nvPr/>
        </p:nvCxnSpPr>
        <p:spPr bwMode="auto">
          <a:xfrm>
            <a:off x="5182057" y="3459081"/>
            <a:ext cx="425766" cy="0"/>
          </a:xfrm>
          <a:prstGeom prst="line">
            <a:avLst/>
          </a:prstGeom>
          <a:solidFill>
            <a:schemeClr val="accent1"/>
          </a:solidFill>
          <a:ln w="31750" cap="flat" cmpd="sng" algn="ctr">
            <a:solidFill>
              <a:schemeClr val="tx1"/>
            </a:solidFill>
            <a:prstDash val="dash"/>
            <a:round/>
            <a:headEnd type="none" w="med" len="med"/>
            <a:tailEnd type="none" w="med" len="med"/>
          </a:ln>
          <a:effectLst/>
        </p:spPr>
      </p:cxnSp>
      <p:grpSp>
        <p:nvGrpSpPr>
          <p:cNvPr id="89" name="Group 88"/>
          <p:cNvGrpSpPr/>
          <p:nvPr/>
        </p:nvGrpSpPr>
        <p:grpSpPr>
          <a:xfrm>
            <a:off x="4544813" y="3885862"/>
            <a:ext cx="651699" cy="884278"/>
            <a:chOff x="936376" y="2900085"/>
            <a:chExt cx="864097" cy="1240669"/>
          </a:xfrm>
        </p:grpSpPr>
        <p:sp>
          <p:nvSpPr>
            <p:cNvPr id="90"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1"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2"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LTE</a:t>
              </a:r>
            </a:p>
          </p:txBody>
        </p:sp>
        <p:sp>
          <p:nvSpPr>
            <p:cNvPr id="93"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95" name="Group 94"/>
          <p:cNvGrpSpPr/>
          <p:nvPr/>
        </p:nvGrpSpPr>
        <p:grpSpPr>
          <a:xfrm>
            <a:off x="6558660" y="3850024"/>
            <a:ext cx="651699" cy="884278"/>
            <a:chOff x="936376" y="2900085"/>
            <a:chExt cx="864097" cy="1240669"/>
          </a:xfrm>
        </p:grpSpPr>
        <p:sp>
          <p:nvSpPr>
            <p:cNvPr id="96"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7"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98"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5G</a:t>
              </a:r>
              <a:br>
                <a:rPr lang="en-US" altLang="en-US" sz="1600" b="1">
                  <a:latin typeface="Segoe UI" panose="020B0502040204020203" pitchFamily="34" charset="0"/>
                  <a:ea typeface="Segoe UI" panose="020B0502040204020203" pitchFamily="34" charset="0"/>
                  <a:cs typeface="Segoe UI" panose="020B0502040204020203" pitchFamily="34" charset="0"/>
                </a:rPr>
              </a:br>
              <a:r>
                <a:rPr lang="en-US" altLang="en-US" sz="1600" b="1">
                  <a:latin typeface="Segoe UI" panose="020B0502040204020203" pitchFamily="34" charset="0"/>
                  <a:ea typeface="Segoe UI" panose="020B0502040204020203" pitchFamily="34" charset="0"/>
                  <a:cs typeface="Segoe UI" panose="020B0502040204020203" pitchFamily="34" charset="0"/>
                </a:rPr>
                <a:t>RAN</a:t>
              </a:r>
            </a:p>
          </p:txBody>
        </p:sp>
        <p:sp>
          <p:nvSpPr>
            <p:cNvPr id="99"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00"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01" name="Arrow: Left-Right 100"/>
          <p:cNvSpPr/>
          <p:nvPr/>
        </p:nvSpPr>
        <p:spPr bwMode="auto">
          <a:xfrm>
            <a:off x="5517183" y="4770140"/>
            <a:ext cx="687514" cy="268024"/>
          </a:xfrm>
          <a:prstGeom prst="leftRigh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grpSp>
        <p:nvGrpSpPr>
          <p:cNvPr id="102" name="Group 101"/>
          <p:cNvGrpSpPr/>
          <p:nvPr/>
        </p:nvGrpSpPr>
        <p:grpSpPr>
          <a:xfrm>
            <a:off x="5518956" y="2691928"/>
            <a:ext cx="717355" cy="1020429"/>
            <a:chOff x="5741038" y="1103598"/>
            <a:chExt cx="946438" cy="1670293"/>
          </a:xfrm>
        </p:grpSpPr>
        <p:sp>
          <p:nvSpPr>
            <p:cNvPr id="103" name="AutoShape 172"/>
            <p:cNvSpPr>
              <a:spLocks noChangeAspect="1" noChangeArrowheads="1"/>
            </p:cNvSpPr>
            <p:nvPr/>
          </p:nvSpPr>
          <p:spPr bwMode="auto">
            <a:xfrm>
              <a:off x="5862412" y="1776442"/>
              <a:ext cx="722819" cy="754230"/>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04" name="Oval 173"/>
            <p:cNvSpPr>
              <a:spLocks noChangeAspect="1" noChangeArrowheads="1"/>
            </p:cNvSpPr>
            <p:nvPr/>
          </p:nvSpPr>
          <p:spPr bwMode="auto">
            <a:xfrm>
              <a:off x="5858282" y="1485878"/>
              <a:ext cx="726950" cy="731561"/>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05" name="Text Box 174"/>
            <p:cNvSpPr txBox="1">
              <a:spLocks noChangeAspect="1" noChangeArrowheads="1"/>
            </p:cNvSpPr>
            <p:nvPr/>
          </p:nvSpPr>
          <p:spPr bwMode="auto">
            <a:xfrm>
              <a:off x="5842166" y="2206230"/>
              <a:ext cx="777427" cy="533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050" b="1" dirty="0">
                  <a:solidFill>
                    <a:srgbClr val="8F3F7B"/>
                  </a:solidFill>
                  <a:latin typeface="Segoe UI" panose="020B0502040204020203" pitchFamily="34" charset="0"/>
                  <a:ea typeface="Segoe UI" panose="020B0502040204020203" pitchFamily="34" charset="0"/>
                  <a:cs typeface="Segoe UI" panose="020B0502040204020203" pitchFamily="34" charset="0"/>
                </a:rPr>
                <a:t>SMF/UPF/PGW</a:t>
              </a:r>
              <a:endParaRPr lang="en-US" altLang="en-US" sz="1050" b="1" dirty="0">
                <a:solidFill>
                  <a:srgbClr val="FFC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6" name="Rectangle 175"/>
            <p:cNvSpPr>
              <a:spLocks noChangeAspect="1" noChangeArrowheads="1"/>
            </p:cNvSpPr>
            <p:nvPr/>
          </p:nvSpPr>
          <p:spPr bwMode="auto">
            <a:xfrm>
              <a:off x="5847956" y="1471453"/>
              <a:ext cx="749667" cy="10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07" name="Freeform 10"/>
            <p:cNvSpPr>
              <a:spLocks noChangeAspect="1" noEditPoints="1"/>
            </p:cNvSpPr>
            <p:nvPr/>
          </p:nvSpPr>
          <p:spPr bwMode="auto">
            <a:xfrm>
              <a:off x="5776307" y="1471453"/>
              <a:ext cx="911169" cy="1302438"/>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sp>
          <p:nvSpPr>
            <p:cNvPr id="108" name="TextBox 107"/>
            <p:cNvSpPr txBox="1"/>
            <p:nvPr/>
          </p:nvSpPr>
          <p:spPr>
            <a:xfrm>
              <a:off x="5741038" y="1103598"/>
              <a:ext cx="243724" cy="554163"/>
            </a:xfrm>
            <a:prstGeom prst="rect">
              <a:avLst/>
            </a:prstGeom>
            <a:noFill/>
          </p:spPr>
          <p:txBody>
            <a:bodyPr wrap="none" rtlCol="0">
              <a:spAutoFit/>
            </a:bodyP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cxnSp>
        <p:nvCxnSpPr>
          <p:cNvPr id="109" name="Straight Connector 108"/>
          <p:cNvCxnSpPr>
            <a:cxnSpLocks/>
          </p:cNvCxnSpPr>
          <p:nvPr/>
        </p:nvCxnSpPr>
        <p:spPr bwMode="auto">
          <a:xfrm flipV="1">
            <a:off x="5876925" y="2807217"/>
            <a:ext cx="0" cy="115060"/>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10" name="Straight Connector 109"/>
          <p:cNvCxnSpPr>
            <a:cxnSpLocks/>
            <a:endCxn id="91" idx="7"/>
          </p:cNvCxnSpPr>
          <p:nvPr/>
        </p:nvCxnSpPr>
        <p:spPr bwMode="auto">
          <a:xfrm flipH="1">
            <a:off x="5093192" y="3691654"/>
            <a:ext cx="525560" cy="294520"/>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11" name="Straight Connector 110"/>
          <p:cNvCxnSpPr>
            <a:cxnSpLocks/>
          </p:cNvCxnSpPr>
          <p:nvPr/>
        </p:nvCxnSpPr>
        <p:spPr bwMode="auto">
          <a:xfrm>
            <a:off x="6161382" y="3701608"/>
            <a:ext cx="462671" cy="284566"/>
          </a:xfrm>
          <a:prstGeom prst="line">
            <a:avLst/>
          </a:prstGeom>
          <a:solidFill>
            <a:schemeClr val="accent1"/>
          </a:solidFill>
          <a:ln w="31750" cap="flat" cmpd="sng" algn="ctr">
            <a:solidFill>
              <a:schemeClr val="tx1"/>
            </a:solidFill>
            <a:prstDash val="solid"/>
            <a:round/>
            <a:headEnd type="none" w="med" len="med"/>
            <a:tailEnd type="none" w="med" len="med"/>
          </a:ln>
          <a:effectLst/>
        </p:spPr>
      </p:cxnSp>
      <p:grpSp>
        <p:nvGrpSpPr>
          <p:cNvPr id="112" name="Group 261"/>
          <p:cNvGrpSpPr>
            <a:grpSpLocks noChangeAspect="1"/>
          </p:cNvGrpSpPr>
          <p:nvPr/>
        </p:nvGrpSpPr>
        <p:grpSpPr bwMode="auto">
          <a:xfrm>
            <a:off x="8810604" y="2786244"/>
            <a:ext cx="651699" cy="931547"/>
            <a:chOff x="239" y="1832"/>
            <a:chExt cx="363" cy="520"/>
          </a:xfrm>
        </p:grpSpPr>
        <p:sp>
          <p:nvSpPr>
            <p:cNvPr id="11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1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1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MME</a:t>
              </a:r>
              <a:b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b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SGW</a:t>
              </a:r>
            </a:p>
          </p:txBody>
        </p:sp>
        <p:sp>
          <p:nvSpPr>
            <p:cNvPr id="11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17"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8" name="Group 261"/>
          <p:cNvGrpSpPr>
            <a:grpSpLocks noChangeAspect="1"/>
          </p:cNvGrpSpPr>
          <p:nvPr/>
        </p:nvGrpSpPr>
        <p:grpSpPr bwMode="auto">
          <a:xfrm>
            <a:off x="10718257" y="2773880"/>
            <a:ext cx="651699" cy="931547"/>
            <a:chOff x="239" y="1832"/>
            <a:chExt cx="363" cy="520"/>
          </a:xfrm>
        </p:grpSpPr>
        <p:sp>
          <p:nvSpPr>
            <p:cNvPr id="11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2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AMF</a:t>
              </a:r>
            </a:p>
          </p:txBody>
        </p:sp>
        <p:sp>
          <p:nvSpPr>
            <p:cNvPr id="122" name="Rectangle 121"/>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sp>
        <p:nvSpPr>
          <p:cNvPr id="124" name="TextBox 123"/>
          <p:cNvSpPr txBox="1"/>
          <p:nvPr/>
        </p:nvSpPr>
        <p:spPr>
          <a:xfrm>
            <a:off x="8661438" y="1060146"/>
            <a:ext cx="2578976" cy="646331"/>
          </a:xfrm>
          <a:prstGeom prst="rect">
            <a:avLst/>
          </a:prstGeom>
          <a:noFill/>
        </p:spPr>
        <p:txBody>
          <a:bodyPr wrap="none" rtlCol="0">
            <a:spAutoFit/>
          </a:bodyPr>
          <a:lstStyle/>
          <a:p>
            <a:pPr algn="ctr"/>
            <a:r>
              <a:rPr lang="en-US" sz="1800" b="1">
                <a:latin typeface="Segoe UI" panose="020B0502040204020203" pitchFamily="34" charset="0"/>
                <a:ea typeface="Segoe UI" panose="020B0502040204020203" pitchFamily="34" charset="0"/>
                <a:cs typeface="Segoe UI" panose="020B0502040204020203" pitchFamily="34" charset="0"/>
              </a:rPr>
              <a:t>3) Tight interworking </a:t>
            </a:r>
            <a:br>
              <a:rPr lang="en-US" sz="1800" b="1">
                <a:latin typeface="Segoe UI" panose="020B0502040204020203" pitchFamily="34" charset="0"/>
                <a:ea typeface="Segoe UI" panose="020B0502040204020203" pitchFamily="34" charset="0"/>
                <a:cs typeface="Segoe UI" panose="020B0502040204020203" pitchFamily="34" charset="0"/>
              </a:rPr>
            </a:br>
            <a:r>
              <a:rPr lang="en-US" sz="1800" b="1">
                <a:latin typeface="Segoe UI" panose="020B0502040204020203" pitchFamily="34" charset="0"/>
                <a:ea typeface="Segoe UI" panose="020B0502040204020203" pitchFamily="34" charset="0"/>
                <a:cs typeface="Segoe UI" panose="020B0502040204020203" pitchFamily="34" charset="0"/>
              </a:rPr>
              <a:t>(”IRAT Handover”)</a:t>
            </a:r>
          </a:p>
        </p:txBody>
      </p:sp>
      <p:grpSp>
        <p:nvGrpSpPr>
          <p:cNvPr id="125" name="Group 124"/>
          <p:cNvGrpSpPr/>
          <p:nvPr/>
        </p:nvGrpSpPr>
        <p:grpSpPr>
          <a:xfrm>
            <a:off x="9449213" y="1986480"/>
            <a:ext cx="1375355" cy="862393"/>
            <a:chOff x="9038846" y="4514377"/>
            <a:chExt cx="2250397" cy="1719278"/>
          </a:xfrm>
        </p:grpSpPr>
        <p:sp>
          <p:nvSpPr>
            <p:cNvPr id="126"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27" name="Text Box 35"/>
            <p:cNvSpPr txBox="1">
              <a:spLocks noChangeAspect="1" noChangeArrowheads="1"/>
            </p:cNvSpPr>
            <p:nvPr/>
          </p:nvSpPr>
          <p:spPr bwMode="auto">
            <a:xfrm>
              <a:off x="9409282" y="4979435"/>
              <a:ext cx="1527777" cy="871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IP services </a:t>
              </a:r>
            </a:p>
            <a:p>
              <a:pPr algn="ctr" eaLnBrk="1" hangingPunct="1">
                <a:lnSpc>
                  <a:spcPct val="80000"/>
                </a:lnSpc>
                <a:spcBef>
                  <a:spcPct val="0"/>
                </a:spcBef>
                <a:buClrTx/>
                <a:buFontTx/>
                <a:buNone/>
              </a:pPr>
              <a:r>
                <a:rPr lang="en-US" altLang="en-US" sz="1400" b="1">
                  <a:latin typeface="Segoe UI" panose="020B0502040204020203" pitchFamily="34" charset="0"/>
                  <a:ea typeface="Segoe UI" panose="020B0502040204020203" pitchFamily="34" charset="0"/>
                  <a:cs typeface="Segoe UI" panose="020B0502040204020203" pitchFamily="34" charset="0"/>
                </a:rPr>
                <a:t>network </a:t>
              </a:r>
            </a:p>
          </p:txBody>
        </p:sp>
      </p:grpSp>
      <p:grpSp>
        <p:nvGrpSpPr>
          <p:cNvPr id="128" name="Group 261"/>
          <p:cNvGrpSpPr>
            <a:grpSpLocks noChangeAspect="1"/>
          </p:cNvGrpSpPr>
          <p:nvPr/>
        </p:nvGrpSpPr>
        <p:grpSpPr bwMode="auto">
          <a:xfrm>
            <a:off x="10446275" y="1674899"/>
            <a:ext cx="423015" cy="604663"/>
            <a:chOff x="239" y="1832"/>
            <a:chExt cx="363" cy="520"/>
          </a:xfrm>
        </p:grpSpPr>
        <p:sp>
          <p:nvSpPr>
            <p:cNvPr id="12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200" b="1">
                  <a:solidFill>
                    <a:srgbClr val="8F3F7B"/>
                  </a:solidFill>
                  <a:latin typeface="Segoe UI" panose="020B0502040204020203" pitchFamily="34" charset="0"/>
                  <a:ea typeface="Segoe UI" panose="020B0502040204020203" pitchFamily="34" charset="0"/>
                  <a:cs typeface="Segoe UI" panose="020B0502040204020203" pitchFamily="34" charset="0"/>
                </a:rPr>
                <a:t>IMS</a:t>
              </a:r>
            </a:p>
          </p:txBody>
        </p:sp>
        <p:sp>
          <p:nvSpPr>
            <p:cNvPr id="13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12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b="1">
                <a:latin typeface="Segoe UI" panose="020B0502040204020203" pitchFamily="34" charset="0"/>
                <a:ea typeface="Segoe UI" panose="020B0502040204020203" pitchFamily="34" charset="0"/>
                <a:cs typeface="Segoe UI" panose="020B0502040204020203" pitchFamily="34" charset="0"/>
              </a:endParaRPr>
            </a:p>
          </p:txBody>
        </p:sp>
      </p:grpSp>
      <p:grpSp>
        <p:nvGrpSpPr>
          <p:cNvPr id="134" name="Group 133"/>
          <p:cNvGrpSpPr/>
          <p:nvPr/>
        </p:nvGrpSpPr>
        <p:grpSpPr>
          <a:xfrm>
            <a:off x="9730676" y="5017353"/>
            <a:ext cx="697117" cy="843464"/>
            <a:chOff x="1690243" y="3902109"/>
            <a:chExt cx="465198" cy="666000"/>
          </a:xfrm>
        </p:grpSpPr>
        <p:sp>
          <p:nvSpPr>
            <p:cNvPr id="135"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6"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7"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1800" b="1">
                  <a:solidFill>
                    <a:srgbClr val="58585A"/>
                  </a:solidFill>
                  <a:latin typeface="Segoe UI" panose="020B0502040204020203" pitchFamily="34" charset="0"/>
                  <a:ea typeface="Segoe UI" panose="020B0502040204020203" pitchFamily="34" charset="0"/>
                  <a:cs typeface="Segoe UI" panose="020B0502040204020203" pitchFamily="34" charset="0"/>
                </a:rPr>
                <a:t>UE</a:t>
              </a:r>
            </a:p>
          </p:txBody>
        </p:sp>
        <p:sp>
          <p:nvSpPr>
            <p:cNvPr id="138"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endParaRPr lang="en-US">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40" name="Freeform 6"/>
          <p:cNvSpPr>
            <a:spLocks/>
          </p:cNvSpPr>
          <p:nvPr/>
        </p:nvSpPr>
        <p:spPr bwMode="auto">
          <a:xfrm rot="16797898">
            <a:off x="10496260" y="4857995"/>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6"/>
          <p:cNvSpPr>
            <a:spLocks/>
          </p:cNvSpPr>
          <p:nvPr/>
        </p:nvSpPr>
        <p:spPr bwMode="auto">
          <a:xfrm rot="10332999">
            <a:off x="9216961" y="4828220"/>
            <a:ext cx="496057" cy="365438"/>
          </a:xfrm>
          <a:custGeom>
            <a:avLst/>
            <a:gdLst>
              <a:gd name="T0" fmla="*/ 0 w 902524"/>
              <a:gd name="T1" fmla="*/ 0 h 356260"/>
              <a:gd name="T2" fmla="*/ 70688 w 902524"/>
              <a:gd name="T3" fmla="*/ 426247 h 356260"/>
              <a:gd name="T4" fmla="*/ 62654 w 902524"/>
              <a:gd name="T5" fmla="*/ 136397 h 356260"/>
              <a:gd name="T6" fmla="*/ 122097 w 902524"/>
              <a:gd name="T7" fmla="*/ 511492 h 356260"/>
              <a:gd name="T8" fmla="*/ 122097 w 902524"/>
              <a:gd name="T9" fmla="*/ 511492 h 356260"/>
              <a:gd name="T10" fmla="*/ 0 60000 65536"/>
              <a:gd name="T11" fmla="*/ 0 60000 65536"/>
              <a:gd name="T12" fmla="*/ 0 60000 65536"/>
              <a:gd name="T13" fmla="*/ 0 60000 65536"/>
              <a:gd name="T14" fmla="*/ 0 60000 65536"/>
              <a:gd name="T15" fmla="*/ 0 w 902524"/>
              <a:gd name="T16" fmla="*/ 0 h 356260"/>
              <a:gd name="T17" fmla="*/ 902524 w 902524"/>
              <a:gd name="T18" fmla="*/ 356260 h 356260"/>
            </a:gdLst>
            <a:ahLst/>
            <a:cxnLst>
              <a:cxn ang="T10">
                <a:pos x="T0" y="T1"/>
              </a:cxn>
              <a:cxn ang="T11">
                <a:pos x="T2" y="T3"/>
              </a:cxn>
              <a:cxn ang="T12">
                <a:pos x="T4" y="T5"/>
              </a:cxn>
              <a:cxn ang="T13">
                <a:pos x="T6" y="T7"/>
              </a:cxn>
              <a:cxn ang="T14">
                <a:pos x="T8" y="T9"/>
              </a:cxn>
            </a:cxnLst>
            <a:rect l="T15" t="T16" r="T17" b="T18"/>
            <a:pathLst>
              <a:path w="902524" h="356260">
                <a:moveTo>
                  <a:pt x="0" y="0"/>
                </a:moveTo>
                <a:lnTo>
                  <a:pt x="522514" y="296883"/>
                </a:lnTo>
                <a:lnTo>
                  <a:pt x="463137" y="95003"/>
                </a:lnTo>
                <a:lnTo>
                  <a:pt x="902524" y="356260"/>
                </a:lnTo>
              </a:path>
            </a:pathLst>
          </a:custGeom>
          <a:noFill/>
          <a:ln w="31750" algn="ctr">
            <a:solidFill>
              <a:schemeClr val="tx1"/>
            </a:solidFill>
            <a:round/>
            <a:headEnd type="triangle" w="med" len="med"/>
            <a:tailEnd type="triangle" w="med" len="med"/>
          </a:ln>
        </p:spPr>
        <p:txBody>
          <a:bodyPr wrap="none" lIns="72000" rIns="72000"/>
          <a:lstStyle/>
          <a:p>
            <a:endParaRPr lang="en-US">
              <a:latin typeface="Segoe UI" panose="020B0502040204020203" pitchFamily="34" charset="0"/>
              <a:ea typeface="Segoe UI" panose="020B0502040204020203" pitchFamily="34" charset="0"/>
              <a:cs typeface="Segoe UI" panose="020B0502040204020203" pitchFamily="34" charset="0"/>
            </a:endParaRPr>
          </a:p>
        </p:txBody>
      </p:sp>
      <p:cxnSp>
        <p:nvCxnSpPr>
          <p:cNvPr id="142" name="Straight Connector 141"/>
          <p:cNvCxnSpPr/>
          <p:nvPr/>
        </p:nvCxnSpPr>
        <p:spPr bwMode="auto">
          <a:xfrm>
            <a:off x="9134658" y="3696294"/>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43" name="Straight Connector 142"/>
          <p:cNvCxnSpPr/>
          <p:nvPr/>
        </p:nvCxnSpPr>
        <p:spPr bwMode="auto">
          <a:xfrm>
            <a:off x="11054341" y="3694679"/>
            <a:ext cx="0" cy="41500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44" name="Straight Connector 143"/>
          <p:cNvCxnSpPr>
            <a:cxnSpLocks/>
          </p:cNvCxnSpPr>
          <p:nvPr/>
        </p:nvCxnSpPr>
        <p:spPr bwMode="auto">
          <a:xfrm flipH="1">
            <a:off x="10381914" y="3430159"/>
            <a:ext cx="336343" cy="0"/>
          </a:xfrm>
          <a:prstGeom prst="line">
            <a:avLst/>
          </a:prstGeom>
          <a:solidFill>
            <a:schemeClr val="accent1"/>
          </a:solidFill>
          <a:ln w="31750" cap="flat" cmpd="sng" algn="ctr">
            <a:solidFill>
              <a:schemeClr val="tx1"/>
            </a:solidFill>
            <a:prstDash val="dash"/>
            <a:round/>
            <a:headEnd type="none" w="med" len="med"/>
            <a:tailEnd type="none" w="med" len="med"/>
          </a:ln>
          <a:effectLst/>
        </p:spPr>
      </p:cxnSp>
      <p:cxnSp>
        <p:nvCxnSpPr>
          <p:cNvPr id="145" name="Straight Connector 144"/>
          <p:cNvCxnSpPr>
            <a:cxnSpLocks/>
          </p:cNvCxnSpPr>
          <p:nvPr/>
        </p:nvCxnSpPr>
        <p:spPr bwMode="auto">
          <a:xfrm>
            <a:off x="9462303" y="3431856"/>
            <a:ext cx="376628" cy="0"/>
          </a:xfrm>
          <a:prstGeom prst="line">
            <a:avLst/>
          </a:prstGeom>
          <a:solidFill>
            <a:schemeClr val="accent1"/>
          </a:solidFill>
          <a:ln w="31750" cap="flat" cmpd="sng" algn="ctr">
            <a:solidFill>
              <a:schemeClr val="tx1"/>
            </a:solidFill>
            <a:prstDash val="dash"/>
            <a:round/>
            <a:headEnd type="none" w="med" len="med"/>
            <a:tailEnd type="none" w="med" len="med"/>
          </a:ln>
          <a:effectLst/>
        </p:spPr>
      </p:cxnSp>
      <p:grpSp>
        <p:nvGrpSpPr>
          <p:cNvPr id="146" name="Group 145"/>
          <p:cNvGrpSpPr/>
          <p:nvPr/>
        </p:nvGrpSpPr>
        <p:grpSpPr>
          <a:xfrm>
            <a:off x="8825059" y="3858637"/>
            <a:ext cx="651699" cy="884278"/>
            <a:chOff x="936376" y="2900085"/>
            <a:chExt cx="864097" cy="1240669"/>
          </a:xfrm>
        </p:grpSpPr>
        <p:sp>
          <p:nvSpPr>
            <p:cNvPr id="147"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48"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49"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LTE</a:t>
              </a:r>
            </a:p>
          </p:txBody>
        </p:sp>
        <p:sp>
          <p:nvSpPr>
            <p:cNvPr id="150"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1"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2" name="Group 151"/>
          <p:cNvGrpSpPr/>
          <p:nvPr/>
        </p:nvGrpSpPr>
        <p:grpSpPr>
          <a:xfrm>
            <a:off x="10718256" y="3822799"/>
            <a:ext cx="651699" cy="884278"/>
            <a:chOff x="936376" y="2900085"/>
            <a:chExt cx="864097" cy="1240669"/>
          </a:xfrm>
        </p:grpSpPr>
        <p:sp>
          <p:nvSpPr>
            <p:cNvPr id="153"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4"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5"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a:latin typeface="Segoe UI" panose="020B0502040204020203" pitchFamily="34" charset="0"/>
                  <a:ea typeface="Segoe UI" panose="020B0502040204020203" pitchFamily="34" charset="0"/>
                  <a:cs typeface="Segoe UI" panose="020B0502040204020203" pitchFamily="34" charset="0"/>
                </a:rPr>
                <a:t>5G</a:t>
              </a:r>
              <a:br>
                <a:rPr lang="en-US" altLang="en-US" sz="1600" b="1">
                  <a:latin typeface="Segoe UI" panose="020B0502040204020203" pitchFamily="34" charset="0"/>
                  <a:ea typeface="Segoe UI" panose="020B0502040204020203" pitchFamily="34" charset="0"/>
                  <a:cs typeface="Segoe UI" panose="020B0502040204020203" pitchFamily="34" charset="0"/>
                </a:rPr>
              </a:br>
              <a:r>
                <a:rPr lang="en-US" altLang="en-US" sz="1600" b="1">
                  <a:latin typeface="Segoe UI" panose="020B0502040204020203" pitchFamily="34" charset="0"/>
                  <a:ea typeface="Segoe UI" panose="020B0502040204020203" pitchFamily="34" charset="0"/>
                  <a:cs typeface="Segoe UI" panose="020B0502040204020203" pitchFamily="34" charset="0"/>
                </a:rPr>
                <a:t>RAN</a:t>
              </a:r>
            </a:p>
          </p:txBody>
        </p:sp>
        <p:sp>
          <p:nvSpPr>
            <p:cNvPr id="156"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57" name="Freeform 11"/>
            <p:cNvSpPr>
              <a:spLocks noChangeAspect="1" noEditPoints="1"/>
            </p:cNvSpPr>
            <p:nvPr/>
          </p:nvSpPr>
          <p:spPr bwMode="auto">
            <a:xfrm>
              <a:off x="936377" y="2900086"/>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6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58" name="Arrow: Left-Right 157"/>
          <p:cNvSpPr/>
          <p:nvPr/>
        </p:nvSpPr>
        <p:spPr bwMode="auto">
          <a:xfrm>
            <a:off x="9740279" y="4742915"/>
            <a:ext cx="687514" cy="268024"/>
          </a:xfrm>
          <a:prstGeom prst="leftRigh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cxnSp>
        <p:nvCxnSpPr>
          <p:cNvPr id="159" name="Straight Connector 158"/>
          <p:cNvCxnSpPr>
            <a:cxnSpLocks/>
          </p:cNvCxnSpPr>
          <p:nvPr/>
        </p:nvCxnSpPr>
        <p:spPr bwMode="auto">
          <a:xfrm flipV="1">
            <a:off x="10100021" y="2779992"/>
            <a:ext cx="0" cy="115060"/>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60" name="Straight Connector 159"/>
          <p:cNvCxnSpPr>
            <a:cxnSpLocks/>
          </p:cNvCxnSpPr>
          <p:nvPr/>
        </p:nvCxnSpPr>
        <p:spPr bwMode="auto">
          <a:xfrm>
            <a:off x="9476758" y="3699993"/>
            <a:ext cx="1275700" cy="0"/>
          </a:xfrm>
          <a:prstGeom prst="line">
            <a:avLst/>
          </a:prstGeom>
          <a:solidFill>
            <a:schemeClr val="accent1"/>
          </a:solidFill>
          <a:ln w="31750" cap="flat" cmpd="sng" algn="ctr">
            <a:solidFill>
              <a:schemeClr val="tx1"/>
            </a:solidFill>
            <a:prstDash val="dash"/>
            <a:round/>
            <a:headEnd type="none" w="med" len="med"/>
            <a:tailEnd type="none" w="med" len="med"/>
          </a:ln>
          <a:effectLst/>
        </p:spPr>
      </p:cxnSp>
      <p:cxnSp>
        <p:nvCxnSpPr>
          <p:cNvPr id="161" name="Straight Connector 160"/>
          <p:cNvCxnSpPr>
            <a:cxnSpLocks/>
          </p:cNvCxnSpPr>
          <p:nvPr/>
        </p:nvCxnSpPr>
        <p:spPr bwMode="auto">
          <a:xfrm flipH="1">
            <a:off x="9416007" y="3618608"/>
            <a:ext cx="422924" cy="405453"/>
          </a:xfrm>
          <a:prstGeom prst="line">
            <a:avLst/>
          </a:prstGeom>
          <a:solidFill>
            <a:schemeClr val="accent1"/>
          </a:solidFill>
          <a:ln w="31750" cap="flat" cmpd="sng" algn="ctr">
            <a:solidFill>
              <a:schemeClr val="tx1"/>
            </a:solidFill>
            <a:prstDash val="solid"/>
            <a:round/>
            <a:headEnd type="none" w="med" len="med"/>
            <a:tailEnd type="none" w="med" len="med"/>
          </a:ln>
          <a:effectLst/>
        </p:spPr>
      </p:cxnSp>
      <p:cxnSp>
        <p:nvCxnSpPr>
          <p:cNvPr id="162" name="Straight Connector 161"/>
          <p:cNvCxnSpPr>
            <a:cxnSpLocks/>
          </p:cNvCxnSpPr>
          <p:nvPr/>
        </p:nvCxnSpPr>
        <p:spPr bwMode="auto">
          <a:xfrm>
            <a:off x="10394103" y="3639311"/>
            <a:ext cx="409084" cy="315248"/>
          </a:xfrm>
          <a:prstGeom prst="line">
            <a:avLst/>
          </a:prstGeom>
          <a:solidFill>
            <a:schemeClr val="accent1"/>
          </a:solidFill>
          <a:ln w="31750" cap="flat" cmpd="sng" algn="ctr">
            <a:solidFill>
              <a:schemeClr val="tx1"/>
            </a:solidFill>
            <a:prstDash val="solid"/>
            <a:round/>
            <a:headEnd type="none" w="med" len="med"/>
            <a:tailEnd type="none" w="med" len="med"/>
          </a:ln>
          <a:effectLst/>
        </p:spPr>
      </p:cxnSp>
      <p:sp>
        <p:nvSpPr>
          <p:cNvPr id="163" name="Rectangle: Rounded Corners 162"/>
          <p:cNvSpPr/>
          <p:nvPr/>
        </p:nvSpPr>
        <p:spPr bwMode="auto">
          <a:xfrm>
            <a:off x="4013943" y="5723820"/>
            <a:ext cx="3660841" cy="785861"/>
          </a:xfrm>
          <a:prstGeom prst="roundRec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600">
                <a:latin typeface="Segoe UI" panose="020B0502040204020203" pitchFamily="34" charset="0"/>
                <a:ea typeface="Segoe UI" panose="020B0502040204020203" pitchFamily="34" charset="0"/>
                <a:cs typeface="Segoe UI" panose="020B0502040204020203" pitchFamily="34" charset="0"/>
              </a:rPr>
              <a:t>No new IMS registration</a:t>
            </a:r>
            <a:br>
              <a:rPr lang="en-US" sz="1600">
                <a:latin typeface="Segoe UI" panose="020B0502040204020203" pitchFamily="34" charset="0"/>
                <a:ea typeface="Segoe UI" panose="020B0502040204020203" pitchFamily="34" charset="0"/>
                <a:cs typeface="Segoe UI" panose="020B0502040204020203" pitchFamily="34" charset="0"/>
              </a:rPr>
            </a:br>
            <a:r>
              <a:rPr lang="en-US" sz="1600">
                <a:latin typeface="Segoe UI" panose="020B0502040204020203" pitchFamily="34" charset="0"/>
                <a:ea typeface="Segoe UI" panose="020B0502040204020203" pitchFamily="34" charset="0"/>
                <a:cs typeface="Segoe UI" panose="020B0502040204020203" pitchFamily="34" charset="0"/>
              </a:rPr>
              <a:t>No seamless voice call continuity</a:t>
            </a:r>
          </a:p>
        </p:txBody>
      </p:sp>
      <p:sp>
        <p:nvSpPr>
          <p:cNvPr id="164" name="Rectangle: Rounded Corners 163"/>
          <p:cNvSpPr/>
          <p:nvPr/>
        </p:nvSpPr>
        <p:spPr bwMode="auto">
          <a:xfrm>
            <a:off x="8368866" y="5715800"/>
            <a:ext cx="3605420" cy="760573"/>
          </a:xfrm>
          <a:prstGeom prst="roundRec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600">
                <a:latin typeface="Segoe UI" panose="020B0502040204020203" pitchFamily="34" charset="0"/>
                <a:ea typeface="Segoe UI" panose="020B0502040204020203" pitchFamily="34" charset="0"/>
                <a:cs typeface="Segoe UI" panose="020B0502040204020203" pitchFamily="34" charset="0"/>
              </a:rPr>
              <a:t>No new IMS registration </a:t>
            </a:r>
            <a:br>
              <a:rPr lang="en-US" sz="1600">
                <a:latin typeface="Segoe UI" panose="020B0502040204020203" pitchFamily="34" charset="0"/>
                <a:ea typeface="Segoe UI" panose="020B0502040204020203" pitchFamily="34" charset="0"/>
                <a:cs typeface="Segoe UI" panose="020B0502040204020203" pitchFamily="34" charset="0"/>
              </a:rPr>
            </a:br>
            <a:r>
              <a:rPr lang="en-US" sz="1600">
                <a:latin typeface="Segoe UI" panose="020B0502040204020203" pitchFamily="34" charset="0"/>
                <a:ea typeface="Segoe UI" panose="020B0502040204020203" pitchFamily="34" charset="0"/>
                <a:cs typeface="Segoe UI" panose="020B0502040204020203" pitchFamily="34" charset="0"/>
              </a:rPr>
              <a:t>Seamless voice call continuity </a:t>
            </a:r>
            <a:br>
              <a:rPr lang="en-US" sz="1600">
                <a:latin typeface="Segoe UI" panose="020B0502040204020203" pitchFamily="34" charset="0"/>
                <a:ea typeface="Segoe UI" panose="020B0502040204020203" pitchFamily="34" charset="0"/>
                <a:cs typeface="Segoe UI" panose="020B0502040204020203" pitchFamily="34" charset="0"/>
              </a:rPr>
            </a:br>
            <a:endParaRPr lang="en-US" sz="1600">
              <a:latin typeface="Segoe UI" panose="020B0502040204020203" pitchFamily="34" charset="0"/>
              <a:ea typeface="Segoe UI" panose="020B0502040204020203" pitchFamily="34" charset="0"/>
              <a:cs typeface="Segoe UI" panose="020B0502040204020203" pitchFamily="34" charset="0"/>
            </a:endParaRPr>
          </a:p>
        </p:txBody>
      </p:sp>
      <p:sp>
        <p:nvSpPr>
          <p:cNvPr id="165" name="Text Box 144"/>
          <p:cNvSpPr txBox="1">
            <a:spLocks noChangeAspect="1" noChangeArrowheads="1"/>
          </p:cNvSpPr>
          <p:nvPr/>
        </p:nvSpPr>
        <p:spPr bwMode="auto">
          <a:xfrm>
            <a:off x="9598068" y="3788618"/>
            <a:ext cx="992350" cy="34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dirty="0">
                <a:ln>
                  <a:noFill/>
                </a:ln>
                <a:effectLst/>
                <a:uLnTx/>
                <a:uFillTx/>
                <a:latin typeface="Arial" charset="0"/>
                <a:ea typeface="MS PGothic" charset="-128"/>
              </a:rPr>
              <a:t>N26/</a:t>
            </a:r>
            <a:br>
              <a:rPr kumimoji="0" lang="en-US" altLang="en-US" sz="1400" b="0" i="0" u="none" strike="noStrike" kern="0" cap="none" spc="0" normalizeH="0" baseline="0" dirty="0">
                <a:ln>
                  <a:noFill/>
                </a:ln>
                <a:effectLst/>
                <a:uLnTx/>
                <a:uFillTx/>
                <a:latin typeface="Arial" charset="0"/>
                <a:ea typeface="MS PGothic" charset="-128"/>
              </a:rPr>
            </a:br>
            <a:r>
              <a:rPr kumimoji="0" lang="en-US" altLang="en-US" sz="1400" b="0" i="0" u="none" strike="noStrike" kern="0" cap="none" spc="0" normalizeH="0" baseline="0" dirty="0">
                <a:ln>
                  <a:noFill/>
                </a:ln>
                <a:effectLst/>
                <a:uLnTx/>
                <a:uFillTx/>
                <a:latin typeface="Arial" charset="0"/>
                <a:ea typeface="MS PGothic" charset="-128"/>
              </a:rPr>
              <a:t>S10</a:t>
            </a:r>
          </a:p>
        </p:txBody>
      </p:sp>
      <p:cxnSp>
        <p:nvCxnSpPr>
          <p:cNvPr id="166" name="Straight Connector 165"/>
          <p:cNvCxnSpPr/>
          <p:nvPr/>
        </p:nvCxnSpPr>
        <p:spPr>
          <a:xfrm flipV="1">
            <a:off x="5093192" y="2632449"/>
            <a:ext cx="1697560" cy="329596"/>
          </a:xfrm>
          <a:prstGeom prst="line">
            <a:avLst/>
          </a:prstGeom>
          <a:ln w="28575">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a:off x="6682602" y="2620999"/>
            <a:ext cx="105212" cy="255099"/>
          </a:xfrm>
          <a:prstGeom prst="line">
            <a:avLst/>
          </a:prstGeom>
          <a:ln w="28575">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68" name="Group 167"/>
          <p:cNvGrpSpPr/>
          <p:nvPr/>
        </p:nvGrpSpPr>
        <p:grpSpPr>
          <a:xfrm>
            <a:off x="6763438" y="1963274"/>
            <a:ext cx="725086" cy="788078"/>
            <a:chOff x="4338871" y="2725624"/>
            <a:chExt cx="1199053" cy="1626215"/>
          </a:xfrm>
        </p:grpSpPr>
        <p:sp>
          <p:nvSpPr>
            <p:cNvPr id="16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7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7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7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200" kern="0"/>
                <a:t>UDM</a:t>
              </a:r>
              <a:br>
                <a:rPr lang="en-US" altLang="en-US" sz="1200" kern="0"/>
              </a:br>
              <a:r>
                <a:rPr lang="en-US" altLang="en-US" sz="1200" kern="0"/>
                <a:t>HSS</a:t>
              </a:r>
              <a:endParaRPr kumimoji="0" lang="en-US" altLang="en-US" sz="1200" b="0" i="0" u="none" strike="noStrike" kern="0" cap="none" spc="0" normalizeH="0" baseline="0">
                <a:ln>
                  <a:noFill/>
                </a:ln>
                <a:solidFill>
                  <a:schemeClr val="tx1"/>
                </a:solidFill>
                <a:effectLst/>
                <a:uLnTx/>
                <a:uFillTx/>
                <a:latin typeface="Arial" charset="0"/>
                <a:ea typeface="MS PGothic" charset="-128"/>
              </a:endParaRPr>
            </a:p>
          </p:txBody>
        </p:sp>
        <p:sp>
          <p:nvSpPr>
            <p:cNvPr id="17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7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grpSp>
      <p:cxnSp>
        <p:nvCxnSpPr>
          <p:cNvPr id="175" name="Straight Connector 174"/>
          <p:cNvCxnSpPr/>
          <p:nvPr/>
        </p:nvCxnSpPr>
        <p:spPr>
          <a:xfrm flipV="1">
            <a:off x="9356781" y="2550969"/>
            <a:ext cx="1697560" cy="329596"/>
          </a:xfrm>
          <a:prstGeom prst="line">
            <a:avLst/>
          </a:prstGeom>
          <a:ln w="28575">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H="1">
            <a:off x="10946191" y="2539519"/>
            <a:ext cx="105212" cy="255099"/>
          </a:xfrm>
          <a:prstGeom prst="line">
            <a:avLst/>
          </a:prstGeom>
          <a:ln w="28575">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7" name="Group 176"/>
          <p:cNvGrpSpPr/>
          <p:nvPr/>
        </p:nvGrpSpPr>
        <p:grpSpPr>
          <a:xfrm>
            <a:off x="11027026" y="1852309"/>
            <a:ext cx="687394" cy="817563"/>
            <a:chOff x="4338871" y="2725624"/>
            <a:chExt cx="1199053" cy="1626215"/>
          </a:xfrm>
        </p:grpSpPr>
        <p:sp>
          <p:nvSpPr>
            <p:cNvPr id="17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7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80"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81"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200" kern="0"/>
                <a:t>UDM</a:t>
              </a:r>
              <a:br>
                <a:rPr lang="en-US" altLang="en-US" sz="1200" kern="0"/>
              </a:br>
              <a:r>
                <a:rPr lang="en-US" altLang="en-US" sz="1200" kern="0"/>
                <a:t>HSS</a:t>
              </a:r>
              <a:endParaRPr kumimoji="0" lang="en-US" altLang="en-US" sz="1200" b="0" i="0" u="none" strike="noStrike" kern="0" cap="none" spc="0" normalizeH="0" baseline="0">
                <a:ln>
                  <a:noFill/>
                </a:ln>
                <a:solidFill>
                  <a:schemeClr val="tx1"/>
                </a:solidFill>
                <a:effectLst/>
                <a:uLnTx/>
                <a:uFillTx/>
                <a:latin typeface="Arial" charset="0"/>
                <a:ea typeface="MS PGothic" charset="-128"/>
              </a:endParaRPr>
            </a:p>
          </p:txBody>
        </p:sp>
        <p:sp>
          <p:nvSpPr>
            <p:cNvPr id="182"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0" i="0" u="none" strike="noStrike" kern="0" cap="none" spc="0" normalizeH="0" baseline="0">
                <a:ln>
                  <a:noFill/>
                </a:ln>
                <a:solidFill>
                  <a:schemeClr val="tx1"/>
                </a:solidFill>
                <a:effectLst/>
                <a:uLnTx/>
                <a:uFillTx/>
                <a:latin typeface="Arial" charset="0"/>
                <a:ea typeface="MS PGothic" charset="-128"/>
              </a:endParaRPr>
            </a:p>
          </p:txBody>
        </p:sp>
        <p:sp>
          <p:nvSpPr>
            <p:cNvPr id="183"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grpSp>
      <p:grpSp>
        <p:nvGrpSpPr>
          <p:cNvPr id="184" name="Group 183"/>
          <p:cNvGrpSpPr/>
          <p:nvPr/>
        </p:nvGrpSpPr>
        <p:grpSpPr>
          <a:xfrm>
            <a:off x="9744852" y="2618882"/>
            <a:ext cx="717355" cy="1020429"/>
            <a:chOff x="5741038" y="1103598"/>
            <a:chExt cx="946438" cy="1670293"/>
          </a:xfrm>
        </p:grpSpPr>
        <p:sp>
          <p:nvSpPr>
            <p:cNvPr id="185" name="AutoShape 172"/>
            <p:cNvSpPr>
              <a:spLocks noChangeAspect="1" noChangeArrowheads="1"/>
            </p:cNvSpPr>
            <p:nvPr/>
          </p:nvSpPr>
          <p:spPr bwMode="auto">
            <a:xfrm>
              <a:off x="5862412" y="1776442"/>
              <a:ext cx="722819" cy="754230"/>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86" name="Oval 173"/>
            <p:cNvSpPr>
              <a:spLocks noChangeAspect="1" noChangeArrowheads="1"/>
            </p:cNvSpPr>
            <p:nvPr/>
          </p:nvSpPr>
          <p:spPr bwMode="auto">
            <a:xfrm>
              <a:off x="5858282" y="1485878"/>
              <a:ext cx="726950" cy="731561"/>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87" name="Text Box 174"/>
            <p:cNvSpPr txBox="1">
              <a:spLocks noChangeAspect="1" noChangeArrowheads="1"/>
            </p:cNvSpPr>
            <p:nvPr/>
          </p:nvSpPr>
          <p:spPr bwMode="auto">
            <a:xfrm>
              <a:off x="5842166" y="2206230"/>
              <a:ext cx="777427" cy="533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lnSpc>
                  <a:spcPct val="80000"/>
                </a:lnSpc>
              </a:pPr>
              <a:r>
                <a:rPr lang="en-US" altLang="en-US" sz="1050" b="1" dirty="0">
                  <a:solidFill>
                    <a:srgbClr val="8F3F7B"/>
                  </a:solidFill>
                  <a:latin typeface="Segoe UI" panose="020B0502040204020203" pitchFamily="34" charset="0"/>
                  <a:ea typeface="Segoe UI" panose="020B0502040204020203" pitchFamily="34" charset="0"/>
                  <a:cs typeface="Segoe UI" panose="020B0502040204020203" pitchFamily="34" charset="0"/>
                </a:rPr>
                <a:t>SMF/UPF/PGW</a:t>
              </a:r>
              <a:endParaRPr lang="en-US" altLang="en-US" sz="1050" b="1" dirty="0">
                <a:solidFill>
                  <a:srgbClr val="FFC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88" name="Rectangle 175"/>
            <p:cNvSpPr>
              <a:spLocks noChangeAspect="1" noChangeArrowheads="1"/>
            </p:cNvSpPr>
            <p:nvPr/>
          </p:nvSpPr>
          <p:spPr bwMode="auto">
            <a:xfrm>
              <a:off x="5847956" y="1471453"/>
              <a:ext cx="749667" cy="10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endParaRPr lang="en-US" altLang="en-US" sz="700" b="1">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10"/>
            <p:cNvSpPr>
              <a:spLocks noChangeAspect="1" noEditPoints="1"/>
            </p:cNvSpPr>
            <p:nvPr/>
          </p:nvSpPr>
          <p:spPr bwMode="auto">
            <a:xfrm>
              <a:off x="5776307" y="1471453"/>
              <a:ext cx="911169" cy="1302438"/>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sp>
          <p:nvSpPr>
            <p:cNvPr id="190" name="TextBox 189"/>
            <p:cNvSpPr txBox="1"/>
            <p:nvPr/>
          </p:nvSpPr>
          <p:spPr>
            <a:xfrm>
              <a:off x="5741038" y="1103598"/>
              <a:ext cx="243724" cy="554163"/>
            </a:xfrm>
            <a:prstGeom prst="rect">
              <a:avLst/>
            </a:prstGeom>
            <a:noFill/>
          </p:spPr>
          <p:txBody>
            <a:bodyPr wrap="none" rtlCol="0">
              <a:spAutoFit/>
            </a:bodyPr>
            <a:lstStyle/>
            <a:p>
              <a:endParaRPr lang="en-US" sz="1600" b="1">
                <a:latin typeface="Segoe UI" panose="020B0502040204020203" pitchFamily="34" charset="0"/>
                <a:ea typeface="Segoe UI" panose="020B0502040204020203" pitchFamily="34" charset="0"/>
                <a:cs typeface="Segoe UI" panose="020B0502040204020203" pitchFamily="34" charset="0"/>
              </a:endParaRPr>
            </a:p>
          </p:txBody>
        </p:sp>
      </p:grpSp>
      <p:cxnSp>
        <p:nvCxnSpPr>
          <p:cNvPr id="191" name="Straight Connector 190"/>
          <p:cNvCxnSpPr>
            <a:cxnSpLocks/>
          </p:cNvCxnSpPr>
          <p:nvPr/>
        </p:nvCxnSpPr>
        <p:spPr bwMode="auto">
          <a:xfrm flipV="1">
            <a:off x="10102821" y="2768038"/>
            <a:ext cx="0" cy="115060"/>
          </a:xfrm>
          <a:prstGeom prst="line">
            <a:avLst/>
          </a:prstGeom>
          <a:solidFill>
            <a:schemeClr val="accent1"/>
          </a:solidFill>
          <a:ln w="317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158706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163" grpId="0" animBg="1"/>
      <p:bldP spid="164" grpId="0" animBg="1"/>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bwMode="auto">
          <a:xfrm>
            <a:off x="4141114" y="3592449"/>
            <a:ext cx="3564766" cy="3075830"/>
          </a:xfrm>
          <a:prstGeom prst="rect">
            <a:avLst/>
          </a:prstGeom>
          <a:solidFill>
            <a:srgbClr val="0070C0">
              <a:alpha val="2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112" name="Rectangle 111"/>
          <p:cNvSpPr/>
          <p:nvPr/>
        </p:nvSpPr>
        <p:spPr bwMode="auto">
          <a:xfrm>
            <a:off x="4161246" y="2159539"/>
            <a:ext cx="3585362" cy="1325390"/>
          </a:xfrm>
          <a:prstGeom prst="rect">
            <a:avLst/>
          </a:prstGeom>
          <a:solidFill>
            <a:srgbClr val="FFC000">
              <a:alpha val="2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normAutofit/>
          </a:bodyPr>
          <a:lstStyle/>
          <a:p>
            <a:r>
              <a:rPr lang="en-US" sz="4000" dirty="0"/>
              <a:t>5GC and EPC tight interworking</a:t>
            </a:r>
            <a:br>
              <a:rPr lang="en-US" sz="4000" dirty="0"/>
            </a:br>
            <a:endParaRPr lang="en-US" sz="2800" dirty="0">
              <a:solidFill>
                <a:schemeClr val="tx2">
                  <a:lumMod val="75000"/>
                  <a:lumOff val="25000"/>
                </a:schemeClr>
              </a:solidFill>
              <a:latin typeface="+mn-lt"/>
            </a:endParaRPr>
          </a:p>
        </p:txBody>
      </p:sp>
      <p:grpSp>
        <p:nvGrpSpPr>
          <p:cNvPr id="4" name="Group 3"/>
          <p:cNvGrpSpPr/>
          <p:nvPr/>
        </p:nvGrpSpPr>
        <p:grpSpPr>
          <a:xfrm>
            <a:off x="4910843" y="824939"/>
            <a:ext cx="4789343" cy="5916152"/>
            <a:chOff x="5278904" y="861484"/>
            <a:chExt cx="4789343" cy="5996516"/>
          </a:xfrm>
        </p:grpSpPr>
        <p:sp>
          <p:nvSpPr>
            <p:cNvPr id="5" name="Rectangle 4"/>
            <p:cNvSpPr/>
            <p:nvPr/>
          </p:nvSpPr>
          <p:spPr bwMode="auto">
            <a:xfrm>
              <a:off x="5278904" y="861484"/>
              <a:ext cx="4789343" cy="1235591"/>
            </a:xfrm>
            <a:prstGeom prst="rect">
              <a:avLst/>
            </a:prstGeom>
            <a:solidFill>
              <a:schemeClr val="accent1">
                <a:alpha val="2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6" name="Rectangle 5"/>
            <p:cNvSpPr/>
            <p:nvPr/>
          </p:nvSpPr>
          <p:spPr bwMode="auto">
            <a:xfrm>
              <a:off x="8226787" y="2097075"/>
              <a:ext cx="1841460" cy="4760925"/>
            </a:xfrm>
            <a:prstGeom prst="rect">
              <a:avLst/>
            </a:prstGeom>
            <a:solidFill>
              <a:schemeClr val="accent1">
                <a:alpha val="2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grpSp>
        <p:nvGrpSpPr>
          <p:cNvPr id="7" name="Group 6"/>
          <p:cNvGrpSpPr/>
          <p:nvPr/>
        </p:nvGrpSpPr>
        <p:grpSpPr>
          <a:xfrm>
            <a:off x="8371641" y="3823197"/>
            <a:ext cx="774025" cy="1016433"/>
            <a:chOff x="4338871" y="2725624"/>
            <a:chExt cx="1199053" cy="1626215"/>
          </a:xfrm>
        </p:grpSpPr>
        <p:sp>
          <p:nvSpPr>
            <p:cNvPr id="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1"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SMF/</a:t>
              </a:r>
              <a:b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PGW-C</a:t>
              </a:r>
            </a:p>
          </p:txBody>
        </p:sp>
        <p:sp>
          <p:nvSpPr>
            <p:cNvPr id="12"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3"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 name="Group 13"/>
          <p:cNvGrpSpPr/>
          <p:nvPr/>
        </p:nvGrpSpPr>
        <p:grpSpPr>
          <a:xfrm>
            <a:off x="8446272" y="5654781"/>
            <a:ext cx="699654" cy="976400"/>
            <a:chOff x="5979156" y="5040856"/>
            <a:chExt cx="1101600" cy="1587600"/>
          </a:xfrm>
        </p:grpSpPr>
        <p:cxnSp>
          <p:nvCxnSpPr>
            <p:cNvPr id="15" name="Straight Connector 14"/>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16"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7"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8"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H-UPF/</a:t>
              </a:r>
              <a:b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PGW-U</a:t>
              </a:r>
            </a:p>
          </p:txBody>
        </p:sp>
        <p:sp>
          <p:nvSpPr>
            <p:cNvPr id="19"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0"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1" name="Group 20"/>
          <p:cNvGrpSpPr/>
          <p:nvPr/>
        </p:nvGrpSpPr>
        <p:grpSpPr>
          <a:xfrm>
            <a:off x="4571130" y="3862786"/>
            <a:ext cx="774025" cy="1016433"/>
            <a:chOff x="4338871" y="2725624"/>
            <a:chExt cx="1199053" cy="1626215"/>
          </a:xfrm>
        </p:grpSpPr>
        <p:sp>
          <p:nvSpPr>
            <p:cNvPr id="2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800" kern="0" dirty="0"/>
                <a:t>A</a:t>
              </a: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MF</a:t>
              </a:r>
            </a:p>
          </p:txBody>
        </p:sp>
        <p:sp>
          <p:nvSpPr>
            <p:cNvPr id="2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2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8" name="Text Box 144"/>
          <p:cNvSpPr txBox="1">
            <a:spLocks noChangeAspect="1" noChangeArrowheads="1"/>
          </p:cNvSpPr>
          <p:nvPr/>
        </p:nvSpPr>
        <p:spPr bwMode="auto">
          <a:xfrm>
            <a:off x="6361222" y="464665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rPr>
              <a:t>N11</a:t>
            </a:r>
          </a:p>
        </p:txBody>
      </p:sp>
      <p:cxnSp>
        <p:nvCxnSpPr>
          <p:cNvPr id="29" name="Elbow Connector 59"/>
          <p:cNvCxnSpPr>
            <a:cxnSpLocks/>
            <a:stCxn id="34" idx="0"/>
          </p:cNvCxnSpPr>
          <p:nvPr/>
        </p:nvCxnSpPr>
        <p:spPr bwMode="auto">
          <a:xfrm rot="5400000" flipH="1" flipV="1">
            <a:off x="3346234" y="4476995"/>
            <a:ext cx="997366" cy="1472015"/>
          </a:xfrm>
          <a:prstGeom prst="bentConnector2">
            <a:avLst/>
          </a:prstGeom>
          <a:noFill/>
          <a:ln w="28575">
            <a:solidFill>
              <a:schemeClr val="bg1">
                <a:lumMod val="50000"/>
              </a:schemeClr>
            </a:solidFill>
            <a:prstDash val="dash"/>
            <a:round/>
            <a:headEnd/>
            <a:tailEnd/>
          </a:ln>
        </p:spPr>
      </p:cxnSp>
      <p:sp>
        <p:nvSpPr>
          <p:cNvPr id="30" name="Freeform 4"/>
          <p:cNvSpPr>
            <a:spLocks noChangeAspect="1" noEditPoints="1"/>
          </p:cNvSpPr>
          <p:nvPr/>
        </p:nvSpPr>
        <p:spPr bwMode="auto">
          <a:xfrm>
            <a:off x="1601744" y="3267072"/>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Text Box 144"/>
          <p:cNvSpPr txBox="1">
            <a:spLocks noChangeAspect="1" noChangeArrowheads="1"/>
          </p:cNvSpPr>
          <p:nvPr/>
        </p:nvSpPr>
        <p:spPr bwMode="auto">
          <a:xfrm>
            <a:off x="5495627" y="615611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N3</a:t>
            </a:r>
          </a:p>
        </p:txBody>
      </p:sp>
      <p:grpSp>
        <p:nvGrpSpPr>
          <p:cNvPr id="32" name="Group 31"/>
          <p:cNvGrpSpPr/>
          <p:nvPr/>
        </p:nvGrpSpPr>
        <p:grpSpPr>
          <a:xfrm>
            <a:off x="2727758" y="5699071"/>
            <a:ext cx="764409" cy="937085"/>
            <a:chOff x="936376" y="2900085"/>
            <a:chExt cx="864096" cy="1240668"/>
          </a:xfrm>
        </p:grpSpPr>
        <p:sp>
          <p:nvSpPr>
            <p:cNvPr id="33"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4"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5"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 5G RAN</a:t>
              </a:r>
            </a:p>
          </p:txBody>
        </p:sp>
        <p:sp>
          <p:nvSpPr>
            <p:cNvPr id="36"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7"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38" name="Elbow Connector 63"/>
          <p:cNvCxnSpPr>
            <a:cxnSpLocks/>
          </p:cNvCxnSpPr>
          <p:nvPr/>
        </p:nvCxnSpPr>
        <p:spPr bwMode="auto">
          <a:xfrm>
            <a:off x="2101305" y="3823197"/>
            <a:ext cx="2467866" cy="610464"/>
          </a:xfrm>
          <a:prstGeom prst="bentConnector3">
            <a:avLst>
              <a:gd name="adj1" fmla="val 50000"/>
            </a:avLst>
          </a:prstGeom>
          <a:noFill/>
          <a:ln w="28575">
            <a:solidFill>
              <a:schemeClr val="bg1">
                <a:lumMod val="50000"/>
              </a:schemeClr>
            </a:solidFill>
            <a:prstDash val="dash"/>
            <a:round/>
            <a:headEnd/>
            <a:tailEnd/>
          </a:ln>
        </p:spPr>
      </p:cxnSp>
      <p:sp>
        <p:nvSpPr>
          <p:cNvPr id="39" name="Text Box 144"/>
          <p:cNvSpPr txBox="1">
            <a:spLocks noChangeAspect="1" noChangeArrowheads="1"/>
          </p:cNvSpPr>
          <p:nvPr/>
        </p:nvSpPr>
        <p:spPr bwMode="auto">
          <a:xfrm>
            <a:off x="2191451" y="394823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rPr>
              <a:t>N1</a:t>
            </a:r>
          </a:p>
        </p:txBody>
      </p:sp>
      <p:sp>
        <p:nvSpPr>
          <p:cNvPr id="40" name="Text Box 144"/>
          <p:cNvSpPr txBox="1">
            <a:spLocks noChangeAspect="1" noChangeArrowheads="1"/>
          </p:cNvSpPr>
          <p:nvPr/>
        </p:nvSpPr>
        <p:spPr bwMode="auto">
          <a:xfrm>
            <a:off x="2894086" y="520367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rPr>
              <a:t>N2</a:t>
            </a:r>
          </a:p>
        </p:txBody>
      </p:sp>
      <p:sp>
        <p:nvSpPr>
          <p:cNvPr id="41" name="Text Box 144"/>
          <p:cNvSpPr txBox="1">
            <a:spLocks noChangeAspect="1" noChangeArrowheads="1"/>
          </p:cNvSpPr>
          <p:nvPr/>
        </p:nvSpPr>
        <p:spPr bwMode="auto">
          <a:xfrm>
            <a:off x="9601394" y="621625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N6/</a:t>
            </a:r>
            <a:r>
              <a:rPr kumimoji="0" lang="en-US" altLang="en-US" sz="1400" b="0" i="0" u="none" strike="noStrike" kern="0" cap="none" spc="0" normalizeH="0" baseline="0" noProof="0" dirty="0" err="1">
                <a:ln>
                  <a:noFill/>
                </a:ln>
                <a:solidFill>
                  <a:schemeClr val="tx1"/>
                </a:solidFill>
                <a:effectLst/>
                <a:uLnTx/>
                <a:uFillTx/>
                <a:latin typeface="Arial" charset="0"/>
                <a:ea typeface="MS PGothic" charset="-128"/>
              </a:rPr>
              <a:t>Gi</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42" name="Text Box 144"/>
          <p:cNvSpPr txBox="1">
            <a:spLocks noChangeAspect="1" noChangeArrowheads="1"/>
          </p:cNvSpPr>
          <p:nvPr/>
        </p:nvSpPr>
        <p:spPr bwMode="auto">
          <a:xfrm>
            <a:off x="8703239" y="522234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rPr>
              <a:t>N4</a:t>
            </a:r>
          </a:p>
        </p:txBody>
      </p:sp>
      <p:grpSp>
        <p:nvGrpSpPr>
          <p:cNvPr id="43" name="Group 42"/>
          <p:cNvGrpSpPr/>
          <p:nvPr/>
        </p:nvGrpSpPr>
        <p:grpSpPr>
          <a:xfrm>
            <a:off x="4571130" y="2158214"/>
            <a:ext cx="774025" cy="1016433"/>
            <a:chOff x="4338871" y="2725624"/>
            <a:chExt cx="1199053" cy="1626215"/>
          </a:xfrm>
        </p:grpSpPr>
        <p:sp>
          <p:nvSpPr>
            <p:cNvPr id="4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4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4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4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MME</a:t>
              </a:r>
            </a:p>
          </p:txBody>
        </p:sp>
        <p:sp>
          <p:nvSpPr>
            <p:cNvPr id="4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4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0" name="Group 49"/>
          <p:cNvGrpSpPr/>
          <p:nvPr/>
        </p:nvGrpSpPr>
        <p:grpSpPr>
          <a:xfrm>
            <a:off x="2865320" y="2234722"/>
            <a:ext cx="764409" cy="937085"/>
            <a:chOff x="936376" y="2900085"/>
            <a:chExt cx="864096" cy="1240668"/>
          </a:xfrm>
        </p:grpSpPr>
        <p:sp>
          <p:nvSpPr>
            <p:cNvPr id="51"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52"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53"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LTE</a:t>
              </a:r>
              <a:b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br>
              <a:r>
                <a:rPr kumimoji="0" lang="en-US" altLang="en-US" sz="16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RAN</a:t>
              </a:r>
            </a:p>
          </p:txBody>
        </p:sp>
        <p:sp>
          <p:nvSpPr>
            <p:cNvPr id="54"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55"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cxnSp>
        <p:nvCxnSpPr>
          <p:cNvPr id="56" name="Elbow Connector 59"/>
          <p:cNvCxnSpPr>
            <a:cxnSpLocks/>
            <a:endCxn id="47" idx="1"/>
          </p:cNvCxnSpPr>
          <p:nvPr/>
        </p:nvCxnSpPr>
        <p:spPr bwMode="auto">
          <a:xfrm>
            <a:off x="3622037" y="2909316"/>
            <a:ext cx="982396" cy="3617"/>
          </a:xfrm>
          <a:prstGeom prst="bentConnector3">
            <a:avLst>
              <a:gd name="adj1" fmla="val 50000"/>
            </a:avLst>
          </a:prstGeom>
          <a:noFill/>
          <a:ln w="28575">
            <a:solidFill>
              <a:schemeClr val="bg1">
                <a:lumMod val="50000"/>
              </a:schemeClr>
            </a:solidFill>
            <a:prstDash val="dash"/>
            <a:round/>
            <a:headEnd/>
            <a:tailEnd/>
          </a:ln>
        </p:spPr>
      </p:cxnSp>
      <p:grpSp>
        <p:nvGrpSpPr>
          <p:cNvPr id="57" name="Group 56"/>
          <p:cNvGrpSpPr/>
          <p:nvPr/>
        </p:nvGrpSpPr>
        <p:grpSpPr>
          <a:xfrm>
            <a:off x="8548960" y="5764691"/>
            <a:ext cx="699654" cy="976400"/>
            <a:chOff x="5979156" y="5040856"/>
            <a:chExt cx="1101600" cy="1587600"/>
          </a:xfrm>
        </p:grpSpPr>
        <p:cxnSp>
          <p:nvCxnSpPr>
            <p:cNvPr id="58" name="Straight Connector 57"/>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59"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0"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1"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UPF/</a:t>
              </a:r>
              <a:b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PGW-U</a:t>
              </a:r>
            </a:p>
          </p:txBody>
        </p:sp>
        <p:sp>
          <p:nvSpPr>
            <p:cNvPr id="62"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3"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4" name="Group 63"/>
          <p:cNvGrpSpPr/>
          <p:nvPr/>
        </p:nvGrpSpPr>
        <p:grpSpPr>
          <a:xfrm>
            <a:off x="8567145" y="3956401"/>
            <a:ext cx="774025" cy="1016433"/>
            <a:chOff x="4338871" y="2725624"/>
            <a:chExt cx="1199053" cy="1626215"/>
          </a:xfrm>
        </p:grpSpPr>
        <p:sp>
          <p:nvSpPr>
            <p:cNvPr id="6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6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SMF/</a:t>
              </a:r>
              <a:b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200" b="0" i="0" u="none" strike="noStrike" kern="0" cap="none" spc="0" normalizeH="0" baseline="0" noProof="0" dirty="0">
                  <a:ln>
                    <a:noFill/>
                  </a:ln>
                  <a:solidFill>
                    <a:schemeClr val="tx1"/>
                  </a:solidFill>
                  <a:effectLst/>
                  <a:uLnTx/>
                  <a:uFillTx/>
                  <a:latin typeface="Arial" charset="0"/>
                  <a:ea typeface="MS PGothic" charset="-128"/>
                </a:rPr>
                <a:t>PGW-C</a:t>
              </a:r>
            </a:p>
          </p:txBody>
        </p:sp>
        <p:sp>
          <p:nvSpPr>
            <p:cNvPr id="6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1" name="Group 70"/>
          <p:cNvGrpSpPr/>
          <p:nvPr/>
        </p:nvGrpSpPr>
        <p:grpSpPr>
          <a:xfrm>
            <a:off x="6566063" y="2212341"/>
            <a:ext cx="774025" cy="1016433"/>
            <a:chOff x="4338871" y="2725624"/>
            <a:chExt cx="1199053" cy="1626215"/>
          </a:xfrm>
        </p:grpSpPr>
        <p:sp>
          <p:nvSpPr>
            <p:cNvPr id="7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charset="-128"/>
                </a:rPr>
                <a:t>S-GW</a:t>
              </a:r>
            </a:p>
          </p:txBody>
        </p:sp>
        <p:sp>
          <p:nvSpPr>
            <p:cNvPr id="7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7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78" name="Straight Connector 77"/>
          <p:cNvCxnSpPr>
            <a:cxnSpLocks/>
            <a:endCxn id="60" idx="0"/>
          </p:cNvCxnSpPr>
          <p:nvPr/>
        </p:nvCxnSpPr>
        <p:spPr bwMode="auto">
          <a:xfrm flipH="1">
            <a:off x="8897823" y="4924553"/>
            <a:ext cx="33280" cy="853282"/>
          </a:xfrm>
          <a:prstGeom prst="line">
            <a:avLst/>
          </a:prstGeom>
          <a:solidFill>
            <a:schemeClr val="accent1"/>
          </a:solidFill>
          <a:ln w="28575" cap="flat" cmpd="sng" algn="ctr">
            <a:solidFill>
              <a:schemeClr val="bg1">
                <a:lumMod val="50000"/>
              </a:schemeClr>
            </a:solidFill>
            <a:prstDash val="dash"/>
            <a:round/>
            <a:headEnd type="none" w="med" len="med"/>
            <a:tailEnd type="none" w="med" len="med"/>
          </a:ln>
          <a:effectLst/>
        </p:spPr>
      </p:cxnSp>
      <p:cxnSp>
        <p:nvCxnSpPr>
          <p:cNvPr id="79" name="Connector: Elbow 78"/>
          <p:cNvCxnSpPr>
            <a:cxnSpLocks/>
          </p:cNvCxnSpPr>
          <p:nvPr/>
        </p:nvCxnSpPr>
        <p:spPr bwMode="auto">
          <a:xfrm rot="10800000" flipV="1">
            <a:off x="2101305" y="3116780"/>
            <a:ext cx="2833866" cy="402457"/>
          </a:xfrm>
          <a:prstGeom prst="bentConnector3">
            <a:avLst>
              <a:gd name="adj1" fmla="val 474"/>
            </a:avLst>
          </a:prstGeom>
          <a:solidFill>
            <a:schemeClr val="accent1"/>
          </a:solidFill>
          <a:ln w="28575" cap="flat" cmpd="sng" algn="ctr">
            <a:solidFill>
              <a:schemeClr val="bg1">
                <a:lumMod val="50000"/>
              </a:schemeClr>
            </a:solidFill>
            <a:prstDash val="dash"/>
            <a:round/>
            <a:headEnd type="none" w="med" len="med"/>
            <a:tailEnd type="none" w="med" len="med"/>
          </a:ln>
          <a:effectLst/>
        </p:spPr>
      </p:cxnSp>
      <p:sp>
        <p:nvSpPr>
          <p:cNvPr id="80" name="Text Box 144"/>
          <p:cNvSpPr txBox="1">
            <a:spLocks noChangeAspect="1" noChangeArrowheads="1"/>
          </p:cNvSpPr>
          <p:nvPr/>
        </p:nvSpPr>
        <p:spPr bwMode="auto">
          <a:xfrm>
            <a:off x="7771773" y="314088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5-C</a:t>
            </a:r>
            <a:endParaRPr kumimoji="0" lang="en-US" altLang="en-US" sz="1400" b="0" i="0" u="none" strike="noStrike" kern="0" cap="none" spc="0" normalizeH="0" baseline="0" noProof="0" dirty="0">
              <a:ln>
                <a:noFill/>
              </a:ln>
              <a:solidFill>
                <a:schemeClr val="bg1">
                  <a:lumMod val="50000"/>
                </a:schemeClr>
              </a:solidFill>
              <a:effectLst/>
              <a:uLnTx/>
              <a:uFillTx/>
            </a:endParaRPr>
          </a:p>
        </p:txBody>
      </p:sp>
      <p:cxnSp>
        <p:nvCxnSpPr>
          <p:cNvPr id="81" name="Straight Connector 80"/>
          <p:cNvCxnSpPr>
            <a:cxnSpLocks/>
          </p:cNvCxnSpPr>
          <p:nvPr/>
        </p:nvCxnSpPr>
        <p:spPr>
          <a:xfrm>
            <a:off x="5270492" y="4553578"/>
            <a:ext cx="3270570" cy="11789"/>
          </a:xfrm>
          <a:prstGeom prst="line">
            <a:avLst/>
          </a:prstGeom>
          <a:noFill/>
          <a:ln w="28575">
            <a:solidFill>
              <a:schemeClr val="bg1">
                <a:lumMod val="50000"/>
              </a:schemeClr>
            </a:solidFill>
            <a:prstDash val="dash"/>
            <a:round/>
            <a:headEnd/>
            <a:tailEnd/>
          </a:ln>
        </p:spPr>
      </p:cxnSp>
      <p:cxnSp>
        <p:nvCxnSpPr>
          <p:cNvPr id="82" name="Straight Connector 81"/>
          <p:cNvCxnSpPr/>
          <p:nvPr/>
        </p:nvCxnSpPr>
        <p:spPr>
          <a:xfrm flipV="1">
            <a:off x="5282246" y="2887077"/>
            <a:ext cx="1283817" cy="24047"/>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cxnSpLocks/>
            <a:endCxn id="67" idx="0"/>
          </p:cNvCxnSpPr>
          <p:nvPr/>
        </p:nvCxnSpPr>
        <p:spPr>
          <a:xfrm>
            <a:off x="7331335" y="2821826"/>
            <a:ext cx="1590389" cy="1147933"/>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919662" y="3193189"/>
            <a:ext cx="1638935" cy="3141317"/>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5" name="Text Box 144"/>
          <p:cNvSpPr txBox="1">
            <a:spLocks noChangeAspect="1" noChangeArrowheads="1"/>
          </p:cNvSpPr>
          <p:nvPr/>
        </p:nvSpPr>
        <p:spPr bwMode="auto">
          <a:xfrm>
            <a:off x="7854129" y="5236880"/>
            <a:ext cx="992350" cy="172355"/>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5-U</a:t>
            </a:r>
            <a:endParaRPr kumimoji="0" lang="en-US" altLang="en-US" sz="1400" b="0" i="0" u="none" strike="noStrike" kern="0" cap="none" spc="0" normalizeH="0" baseline="0" noProof="0" dirty="0">
              <a:ln>
                <a:noFill/>
              </a:ln>
              <a:solidFill>
                <a:schemeClr val="bg1">
                  <a:lumMod val="50000"/>
                </a:schemeClr>
              </a:solidFill>
              <a:effectLst/>
              <a:uLnTx/>
              <a:uFillTx/>
            </a:endParaRPr>
          </a:p>
        </p:txBody>
      </p:sp>
      <p:cxnSp>
        <p:nvCxnSpPr>
          <p:cNvPr id="86" name="Straight Connector 85"/>
          <p:cNvCxnSpPr/>
          <p:nvPr/>
        </p:nvCxnSpPr>
        <p:spPr>
          <a:xfrm>
            <a:off x="3522078" y="6340970"/>
            <a:ext cx="5045580" cy="62902"/>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9248614" y="6420684"/>
            <a:ext cx="193213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8" name="Connector: Elbow 87"/>
          <p:cNvCxnSpPr>
            <a:cxnSpLocks/>
            <a:endCxn id="54" idx="2"/>
          </p:cNvCxnSpPr>
          <p:nvPr/>
        </p:nvCxnSpPr>
        <p:spPr bwMode="auto">
          <a:xfrm rot="10800000" flipV="1">
            <a:off x="3247525" y="3060199"/>
            <a:ext cx="3318538" cy="111608"/>
          </a:xfrm>
          <a:prstGeom prst="bentConnector4">
            <a:avLst>
              <a:gd name="adj1" fmla="val 31626"/>
              <a:gd name="adj2" fmla="val 245598"/>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cxnSp>
        <p:nvCxnSpPr>
          <p:cNvPr id="89" name="Straight Connector 88"/>
          <p:cNvCxnSpPr/>
          <p:nvPr/>
        </p:nvCxnSpPr>
        <p:spPr bwMode="auto">
          <a:xfrm>
            <a:off x="5153225" y="3127365"/>
            <a:ext cx="0" cy="748779"/>
          </a:xfrm>
          <a:prstGeom prst="line">
            <a:avLst/>
          </a:prstGeom>
          <a:solidFill>
            <a:schemeClr val="accent1"/>
          </a:solidFill>
          <a:ln w="38100" cap="flat" cmpd="sng" algn="ctr">
            <a:solidFill>
              <a:srgbClr val="00B0F0"/>
            </a:solidFill>
            <a:prstDash val="sysDot"/>
            <a:round/>
            <a:headEnd type="none" w="med" len="med"/>
            <a:tailEnd type="none" w="med" len="med"/>
          </a:ln>
          <a:effectLst/>
        </p:spPr>
      </p:cxnSp>
      <p:cxnSp>
        <p:nvCxnSpPr>
          <p:cNvPr id="90" name="Connector: Elbow 89"/>
          <p:cNvCxnSpPr>
            <a:cxnSpLocks/>
          </p:cNvCxnSpPr>
          <p:nvPr/>
        </p:nvCxnSpPr>
        <p:spPr bwMode="auto">
          <a:xfrm rot="5400000">
            <a:off x="5097723" y="2183900"/>
            <a:ext cx="795808" cy="435256"/>
          </a:xfrm>
          <a:prstGeom prst="bentConnector3">
            <a:avLst>
              <a:gd name="adj1" fmla="val 97005"/>
            </a:avLst>
          </a:prstGeom>
          <a:solidFill>
            <a:schemeClr val="accent1"/>
          </a:solidFill>
          <a:ln w="28575" cap="flat" cmpd="sng" algn="ctr">
            <a:solidFill>
              <a:schemeClr val="bg1">
                <a:lumMod val="50000"/>
              </a:schemeClr>
            </a:solidFill>
            <a:prstDash val="dash"/>
            <a:round/>
            <a:headEnd type="none" w="med" len="med"/>
            <a:tailEnd type="none" w="med" len="med"/>
          </a:ln>
          <a:effectLst/>
        </p:spPr>
      </p:cxnSp>
      <p:cxnSp>
        <p:nvCxnSpPr>
          <p:cNvPr id="91" name="Connector: Elbow 90"/>
          <p:cNvCxnSpPr/>
          <p:nvPr/>
        </p:nvCxnSpPr>
        <p:spPr bwMode="auto">
          <a:xfrm rot="5400000">
            <a:off x="4409235" y="2875269"/>
            <a:ext cx="2396320" cy="658793"/>
          </a:xfrm>
          <a:prstGeom prst="bentConnector3">
            <a:avLst>
              <a:gd name="adj1" fmla="val 99433"/>
            </a:avLst>
          </a:prstGeom>
          <a:solidFill>
            <a:schemeClr val="accent1"/>
          </a:solidFill>
          <a:ln w="28575" cap="flat" cmpd="sng" algn="ctr">
            <a:solidFill>
              <a:schemeClr val="bg1">
                <a:lumMod val="50000"/>
              </a:schemeClr>
            </a:solidFill>
            <a:prstDash val="dash"/>
            <a:round/>
            <a:headEnd type="none" w="med" len="med"/>
            <a:tailEnd type="none" w="med" len="med"/>
          </a:ln>
          <a:effectLst/>
        </p:spPr>
      </p:cxnSp>
      <p:cxnSp>
        <p:nvCxnSpPr>
          <p:cNvPr id="92" name="Connector: Elbow 91"/>
          <p:cNvCxnSpPr>
            <a:cxnSpLocks/>
            <a:endCxn id="70" idx="16"/>
          </p:cNvCxnSpPr>
          <p:nvPr/>
        </p:nvCxnSpPr>
        <p:spPr bwMode="auto">
          <a:xfrm>
            <a:off x="6210059" y="2003624"/>
            <a:ext cx="2398712" cy="2354650"/>
          </a:xfrm>
          <a:prstGeom prst="bentConnector3">
            <a:avLst>
              <a:gd name="adj1" fmla="val -746"/>
            </a:avLst>
          </a:prstGeom>
          <a:solidFill>
            <a:schemeClr val="accent1"/>
          </a:solidFill>
          <a:ln w="28575" cap="flat" cmpd="sng" algn="ctr">
            <a:solidFill>
              <a:schemeClr val="bg1">
                <a:lumMod val="50000"/>
              </a:schemeClr>
            </a:solidFill>
            <a:prstDash val="dash"/>
            <a:round/>
            <a:headEnd type="none" w="med" len="med"/>
            <a:tailEnd type="none" w="med" len="med"/>
          </a:ln>
          <a:effectLst/>
        </p:spPr>
      </p:cxnSp>
      <p:cxnSp>
        <p:nvCxnSpPr>
          <p:cNvPr id="93" name="Straight Connector 92"/>
          <p:cNvCxnSpPr>
            <a:cxnSpLocks/>
          </p:cNvCxnSpPr>
          <p:nvPr/>
        </p:nvCxnSpPr>
        <p:spPr bwMode="auto">
          <a:xfrm>
            <a:off x="8914463" y="2608480"/>
            <a:ext cx="0" cy="1347921"/>
          </a:xfrm>
          <a:prstGeom prst="line">
            <a:avLst/>
          </a:prstGeom>
          <a:solidFill>
            <a:schemeClr val="accent1"/>
          </a:solidFill>
          <a:ln w="28575" cap="flat" cmpd="sng" algn="ctr">
            <a:solidFill>
              <a:schemeClr val="bg1">
                <a:lumMod val="50000"/>
              </a:schemeClr>
            </a:solidFill>
            <a:prstDash val="dash"/>
            <a:round/>
            <a:headEnd type="none" w="med" len="med"/>
            <a:tailEnd type="none" w="med" len="med"/>
          </a:ln>
          <a:effectLst/>
        </p:spPr>
      </p:cxnSp>
      <p:sp>
        <p:nvSpPr>
          <p:cNvPr id="94" name="Text Box 144"/>
          <p:cNvSpPr txBox="1">
            <a:spLocks noChangeAspect="1" noChangeArrowheads="1"/>
          </p:cNvSpPr>
          <p:nvPr/>
        </p:nvSpPr>
        <p:spPr bwMode="auto">
          <a:xfrm>
            <a:off x="8609044" y="309126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rPr>
              <a:t>N7</a:t>
            </a:r>
          </a:p>
        </p:txBody>
      </p:sp>
      <p:sp>
        <p:nvSpPr>
          <p:cNvPr id="95" name="Text Box 144"/>
          <p:cNvSpPr txBox="1">
            <a:spLocks noChangeAspect="1" noChangeArrowheads="1"/>
          </p:cNvSpPr>
          <p:nvPr/>
        </p:nvSpPr>
        <p:spPr bwMode="auto">
          <a:xfrm>
            <a:off x="4826069" y="2575371"/>
            <a:ext cx="13334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6a</a:t>
            </a:r>
            <a:endParaRPr kumimoji="0" lang="en-US" altLang="en-US" sz="1400" b="0" i="0" u="none" strike="noStrike" kern="0" cap="none" spc="0" normalizeH="0" baseline="0" noProof="0" dirty="0">
              <a:ln>
                <a:noFill/>
              </a:ln>
              <a:solidFill>
                <a:schemeClr val="bg1">
                  <a:lumMod val="50000"/>
                </a:schemeClr>
              </a:solidFill>
              <a:effectLst/>
              <a:uLnTx/>
              <a:uFillTx/>
            </a:endParaRPr>
          </a:p>
        </p:txBody>
      </p:sp>
      <p:sp>
        <p:nvSpPr>
          <p:cNvPr id="96" name="Text Box 144"/>
          <p:cNvSpPr txBox="1">
            <a:spLocks noChangeAspect="1" noChangeArrowheads="1"/>
          </p:cNvSpPr>
          <p:nvPr/>
        </p:nvSpPr>
        <p:spPr bwMode="auto">
          <a:xfrm>
            <a:off x="5818025" y="4141183"/>
            <a:ext cx="13334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rPr>
              <a:t>N</a:t>
            </a:r>
            <a:r>
              <a:rPr lang="en-US" altLang="en-US" sz="1400" kern="0" dirty="0">
                <a:solidFill>
                  <a:schemeClr val="bg1">
                    <a:lumMod val="50000"/>
                  </a:schemeClr>
                </a:solidFill>
              </a:rPr>
              <a:t>10</a:t>
            </a:r>
            <a:endParaRPr kumimoji="0" lang="en-US" altLang="en-US" sz="1400" b="0" i="0" u="none" strike="noStrike" kern="0" cap="none" spc="0" normalizeH="0" baseline="0" noProof="0" dirty="0">
              <a:ln>
                <a:noFill/>
              </a:ln>
              <a:solidFill>
                <a:schemeClr val="bg1">
                  <a:lumMod val="50000"/>
                </a:schemeClr>
              </a:solidFill>
              <a:effectLst/>
              <a:uLnTx/>
              <a:uFillTx/>
            </a:endParaRPr>
          </a:p>
        </p:txBody>
      </p:sp>
      <p:sp>
        <p:nvSpPr>
          <p:cNvPr id="97" name="Text Box 144"/>
          <p:cNvSpPr txBox="1">
            <a:spLocks noChangeAspect="1" noChangeArrowheads="1"/>
          </p:cNvSpPr>
          <p:nvPr/>
        </p:nvSpPr>
        <p:spPr bwMode="auto">
          <a:xfrm>
            <a:off x="5014649" y="4149064"/>
            <a:ext cx="1333485"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lumMod val="50000"/>
                  </a:schemeClr>
                </a:solidFill>
                <a:effectLst/>
                <a:uLnTx/>
                <a:uFillTx/>
              </a:rPr>
              <a:t>N8</a:t>
            </a:r>
          </a:p>
        </p:txBody>
      </p:sp>
      <p:grpSp>
        <p:nvGrpSpPr>
          <p:cNvPr id="98" name="Group 97"/>
          <p:cNvGrpSpPr/>
          <p:nvPr/>
        </p:nvGrpSpPr>
        <p:grpSpPr>
          <a:xfrm>
            <a:off x="5594259" y="1010837"/>
            <a:ext cx="774025" cy="1016433"/>
            <a:chOff x="4338871" y="2725624"/>
            <a:chExt cx="1199053" cy="1626215"/>
          </a:xfrm>
        </p:grpSpPr>
        <p:sp>
          <p:nvSpPr>
            <p:cNvPr id="9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t>UDM/</a:t>
              </a:r>
              <a:br>
                <a:rPr lang="en-US" altLang="en-US" sz="1400" kern="0" dirty="0"/>
              </a:br>
              <a:r>
                <a:rPr lang="en-US" altLang="en-US" sz="1400" kern="0" dirty="0"/>
                <a:t>HSS</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10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5" name="Group 104"/>
          <p:cNvGrpSpPr/>
          <p:nvPr/>
        </p:nvGrpSpPr>
        <p:grpSpPr>
          <a:xfrm>
            <a:off x="8555062" y="1608617"/>
            <a:ext cx="774025" cy="1016433"/>
            <a:chOff x="4338871" y="2725624"/>
            <a:chExt cx="1199053" cy="1626215"/>
          </a:xfrm>
        </p:grpSpPr>
        <p:sp>
          <p:nvSpPr>
            <p:cNvPr id="10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0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t>PCF/</a:t>
              </a:r>
              <a:br>
                <a:rPr lang="en-US" altLang="en-US" sz="1400" kern="0" dirty="0"/>
              </a:br>
              <a:r>
                <a:rPr lang="en-US" altLang="en-US" sz="1400" kern="0" dirty="0"/>
                <a:t>PCRF</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11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900" b="0" i="0" u="none" strike="noStrike" kern="0" cap="none" spc="0" normalizeH="0" baseline="0" noProof="0">
                <a:ln>
                  <a:noFill/>
                </a:ln>
                <a:solidFill>
                  <a:schemeClr val="tx1"/>
                </a:solidFill>
                <a:effectLst/>
                <a:uLnTx/>
                <a:uFillTx/>
                <a:latin typeface="Arial" charset="0"/>
                <a:ea typeface="MS PGothic" charset="-128"/>
              </a:endParaRPr>
            </a:p>
          </p:txBody>
        </p:sp>
        <p:sp>
          <p:nvSpPr>
            <p:cNvPr id="11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13" name="TextBox 112"/>
          <p:cNvSpPr txBox="1"/>
          <p:nvPr/>
        </p:nvSpPr>
        <p:spPr>
          <a:xfrm>
            <a:off x="3677630" y="1565500"/>
            <a:ext cx="713657" cy="400110"/>
          </a:xfrm>
          <a:prstGeom prst="rect">
            <a:avLst/>
          </a:prstGeom>
          <a:noFill/>
        </p:spPr>
        <p:txBody>
          <a:bodyPr wrap="none" rtlCol="0">
            <a:spAutoFit/>
          </a:bodyPr>
          <a:lstStyle/>
          <a:p>
            <a:r>
              <a:rPr lang="en-US" dirty="0"/>
              <a:t>EPC</a:t>
            </a:r>
          </a:p>
        </p:txBody>
      </p:sp>
      <p:cxnSp>
        <p:nvCxnSpPr>
          <p:cNvPr id="114" name="Straight Connector 113"/>
          <p:cNvCxnSpPr>
            <a:stCxn id="113" idx="2"/>
          </p:cNvCxnSpPr>
          <p:nvPr/>
        </p:nvCxnSpPr>
        <p:spPr bwMode="auto">
          <a:xfrm>
            <a:off x="4034459" y="1965610"/>
            <a:ext cx="356828" cy="397725"/>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15" name="TextBox 114"/>
          <p:cNvSpPr txBox="1"/>
          <p:nvPr/>
        </p:nvSpPr>
        <p:spPr>
          <a:xfrm>
            <a:off x="4275633" y="5248274"/>
            <a:ext cx="712054" cy="400110"/>
          </a:xfrm>
          <a:prstGeom prst="rect">
            <a:avLst/>
          </a:prstGeom>
          <a:noFill/>
        </p:spPr>
        <p:txBody>
          <a:bodyPr wrap="none" rtlCol="0">
            <a:spAutoFit/>
          </a:bodyPr>
          <a:lstStyle/>
          <a:p>
            <a:r>
              <a:rPr lang="en-US" dirty="0"/>
              <a:t>5GC</a:t>
            </a:r>
          </a:p>
        </p:txBody>
      </p:sp>
      <p:sp>
        <p:nvSpPr>
          <p:cNvPr id="116" name="TextBox 115"/>
          <p:cNvSpPr txBox="1"/>
          <p:nvPr/>
        </p:nvSpPr>
        <p:spPr>
          <a:xfrm>
            <a:off x="6698639" y="876747"/>
            <a:ext cx="1531188" cy="400110"/>
          </a:xfrm>
          <a:prstGeom prst="rect">
            <a:avLst/>
          </a:prstGeom>
          <a:noFill/>
        </p:spPr>
        <p:txBody>
          <a:bodyPr wrap="none" rtlCol="0">
            <a:spAutoFit/>
          </a:bodyPr>
          <a:lstStyle/>
          <a:p>
            <a:r>
              <a:rPr lang="en-US" dirty="0"/>
              <a:t>EPC + 5GC</a:t>
            </a:r>
          </a:p>
        </p:txBody>
      </p:sp>
      <p:sp>
        <p:nvSpPr>
          <p:cNvPr id="117" name="Text Box 144"/>
          <p:cNvSpPr txBox="1">
            <a:spLocks noChangeAspect="1" noChangeArrowheads="1"/>
          </p:cNvSpPr>
          <p:nvPr/>
        </p:nvSpPr>
        <p:spPr bwMode="auto">
          <a:xfrm>
            <a:off x="4910843" y="3445752"/>
            <a:ext cx="992350"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600" b="0" i="0" u="none" strike="noStrike" kern="0" cap="none" spc="0" normalizeH="0" baseline="0" noProof="0" dirty="0">
                <a:ln>
                  <a:noFill/>
                </a:ln>
                <a:effectLst/>
                <a:uLnTx/>
                <a:uFillTx/>
                <a:latin typeface="Arial" charset="0"/>
                <a:ea typeface="MS PGothic" charset="-128"/>
              </a:rPr>
              <a:t>N26/</a:t>
            </a:r>
            <a:br>
              <a:rPr kumimoji="0" lang="en-US" altLang="en-US" sz="1600" b="0" i="0" u="none" strike="noStrike" kern="0" cap="none" spc="0" normalizeH="0" baseline="0" noProof="0" dirty="0">
                <a:ln>
                  <a:noFill/>
                </a:ln>
                <a:effectLst/>
                <a:uLnTx/>
                <a:uFillTx/>
                <a:latin typeface="Arial" charset="0"/>
                <a:ea typeface="MS PGothic" charset="-128"/>
              </a:rPr>
            </a:br>
            <a:r>
              <a:rPr kumimoji="0" lang="en-US" altLang="en-US" sz="1600" b="0" i="0" u="none" strike="noStrike" kern="0" cap="none" spc="0" normalizeH="0" baseline="0" noProof="0" dirty="0">
                <a:ln>
                  <a:noFill/>
                </a:ln>
                <a:effectLst/>
                <a:uLnTx/>
                <a:uFillTx/>
                <a:latin typeface="Arial" charset="0"/>
                <a:ea typeface="MS PGothic" charset="-128"/>
              </a:rPr>
              <a:t>S10</a:t>
            </a:r>
          </a:p>
        </p:txBody>
      </p:sp>
      <p:sp>
        <p:nvSpPr>
          <p:cNvPr id="118" name="Text Box 144"/>
          <p:cNvSpPr txBox="1">
            <a:spLocks noChangeAspect="1" noChangeArrowheads="1"/>
          </p:cNvSpPr>
          <p:nvPr/>
        </p:nvSpPr>
        <p:spPr bwMode="auto">
          <a:xfrm>
            <a:off x="3617094" y="316473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U</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sp>
        <p:nvSpPr>
          <p:cNvPr id="119" name="Text Box 144"/>
          <p:cNvSpPr txBox="1">
            <a:spLocks noChangeAspect="1" noChangeArrowheads="1"/>
          </p:cNvSpPr>
          <p:nvPr/>
        </p:nvSpPr>
        <p:spPr bwMode="auto">
          <a:xfrm>
            <a:off x="3641493" y="269825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kern="0" dirty="0">
                <a:solidFill>
                  <a:schemeClr val="bg1">
                    <a:lumMod val="50000"/>
                  </a:schemeClr>
                </a:solidFill>
              </a:rPr>
              <a:t>S1-MME</a:t>
            </a:r>
            <a:endParaRPr kumimoji="0" lang="en-US" altLang="en-US" sz="1400" b="0" i="0" u="none" strike="noStrike" kern="0" cap="none" spc="0" normalizeH="0" baseline="0" noProof="0" dirty="0">
              <a:ln>
                <a:noFill/>
              </a:ln>
              <a:solidFill>
                <a:schemeClr val="bg1">
                  <a:lumMod val="50000"/>
                </a:schemeClr>
              </a:solidFill>
              <a:effectLst/>
              <a:uLnTx/>
              <a:uFillTx/>
              <a:latin typeface="Arial" charset="0"/>
              <a:ea typeface="MS PGothic" charset="-128"/>
            </a:endParaRPr>
          </a:p>
        </p:txBody>
      </p:sp>
      <p:sp>
        <p:nvSpPr>
          <p:cNvPr id="120" name="Rectangle: Rounded Corners 119"/>
          <p:cNvSpPr/>
          <p:nvPr/>
        </p:nvSpPr>
        <p:spPr>
          <a:xfrm>
            <a:off x="104385" y="1389130"/>
            <a:ext cx="2711665" cy="121935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rPr>
              <a:t>Nx</a:t>
            </a:r>
            <a:r>
              <a:rPr lang="en-US" sz="1600" dirty="0">
                <a:solidFill>
                  <a:schemeClr val="tx1"/>
                </a:solidFill>
              </a:rPr>
              <a:t>/S10 between MME and AMF for UE context transfer</a:t>
            </a:r>
          </a:p>
        </p:txBody>
      </p:sp>
      <p:sp>
        <p:nvSpPr>
          <p:cNvPr id="121" name="Rectangle: Rounded Corners 120"/>
          <p:cNvSpPr/>
          <p:nvPr/>
        </p:nvSpPr>
        <p:spPr>
          <a:xfrm>
            <a:off x="84954" y="4230847"/>
            <a:ext cx="2887321" cy="148083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andover from 5GC to EPC, CP is moved from N2 to S1-MME, and UP is moved from N3 to S1-U</a:t>
            </a:r>
          </a:p>
        </p:txBody>
      </p:sp>
      <p:sp>
        <p:nvSpPr>
          <p:cNvPr id="122" name="Rectangle: Rounded Corners 121"/>
          <p:cNvSpPr/>
          <p:nvPr/>
        </p:nvSpPr>
        <p:spPr>
          <a:xfrm>
            <a:off x="9394450" y="3098353"/>
            <a:ext cx="2711665" cy="102584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ommon function for SMF and PGW-C</a:t>
            </a:r>
          </a:p>
        </p:txBody>
      </p:sp>
      <p:sp>
        <p:nvSpPr>
          <p:cNvPr id="123" name="Rectangle: Rounded Corners 122"/>
          <p:cNvSpPr/>
          <p:nvPr/>
        </p:nvSpPr>
        <p:spPr>
          <a:xfrm>
            <a:off x="9926463" y="4485001"/>
            <a:ext cx="2180367" cy="144975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5G UPF needs to be selected for 5G capable UEs, both by MME and 5G SMF</a:t>
            </a:r>
          </a:p>
        </p:txBody>
      </p:sp>
      <p:cxnSp>
        <p:nvCxnSpPr>
          <p:cNvPr id="125" name="Straight Connector 124"/>
          <p:cNvCxnSpPr/>
          <p:nvPr/>
        </p:nvCxnSpPr>
        <p:spPr bwMode="auto">
          <a:xfrm flipH="1">
            <a:off x="208098" y="6166470"/>
            <a:ext cx="364436" cy="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26" name="Straight Connector 125"/>
          <p:cNvCxnSpPr/>
          <p:nvPr/>
        </p:nvCxnSpPr>
        <p:spPr bwMode="auto">
          <a:xfrm flipH="1">
            <a:off x="204573" y="6398817"/>
            <a:ext cx="364436" cy="1"/>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127" name="TextBox 126"/>
          <p:cNvSpPr txBox="1"/>
          <p:nvPr/>
        </p:nvSpPr>
        <p:spPr>
          <a:xfrm>
            <a:off x="626383" y="5970273"/>
            <a:ext cx="1611373" cy="338554"/>
          </a:xfrm>
          <a:prstGeom prst="rect">
            <a:avLst/>
          </a:prstGeom>
          <a:noFill/>
        </p:spPr>
        <p:txBody>
          <a:bodyPr wrap="square" rtlCol="0">
            <a:spAutoFit/>
          </a:bodyPr>
          <a:lstStyle/>
          <a:p>
            <a:r>
              <a:rPr lang="en-US" sz="1600" b="1" dirty="0"/>
              <a:t>Control plane</a:t>
            </a:r>
          </a:p>
        </p:txBody>
      </p:sp>
      <p:sp>
        <p:nvSpPr>
          <p:cNvPr id="128" name="TextBox 127"/>
          <p:cNvSpPr txBox="1"/>
          <p:nvPr/>
        </p:nvSpPr>
        <p:spPr>
          <a:xfrm>
            <a:off x="602224" y="6239086"/>
            <a:ext cx="1611373" cy="338554"/>
          </a:xfrm>
          <a:prstGeom prst="rect">
            <a:avLst/>
          </a:prstGeom>
          <a:noFill/>
        </p:spPr>
        <p:txBody>
          <a:bodyPr wrap="square" rtlCol="0">
            <a:spAutoFit/>
          </a:bodyPr>
          <a:lstStyle/>
          <a:p>
            <a:r>
              <a:rPr lang="en-US" sz="1600" b="1" dirty="0"/>
              <a:t>User plane</a:t>
            </a:r>
          </a:p>
        </p:txBody>
      </p:sp>
    </p:spTree>
    <p:extLst>
      <p:ext uri="{BB962C8B-B14F-4D97-AF65-F5344CB8AC3E}">
        <p14:creationId xmlns:p14="http://schemas.microsoft.com/office/powerpoint/2010/main" val="880442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a:t>Chapter 2</a:t>
            </a:r>
          </a:p>
          <a:p>
            <a:r>
              <a:rPr lang="en-US"/>
              <a:t>5G Architecture Standardization</a:t>
            </a:r>
          </a:p>
        </p:txBody>
      </p:sp>
    </p:spTree>
    <p:custDataLst>
      <p:tags r:id="rId1"/>
    </p:custDataLst>
    <p:extLst>
      <p:ext uri="{BB962C8B-B14F-4D97-AF65-F5344CB8AC3E}">
        <p14:creationId xmlns:p14="http://schemas.microsoft.com/office/powerpoint/2010/main" val="286279002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S and IMS </a:t>
            </a:r>
            <a:br>
              <a:rPr lang="en-US" dirty="0"/>
            </a:br>
            <a:r>
              <a:rPr lang="en-US" sz="2800" dirty="0">
                <a:latin typeface="+mn-lt"/>
              </a:rPr>
              <a:t>Interfaces</a:t>
            </a:r>
          </a:p>
        </p:txBody>
      </p:sp>
      <p:sp>
        <p:nvSpPr>
          <p:cNvPr id="3" name="Text Placeholder 2"/>
          <p:cNvSpPr>
            <a:spLocks noGrp="1"/>
          </p:cNvSpPr>
          <p:nvPr>
            <p:ph type="body" idx="1"/>
          </p:nvPr>
        </p:nvSpPr>
        <p:spPr>
          <a:xfrm>
            <a:off x="529167" y="1800000"/>
            <a:ext cx="11135785" cy="2429100"/>
          </a:xfrm>
        </p:spPr>
        <p:txBody>
          <a:bodyPr/>
          <a:lstStyle/>
          <a:p>
            <a:r>
              <a:rPr lang="en-US" dirty="0"/>
              <a:t>IMS – 5GS interworking</a:t>
            </a:r>
          </a:p>
          <a:p>
            <a:pPr lvl="1"/>
            <a:r>
              <a:rPr lang="en-US" dirty="0"/>
              <a:t>HSS for IMS shall continue to be standalone regardless if it is co-located or implemented as part of UDM</a:t>
            </a:r>
          </a:p>
          <a:p>
            <a:pPr lvl="1"/>
            <a:r>
              <a:rPr lang="en-US" dirty="0"/>
              <a:t>Single IMS subscription is used regardless if UE accessing IMS via different IP-CANs</a:t>
            </a:r>
          </a:p>
          <a:p>
            <a:pPr lvl="1"/>
            <a:r>
              <a:rPr lang="en-US" dirty="0"/>
              <a:t>Rx interface is continued to be used between P-CSCF and PCF</a:t>
            </a:r>
          </a:p>
          <a:p>
            <a:pPr lvl="1"/>
            <a:r>
              <a:rPr lang="en-US" dirty="0"/>
              <a:t>Gm interface still supported in 5GC for the communication between UE and IMS (P-CSCF)  </a:t>
            </a:r>
          </a:p>
          <a:p>
            <a:pPr lvl="1"/>
            <a:endParaRPr lang="en-US" dirty="0"/>
          </a:p>
        </p:txBody>
      </p:sp>
      <p:pic>
        <p:nvPicPr>
          <p:cNvPr id="4" name="Picture 3"/>
          <p:cNvPicPr>
            <a:picLocks noChangeAspect="1"/>
          </p:cNvPicPr>
          <p:nvPr/>
        </p:nvPicPr>
        <p:blipFill>
          <a:blip r:embed="rId3"/>
          <a:stretch>
            <a:fillRect/>
          </a:stretch>
        </p:blipFill>
        <p:spPr>
          <a:xfrm>
            <a:off x="838200" y="4229100"/>
            <a:ext cx="4152900" cy="2009775"/>
          </a:xfrm>
          <a:prstGeom prst="rect">
            <a:avLst/>
          </a:prstGeom>
          <a:ln>
            <a:solidFill>
              <a:schemeClr val="tx1">
                <a:lumMod val="50000"/>
              </a:schemeClr>
            </a:solidFill>
          </a:ln>
        </p:spPr>
      </p:pic>
      <p:grpSp>
        <p:nvGrpSpPr>
          <p:cNvPr id="7" name="Group 6"/>
          <p:cNvGrpSpPr/>
          <p:nvPr/>
        </p:nvGrpSpPr>
        <p:grpSpPr>
          <a:xfrm>
            <a:off x="5667375" y="4343396"/>
            <a:ext cx="5734050" cy="1019175"/>
            <a:chOff x="5667375" y="4800600"/>
            <a:chExt cx="5734050" cy="1019175"/>
          </a:xfrm>
        </p:grpSpPr>
        <p:pic>
          <p:nvPicPr>
            <p:cNvPr id="5" name="Picture 4"/>
            <p:cNvPicPr>
              <a:picLocks noChangeAspect="1"/>
            </p:cNvPicPr>
            <p:nvPr/>
          </p:nvPicPr>
          <p:blipFill>
            <a:blip r:embed="rId4"/>
            <a:stretch>
              <a:fillRect/>
            </a:stretch>
          </p:blipFill>
          <p:spPr>
            <a:xfrm>
              <a:off x="5667375" y="4800600"/>
              <a:ext cx="5734050" cy="1019175"/>
            </a:xfrm>
            <a:prstGeom prst="rect">
              <a:avLst/>
            </a:prstGeom>
            <a:ln>
              <a:solidFill>
                <a:schemeClr val="tx1">
                  <a:lumMod val="50000"/>
                </a:schemeClr>
              </a:solidFill>
            </a:ln>
          </p:spPr>
        </p:pic>
        <p:sp>
          <p:nvSpPr>
            <p:cNvPr id="6" name="TextBox 5"/>
            <p:cNvSpPr txBox="1"/>
            <p:nvPr/>
          </p:nvSpPr>
          <p:spPr>
            <a:xfrm>
              <a:off x="10311064" y="5418475"/>
              <a:ext cx="748923" cy="246221"/>
            </a:xfrm>
            <a:prstGeom prst="rect">
              <a:avLst/>
            </a:prstGeom>
            <a:noFill/>
          </p:spPr>
          <p:txBody>
            <a:bodyPr wrap="none" rtlCol="0">
              <a:spAutoFit/>
            </a:bodyPr>
            <a:lstStyle/>
            <a:p>
              <a:r>
                <a:rPr lang="en-US" sz="1000" dirty="0">
                  <a:solidFill>
                    <a:schemeClr val="tx1">
                      <a:lumMod val="50000"/>
                    </a:schemeClr>
                  </a:solidFill>
                </a:rPr>
                <a:t>(P-CSCF)</a:t>
              </a:r>
            </a:p>
          </p:txBody>
        </p:sp>
      </p:grpSp>
      <p:sp>
        <p:nvSpPr>
          <p:cNvPr id="8" name="Freeform 4"/>
          <p:cNvSpPr>
            <a:spLocks noChangeAspect="1" noEditPoints="1"/>
          </p:cNvSpPr>
          <p:nvPr/>
        </p:nvSpPr>
        <p:spPr bwMode="auto">
          <a:xfrm>
            <a:off x="6404148" y="5832754"/>
            <a:ext cx="421648" cy="577618"/>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1" name="Group 20"/>
          <p:cNvGrpSpPr/>
          <p:nvPr/>
        </p:nvGrpSpPr>
        <p:grpSpPr>
          <a:xfrm>
            <a:off x="9221077" y="5580887"/>
            <a:ext cx="826148" cy="995887"/>
            <a:chOff x="4338871" y="2725624"/>
            <a:chExt cx="1199053" cy="1626215"/>
          </a:xfrm>
        </p:grpSpPr>
        <p:sp>
          <p:nvSpPr>
            <p:cNvPr id="2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P-CSCF</a:t>
              </a:r>
            </a:p>
          </p:txBody>
        </p:sp>
        <p:sp>
          <p:nvSpPr>
            <p:cNvPr id="2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grpSp>
        <p:nvGrpSpPr>
          <p:cNvPr id="9" name="Group 8"/>
          <p:cNvGrpSpPr/>
          <p:nvPr/>
        </p:nvGrpSpPr>
        <p:grpSpPr>
          <a:xfrm>
            <a:off x="7310548" y="5641045"/>
            <a:ext cx="1388613" cy="1031810"/>
            <a:chOff x="9038846" y="4514377"/>
            <a:chExt cx="2250397" cy="1719278"/>
          </a:xfrm>
        </p:grpSpPr>
        <p:sp>
          <p:nvSpPr>
            <p:cNvPr id="10" name="Freeform 34"/>
            <p:cNvSpPr>
              <a:spLocks noChangeAspect="1"/>
            </p:cNvSpPr>
            <p:nvPr/>
          </p:nvSpPr>
          <p:spPr bwMode="auto">
            <a:xfrm>
              <a:off x="9038846" y="4514377"/>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11" name="Text Box 35"/>
            <p:cNvSpPr txBox="1">
              <a:spLocks noChangeAspect="1" noChangeArrowheads="1"/>
            </p:cNvSpPr>
            <p:nvPr/>
          </p:nvSpPr>
          <p:spPr bwMode="auto">
            <a:xfrm>
              <a:off x="9831558" y="5174046"/>
              <a:ext cx="683232" cy="482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dirty="0">
                  <a:ea typeface="MS PGothic" pitchFamily="34" charset="-128"/>
                </a:rPr>
                <a:t>5GC</a:t>
              </a:r>
              <a:endParaRPr lang="en-US" altLang="en-US" sz="1100" dirty="0">
                <a:ea typeface="MS PGothic" pitchFamily="34" charset="-128"/>
              </a:endParaRPr>
            </a:p>
          </p:txBody>
        </p:sp>
      </p:grpSp>
      <p:cxnSp>
        <p:nvCxnSpPr>
          <p:cNvPr id="31" name="Straight Connector 30"/>
          <p:cNvCxnSpPr/>
          <p:nvPr/>
        </p:nvCxnSpPr>
        <p:spPr bwMode="auto">
          <a:xfrm>
            <a:off x="6825796" y="6178352"/>
            <a:ext cx="484752"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3" name="Straight Connector 32"/>
          <p:cNvCxnSpPr/>
          <p:nvPr/>
        </p:nvCxnSpPr>
        <p:spPr bwMode="auto">
          <a:xfrm>
            <a:off x="8699161" y="6178352"/>
            <a:ext cx="533398"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34" name="TextBox 33"/>
          <p:cNvSpPr txBox="1"/>
          <p:nvPr/>
        </p:nvSpPr>
        <p:spPr>
          <a:xfrm>
            <a:off x="8744991" y="6199754"/>
            <a:ext cx="380232" cy="276999"/>
          </a:xfrm>
          <a:prstGeom prst="rect">
            <a:avLst/>
          </a:prstGeom>
          <a:noFill/>
        </p:spPr>
        <p:txBody>
          <a:bodyPr wrap="none" rtlCol="0">
            <a:spAutoFit/>
          </a:bodyPr>
          <a:lstStyle/>
          <a:p>
            <a:r>
              <a:rPr lang="en-US" sz="1200" dirty="0"/>
              <a:t>N6</a:t>
            </a:r>
          </a:p>
        </p:txBody>
      </p:sp>
      <p:sp>
        <p:nvSpPr>
          <p:cNvPr id="35" name="TextBox 34"/>
          <p:cNvSpPr txBox="1"/>
          <p:nvPr/>
        </p:nvSpPr>
        <p:spPr>
          <a:xfrm>
            <a:off x="6917770" y="6214757"/>
            <a:ext cx="380232" cy="276999"/>
          </a:xfrm>
          <a:prstGeom prst="rect">
            <a:avLst/>
          </a:prstGeom>
          <a:noFill/>
        </p:spPr>
        <p:txBody>
          <a:bodyPr wrap="none" rtlCol="0">
            <a:spAutoFit/>
          </a:bodyPr>
          <a:lstStyle/>
          <a:p>
            <a:r>
              <a:rPr lang="en-US" sz="1200" dirty="0"/>
              <a:t>N3</a:t>
            </a:r>
          </a:p>
        </p:txBody>
      </p:sp>
      <p:cxnSp>
        <p:nvCxnSpPr>
          <p:cNvPr id="37" name="Straight Connector 36"/>
          <p:cNvCxnSpPr>
            <a:endCxn id="27" idx="15"/>
          </p:cNvCxnSpPr>
          <p:nvPr/>
        </p:nvCxnSpPr>
        <p:spPr bwMode="auto">
          <a:xfrm>
            <a:off x="6825796" y="5944982"/>
            <a:ext cx="2402686" cy="0"/>
          </a:xfrm>
          <a:prstGeom prst="line">
            <a:avLst/>
          </a:prstGeom>
          <a:solidFill>
            <a:schemeClr val="accent1"/>
          </a:solidFill>
          <a:ln w="28575" cap="flat" cmpd="sng" algn="ctr">
            <a:solidFill>
              <a:schemeClr val="tx1"/>
            </a:solidFill>
            <a:prstDash val="dash"/>
            <a:round/>
            <a:headEnd type="none" w="med" len="med"/>
            <a:tailEnd type="none" w="med" len="med"/>
          </a:ln>
          <a:effectLst/>
        </p:spPr>
      </p:cxnSp>
      <p:sp>
        <p:nvSpPr>
          <p:cNvPr id="43" name="TextBox 42"/>
          <p:cNvSpPr txBox="1"/>
          <p:nvPr/>
        </p:nvSpPr>
        <p:spPr>
          <a:xfrm>
            <a:off x="7816987" y="5707069"/>
            <a:ext cx="433132" cy="276999"/>
          </a:xfrm>
          <a:prstGeom prst="rect">
            <a:avLst/>
          </a:prstGeom>
          <a:noFill/>
        </p:spPr>
        <p:txBody>
          <a:bodyPr wrap="none" rtlCol="0">
            <a:spAutoFit/>
          </a:bodyPr>
          <a:lstStyle/>
          <a:p>
            <a:r>
              <a:rPr lang="en-US" sz="1200" dirty="0"/>
              <a:t>Gm</a:t>
            </a:r>
          </a:p>
        </p:txBody>
      </p:sp>
      <p:sp>
        <p:nvSpPr>
          <p:cNvPr id="44" name="Rectangle 43"/>
          <p:cNvSpPr/>
          <p:nvPr/>
        </p:nvSpPr>
        <p:spPr bwMode="auto">
          <a:xfrm>
            <a:off x="6097059" y="5526289"/>
            <a:ext cx="4214005" cy="1201165"/>
          </a:xfrm>
          <a:prstGeom prst="rect">
            <a:avLst/>
          </a:prstGeom>
          <a:noFill/>
          <a:ln w="1270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7489571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4" name="Content Placeholder 1"/>
          <p:cNvSpPr txBox="1">
            <a:spLocks/>
          </p:cNvSpPr>
          <p:nvPr/>
        </p:nvSpPr>
        <p:spPr bwMode="auto">
          <a:xfrm>
            <a:off x="524935" y="1484314"/>
            <a:ext cx="11135785" cy="4938257"/>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a:t>All IMS services and IMS architecture will be used in 5G</a:t>
            </a:r>
          </a:p>
          <a:p>
            <a:pPr marL="176213" lvl="1" indent="-176213">
              <a:buClr>
                <a:srgbClr val="00A9D4"/>
              </a:buClr>
              <a:buFont typeface="Arial" charset="0"/>
              <a:buChar char="›"/>
            </a:pPr>
            <a:r>
              <a:rPr lang="en-US" sz="2400" kern="0"/>
              <a:t>Different tracks for 5G: </a:t>
            </a:r>
          </a:p>
          <a:p>
            <a:pPr marL="534988" lvl="2" indent="-176213">
              <a:buClr>
                <a:srgbClr val="00A9D4"/>
              </a:buClr>
              <a:buFont typeface="Arial" charset="0"/>
              <a:buChar char="›"/>
            </a:pPr>
            <a:r>
              <a:rPr lang="en-US" sz="2400" kern="0"/>
              <a:t>NR and LTE in dual-connectivity connected to 5G EPC or NR, and/or </a:t>
            </a:r>
          </a:p>
          <a:p>
            <a:pPr marL="534988" lvl="2" indent="-176213">
              <a:buClr>
                <a:srgbClr val="00A9D4"/>
              </a:buClr>
              <a:buFont typeface="Arial" charset="0"/>
              <a:buChar char="›"/>
            </a:pPr>
            <a:r>
              <a:rPr lang="en-US" sz="2400" kern="0"/>
              <a:t>LTE connected to 5GC </a:t>
            </a:r>
          </a:p>
          <a:p>
            <a:pPr marL="176213" lvl="1" indent="-176213">
              <a:buClr>
                <a:srgbClr val="00A9D4"/>
              </a:buClr>
              <a:buFont typeface="Arial" charset="0"/>
              <a:buChar char="›"/>
            </a:pPr>
            <a:r>
              <a:rPr lang="en-US" sz="2400" kern="0"/>
              <a:t>Migration towards 5G can be in different steps </a:t>
            </a:r>
          </a:p>
          <a:p>
            <a:pPr marL="176213" lvl="1" indent="-176213">
              <a:buClr>
                <a:srgbClr val="00A9D4"/>
              </a:buClr>
              <a:buFont typeface="Arial" charset="0"/>
              <a:buChar char="›"/>
            </a:pPr>
            <a:r>
              <a:rPr lang="en-US" sz="2400" kern="0"/>
              <a:t>Development of LTE+NR to full coverage to support service continuity for voice, and migrate all subscribers to IMS voice service, avoids need to interwork with legacy 3GPP accesses</a:t>
            </a:r>
          </a:p>
          <a:p>
            <a:pPr marL="176213" lvl="1" indent="-176213">
              <a:buClr>
                <a:srgbClr val="00A9D4"/>
              </a:buClr>
              <a:buFont typeface="Arial" charset="0"/>
              <a:buChar char="›"/>
            </a:pPr>
            <a:r>
              <a:rPr lang="en-US" sz="2400" kern="0"/>
              <a:t>Legacy LTE, EPC (MME, SGW), CS and HSS functionality needed for inbound and outbound roamers</a:t>
            </a:r>
          </a:p>
          <a:p>
            <a:endParaRPr lang="en-US" kern="0" dirty="0"/>
          </a:p>
        </p:txBody>
      </p:sp>
    </p:spTree>
    <p:extLst>
      <p:ext uri="{BB962C8B-B14F-4D97-AF65-F5344CB8AC3E}">
        <p14:creationId xmlns:p14="http://schemas.microsoft.com/office/powerpoint/2010/main" val="78859067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8</a:t>
            </a:r>
          </a:p>
          <a:p>
            <a:r>
              <a:rPr lang="en-US" dirty="0"/>
              <a:t>Migration to 5G</a:t>
            </a:r>
          </a:p>
        </p:txBody>
      </p:sp>
    </p:spTree>
    <p:custDataLst>
      <p:tags r:id="rId1"/>
    </p:custDataLst>
    <p:extLst>
      <p:ext uri="{BB962C8B-B14F-4D97-AF65-F5344CB8AC3E}">
        <p14:creationId xmlns:p14="http://schemas.microsoft.com/office/powerpoint/2010/main" val="29055979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Describe different 4G to 5G migration scenarios</a:t>
            </a:r>
            <a:br>
              <a:rPr lang="en-US" dirty="0"/>
            </a:br>
            <a:endParaRPr lang="en-US" sz="2000" dirty="0"/>
          </a:p>
          <a:p>
            <a:pPr marL="735013" lvl="1" indent="-381000">
              <a:lnSpc>
                <a:spcPct val="90000"/>
              </a:lnSpc>
            </a:pPr>
            <a:r>
              <a:rPr lang="en-US" dirty="0"/>
              <a:t>Explore possible migration paths for the different 3GPP 5G architecture options</a:t>
            </a:r>
            <a:br>
              <a:rPr lang="en-US" dirty="0"/>
            </a:br>
            <a:endParaRPr lang="en-US" dirty="0"/>
          </a:p>
          <a:p>
            <a:pPr marL="735013" lvl="1" indent="-381000">
              <a:lnSpc>
                <a:spcPct val="90000"/>
              </a:lnSpc>
            </a:pPr>
            <a:r>
              <a:rPr lang="en-US" dirty="0"/>
              <a:t>Describe 4G to 5G migration per network slice type</a:t>
            </a:r>
          </a:p>
        </p:txBody>
      </p:sp>
    </p:spTree>
    <p:extLst>
      <p:ext uri="{BB962C8B-B14F-4D97-AF65-F5344CB8AC3E}">
        <p14:creationId xmlns:p14="http://schemas.microsoft.com/office/powerpoint/2010/main" val="329045394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pPr lvl="0">
              <a:defRPr/>
            </a:pPr>
            <a:r>
              <a:rPr lang="en-US" altLang="en-US" dirty="0">
                <a:solidFill>
                  <a:schemeClr val="bg1"/>
                </a:solidFill>
                <a:latin typeface="Ericsson Capital TT" pitchFamily="2" charset="0"/>
              </a:rPr>
              <a:t>REL-15 Timing &amp; Options</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bwMode="auto">
          <a:xfrm>
            <a:off x="860228" y="2939406"/>
            <a:ext cx="6434039" cy="1507850"/>
          </a:xfrm>
          <a:prstGeom prst="rect">
            <a:avLst/>
          </a:prstGeom>
          <a:solidFill>
            <a:srgbClr val="9E9F9E"/>
          </a:solidFill>
          <a:ln w="12700" cap="flat" cmpd="sng" algn="ctr">
            <a:solidFill>
              <a:schemeClr val="tx1"/>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9E9F9E"/>
              </a:solidFill>
              <a:effectLst/>
              <a:uLnTx/>
              <a:uFillTx/>
            </a:endParaRPr>
          </a:p>
        </p:txBody>
      </p:sp>
      <p:graphicFrame>
        <p:nvGraphicFramePr>
          <p:cNvPr id="12" name="Table 11"/>
          <p:cNvGraphicFramePr>
            <a:graphicFrameLocks noGrp="1"/>
          </p:cNvGraphicFramePr>
          <p:nvPr>
            <p:extLst/>
          </p:nvPr>
        </p:nvGraphicFramePr>
        <p:xfrm>
          <a:off x="552828" y="1954641"/>
          <a:ext cx="11491452" cy="285342"/>
        </p:xfrm>
        <a:graphic>
          <a:graphicData uri="http://schemas.openxmlformats.org/drawingml/2006/table">
            <a:tbl>
              <a:tblPr firstRow="1" bandRow="1">
                <a:tableStyleId>{5C22544A-7EE6-4342-B048-85BDC9FD1C3A}</a:tableStyleId>
              </a:tblPr>
              <a:tblGrid>
                <a:gridCol w="1915242">
                  <a:extLst>
                    <a:ext uri="{9D8B030D-6E8A-4147-A177-3AD203B41FA5}">
                      <a16:colId xmlns:a16="http://schemas.microsoft.com/office/drawing/2014/main" val="20000"/>
                    </a:ext>
                  </a:extLst>
                </a:gridCol>
                <a:gridCol w="1915242">
                  <a:extLst>
                    <a:ext uri="{9D8B030D-6E8A-4147-A177-3AD203B41FA5}">
                      <a16:colId xmlns:a16="http://schemas.microsoft.com/office/drawing/2014/main" val="20001"/>
                    </a:ext>
                  </a:extLst>
                </a:gridCol>
                <a:gridCol w="1915242">
                  <a:extLst>
                    <a:ext uri="{9D8B030D-6E8A-4147-A177-3AD203B41FA5}">
                      <a16:colId xmlns:a16="http://schemas.microsoft.com/office/drawing/2014/main" val="20002"/>
                    </a:ext>
                  </a:extLst>
                </a:gridCol>
                <a:gridCol w="1915242">
                  <a:extLst>
                    <a:ext uri="{9D8B030D-6E8A-4147-A177-3AD203B41FA5}">
                      <a16:colId xmlns:a16="http://schemas.microsoft.com/office/drawing/2014/main" val="20003"/>
                    </a:ext>
                  </a:extLst>
                </a:gridCol>
                <a:gridCol w="1915242">
                  <a:extLst>
                    <a:ext uri="{9D8B030D-6E8A-4147-A177-3AD203B41FA5}">
                      <a16:colId xmlns:a16="http://schemas.microsoft.com/office/drawing/2014/main" val="20004"/>
                    </a:ext>
                  </a:extLst>
                </a:gridCol>
                <a:gridCol w="1915242">
                  <a:extLst>
                    <a:ext uri="{9D8B030D-6E8A-4147-A177-3AD203B41FA5}">
                      <a16:colId xmlns:a16="http://schemas.microsoft.com/office/drawing/2014/main" val="20005"/>
                    </a:ext>
                  </a:extLst>
                </a:gridCol>
              </a:tblGrid>
              <a:tr h="285286">
                <a:tc>
                  <a:txBody>
                    <a:bodyPr/>
                    <a:lstStyle/>
                    <a:p>
                      <a:pPr algn="ctr"/>
                      <a:r>
                        <a:rPr lang="en-US" sz="1400"/>
                        <a:t>2015</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6</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7</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8</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9</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20</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3" name="Chevron 127"/>
          <p:cNvSpPr/>
          <p:nvPr/>
        </p:nvSpPr>
        <p:spPr bwMode="auto">
          <a:xfrm>
            <a:off x="860228" y="2445320"/>
            <a:ext cx="314953" cy="269960"/>
          </a:xfrm>
          <a:prstGeom prst="chevron">
            <a:avLst/>
          </a:prstGeom>
          <a:solidFill>
            <a:srgbClr val="99CCFF"/>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ysClr val="windowText" lastClr="000000"/>
              </a:solidFill>
              <a:effectLst/>
              <a:uLnTx/>
              <a:uFillTx/>
            </a:endParaRPr>
          </a:p>
        </p:txBody>
      </p:sp>
      <p:sp>
        <p:nvSpPr>
          <p:cNvPr id="14" name="Rounded Rectangle 4"/>
          <p:cNvSpPr>
            <a:spLocks noChangeArrowheads="1"/>
          </p:cNvSpPr>
          <p:nvPr/>
        </p:nvSpPr>
        <p:spPr bwMode="auto">
          <a:xfrm>
            <a:off x="3019904" y="2445320"/>
            <a:ext cx="1979704"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4</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15" name="Rounded Rectangle 4"/>
          <p:cNvSpPr>
            <a:spLocks noChangeArrowheads="1"/>
          </p:cNvSpPr>
          <p:nvPr/>
        </p:nvSpPr>
        <p:spPr bwMode="auto">
          <a:xfrm>
            <a:off x="1022064" y="2445320"/>
            <a:ext cx="1727881" cy="269960"/>
          </a:xfrm>
          <a:prstGeom prst="roundRect">
            <a:avLst>
              <a:gd name="adj" fmla="val 5736"/>
            </a:avLst>
          </a:prstGeom>
          <a:solidFill>
            <a:srgbClr val="99CCFF"/>
          </a:solidFill>
          <a:ln w="9525">
            <a:noFill/>
            <a:round/>
            <a:headEnd/>
            <a:tailEnd/>
          </a:ln>
          <a:effectLst>
            <a:outerShdw blurRad="50800" dist="38100" dir="2700000" algn="tl" rotWithShape="0">
              <a:prstClr val="black">
                <a:alpha val="40000"/>
              </a:prstClr>
            </a:outerShdw>
          </a:effectLst>
          <a:extLst/>
        </p:spPr>
        <p:txBody>
          <a:bodyPr wrap="none" lIns="71967" tIns="45699" rIns="71967" bIns="45699" anchor="ctr" anchorCtr="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fi-FI" altLang="en-US" sz="1600" b="0" i="0" u="none" strike="noStrike" kern="0" cap="none" spc="0" normalizeH="0" baseline="0" noProof="0">
                <a:ln>
                  <a:noFill/>
                </a:ln>
                <a:solidFill>
                  <a:schemeClr val="tx1"/>
                </a:solidFill>
                <a:effectLst/>
                <a:uLnTx/>
                <a:uFillTx/>
                <a:latin typeface="Arial" charset="0"/>
                <a:ea typeface="ＭＳ Ｐゴシック" pitchFamily="34" charset="-128"/>
              </a:rPr>
              <a:t>Rel-13</a:t>
            </a:r>
            <a:endParaRPr kumimoji="0" lang="en-US" altLang="en-US" sz="16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16" name="Rounded Rectangle 4"/>
          <p:cNvSpPr>
            <a:spLocks noChangeArrowheads="1"/>
          </p:cNvSpPr>
          <p:nvPr/>
        </p:nvSpPr>
        <p:spPr bwMode="auto">
          <a:xfrm>
            <a:off x="5224576" y="2445320"/>
            <a:ext cx="1979704"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5</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17" name="Rounded Rectangle 163"/>
          <p:cNvSpPr>
            <a:spLocks noChangeArrowheads="1"/>
          </p:cNvSpPr>
          <p:nvPr/>
        </p:nvSpPr>
        <p:spPr bwMode="auto">
          <a:xfrm>
            <a:off x="2929920"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8" name="Rounded Rectangle 163"/>
          <p:cNvSpPr>
            <a:spLocks noChangeArrowheads="1"/>
          </p:cNvSpPr>
          <p:nvPr/>
        </p:nvSpPr>
        <p:spPr bwMode="auto">
          <a:xfrm>
            <a:off x="2839220"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9" name="Rounded Rectangle 163"/>
          <p:cNvSpPr>
            <a:spLocks noChangeArrowheads="1"/>
          </p:cNvSpPr>
          <p:nvPr/>
        </p:nvSpPr>
        <p:spPr bwMode="auto">
          <a:xfrm>
            <a:off x="5135305"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0" name="Rounded Rectangle 163"/>
          <p:cNvSpPr>
            <a:spLocks noChangeArrowheads="1"/>
          </p:cNvSpPr>
          <p:nvPr/>
        </p:nvSpPr>
        <p:spPr bwMode="auto">
          <a:xfrm>
            <a:off x="5044604"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1" name="Rounded Rectangle 163"/>
          <p:cNvSpPr>
            <a:spLocks noChangeArrowheads="1"/>
          </p:cNvSpPr>
          <p:nvPr/>
        </p:nvSpPr>
        <p:spPr bwMode="auto">
          <a:xfrm>
            <a:off x="7339261"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2" name="Rounded Rectangle 163"/>
          <p:cNvSpPr>
            <a:spLocks noChangeArrowheads="1"/>
          </p:cNvSpPr>
          <p:nvPr/>
        </p:nvSpPr>
        <p:spPr bwMode="auto">
          <a:xfrm>
            <a:off x="7248560"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3" name="Rounded Rectangle 4"/>
          <p:cNvSpPr>
            <a:spLocks noChangeArrowheads="1"/>
          </p:cNvSpPr>
          <p:nvPr/>
        </p:nvSpPr>
        <p:spPr bwMode="auto">
          <a:xfrm>
            <a:off x="7429245" y="2445320"/>
            <a:ext cx="2607990"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6</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24" name="Rounded Rectangle 163"/>
          <p:cNvSpPr>
            <a:spLocks noChangeArrowheads="1"/>
          </p:cNvSpPr>
          <p:nvPr/>
        </p:nvSpPr>
        <p:spPr bwMode="auto">
          <a:xfrm>
            <a:off x="10146218" y="2445325"/>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5" name="Rounded Rectangle 163"/>
          <p:cNvSpPr>
            <a:spLocks noChangeArrowheads="1"/>
          </p:cNvSpPr>
          <p:nvPr/>
        </p:nvSpPr>
        <p:spPr bwMode="auto">
          <a:xfrm>
            <a:off x="10055517"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6" name="Rounded Rectangle 4"/>
          <p:cNvSpPr>
            <a:spLocks noChangeArrowheads="1"/>
          </p:cNvSpPr>
          <p:nvPr/>
        </p:nvSpPr>
        <p:spPr bwMode="auto">
          <a:xfrm>
            <a:off x="10236204" y="2445320"/>
            <a:ext cx="1934815"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7, ...</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27" name="Rounded Rectangle 155"/>
          <p:cNvSpPr>
            <a:spLocks noChangeArrowheads="1"/>
          </p:cNvSpPr>
          <p:nvPr/>
        </p:nvSpPr>
        <p:spPr bwMode="auto">
          <a:xfrm>
            <a:off x="2308490" y="4072543"/>
            <a:ext cx="2519624"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RAN Study (RAN)</a:t>
            </a:r>
          </a:p>
        </p:txBody>
      </p:sp>
      <p:sp>
        <p:nvSpPr>
          <p:cNvPr id="28" name="Rounded Rectangle 156"/>
          <p:cNvSpPr>
            <a:spLocks noChangeArrowheads="1"/>
          </p:cNvSpPr>
          <p:nvPr/>
        </p:nvSpPr>
        <p:spPr bwMode="auto">
          <a:xfrm>
            <a:off x="4900106" y="4072543"/>
            <a:ext cx="2159677"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WID</a:t>
            </a:r>
          </a:p>
        </p:txBody>
      </p:sp>
      <p:cxnSp>
        <p:nvCxnSpPr>
          <p:cNvPr id="29" name="Straight Connector 28"/>
          <p:cNvCxnSpPr/>
          <p:nvPr/>
        </p:nvCxnSpPr>
        <p:spPr bwMode="auto">
          <a:xfrm flipV="1">
            <a:off x="2469506" y="1972904"/>
            <a:ext cx="0" cy="3676176"/>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30" name="Straight Connector 29"/>
          <p:cNvCxnSpPr/>
          <p:nvPr/>
        </p:nvCxnSpPr>
        <p:spPr bwMode="auto">
          <a:xfrm flipV="1">
            <a:off x="4386856" y="1972904"/>
            <a:ext cx="0" cy="3679118"/>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31" name="Straight Connector 30"/>
          <p:cNvCxnSpPr/>
          <p:nvPr/>
        </p:nvCxnSpPr>
        <p:spPr bwMode="auto">
          <a:xfrm flipV="1">
            <a:off x="6299524" y="1977884"/>
            <a:ext cx="0" cy="3754772"/>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32" name="Straight Connector 31"/>
          <p:cNvCxnSpPr/>
          <p:nvPr/>
        </p:nvCxnSpPr>
        <p:spPr bwMode="auto">
          <a:xfrm flipV="1">
            <a:off x="8216725" y="1965188"/>
            <a:ext cx="0" cy="3767469"/>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33" name="Straight Connector 32"/>
          <p:cNvCxnSpPr/>
          <p:nvPr/>
        </p:nvCxnSpPr>
        <p:spPr bwMode="auto">
          <a:xfrm flipV="1">
            <a:off x="10133927" y="1977884"/>
            <a:ext cx="1" cy="3754773"/>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sp>
        <p:nvSpPr>
          <p:cNvPr id="34" name="Rounded Rectangle 155"/>
          <p:cNvSpPr>
            <a:spLocks noChangeArrowheads="1"/>
          </p:cNvSpPr>
          <p:nvPr/>
        </p:nvSpPr>
        <p:spPr bwMode="auto">
          <a:xfrm>
            <a:off x="1732577" y="3470124"/>
            <a:ext cx="2626496"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Architecture Study (SA2)</a:t>
            </a:r>
          </a:p>
        </p:txBody>
      </p:sp>
      <p:sp>
        <p:nvSpPr>
          <p:cNvPr id="35" name="Rounded Rectangle 156"/>
          <p:cNvSpPr>
            <a:spLocks noChangeArrowheads="1"/>
          </p:cNvSpPr>
          <p:nvPr/>
        </p:nvSpPr>
        <p:spPr bwMode="auto">
          <a:xfrm>
            <a:off x="4427313" y="3470124"/>
            <a:ext cx="1872062"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a:ln>
                  <a:noFill/>
                </a:ln>
                <a:solidFill>
                  <a:srgbClr val="58585A"/>
                </a:solidFill>
                <a:effectLst/>
                <a:uLnTx/>
                <a:uFillTx/>
              </a:rPr>
              <a:t>WID</a:t>
            </a:r>
          </a:p>
        </p:txBody>
      </p:sp>
      <p:sp>
        <p:nvSpPr>
          <p:cNvPr id="36" name="Rounded Rectangle 155"/>
          <p:cNvSpPr>
            <a:spLocks noChangeArrowheads="1"/>
          </p:cNvSpPr>
          <p:nvPr/>
        </p:nvSpPr>
        <p:spPr bwMode="auto">
          <a:xfrm>
            <a:off x="1228652" y="3155374"/>
            <a:ext cx="2626496"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Requirement Study (SA1)</a:t>
            </a:r>
          </a:p>
        </p:txBody>
      </p:sp>
      <p:sp>
        <p:nvSpPr>
          <p:cNvPr id="37" name="Rounded Rectangle 156"/>
          <p:cNvSpPr>
            <a:spLocks noChangeArrowheads="1"/>
          </p:cNvSpPr>
          <p:nvPr/>
        </p:nvSpPr>
        <p:spPr bwMode="auto">
          <a:xfrm>
            <a:off x="3941477" y="3155375"/>
            <a:ext cx="1162678" cy="22314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WID</a:t>
            </a:r>
          </a:p>
        </p:txBody>
      </p:sp>
      <p:sp>
        <p:nvSpPr>
          <p:cNvPr id="38" name="Isosceles Triangle 4"/>
          <p:cNvSpPr/>
          <p:nvPr/>
        </p:nvSpPr>
        <p:spPr bwMode="auto">
          <a:xfrm>
            <a:off x="6184806" y="5060065"/>
            <a:ext cx="256348" cy="215360"/>
          </a:xfrm>
          <a:prstGeom prst="triangle">
            <a:avLst/>
          </a:prstGeom>
          <a:solidFill>
            <a:srgbClr val="FF3300"/>
          </a:solidFill>
          <a:ln w="19050" cap="flat" cmpd="sng" algn="ctr">
            <a:solidFill>
              <a:srgbClr val="FF0000"/>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sp>
        <p:nvSpPr>
          <p:cNvPr id="39" name="Isosceles Triangle 54"/>
          <p:cNvSpPr/>
          <p:nvPr/>
        </p:nvSpPr>
        <p:spPr bwMode="auto">
          <a:xfrm>
            <a:off x="7165184" y="5060065"/>
            <a:ext cx="256348" cy="215360"/>
          </a:xfrm>
          <a:prstGeom prst="triangle">
            <a:avLst/>
          </a:prstGeom>
          <a:solidFill>
            <a:srgbClr val="FF3300"/>
          </a:solidFill>
          <a:ln w="19050" cap="flat" cmpd="sng" algn="ctr">
            <a:solidFill>
              <a:srgbClr val="FF0000"/>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sp>
        <p:nvSpPr>
          <p:cNvPr id="40" name="TextBox 39"/>
          <p:cNvSpPr txBox="1"/>
          <p:nvPr/>
        </p:nvSpPr>
        <p:spPr>
          <a:xfrm>
            <a:off x="5798086" y="5275425"/>
            <a:ext cx="102075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Option 3</a:t>
            </a:r>
          </a:p>
        </p:txBody>
      </p:sp>
      <p:sp>
        <p:nvSpPr>
          <p:cNvPr id="41" name="TextBox 40"/>
          <p:cNvSpPr txBox="1"/>
          <p:nvPr/>
        </p:nvSpPr>
        <p:spPr>
          <a:xfrm>
            <a:off x="6672856" y="5275425"/>
            <a:ext cx="1258679"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Option 2, 5, 7</a:t>
            </a:r>
            <a:endParaRPr kumimoji="0" lang="en-US" sz="1400" b="0" i="0" u="none" strike="noStrike" kern="0" cap="none" spc="0" normalizeH="0" baseline="0" noProof="0" dirty="0">
              <a:ln>
                <a:noFill/>
              </a:ln>
              <a:solidFill>
                <a:srgbClr val="FFFFFF"/>
              </a:solidFill>
              <a:effectLst/>
              <a:uLnTx/>
              <a:uFillTx/>
            </a:endParaRPr>
          </a:p>
        </p:txBody>
      </p:sp>
      <p:sp>
        <p:nvSpPr>
          <p:cNvPr id="42" name="Rounded Rectangle 156"/>
          <p:cNvSpPr>
            <a:spLocks noChangeArrowheads="1"/>
          </p:cNvSpPr>
          <p:nvPr/>
        </p:nvSpPr>
        <p:spPr bwMode="auto">
          <a:xfrm>
            <a:off x="4900106" y="3774328"/>
            <a:ext cx="2159677" cy="232112"/>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53986" rIns="53986" anchor="ctr"/>
          <a:lstStyle/>
          <a:p>
            <a:pPr algn="ctr" defTabSz="685800" fontAlgn="auto">
              <a:spcBef>
                <a:spcPts val="0"/>
              </a:spcBef>
              <a:spcAft>
                <a:spcPts val="0"/>
              </a:spcAft>
              <a:defRPr/>
            </a:pPr>
            <a:r>
              <a:rPr lang="en-US" sz="1500" b="1" kern="0" dirty="0">
                <a:solidFill>
                  <a:srgbClr val="58585A"/>
                </a:solidFill>
              </a:rPr>
              <a:t>CT WIDs</a:t>
            </a:r>
          </a:p>
        </p:txBody>
      </p:sp>
      <p:grpSp>
        <p:nvGrpSpPr>
          <p:cNvPr id="43" name="Group 42"/>
          <p:cNvGrpSpPr/>
          <p:nvPr/>
        </p:nvGrpSpPr>
        <p:grpSpPr>
          <a:xfrm>
            <a:off x="6137895" y="4515130"/>
            <a:ext cx="2085680" cy="473800"/>
            <a:chOff x="6137908" y="4515413"/>
            <a:chExt cx="2036004" cy="473923"/>
          </a:xfrm>
        </p:grpSpPr>
        <p:sp>
          <p:nvSpPr>
            <p:cNvPr id="44" name="TextBox 43"/>
            <p:cNvSpPr txBox="1"/>
            <p:nvPr/>
          </p:nvSpPr>
          <p:spPr>
            <a:xfrm>
              <a:off x="6137908" y="4712265"/>
              <a:ext cx="2036004" cy="27707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rPr>
                <a:t>5G Ph1 Acceleration- NSA</a:t>
              </a:r>
            </a:p>
          </p:txBody>
        </p:sp>
        <p:sp>
          <p:nvSpPr>
            <p:cNvPr id="45" name="Left Arrow 18"/>
            <p:cNvSpPr/>
            <p:nvPr/>
          </p:nvSpPr>
          <p:spPr bwMode="auto">
            <a:xfrm>
              <a:off x="6298606" y="4515413"/>
              <a:ext cx="991267" cy="196874"/>
            </a:xfrm>
            <a:prstGeom prst="leftArrow">
              <a:avLst/>
            </a:prstGeom>
            <a:solidFill>
              <a:srgbClr val="F3B329"/>
            </a:solidFill>
            <a:ln w="12700" cap="flat" cmpd="sng" algn="ctr">
              <a:solidFill>
                <a:schemeClr val="tx1"/>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grpSp>
      <p:sp>
        <p:nvSpPr>
          <p:cNvPr id="46" name="Rounded Rectangle 102"/>
          <p:cNvSpPr/>
          <p:nvPr/>
        </p:nvSpPr>
        <p:spPr bwMode="auto">
          <a:xfrm>
            <a:off x="7348269" y="3587448"/>
            <a:ext cx="2331568" cy="633435"/>
          </a:xfrm>
          <a:prstGeom prst="roundRect">
            <a:avLst>
              <a:gd name="adj" fmla="val 11475"/>
            </a:avLst>
          </a:prstGeom>
          <a:solidFill>
            <a:srgbClr val="C3C5D9">
              <a:alpha val="61961"/>
            </a:srgbClr>
          </a:solidFill>
          <a:ln w="25400" cap="flat" cmpd="sng" algn="ctr">
            <a:solidFill>
              <a:srgbClr val="FFFFFF"/>
            </a:solidFill>
            <a:prstDash val="dash"/>
            <a:round/>
            <a:headEnd type="none" w="med" len="med"/>
            <a:tailEnd type="none" w="med" len="med"/>
          </a:ln>
          <a:effectLst/>
        </p:spPr>
        <p:txBody>
          <a:bodyPr vert="horz" wrap="none" lIns="71981" tIns="45708" rIns="71981" bIns="45708"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2"/>
                </a:solidFill>
                <a:effectLst/>
                <a:uLnTx/>
                <a:uFillTx/>
              </a:rPr>
              <a:t>Early </a:t>
            </a:r>
            <a:br>
              <a:rPr kumimoji="0" lang="en-US" sz="1799" b="0" i="0" u="none" strike="noStrike" kern="0" cap="none" spc="0" normalizeH="0" baseline="0" noProof="0">
                <a:ln>
                  <a:noFill/>
                </a:ln>
                <a:solidFill>
                  <a:schemeClr val="tx2"/>
                </a:solidFill>
                <a:effectLst/>
                <a:uLnTx/>
                <a:uFillTx/>
              </a:rPr>
            </a:br>
            <a:r>
              <a:rPr kumimoji="0" lang="en-US" sz="1799" b="0" i="0" u="none" strike="noStrike" kern="0" cap="none" spc="0" normalizeH="0" baseline="0" noProof="0">
                <a:ln>
                  <a:noFill/>
                </a:ln>
                <a:solidFill>
                  <a:schemeClr val="tx2"/>
                </a:solidFill>
                <a:effectLst/>
                <a:uLnTx/>
                <a:uFillTx/>
              </a:rPr>
              <a:t>deployments </a:t>
            </a:r>
          </a:p>
        </p:txBody>
      </p:sp>
      <p:grpSp>
        <p:nvGrpSpPr>
          <p:cNvPr id="47" name="Group 46"/>
          <p:cNvGrpSpPr/>
          <p:nvPr/>
        </p:nvGrpSpPr>
        <p:grpSpPr>
          <a:xfrm>
            <a:off x="9344930" y="3587448"/>
            <a:ext cx="2826089" cy="633435"/>
            <a:chOff x="7736035" y="2162850"/>
            <a:chExt cx="3693965" cy="633600"/>
          </a:xfrm>
        </p:grpSpPr>
        <p:sp>
          <p:nvSpPr>
            <p:cNvPr id="48" name="Rounded Rectangle 104"/>
            <p:cNvSpPr/>
            <p:nvPr/>
          </p:nvSpPr>
          <p:spPr bwMode="auto">
            <a:xfrm>
              <a:off x="7736035" y="2162850"/>
              <a:ext cx="3693965" cy="633600"/>
            </a:xfrm>
            <a:prstGeom prst="roundRect">
              <a:avLst>
                <a:gd name="adj" fmla="val 11475"/>
              </a:avLst>
            </a:prstGeom>
            <a:solidFill>
              <a:srgbClr val="C3C5D9"/>
            </a:solidFill>
            <a:ln w="25400" cap="flat" cmpd="sng" algn="ctr">
              <a:solidFill>
                <a:srgbClr val="FFFFFF"/>
              </a:solidFill>
              <a:prstDash val="solid"/>
              <a:round/>
              <a:headEnd type="none" w="med" len="med"/>
              <a:tailEnd type="none" w="med" len="med"/>
            </a:ln>
            <a:effectLst/>
          </p:spPr>
          <p:txBody>
            <a:bodyPr vert="horz" wrap="none" lIns="71981" tIns="45708" rIns="71981" bIns="45708"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2"/>
                  </a:solidFill>
                  <a:effectLst/>
                  <a:uLnTx/>
                  <a:uFillTx/>
                </a:rPr>
                <a:t>Commercial </a:t>
              </a:r>
              <a:br>
                <a:rPr kumimoji="0" lang="en-US" sz="1799" b="0" i="0" u="none" strike="noStrike" kern="0" cap="none" spc="0" normalizeH="0" baseline="0" noProof="0">
                  <a:ln>
                    <a:noFill/>
                  </a:ln>
                  <a:solidFill>
                    <a:schemeClr val="tx2"/>
                  </a:solidFill>
                  <a:effectLst/>
                  <a:uLnTx/>
                  <a:uFillTx/>
                </a:rPr>
              </a:br>
              <a:r>
                <a:rPr kumimoji="0" lang="en-US" sz="1799" b="0" i="0" u="none" strike="noStrike" kern="0" cap="none" spc="0" normalizeH="0" baseline="0" noProof="0">
                  <a:ln>
                    <a:noFill/>
                  </a:ln>
                  <a:solidFill>
                    <a:schemeClr val="tx2"/>
                  </a:solidFill>
                  <a:effectLst/>
                  <a:uLnTx/>
                  <a:uFillTx/>
                </a:rPr>
                <a:t>5G with NR (Ph1)</a:t>
              </a:r>
            </a:p>
          </p:txBody>
        </p:sp>
        <p:sp>
          <p:nvSpPr>
            <p:cNvPr id="49" name="Freeform 3"/>
            <p:cNvSpPr>
              <a:spLocks noChangeAspect="1" noEditPoints="1"/>
            </p:cNvSpPr>
            <p:nvPr/>
          </p:nvSpPr>
          <p:spPr bwMode="auto">
            <a:xfrm>
              <a:off x="10849749" y="2260503"/>
              <a:ext cx="409057" cy="426924"/>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00285F"/>
            </a:solidFill>
            <a:ln>
              <a:noFill/>
            </a:ln>
            <a:ex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chemeClr val="tx2"/>
                </a:solidFill>
                <a:effectLst/>
                <a:uLnTx/>
                <a:uFillTx/>
              </a:endParaRPr>
            </a:p>
          </p:txBody>
        </p:sp>
      </p:grpSp>
      <p:sp>
        <p:nvSpPr>
          <p:cNvPr id="50" name="Rectangle 49"/>
          <p:cNvSpPr/>
          <p:nvPr/>
        </p:nvSpPr>
        <p:spPr>
          <a:xfrm>
            <a:off x="7384968" y="5807290"/>
            <a:ext cx="4597277" cy="979755"/>
          </a:xfrm>
          <a:prstGeom prst="rect">
            <a:avLst/>
          </a:prstGeom>
        </p:spPr>
        <p:txBody>
          <a:bodyPr wrap="square">
            <a:spAutoFit/>
          </a:bodyPr>
          <a:lstStyle/>
          <a:p>
            <a:pPr marL="285750" marR="0" lvl="1" indent="-285750" defTabSz="914400" eaLnBrk="1" fontAlgn="auto" latinLnBrk="0" hangingPunct="1">
              <a:lnSpc>
                <a:spcPct val="100000"/>
              </a:lnSpc>
              <a:spcBef>
                <a:spcPts val="240"/>
              </a:spcBef>
              <a:spcAft>
                <a:spcPts val="0"/>
              </a:spcAft>
              <a:buClr>
                <a:schemeClr val="bg1"/>
              </a:buClr>
              <a:buSzTx/>
              <a:buFont typeface="Arial" charset="0"/>
              <a:buChar char="•"/>
              <a:tabLst/>
              <a:defRPr/>
            </a:pPr>
            <a:r>
              <a:rPr kumimoji="0" lang="en-US" sz="1400" b="0" i="0" u="none" strike="noStrike" kern="0" cap="none" spc="0" normalizeH="0" baseline="0" noProof="0" dirty="0">
                <a:ln>
                  <a:noFill/>
                </a:ln>
                <a:solidFill>
                  <a:srgbClr val="FFFFFF"/>
                </a:solidFill>
                <a:effectLst/>
                <a:uLnTx/>
                <a:uFillTx/>
              </a:rPr>
              <a:t>Option 3 Non-Stand-alone (NSA) NR using LTE as Control Plane (CP) anchor </a:t>
            </a:r>
          </a:p>
          <a:p>
            <a:pPr marL="285750" marR="0" lvl="1" indent="-285750" defTabSz="914400" eaLnBrk="1" fontAlgn="auto" latinLnBrk="0" hangingPunct="1">
              <a:lnSpc>
                <a:spcPct val="100000"/>
              </a:lnSpc>
              <a:spcBef>
                <a:spcPts val="240"/>
              </a:spcBef>
              <a:spcAft>
                <a:spcPts val="0"/>
              </a:spcAft>
              <a:buClr>
                <a:schemeClr val="bg1"/>
              </a:buClr>
              <a:buSzTx/>
              <a:buFont typeface="Arial" charset="0"/>
              <a:buChar char="•"/>
              <a:tabLst/>
              <a:defRPr/>
            </a:pPr>
            <a:r>
              <a:rPr kumimoji="0" lang="en-US" sz="1400" b="0" i="0" u="none" strike="noStrike" kern="0" cap="none" spc="0" normalizeH="0" baseline="0" noProof="0" dirty="0">
                <a:ln>
                  <a:noFill/>
                </a:ln>
                <a:solidFill>
                  <a:srgbClr val="FFFFFF"/>
                </a:solidFill>
                <a:effectLst/>
                <a:uLnTx/>
                <a:uFillTx/>
              </a:rPr>
              <a:t>Option 2 Stand-alone (SA) NR w/ full CP capability for NR</a:t>
            </a:r>
          </a:p>
        </p:txBody>
      </p:sp>
    </p:spTree>
    <p:extLst>
      <p:ext uri="{BB962C8B-B14F-4D97-AF65-F5344CB8AC3E}">
        <p14:creationId xmlns:p14="http://schemas.microsoft.com/office/powerpoint/2010/main" val="319954479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RAN-CN option 3</a:t>
            </a:r>
          </a:p>
        </p:txBody>
      </p:sp>
      <p:sp>
        <p:nvSpPr>
          <p:cNvPr id="4" name="Content Placeholder 2"/>
          <p:cNvSpPr txBox="1">
            <a:spLocks/>
          </p:cNvSpPr>
          <p:nvPr/>
        </p:nvSpPr>
        <p:spPr>
          <a:xfrm>
            <a:off x="330063" y="1800225"/>
            <a:ext cx="7556994" cy="4724400"/>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altLang="en-US" kern="0" dirty="0"/>
              <a:t>Option 3/3A/3X - </a:t>
            </a:r>
            <a:r>
              <a:rPr lang="en-US" altLang="es-ES_tradnl" kern="0" dirty="0">
                <a:solidFill>
                  <a:srgbClr val="0066CC"/>
                </a:solidFill>
              </a:rPr>
              <a:t>“LTE assisted” NR with EPC CN </a:t>
            </a:r>
            <a:endParaRPr lang="en-US" altLang="en-US" kern="0" dirty="0">
              <a:solidFill>
                <a:srgbClr val="0066CC"/>
              </a:solidFill>
            </a:endParaRPr>
          </a:p>
          <a:p>
            <a:pPr lvl="1"/>
            <a:r>
              <a:rPr lang="en-US" kern="0" dirty="0"/>
              <a:t>NR anchored in LTE </a:t>
            </a:r>
            <a:r>
              <a:rPr lang="en-US" kern="0" dirty="0" err="1"/>
              <a:t>eNb</a:t>
            </a:r>
            <a:r>
              <a:rPr lang="en-US" kern="0" dirty="0"/>
              <a:t> and used for User Plane only</a:t>
            </a:r>
          </a:p>
          <a:p>
            <a:pPr lvl="1"/>
            <a:r>
              <a:rPr lang="en-US" kern="0" dirty="0"/>
              <a:t>Option 3A: NR User Plane directly to EPC</a:t>
            </a:r>
          </a:p>
          <a:p>
            <a:pPr lvl="1"/>
            <a:r>
              <a:rPr lang="en-US" kern="0" dirty="0"/>
              <a:t>Option 3X: User Plane aggregated in NR </a:t>
            </a:r>
            <a:r>
              <a:rPr lang="en-US" kern="0" dirty="0" err="1"/>
              <a:t>gNb</a:t>
            </a:r>
            <a:r>
              <a:rPr lang="en-US" kern="0" dirty="0"/>
              <a:t> towards EPC</a:t>
            </a:r>
          </a:p>
          <a:p>
            <a:pPr lvl="1"/>
            <a:r>
              <a:rPr lang="en-US" kern="0" dirty="0"/>
              <a:t>Control plane EPC-NAS via LTE</a:t>
            </a:r>
          </a:p>
          <a:p>
            <a:pPr lvl="1"/>
            <a:r>
              <a:rPr lang="en-US" kern="0" dirty="0"/>
              <a:t>Minor functional impacts expected on EPC</a:t>
            </a:r>
          </a:p>
          <a:p>
            <a:pPr lvl="2"/>
            <a:r>
              <a:rPr lang="en-US" kern="0" dirty="0"/>
              <a:t>Access restriction data addition</a:t>
            </a:r>
          </a:p>
          <a:p>
            <a:pPr lvl="2"/>
            <a:r>
              <a:rPr lang="en-US" kern="0" dirty="0"/>
              <a:t>Minor S1 impacts</a:t>
            </a:r>
          </a:p>
          <a:p>
            <a:pPr lvl="2"/>
            <a:r>
              <a:rPr lang="en-US" kern="0" dirty="0"/>
              <a:t>Does CN need to know about NR usage for charging?</a:t>
            </a:r>
          </a:p>
          <a:p>
            <a:pPr lvl="1"/>
            <a:r>
              <a:rPr lang="en-US" altLang="en-US" kern="0" dirty="0"/>
              <a:t>Modifications to RRC needed, e.g. enhancements to LTE RRC to include NR information elements (IE:s)</a:t>
            </a:r>
          </a:p>
          <a:p>
            <a:pPr lvl="1"/>
            <a:r>
              <a:rPr lang="en-US" altLang="en-US" kern="0" dirty="0"/>
              <a:t>Minor X2 impacts</a:t>
            </a:r>
          </a:p>
        </p:txBody>
      </p:sp>
      <p:grpSp>
        <p:nvGrpSpPr>
          <p:cNvPr id="123" name="Group 261"/>
          <p:cNvGrpSpPr>
            <a:grpSpLocks/>
          </p:cNvGrpSpPr>
          <p:nvPr/>
        </p:nvGrpSpPr>
        <p:grpSpPr bwMode="auto">
          <a:xfrm>
            <a:off x="9311235" y="1631829"/>
            <a:ext cx="496390" cy="689716"/>
            <a:chOff x="239" y="1832"/>
            <a:chExt cx="363" cy="520"/>
          </a:xfrm>
        </p:grpSpPr>
        <p:sp>
          <p:nvSpPr>
            <p:cNvPr id="19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9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9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0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0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202" name="Group 201"/>
          <p:cNvGrpSpPr>
            <a:grpSpLocks noChangeAspect="1"/>
          </p:cNvGrpSpPr>
          <p:nvPr/>
        </p:nvGrpSpPr>
        <p:grpSpPr bwMode="auto">
          <a:xfrm>
            <a:off x="9311918" y="2847805"/>
            <a:ext cx="496390" cy="703123"/>
            <a:chOff x="3106" y="2389"/>
            <a:chExt cx="363" cy="520"/>
          </a:xfrm>
        </p:grpSpPr>
        <p:sp>
          <p:nvSpPr>
            <p:cNvPr id="20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0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0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0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0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208" name="Group 9"/>
          <p:cNvGrpSpPr>
            <a:grpSpLocks/>
          </p:cNvGrpSpPr>
          <p:nvPr/>
        </p:nvGrpSpPr>
        <p:grpSpPr bwMode="auto">
          <a:xfrm>
            <a:off x="8957103" y="3806438"/>
            <a:ext cx="239369" cy="360989"/>
            <a:chOff x="416" y="1332"/>
            <a:chExt cx="408" cy="737"/>
          </a:xfrm>
        </p:grpSpPr>
        <p:sp>
          <p:nvSpPr>
            <p:cNvPr id="209"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210" name="Group 11"/>
            <p:cNvGrpSpPr>
              <a:grpSpLocks/>
            </p:cNvGrpSpPr>
            <p:nvPr/>
          </p:nvGrpSpPr>
          <p:grpSpPr bwMode="auto">
            <a:xfrm>
              <a:off x="416" y="1332"/>
              <a:ext cx="408" cy="737"/>
              <a:chOff x="518" y="1338"/>
              <a:chExt cx="357" cy="568"/>
            </a:xfrm>
          </p:grpSpPr>
          <p:sp>
            <p:nvSpPr>
              <p:cNvPr id="211"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212"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213" name="Straight Connector 212"/>
          <p:cNvCxnSpPr>
            <a:stCxn id="227" idx="1"/>
            <a:endCxn id="218" idx="2"/>
          </p:cNvCxnSpPr>
          <p:nvPr/>
        </p:nvCxnSpPr>
        <p:spPr bwMode="auto">
          <a:xfrm flipV="1">
            <a:off x="8449618" y="2297671"/>
            <a:ext cx="226576" cy="64260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14" name="Straight Connector 213"/>
          <p:cNvCxnSpPr>
            <a:stCxn id="227" idx="7"/>
            <a:endCxn id="218" idx="2"/>
          </p:cNvCxnSpPr>
          <p:nvPr/>
        </p:nvCxnSpPr>
        <p:spPr bwMode="auto">
          <a:xfrm flipH="1" flipV="1">
            <a:off x="8676194" y="2297671"/>
            <a:ext cx="113788" cy="64260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5" name="Straight Connector 214"/>
          <p:cNvCxnSpPr/>
          <p:nvPr/>
        </p:nvCxnSpPr>
        <p:spPr bwMode="auto">
          <a:xfrm flipV="1">
            <a:off x="9076787" y="3542816"/>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16" name="Straight Connector 215"/>
          <p:cNvCxnSpPr/>
          <p:nvPr/>
        </p:nvCxnSpPr>
        <p:spPr bwMode="auto">
          <a:xfrm flipH="1" flipV="1">
            <a:off x="8592668" y="3541125"/>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217" name="Group 261"/>
          <p:cNvGrpSpPr>
            <a:grpSpLocks/>
          </p:cNvGrpSpPr>
          <p:nvPr/>
        </p:nvGrpSpPr>
        <p:grpSpPr bwMode="auto">
          <a:xfrm>
            <a:off x="8427315" y="1615913"/>
            <a:ext cx="496390" cy="689716"/>
            <a:chOff x="239" y="1832"/>
            <a:chExt cx="363" cy="520"/>
          </a:xfrm>
        </p:grpSpPr>
        <p:sp>
          <p:nvSpPr>
            <p:cNvPr id="21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1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2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 EPC</a:t>
              </a:r>
            </a:p>
          </p:txBody>
        </p:sp>
        <p:sp>
          <p:nvSpPr>
            <p:cNvPr id="22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2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223" name="Straight Connector 222"/>
          <p:cNvCxnSpPr>
            <a:endCxn id="226" idx="2"/>
          </p:cNvCxnSpPr>
          <p:nvPr/>
        </p:nvCxnSpPr>
        <p:spPr bwMode="auto">
          <a:xfrm flipH="1" flipV="1">
            <a:off x="8621168" y="3555525"/>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24" name="Straight Connector 223"/>
          <p:cNvCxnSpPr>
            <a:stCxn id="205" idx="1"/>
            <a:endCxn id="228" idx="3"/>
          </p:cNvCxnSpPr>
          <p:nvPr/>
        </p:nvCxnSpPr>
        <p:spPr bwMode="auto">
          <a:xfrm flipH="1">
            <a:off x="8842697" y="3382584"/>
            <a:ext cx="492468" cy="1271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25" name="Group 224"/>
          <p:cNvGrpSpPr>
            <a:grpSpLocks noChangeAspect="1"/>
          </p:cNvGrpSpPr>
          <p:nvPr/>
        </p:nvGrpSpPr>
        <p:grpSpPr bwMode="auto">
          <a:xfrm>
            <a:off x="8372289" y="2860515"/>
            <a:ext cx="496390" cy="703123"/>
            <a:chOff x="3106" y="2389"/>
            <a:chExt cx="363" cy="520"/>
          </a:xfrm>
        </p:grpSpPr>
        <p:sp>
          <p:nvSpPr>
            <p:cNvPr id="22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2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2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2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3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231" name="Straight Connector 230"/>
          <p:cNvCxnSpPr>
            <a:stCxn id="204" idx="0"/>
            <a:endCxn id="218" idx="2"/>
          </p:cNvCxnSpPr>
          <p:nvPr/>
        </p:nvCxnSpPr>
        <p:spPr bwMode="auto">
          <a:xfrm flipH="1" flipV="1">
            <a:off x="8676194" y="2297671"/>
            <a:ext cx="883235" cy="559599"/>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232" name="TextBox 231"/>
          <p:cNvSpPr txBox="1"/>
          <p:nvPr/>
        </p:nvSpPr>
        <p:spPr>
          <a:xfrm rot="1930901">
            <a:off x="9013568" y="2444577"/>
            <a:ext cx="601447" cy="215444"/>
          </a:xfrm>
          <a:prstGeom prst="rect">
            <a:avLst/>
          </a:prstGeom>
          <a:noFill/>
        </p:spPr>
        <p:txBody>
          <a:bodyPr wrap="none" rtlCol="0">
            <a:spAutoFit/>
          </a:bodyPr>
          <a:lstStyle/>
          <a:p>
            <a:r>
              <a:rPr lang="en-US" sz="800" b="1" dirty="0">
                <a:latin typeface="+mn-lt"/>
              </a:rPr>
              <a:t>Option 3</a:t>
            </a:r>
          </a:p>
        </p:txBody>
      </p:sp>
      <p:sp>
        <p:nvSpPr>
          <p:cNvPr id="233" name="Freeform: Shape 232"/>
          <p:cNvSpPr/>
          <p:nvPr/>
        </p:nvSpPr>
        <p:spPr bwMode="auto">
          <a:xfrm>
            <a:off x="8470784" y="2350280"/>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234" name="Freeform: Shape 8"/>
          <p:cNvSpPr>
            <a:spLocks/>
          </p:cNvSpPr>
          <p:nvPr/>
        </p:nvSpPr>
        <p:spPr bwMode="auto">
          <a:xfrm>
            <a:off x="8660082" y="2378716"/>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35" name="Freeform: Shape 9"/>
          <p:cNvSpPr>
            <a:spLocks/>
          </p:cNvSpPr>
          <p:nvPr/>
        </p:nvSpPr>
        <p:spPr bwMode="auto">
          <a:xfrm>
            <a:off x="8676020" y="3330586"/>
            <a:ext cx="977653" cy="568132"/>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961 w 909161"/>
              <a:gd name="connsiteY0" fmla="*/ 1738836 h 1738836"/>
              <a:gd name="connsiteX1" fmla="*/ 803134 w 909161"/>
              <a:gd name="connsiteY1" fmla="*/ 1293660 h 1738836"/>
              <a:gd name="connsiteX2" fmla="*/ 818817 w 909161"/>
              <a:gd name="connsiteY2" fmla="*/ 18226 h 1738836"/>
              <a:gd name="connsiteX3" fmla="*/ 7345 w 909161"/>
              <a:gd name="connsiteY3" fmla="*/ 220426 h 1738836"/>
              <a:gd name="connsiteX0" fmla="*/ 302961 w 869707"/>
              <a:gd name="connsiteY0" fmla="*/ 1738836 h 1738836"/>
              <a:gd name="connsiteX1" fmla="*/ 617552 w 869707"/>
              <a:gd name="connsiteY1" fmla="*/ 1146364 h 1738836"/>
              <a:gd name="connsiteX2" fmla="*/ 818817 w 869707"/>
              <a:gd name="connsiteY2" fmla="*/ 18226 h 1738836"/>
              <a:gd name="connsiteX3" fmla="*/ 7345 w 869707"/>
              <a:gd name="connsiteY3" fmla="*/ 220426 h 1738836"/>
              <a:gd name="connsiteX0" fmla="*/ 428934 w 995680"/>
              <a:gd name="connsiteY0" fmla="*/ 1738836 h 1738836"/>
              <a:gd name="connsiteX1" fmla="*/ 743525 w 995680"/>
              <a:gd name="connsiteY1" fmla="*/ 1146364 h 1738836"/>
              <a:gd name="connsiteX2" fmla="*/ 944790 w 995680"/>
              <a:gd name="connsiteY2" fmla="*/ 18226 h 1738836"/>
              <a:gd name="connsiteX3" fmla="*/ 6340 w 995680"/>
              <a:gd name="connsiteY3" fmla="*/ 220426 h 1738836"/>
              <a:gd name="connsiteX0" fmla="*/ 428934 w 992098"/>
              <a:gd name="connsiteY0" fmla="*/ 1738836 h 1738836"/>
              <a:gd name="connsiteX1" fmla="*/ 631174 w 992098"/>
              <a:gd name="connsiteY1" fmla="*/ 1413293 h 1738836"/>
              <a:gd name="connsiteX2" fmla="*/ 743525 w 992098"/>
              <a:gd name="connsiteY2" fmla="*/ 1146364 h 1738836"/>
              <a:gd name="connsiteX3" fmla="*/ 944790 w 992098"/>
              <a:gd name="connsiteY3" fmla="*/ 18226 h 1738836"/>
              <a:gd name="connsiteX4" fmla="*/ 6340 w 992098"/>
              <a:gd name="connsiteY4" fmla="*/ 220426 h 17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098" h="1738836">
                <a:moveTo>
                  <a:pt x="428934" y="1738836"/>
                </a:moveTo>
                <a:cubicBezTo>
                  <a:pt x="469152" y="1689489"/>
                  <a:pt x="578742" y="1512038"/>
                  <a:pt x="631174" y="1413293"/>
                </a:cubicBezTo>
                <a:cubicBezTo>
                  <a:pt x="683606" y="1314548"/>
                  <a:pt x="691256" y="1378875"/>
                  <a:pt x="743525" y="1146364"/>
                </a:cubicBezTo>
                <a:cubicBezTo>
                  <a:pt x="795794" y="913853"/>
                  <a:pt x="1109382" y="138114"/>
                  <a:pt x="944790" y="18226"/>
                </a:cubicBezTo>
                <a:cubicBezTo>
                  <a:pt x="780198" y="-101662"/>
                  <a:pt x="-82052" y="416514"/>
                  <a:pt x="6340" y="220426"/>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grpSp>
        <p:nvGrpSpPr>
          <p:cNvPr id="236" name="Group 235"/>
          <p:cNvGrpSpPr/>
          <p:nvPr/>
        </p:nvGrpSpPr>
        <p:grpSpPr>
          <a:xfrm>
            <a:off x="10206631" y="5860658"/>
            <a:ext cx="1871073" cy="630942"/>
            <a:chOff x="8784866" y="5459894"/>
            <a:chExt cx="1871073" cy="630942"/>
          </a:xfrm>
        </p:grpSpPr>
        <p:cxnSp>
          <p:nvCxnSpPr>
            <p:cNvPr id="237" name="Straight Connector 236"/>
            <p:cNvCxnSpPr/>
            <p:nvPr/>
          </p:nvCxnSpPr>
          <p:spPr bwMode="auto">
            <a:xfrm>
              <a:off x="8791490" y="5618922"/>
              <a:ext cx="503545" cy="0"/>
            </a:xfrm>
            <a:prstGeom prst="line">
              <a:avLst/>
            </a:prstGeom>
            <a:noFill/>
            <a:ln w="38100" cap="flat" cmpd="sng" algn="ctr">
              <a:solidFill>
                <a:schemeClr val="tx2">
                  <a:lumMod val="75000"/>
                  <a:lumOff val="25000"/>
                </a:schemeClr>
              </a:solidFill>
              <a:prstDash val="solid"/>
              <a:round/>
              <a:headEnd type="none" w="med" len="med"/>
              <a:tailEnd type="none" w="med" len="med"/>
            </a:ln>
            <a:effectLst/>
          </p:spPr>
        </p:cxnSp>
        <p:cxnSp>
          <p:nvCxnSpPr>
            <p:cNvPr id="238" name="Straight Connector 237"/>
            <p:cNvCxnSpPr/>
            <p:nvPr/>
          </p:nvCxnSpPr>
          <p:spPr bwMode="auto">
            <a:xfrm>
              <a:off x="8784866" y="5943598"/>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239" name="TextBox 238"/>
            <p:cNvSpPr txBox="1"/>
            <p:nvPr/>
          </p:nvSpPr>
          <p:spPr>
            <a:xfrm>
              <a:off x="9386040" y="5459894"/>
              <a:ext cx="1269899" cy="630942"/>
            </a:xfrm>
            <a:prstGeom prst="rect">
              <a:avLst/>
            </a:prstGeom>
            <a:noFill/>
          </p:spPr>
          <p:txBody>
            <a:bodyPr wrap="none" rtlCol="0">
              <a:spAutoFit/>
            </a:bodyPr>
            <a:lstStyle/>
            <a:p>
              <a:r>
                <a:rPr lang="en-US" sz="1400" dirty="0"/>
                <a:t>Control Plane</a:t>
              </a:r>
            </a:p>
            <a:p>
              <a:r>
                <a:rPr lang="en-US" sz="1400" dirty="0"/>
                <a:t>User Plane</a:t>
              </a:r>
            </a:p>
          </p:txBody>
        </p:sp>
      </p:grpSp>
      <p:sp>
        <p:nvSpPr>
          <p:cNvPr id="240" name="Rectangle 239"/>
          <p:cNvSpPr/>
          <p:nvPr/>
        </p:nvSpPr>
        <p:spPr bwMode="auto">
          <a:xfrm>
            <a:off x="8147100" y="1615913"/>
            <a:ext cx="1805422" cy="2551514"/>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241" name="Group 261"/>
          <p:cNvGrpSpPr>
            <a:grpSpLocks/>
          </p:cNvGrpSpPr>
          <p:nvPr/>
        </p:nvGrpSpPr>
        <p:grpSpPr bwMode="auto">
          <a:xfrm>
            <a:off x="11253933" y="1649479"/>
            <a:ext cx="496390" cy="689716"/>
            <a:chOff x="239" y="1832"/>
            <a:chExt cx="363" cy="520"/>
          </a:xfrm>
        </p:grpSpPr>
        <p:sp>
          <p:nvSpPr>
            <p:cNvPr id="24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4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247" name="Group 246"/>
          <p:cNvGrpSpPr>
            <a:grpSpLocks noChangeAspect="1"/>
          </p:cNvGrpSpPr>
          <p:nvPr/>
        </p:nvGrpSpPr>
        <p:grpSpPr bwMode="auto">
          <a:xfrm>
            <a:off x="11254616" y="2865455"/>
            <a:ext cx="496390" cy="703123"/>
            <a:chOff x="3106" y="2389"/>
            <a:chExt cx="363" cy="520"/>
          </a:xfrm>
        </p:grpSpPr>
        <p:sp>
          <p:nvSpPr>
            <p:cNvPr id="24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4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5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5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5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253" name="Group 9"/>
          <p:cNvGrpSpPr>
            <a:grpSpLocks/>
          </p:cNvGrpSpPr>
          <p:nvPr/>
        </p:nvGrpSpPr>
        <p:grpSpPr bwMode="auto">
          <a:xfrm>
            <a:off x="10899801" y="3824088"/>
            <a:ext cx="239369" cy="360989"/>
            <a:chOff x="416" y="1332"/>
            <a:chExt cx="408" cy="737"/>
          </a:xfrm>
        </p:grpSpPr>
        <p:sp>
          <p:nvSpPr>
            <p:cNvPr id="254"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255" name="Group 11"/>
            <p:cNvGrpSpPr>
              <a:grpSpLocks/>
            </p:cNvGrpSpPr>
            <p:nvPr/>
          </p:nvGrpSpPr>
          <p:grpSpPr bwMode="auto">
            <a:xfrm>
              <a:off x="416" y="1332"/>
              <a:ext cx="408" cy="737"/>
              <a:chOff x="518" y="1338"/>
              <a:chExt cx="357" cy="568"/>
            </a:xfrm>
          </p:grpSpPr>
          <p:sp>
            <p:nvSpPr>
              <p:cNvPr id="256"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257"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258" name="Straight Connector 257"/>
          <p:cNvCxnSpPr>
            <a:stCxn id="272" idx="1"/>
            <a:endCxn id="263" idx="2"/>
          </p:cNvCxnSpPr>
          <p:nvPr/>
        </p:nvCxnSpPr>
        <p:spPr bwMode="auto">
          <a:xfrm flipV="1">
            <a:off x="10392316" y="2315321"/>
            <a:ext cx="226576" cy="64260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59" name="Straight Connector 258"/>
          <p:cNvCxnSpPr>
            <a:stCxn id="272" idx="7"/>
            <a:endCxn id="263" idx="2"/>
          </p:cNvCxnSpPr>
          <p:nvPr/>
        </p:nvCxnSpPr>
        <p:spPr bwMode="auto">
          <a:xfrm flipH="1" flipV="1">
            <a:off x="10618892" y="2315321"/>
            <a:ext cx="113788" cy="64260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60" name="Straight Connector 259"/>
          <p:cNvCxnSpPr/>
          <p:nvPr/>
        </p:nvCxnSpPr>
        <p:spPr bwMode="auto">
          <a:xfrm flipV="1">
            <a:off x="11019485" y="3560466"/>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61" name="Straight Connector 260"/>
          <p:cNvCxnSpPr/>
          <p:nvPr/>
        </p:nvCxnSpPr>
        <p:spPr bwMode="auto">
          <a:xfrm flipH="1" flipV="1">
            <a:off x="10535366" y="3558775"/>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262" name="Group 261"/>
          <p:cNvGrpSpPr>
            <a:grpSpLocks/>
          </p:cNvGrpSpPr>
          <p:nvPr/>
        </p:nvGrpSpPr>
        <p:grpSpPr bwMode="auto">
          <a:xfrm>
            <a:off x="10370013" y="1633563"/>
            <a:ext cx="496390" cy="689716"/>
            <a:chOff x="239" y="1832"/>
            <a:chExt cx="363" cy="520"/>
          </a:xfrm>
        </p:grpSpPr>
        <p:sp>
          <p:nvSpPr>
            <p:cNvPr id="26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6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6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 EPC</a:t>
              </a:r>
            </a:p>
          </p:txBody>
        </p:sp>
        <p:sp>
          <p:nvSpPr>
            <p:cNvPr id="26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67"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268" name="Straight Connector 267"/>
          <p:cNvCxnSpPr>
            <a:endCxn id="271" idx="2"/>
          </p:cNvCxnSpPr>
          <p:nvPr/>
        </p:nvCxnSpPr>
        <p:spPr bwMode="auto">
          <a:xfrm flipH="1" flipV="1">
            <a:off x="10563866" y="3573175"/>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69" name="Straight Connector 268"/>
          <p:cNvCxnSpPr>
            <a:stCxn id="250" idx="1"/>
            <a:endCxn id="273" idx="3"/>
          </p:cNvCxnSpPr>
          <p:nvPr/>
        </p:nvCxnSpPr>
        <p:spPr bwMode="auto">
          <a:xfrm flipH="1">
            <a:off x="10785395" y="3400234"/>
            <a:ext cx="492468" cy="1271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70" name="Group 269"/>
          <p:cNvGrpSpPr>
            <a:grpSpLocks noChangeAspect="1"/>
          </p:cNvGrpSpPr>
          <p:nvPr/>
        </p:nvGrpSpPr>
        <p:grpSpPr bwMode="auto">
          <a:xfrm>
            <a:off x="10314987" y="2878165"/>
            <a:ext cx="496390" cy="703123"/>
            <a:chOff x="3106" y="2389"/>
            <a:chExt cx="363" cy="520"/>
          </a:xfrm>
        </p:grpSpPr>
        <p:sp>
          <p:nvSpPr>
            <p:cNvPr id="27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7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7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7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7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276" name="Straight Connector 275"/>
          <p:cNvCxnSpPr>
            <a:stCxn id="249" idx="0"/>
            <a:endCxn id="263" idx="2"/>
          </p:cNvCxnSpPr>
          <p:nvPr/>
        </p:nvCxnSpPr>
        <p:spPr bwMode="auto">
          <a:xfrm flipH="1" flipV="1">
            <a:off x="10618892" y="2315321"/>
            <a:ext cx="883235" cy="559599"/>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277" name="TextBox 276"/>
          <p:cNvSpPr txBox="1"/>
          <p:nvPr/>
        </p:nvSpPr>
        <p:spPr>
          <a:xfrm rot="1930901">
            <a:off x="10919397" y="2462227"/>
            <a:ext cx="675185" cy="215444"/>
          </a:xfrm>
          <a:prstGeom prst="rect">
            <a:avLst/>
          </a:prstGeom>
          <a:noFill/>
        </p:spPr>
        <p:txBody>
          <a:bodyPr wrap="none" rtlCol="0">
            <a:spAutoFit/>
          </a:bodyPr>
          <a:lstStyle/>
          <a:p>
            <a:r>
              <a:rPr lang="en-US" sz="800" b="1" dirty="0">
                <a:latin typeface="+mn-lt"/>
              </a:rPr>
              <a:t>Option 3A</a:t>
            </a:r>
          </a:p>
        </p:txBody>
      </p:sp>
      <p:sp>
        <p:nvSpPr>
          <p:cNvPr id="278" name="Freeform: Shape 277"/>
          <p:cNvSpPr/>
          <p:nvPr/>
        </p:nvSpPr>
        <p:spPr bwMode="auto">
          <a:xfrm>
            <a:off x="10413482" y="2367930"/>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279" name="Freeform: Shape 9"/>
          <p:cNvSpPr>
            <a:spLocks/>
          </p:cNvSpPr>
          <p:nvPr/>
        </p:nvSpPr>
        <p:spPr bwMode="auto">
          <a:xfrm>
            <a:off x="10729768" y="2397714"/>
            <a:ext cx="915786"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Lst>
            <a:ahLst/>
            <a:cxnLst>
              <a:cxn ang="0">
                <a:pos x="connsiteX0" y="connsiteY0"/>
              </a:cxn>
              <a:cxn ang="0">
                <a:pos x="connsiteX1" y="connsiteY1"/>
              </a:cxn>
              <a:cxn ang="0">
                <a:pos x="connsiteX2" y="connsiteY2"/>
              </a:cxn>
              <a:cxn ang="0">
                <a:pos x="connsiteX3" y="connsiteY3"/>
              </a:cxn>
            </a:cxnLst>
            <a:rect l="l" t="t" r="r" b="b"/>
            <a:pathLst>
              <a:path w="915946" h="1518410">
                <a:moveTo>
                  <a:pt x="302874" y="1518410"/>
                </a:moveTo>
                <a:cubicBezTo>
                  <a:pt x="704609" y="1232224"/>
                  <a:pt x="715443" y="1222526"/>
                  <a:pt x="803047" y="1073234"/>
                </a:cubicBezTo>
                <a:cubicBezTo>
                  <a:pt x="890651" y="923942"/>
                  <a:pt x="993089" y="742548"/>
                  <a:pt x="828497" y="622660"/>
                </a:cubicBezTo>
                <a:cubicBezTo>
                  <a:pt x="663905" y="502772"/>
                  <a:pt x="-81134" y="196088"/>
                  <a:pt x="725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80" name="Rectangle 279"/>
          <p:cNvSpPr/>
          <p:nvPr/>
        </p:nvSpPr>
        <p:spPr bwMode="auto">
          <a:xfrm>
            <a:off x="10089798" y="1633563"/>
            <a:ext cx="1805422" cy="2551514"/>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281" name="Group 280"/>
          <p:cNvGrpSpPr>
            <a:grpSpLocks/>
          </p:cNvGrpSpPr>
          <p:nvPr/>
        </p:nvGrpSpPr>
        <p:grpSpPr bwMode="auto">
          <a:xfrm>
            <a:off x="9309181" y="4267938"/>
            <a:ext cx="496390" cy="689716"/>
            <a:chOff x="239" y="1832"/>
            <a:chExt cx="363" cy="520"/>
          </a:xfrm>
        </p:grpSpPr>
        <p:sp>
          <p:nvSpPr>
            <p:cNvPr id="28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283" name="Oval 282"/>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28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85" name="Rectangle 284"/>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28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sz="1100">
                <a:solidFill>
                  <a:srgbClr val="58585A"/>
                </a:solidFill>
                <a:latin typeface="+mn-lt"/>
              </a:endParaRPr>
            </a:p>
          </p:txBody>
        </p:sp>
      </p:grpSp>
      <p:grpSp>
        <p:nvGrpSpPr>
          <p:cNvPr id="287" name="Group 286"/>
          <p:cNvGrpSpPr>
            <a:grpSpLocks noChangeAspect="1"/>
          </p:cNvGrpSpPr>
          <p:nvPr/>
        </p:nvGrpSpPr>
        <p:grpSpPr bwMode="auto">
          <a:xfrm>
            <a:off x="9309865" y="5483910"/>
            <a:ext cx="496390" cy="703122"/>
            <a:chOff x="3106" y="2389"/>
            <a:chExt cx="363" cy="520"/>
          </a:xfrm>
        </p:grpSpPr>
        <p:sp>
          <p:nvSpPr>
            <p:cNvPr id="28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289" name="Oval 288"/>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29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91" name="Rectangle 290"/>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29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solidFill>
                  <a:srgbClr val="58585A"/>
                </a:solidFill>
                <a:latin typeface="+mn-lt"/>
              </a:endParaRPr>
            </a:p>
          </p:txBody>
        </p:sp>
      </p:grpSp>
      <p:cxnSp>
        <p:nvCxnSpPr>
          <p:cNvPr id="293" name="Straight Connector 292"/>
          <p:cNvCxnSpPr>
            <a:stCxn id="307" idx="1"/>
            <a:endCxn id="298" idx="2"/>
          </p:cNvCxnSpPr>
          <p:nvPr/>
        </p:nvCxnSpPr>
        <p:spPr bwMode="auto">
          <a:xfrm flipV="1">
            <a:off x="8447564" y="4933780"/>
            <a:ext cx="226576" cy="64260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94" name="Straight Connector 293"/>
          <p:cNvCxnSpPr>
            <a:stCxn id="307" idx="7"/>
            <a:endCxn id="298" idx="2"/>
          </p:cNvCxnSpPr>
          <p:nvPr/>
        </p:nvCxnSpPr>
        <p:spPr bwMode="auto">
          <a:xfrm flipH="1" flipV="1">
            <a:off x="8674140" y="4933780"/>
            <a:ext cx="113788" cy="642606"/>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95" name="Straight Connector 294"/>
          <p:cNvCxnSpPr/>
          <p:nvPr/>
        </p:nvCxnSpPr>
        <p:spPr bwMode="auto">
          <a:xfrm flipV="1">
            <a:off x="9074733" y="6178925"/>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96" name="Straight Connector 295"/>
          <p:cNvCxnSpPr/>
          <p:nvPr/>
        </p:nvCxnSpPr>
        <p:spPr bwMode="auto">
          <a:xfrm flipH="1" flipV="1">
            <a:off x="8590614" y="6177234"/>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297" name="Group 296"/>
          <p:cNvGrpSpPr>
            <a:grpSpLocks/>
          </p:cNvGrpSpPr>
          <p:nvPr/>
        </p:nvGrpSpPr>
        <p:grpSpPr bwMode="auto">
          <a:xfrm>
            <a:off x="8425261" y="4252022"/>
            <a:ext cx="496390" cy="689716"/>
            <a:chOff x="239" y="1832"/>
            <a:chExt cx="363" cy="520"/>
          </a:xfrm>
        </p:grpSpPr>
        <p:sp>
          <p:nvSpPr>
            <p:cNvPr id="29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299" name="Oval 298"/>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30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eaLnBrk="1" hangingPunct="1">
                <a:lnSpc>
                  <a:spcPct val="80000"/>
                </a:lnSpc>
              </a:pPr>
              <a:r>
                <a:rPr lang="en-US" altLang="en-US" sz="1100" b="1" dirty="0">
                  <a:solidFill>
                    <a:srgbClr val="8F3F7B"/>
                  </a:solidFill>
                  <a:latin typeface="+mn-lt"/>
                  <a:ea typeface="ＭＳ Ｐゴシック" pitchFamily="34" charset="-128"/>
                </a:rPr>
                <a:t>5G EPC</a:t>
              </a:r>
            </a:p>
          </p:txBody>
        </p:sp>
        <p:sp>
          <p:nvSpPr>
            <p:cNvPr id="301" name="Rectangle 300"/>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endParaRPr lang="sv-SE" altLang="en-US" sz="400">
                <a:solidFill>
                  <a:srgbClr val="58585A"/>
                </a:solidFill>
                <a:latin typeface="+mn-lt"/>
              </a:endParaRPr>
            </a:p>
          </p:txBody>
        </p:sp>
        <p:sp>
          <p:nvSpPr>
            <p:cNvPr id="30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sz="1100">
                <a:solidFill>
                  <a:srgbClr val="58585A"/>
                </a:solidFill>
                <a:latin typeface="+mn-lt"/>
              </a:endParaRPr>
            </a:p>
          </p:txBody>
        </p:sp>
      </p:grpSp>
      <p:cxnSp>
        <p:nvCxnSpPr>
          <p:cNvPr id="303" name="Straight Connector 302"/>
          <p:cNvCxnSpPr>
            <a:endCxn id="306" idx="2"/>
          </p:cNvCxnSpPr>
          <p:nvPr/>
        </p:nvCxnSpPr>
        <p:spPr bwMode="auto">
          <a:xfrm flipH="1" flipV="1">
            <a:off x="8619114" y="6191634"/>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04" name="Straight Connector 303"/>
          <p:cNvCxnSpPr>
            <a:stCxn id="290" idx="1"/>
            <a:endCxn id="308" idx="3"/>
          </p:cNvCxnSpPr>
          <p:nvPr/>
        </p:nvCxnSpPr>
        <p:spPr bwMode="auto">
          <a:xfrm flipH="1">
            <a:off x="8840643" y="6018693"/>
            <a:ext cx="492468" cy="1271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305" name="Group 304"/>
          <p:cNvGrpSpPr>
            <a:grpSpLocks noChangeAspect="1"/>
          </p:cNvGrpSpPr>
          <p:nvPr/>
        </p:nvGrpSpPr>
        <p:grpSpPr bwMode="auto">
          <a:xfrm>
            <a:off x="8370236" y="5496620"/>
            <a:ext cx="496390" cy="703122"/>
            <a:chOff x="3106" y="2389"/>
            <a:chExt cx="363" cy="520"/>
          </a:xfrm>
        </p:grpSpPr>
        <p:sp>
          <p:nvSpPr>
            <p:cNvPr id="30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307" name="Oval 306"/>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30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309" name="Rectangle 308"/>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0"/>
                </a:spcBef>
                <a:buClrTx/>
                <a:buFontTx/>
                <a:buNone/>
              </a:pPr>
              <a:endParaRPr lang="sv-SE" altLang="en-US" sz="1000">
                <a:solidFill>
                  <a:srgbClr val="58585A"/>
                </a:solidFill>
                <a:latin typeface="+mn-lt"/>
              </a:endParaRPr>
            </a:p>
          </p:txBody>
        </p:sp>
        <p:sp>
          <p:nvSpPr>
            <p:cNvPr id="31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solidFill>
                  <a:srgbClr val="58585A"/>
                </a:solidFill>
                <a:latin typeface="+mn-lt"/>
              </a:endParaRPr>
            </a:p>
          </p:txBody>
        </p:sp>
      </p:grpSp>
      <p:cxnSp>
        <p:nvCxnSpPr>
          <p:cNvPr id="311" name="Straight Connector 310"/>
          <p:cNvCxnSpPr>
            <a:stCxn id="289" idx="0"/>
            <a:endCxn id="298" idx="2"/>
          </p:cNvCxnSpPr>
          <p:nvPr/>
        </p:nvCxnSpPr>
        <p:spPr bwMode="auto">
          <a:xfrm flipH="1" flipV="1">
            <a:off x="8674140" y="4933780"/>
            <a:ext cx="883235" cy="559599"/>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312" name="TextBox 50"/>
          <p:cNvSpPr txBox="1"/>
          <p:nvPr/>
        </p:nvSpPr>
        <p:spPr>
          <a:xfrm rot="1930901">
            <a:off x="8977050" y="5080686"/>
            <a:ext cx="670376" cy="215444"/>
          </a:xfrm>
          <a:prstGeom prst="rect">
            <a:avLst/>
          </a:prstGeom>
          <a:noFill/>
        </p:spPr>
        <p:txBody>
          <a:bodyPr wrap="non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r>
              <a:rPr lang="en-US" sz="800" b="1" dirty="0">
                <a:latin typeface="+mn-lt"/>
              </a:rPr>
              <a:t>Option 3X</a:t>
            </a:r>
          </a:p>
        </p:txBody>
      </p:sp>
      <p:sp>
        <p:nvSpPr>
          <p:cNvPr id="313" name="Freeform: Shape 312"/>
          <p:cNvSpPr/>
          <p:nvPr/>
        </p:nvSpPr>
        <p:spPr bwMode="auto">
          <a:xfrm>
            <a:off x="8468730" y="4986389"/>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eaLnBrk="1" hangingPunct="1">
              <a:spcBef>
                <a:spcPct val="50000"/>
              </a:spcBef>
              <a:defRPr/>
            </a:pPr>
            <a:endParaRPr lang="en-US">
              <a:latin typeface="Arial" charset="0"/>
              <a:cs typeface="+mn-cs"/>
            </a:endParaRPr>
          </a:p>
        </p:txBody>
      </p:sp>
      <p:sp>
        <p:nvSpPr>
          <p:cNvPr id="314" name="Freeform: Shape 313"/>
          <p:cNvSpPr>
            <a:spLocks/>
          </p:cNvSpPr>
          <p:nvPr/>
        </p:nvSpPr>
        <p:spPr bwMode="auto">
          <a:xfrm>
            <a:off x="8658512" y="5775221"/>
            <a:ext cx="1003866" cy="720424"/>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321 w 1004044"/>
              <a:gd name="connsiteY0" fmla="*/ 720308 h 720308"/>
              <a:gd name="connsiteX1" fmla="*/ 72 w 1004044"/>
              <a:gd name="connsiteY1" fmla="*/ 204244 h 720308"/>
              <a:gd name="connsiteX2" fmla="*/ 1001159 w 1004044"/>
              <a:gd name="connsiteY2" fmla="*/ 0 h 720308"/>
            </a:gdLst>
            <a:ahLst/>
            <a:cxnLst>
              <a:cxn ang="0">
                <a:pos x="connsiteX0" y="connsiteY0"/>
              </a:cxn>
              <a:cxn ang="0">
                <a:pos x="connsiteX1" y="connsiteY1"/>
              </a:cxn>
              <a:cxn ang="0">
                <a:pos x="connsiteX2" y="connsiteY2"/>
              </a:cxn>
            </a:cxnLst>
            <a:rect l="l" t="t" r="r" b="b"/>
            <a:pathLst>
              <a:path w="1004044" h="720308">
                <a:moveTo>
                  <a:pt x="406321" y="720308"/>
                </a:moveTo>
                <a:cubicBezTo>
                  <a:pt x="134522" y="529132"/>
                  <a:pt x="10232" y="492788"/>
                  <a:pt x="72" y="204244"/>
                </a:cubicBezTo>
                <a:cubicBezTo>
                  <a:pt x="-10088" y="-84300"/>
                  <a:pt x="1066825" y="525998"/>
                  <a:pt x="100115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
        <p:nvSpPr>
          <p:cNvPr id="315" name="Freeform: Shape 314"/>
          <p:cNvSpPr>
            <a:spLocks/>
          </p:cNvSpPr>
          <p:nvPr/>
        </p:nvSpPr>
        <p:spPr bwMode="auto">
          <a:xfrm>
            <a:off x="8785016" y="5016173"/>
            <a:ext cx="915786"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Lst>
            <a:ahLst/>
            <a:cxnLst>
              <a:cxn ang="0">
                <a:pos x="connsiteX0" y="connsiteY0"/>
              </a:cxn>
              <a:cxn ang="0">
                <a:pos x="connsiteX1" y="connsiteY1"/>
              </a:cxn>
              <a:cxn ang="0">
                <a:pos x="connsiteX2" y="connsiteY2"/>
              </a:cxn>
              <a:cxn ang="0">
                <a:pos x="connsiteX3" y="connsiteY3"/>
              </a:cxn>
            </a:cxnLst>
            <a:rect l="l" t="t" r="r" b="b"/>
            <a:pathLst>
              <a:path w="915946" h="1518410">
                <a:moveTo>
                  <a:pt x="302874" y="1518410"/>
                </a:moveTo>
                <a:cubicBezTo>
                  <a:pt x="704609" y="1232224"/>
                  <a:pt x="715443" y="1222526"/>
                  <a:pt x="803047" y="1073234"/>
                </a:cubicBezTo>
                <a:cubicBezTo>
                  <a:pt x="890651" y="923942"/>
                  <a:pt x="993089" y="742548"/>
                  <a:pt x="828497" y="622660"/>
                </a:cubicBezTo>
                <a:cubicBezTo>
                  <a:pt x="663905" y="502772"/>
                  <a:pt x="-81134" y="196088"/>
                  <a:pt x="725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
        <p:nvSpPr>
          <p:cNvPr id="316" name="Rectangle 315"/>
          <p:cNvSpPr/>
          <p:nvPr/>
        </p:nvSpPr>
        <p:spPr bwMode="auto">
          <a:xfrm>
            <a:off x="8145046" y="4252022"/>
            <a:ext cx="1805422" cy="2551514"/>
          </a:xfrm>
          <a:prstGeom prst="rect">
            <a:avLst/>
          </a:prstGeom>
          <a:noFill/>
          <a:ln w="12700" cap="flat" cmpd="sng" algn="ctr">
            <a:solidFill>
              <a:schemeClr val="tx1"/>
            </a:solidFill>
            <a:prstDash val="solid"/>
            <a:round/>
            <a:headEnd type="none" w="med" len="med"/>
            <a:tailEnd type="none" w="med" len="med"/>
          </a:ln>
          <a:effectLst/>
        </p:spPr>
        <p:txBody>
          <a:bodyPr rot="0" spcFirstLastPara="0" vert="horz" wrap="none" lIns="72000" tIns="45720" rIns="72000" bIns="45720" numCol="1" spcCol="0" rtlCol="0" fromWordArt="0" anchor="t" anchorCtr="0" forceAA="0" compatLnSpc="1">
            <a:prstTxWarp prst="textNoShape">
              <a:avLst/>
            </a:prstTxWarp>
            <a:no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317" name="Group 9"/>
          <p:cNvGrpSpPr>
            <a:grpSpLocks/>
          </p:cNvGrpSpPr>
          <p:nvPr/>
        </p:nvGrpSpPr>
        <p:grpSpPr bwMode="auto">
          <a:xfrm>
            <a:off x="8926018" y="6442547"/>
            <a:ext cx="239369" cy="360989"/>
            <a:chOff x="416" y="1332"/>
            <a:chExt cx="408" cy="737"/>
          </a:xfrm>
        </p:grpSpPr>
        <p:sp>
          <p:nvSpPr>
            <p:cNvPr id="318"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319" name="Group 11"/>
            <p:cNvGrpSpPr>
              <a:grpSpLocks/>
            </p:cNvGrpSpPr>
            <p:nvPr/>
          </p:nvGrpSpPr>
          <p:grpSpPr bwMode="auto">
            <a:xfrm>
              <a:off x="416" y="1332"/>
              <a:ext cx="408" cy="737"/>
              <a:chOff x="518" y="1338"/>
              <a:chExt cx="357" cy="568"/>
            </a:xfrm>
          </p:grpSpPr>
          <p:sp>
            <p:nvSpPr>
              <p:cNvPr id="320"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32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sp>
        <p:nvSpPr>
          <p:cNvPr id="322" name="Freeform: Shape 321"/>
          <p:cNvSpPr>
            <a:spLocks/>
          </p:cNvSpPr>
          <p:nvPr/>
        </p:nvSpPr>
        <p:spPr bwMode="auto">
          <a:xfrm>
            <a:off x="10599806" y="2347340"/>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Tree>
    <p:extLst>
      <p:ext uri="{BB962C8B-B14F-4D97-AF65-F5344CB8AC3E}">
        <p14:creationId xmlns:p14="http://schemas.microsoft.com/office/powerpoint/2010/main" val="422224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RAN-CN option 2 &amp; 4</a:t>
            </a:r>
          </a:p>
        </p:txBody>
      </p:sp>
      <p:sp>
        <p:nvSpPr>
          <p:cNvPr id="4" name="Content Placeholder 2"/>
          <p:cNvSpPr txBox="1">
            <a:spLocks/>
          </p:cNvSpPr>
          <p:nvPr/>
        </p:nvSpPr>
        <p:spPr>
          <a:xfrm>
            <a:off x="524934" y="1601917"/>
            <a:ext cx="8266556" cy="4922708"/>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altLang="en-US" sz="2000" kern="0"/>
              <a:t>Option 2 - </a:t>
            </a:r>
            <a:r>
              <a:rPr lang="en-US" altLang="es-ES_tradnl" sz="2000" kern="0">
                <a:solidFill>
                  <a:srgbClr val="00B0F0"/>
                </a:solidFill>
              </a:rPr>
              <a:t>Stand-alone NR with 5GC</a:t>
            </a:r>
            <a:endParaRPr lang="en-US" altLang="en-US" sz="2000" kern="0"/>
          </a:p>
          <a:p>
            <a:pPr lvl="1"/>
            <a:r>
              <a:rPr lang="en-US" sz="1800" kern="0"/>
              <a:t>NR stand-alone connected to 5GC</a:t>
            </a:r>
          </a:p>
          <a:p>
            <a:pPr lvl="1"/>
            <a:r>
              <a:rPr lang="en-US" sz="1800" kern="0"/>
              <a:t>Control plane 5G-NAS via NR</a:t>
            </a:r>
          </a:p>
          <a:p>
            <a:pPr lvl="1"/>
            <a:r>
              <a:rPr lang="en-US" sz="1800" kern="0"/>
              <a:t>New 5GC</a:t>
            </a:r>
          </a:p>
          <a:p>
            <a:pPr lvl="1"/>
            <a:r>
              <a:rPr lang="en-US" altLang="en-US" sz="1800" kern="0"/>
              <a:t>New NR RRC</a:t>
            </a:r>
          </a:p>
          <a:p>
            <a:pPr lvl="1"/>
            <a:r>
              <a:rPr lang="en-US" altLang="en-US" sz="1800" kern="0"/>
              <a:t>Common 5G CN for options 2, 4, 5 &amp; 7</a:t>
            </a:r>
          </a:p>
          <a:p>
            <a:pPr marL="355600" lvl="1" indent="0">
              <a:buFont typeface="Ericsson Capital TT" pitchFamily="2" charset="0"/>
              <a:buNone/>
            </a:pPr>
            <a:endParaRPr lang="en-US" altLang="en-US" sz="1800" kern="0"/>
          </a:p>
          <a:p>
            <a:r>
              <a:rPr lang="en-US" altLang="en-US" sz="2000" kern="0"/>
              <a:t>Option 4/4A - </a:t>
            </a:r>
            <a:r>
              <a:rPr lang="en-US" altLang="es-ES_tradnl" sz="1800" kern="0">
                <a:solidFill>
                  <a:srgbClr val="00B0F0"/>
                </a:solidFill>
              </a:rPr>
              <a:t>“NR-Assisted” LTE with 5GC</a:t>
            </a:r>
            <a:endParaRPr lang="en-US" altLang="en-US" sz="1800" kern="0"/>
          </a:p>
          <a:p>
            <a:pPr lvl="1"/>
            <a:r>
              <a:rPr lang="en-US" sz="1800" kern="0"/>
              <a:t>LTE anchored in NR gNB and used for User Plane only</a:t>
            </a:r>
          </a:p>
          <a:p>
            <a:pPr lvl="1"/>
            <a:r>
              <a:rPr lang="en-US" sz="1800" kern="0"/>
              <a:t>Option 4A: LTE User Plane directly to 5GC</a:t>
            </a:r>
          </a:p>
          <a:p>
            <a:pPr lvl="1"/>
            <a:r>
              <a:rPr lang="en-US" sz="1800" kern="0"/>
              <a:t>Control plane 5G-NAS via NR</a:t>
            </a:r>
          </a:p>
          <a:p>
            <a:pPr lvl="1"/>
            <a:r>
              <a:rPr lang="en-US" sz="1800" kern="0"/>
              <a:t>New 5GC</a:t>
            </a:r>
          </a:p>
          <a:p>
            <a:pPr lvl="1"/>
            <a:r>
              <a:rPr lang="en-US" altLang="en-US" sz="1800" kern="0"/>
              <a:t>New NR RRC</a:t>
            </a:r>
          </a:p>
          <a:p>
            <a:pPr lvl="1"/>
            <a:r>
              <a:rPr lang="en-US" altLang="en-US" sz="1800" kern="0"/>
              <a:t>Common 5GC for options 2, 4, 5 &amp; 7</a:t>
            </a:r>
            <a:endParaRPr lang="en-US" altLang="en-US" sz="1800" kern="0" dirty="0"/>
          </a:p>
        </p:txBody>
      </p:sp>
      <p:sp>
        <p:nvSpPr>
          <p:cNvPr id="72" name="Rectangle 96"/>
          <p:cNvSpPr>
            <a:spLocks noChangeArrowheads="1"/>
          </p:cNvSpPr>
          <p:nvPr/>
        </p:nvSpPr>
        <p:spPr bwMode="auto">
          <a:xfrm flipH="1">
            <a:off x="10107762" y="3527804"/>
            <a:ext cx="25098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0"/>
              </a:spcBef>
              <a:buClrTx/>
              <a:buFontTx/>
              <a:buNone/>
              <a:defRPr/>
            </a:pPr>
            <a:endParaRPr lang="en-US" altLang="fi-FI" sz="1350" dirty="0">
              <a:latin typeface="Segoe UI" pitchFamily="34" charset="0"/>
              <a:cs typeface="Segoe UI" pitchFamily="34" charset="0"/>
            </a:endParaRPr>
          </a:p>
        </p:txBody>
      </p:sp>
      <p:grpSp>
        <p:nvGrpSpPr>
          <p:cNvPr id="73" name="Group 72"/>
          <p:cNvGrpSpPr/>
          <p:nvPr/>
        </p:nvGrpSpPr>
        <p:grpSpPr>
          <a:xfrm>
            <a:off x="10308315" y="3305791"/>
            <a:ext cx="1871073" cy="630942"/>
            <a:chOff x="8784866" y="5459894"/>
            <a:chExt cx="1871073" cy="630942"/>
          </a:xfrm>
        </p:grpSpPr>
        <p:cxnSp>
          <p:nvCxnSpPr>
            <p:cNvPr id="74" name="Straight Connector 73"/>
            <p:cNvCxnSpPr/>
            <p:nvPr/>
          </p:nvCxnSpPr>
          <p:spPr bwMode="auto">
            <a:xfrm>
              <a:off x="8791490" y="5618922"/>
              <a:ext cx="503545" cy="0"/>
            </a:xfrm>
            <a:prstGeom prst="line">
              <a:avLst/>
            </a:prstGeom>
            <a:noFill/>
            <a:ln w="38100" cap="flat" cmpd="sng" algn="ctr">
              <a:solidFill>
                <a:schemeClr val="tx2">
                  <a:lumMod val="75000"/>
                  <a:lumOff val="25000"/>
                </a:schemeClr>
              </a:solidFill>
              <a:prstDash val="solid"/>
              <a:round/>
              <a:headEnd type="none" w="med" len="med"/>
              <a:tailEnd type="none" w="med" len="med"/>
            </a:ln>
            <a:effectLst/>
          </p:spPr>
        </p:cxnSp>
        <p:cxnSp>
          <p:nvCxnSpPr>
            <p:cNvPr id="75" name="Straight Connector 74"/>
            <p:cNvCxnSpPr/>
            <p:nvPr/>
          </p:nvCxnSpPr>
          <p:spPr bwMode="auto">
            <a:xfrm>
              <a:off x="8784866" y="5943598"/>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76" name="TextBox 75"/>
            <p:cNvSpPr txBox="1"/>
            <p:nvPr/>
          </p:nvSpPr>
          <p:spPr>
            <a:xfrm>
              <a:off x="9386040" y="5459894"/>
              <a:ext cx="1269899" cy="630942"/>
            </a:xfrm>
            <a:prstGeom prst="rect">
              <a:avLst/>
            </a:prstGeom>
            <a:noFill/>
          </p:spPr>
          <p:txBody>
            <a:bodyPr wrap="none" rtlCol="0">
              <a:spAutoFit/>
            </a:bodyPr>
            <a:lstStyle/>
            <a:p>
              <a:r>
                <a:rPr lang="en-US" sz="1400" dirty="0"/>
                <a:t>Control Plane</a:t>
              </a:r>
            </a:p>
            <a:p>
              <a:r>
                <a:rPr lang="en-US" sz="1400" dirty="0"/>
                <a:t>User Plane</a:t>
              </a:r>
            </a:p>
          </p:txBody>
        </p:sp>
      </p:grpSp>
      <p:grpSp>
        <p:nvGrpSpPr>
          <p:cNvPr id="77" name="Group 76"/>
          <p:cNvGrpSpPr/>
          <p:nvPr/>
        </p:nvGrpSpPr>
        <p:grpSpPr>
          <a:xfrm>
            <a:off x="8054656" y="1325085"/>
            <a:ext cx="1609108" cy="2611648"/>
            <a:chOff x="8054656" y="1325085"/>
            <a:chExt cx="1609108" cy="2611648"/>
          </a:xfrm>
        </p:grpSpPr>
        <p:grpSp>
          <p:nvGrpSpPr>
            <p:cNvPr id="78" name="Group 261"/>
            <p:cNvGrpSpPr>
              <a:grpSpLocks/>
            </p:cNvGrpSpPr>
            <p:nvPr/>
          </p:nvGrpSpPr>
          <p:grpSpPr bwMode="auto">
            <a:xfrm>
              <a:off x="8321819" y="1392607"/>
              <a:ext cx="496390" cy="689716"/>
              <a:chOff x="239" y="1832"/>
              <a:chExt cx="363" cy="520"/>
            </a:xfrm>
          </p:grpSpPr>
          <p:sp>
            <p:nvSpPr>
              <p:cNvPr id="9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9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0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10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0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79" name="Group 78"/>
            <p:cNvGrpSpPr>
              <a:grpSpLocks noChangeAspect="1"/>
            </p:cNvGrpSpPr>
            <p:nvPr/>
          </p:nvGrpSpPr>
          <p:grpSpPr bwMode="auto">
            <a:xfrm>
              <a:off x="8322502" y="2513333"/>
              <a:ext cx="496390" cy="703123"/>
              <a:chOff x="3106" y="2389"/>
              <a:chExt cx="363" cy="520"/>
            </a:xfrm>
          </p:grpSpPr>
          <p:sp>
            <p:nvSpPr>
              <p:cNvPr id="9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9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9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9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9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80" name="Group 9"/>
            <p:cNvGrpSpPr>
              <a:grpSpLocks/>
            </p:cNvGrpSpPr>
            <p:nvPr/>
          </p:nvGrpSpPr>
          <p:grpSpPr bwMode="auto">
            <a:xfrm>
              <a:off x="8699207" y="3471966"/>
              <a:ext cx="239369" cy="360989"/>
              <a:chOff x="416" y="1332"/>
              <a:chExt cx="408" cy="737"/>
            </a:xfrm>
          </p:grpSpPr>
          <p:sp>
            <p:nvSpPr>
              <p:cNvPr id="89"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90" name="Group 11"/>
              <p:cNvGrpSpPr>
                <a:grpSpLocks/>
              </p:cNvGrpSpPr>
              <p:nvPr/>
            </p:nvGrpSpPr>
            <p:grpSpPr bwMode="auto">
              <a:xfrm>
                <a:off x="416" y="1332"/>
                <a:ext cx="408" cy="737"/>
                <a:chOff x="518" y="1338"/>
                <a:chExt cx="357" cy="568"/>
              </a:xfrm>
            </p:grpSpPr>
            <p:sp>
              <p:nvSpPr>
                <p:cNvPr id="91"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92"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81" name="Straight Connector 80"/>
            <p:cNvCxnSpPr>
              <a:stCxn id="94" idx="1"/>
              <a:endCxn id="100" idx="2"/>
            </p:cNvCxnSpPr>
            <p:nvPr/>
          </p:nvCxnSpPr>
          <p:spPr bwMode="auto">
            <a:xfrm flipV="1">
              <a:off x="8399831" y="2066407"/>
              <a:ext cx="168816" cy="52668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2" name="Straight Connector 81"/>
            <p:cNvCxnSpPr>
              <a:stCxn id="94" idx="7"/>
              <a:endCxn id="98" idx="2"/>
            </p:cNvCxnSpPr>
            <p:nvPr/>
          </p:nvCxnSpPr>
          <p:spPr bwMode="auto">
            <a:xfrm flipH="1" flipV="1">
              <a:off x="8570698" y="2074365"/>
              <a:ext cx="169497" cy="518730"/>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83" name="Straight Connector 82"/>
            <p:cNvCxnSpPr/>
            <p:nvPr/>
          </p:nvCxnSpPr>
          <p:spPr bwMode="auto">
            <a:xfrm flipH="1" flipV="1">
              <a:off x="8512205" y="3208343"/>
              <a:ext cx="209225" cy="31946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4" name="Straight Connector 83"/>
            <p:cNvCxnSpPr/>
            <p:nvPr/>
          </p:nvCxnSpPr>
          <p:spPr bwMode="auto">
            <a:xfrm flipH="1" flipV="1">
              <a:off x="8623969" y="3200230"/>
              <a:ext cx="194923" cy="27173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85" name="Freeform: Shape 84"/>
            <p:cNvSpPr/>
            <p:nvPr/>
          </p:nvSpPr>
          <p:spPr bwMode="auto">
            <a:xfrm flipH="1">
              <a:off x="8603255" y="1978158"/>
              <a:ext cx="207969" cy="1587549"/>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623523 w 623523"/>
                <a:gd name="connsiteY0" fmla="*/ 1490394 h 1490394"/>
                <a:gd name="connsiteX1" fmla="*/ 50499 w 623523"/>
                <a:gd name="connsiteY1" fmla="*/ 978330 h 1490394"/>
                <a:gd name="connsiteX2" fmla="*/ 161419 w 623523"/>
                <a:gd name="connsiteY2" fmla="*/ 0 h 1490394"/>
                <a:gd name="connsiteX0" fmla="*/ 583811 w 583811"/>
                <a:gd name="connsiteY0" fmla="*/ 1490394 h 1490394"/>
                <a:gd name="connsiteX1" fmla="*/ 10787 w 583811"/>
                <a:gd name="connsiteY1" fmla="*/ 978330 h 1490394"/>
                <a:gd name="connsiteX2" fmla="*/ 121707 w 583811"/>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91333 w 591333"/>
                <a:gd name="connsiteY0" fmla="*/ 1490394 h 1490394"/>
                <a:gd name="connsiteX1" fmla="*/ 18309 w 591333"/>
                <a:gd name="connsiteY1" fmla="*/ 978330 h 1490394"/>
                <a:gd name="connsiteX2" fmla="*/ 129229 w 591333"/>
                <a:gd name="connsiteY2" fmla="*/ 0 h 1490394"/>
                <a:gd name="connsiteX0" fmla="*/ 581692 w 581692"/>
                <a:gd name="connsiteY0" fmla="*/ 1490394 h 1490394"/>
                <a:gd name="connsiteX1" fmla="*/ 8668 w 581692"/>
                <a:gd name="connsiteY1" fmla="*/ 978330 h 1490394"/>
                <a:gd name="connsiteX2" fmla="*/ 119588 w 581692"/>
                <a:gd name="connsiteY2" fmla="*/ 0 h 1490394"/>
                <a:gd name="connsiteX0" fmla="*/ 89256 w 277884"/>
                <a:gd name="connsiteY0" fmla="*/ 1588955 h 1588955"/>
                <a:gd name="connsiteX1" fmla="*/ 166965 w 277884"/>
                <a:gd name="connsiteY1" fmla="*/ 978330 h 1588955"/>
                <a:gd name="connsiteX2" fmla="*/ 277885 w 277884"/>
                <a:gd name="connsiteY2" fmla="*/ 0 h 1588955"/>
                <a:gd name="connsiteX0" fmla="*/ 0 w 188629"/>
                <a:gd name="connsiteY0" fmla="*/ 1588955 h 1588955"/>
                <a:gd name="connsiteX1" fmla="*/ 77709 w 188629"/>
                <a:gd name="connsiteY1" fmla="*/ 978330 h 1588955"/>
                <a:gd name="connsiteX2" fmla="*/ 188629 w 188629"/>
                <a:gd name="connsiteY2" fmla="*/ 0 h 1588955"/>
                <a:gd name="connsiteX0" fmla="*/ 0 w 188629"/>
                <a:gd name="connsiteY0" fmla="*/ 1588955 h 1588955"/>
                <a:gd name="connsiteX1" fmla="*/ 77709 w 188629"/>
                <a:gd name="connsiteY1" fmla="*/ 978330 h 1588955"/>
                <a:gd name="connsiteX2" fmla="*/ 188629 w 188629"/>
                <a:gd name="connsiteY2" fmla="*/ 0 h 1588955"/>
                <a:gd name="connsiteX0" fmla="*/ 0 w 188629"/>
                <a:gd name="connsiteY0" fmla="*/ 1588955 h 1588955"/>
                <a:gd name="connsiteX1" fmla="*/ 77709 w 188629"/>
                <a:gd name="connsiteY1" fmla="*/ 978330 h 1588955"/>
                <a:gd name="connsiteX2" fmla="*/ 188629 w 188629"/>
                <a:gd name="connsiteY2" fmla="*/ 0 h 1588955"/>
                <a:gd name="connsiteX0" fmla="*/ 0 w 188629"/>
                <a:gd name="connsiteY0" fmla="*/ 1588955 h 1588955"/>
                <a:gd name="connsiteX1" fmla="*/ 77709 w 188629"/>
                <a:gd name="connsiteY1" fmla="*/ 978330 h 1588955"/>
                <a:gd name="connsiteX2" fmla="*/ 188629 w 188629"/>
                <a:gd name="connsiteY2" fmla="*/ 0 h 1588955"/>
                <a:gd name="connsiteX0" fmla="*/ 19643 w 208272"/>
                <a:gd name="connsiteY0" fmla="*/ 1588955 h 1588955"/>
                <a:gd name="connsiteX1" fmla="*/ 46313 w 208272"/>
                <a:gd name="connsiteY1" fmla="*/ 879768 h 1588955"/>
                <a:gd name="connsiteX2" fmla="*/ 208272 w 208272"/>
                <a:gd name="connsiteY2" fmla="*/ 0 h 1588955"/>
                <a:gd name="connsiteX0" fmla="*/ 19643 w 208272"/>
                <a:gd name="connsiteY0" fmla="*/ 1588955 h 1588955"/>
                <a:gd name="connsiteX1" fmla="*/ 46313 w 208272"/>
                <a:gd name="connsiteY1" fmla="*/ 879768 h 1588955"/>
                <a:gd name="connsiteX2" fmla="*/ 208272 w 208272"/>
                <a:gd name="connsiteY2" fmla="*/ 0 h 1588955"/>
                <a:gd name="connsiteX0" fmla="*/ 0 w 188629"/>
                <a:gd name="connsiteY0" fmla="*/ 1588955 h 1588955"/>
                <a:gd name="connsiteX1" fmla="*/ 26670 w 188629"/>
                <a:gd name="connsiteY1" fmla="*/ 879768 h 1588955"/>
                <a:gd name="connsiteX2" fmla="*/ 188629 w 188629"/>
                <a:gd name="connsiteY2" fmla="*/ 0 h 1588955"/>
              </a:gdLst>
              <a:ahLst/>
              <a:cxnLst>
                <a:cxn ang="0">
                  <a:pos x="connsiteX0" y="connsiteY0"/>
                </a:cxn>
                <a:cxn ang="0">
                  <a:pos x="connsiteX1" y="connsiteY1"/>
                </a:cxn>
                <a:cxn ang="0">
                  <a:pos x="connsiteX2" y="connsiteY2"/>
                </a:cxn>
              </a:cxnLst>
              <a:rect l="l" t="t" r="r" b="b"/>
              <a:pathLst>
                <a:path w="188629" h="1588955">
                  <a:moveTo>
                    <a:pt x="0" y="1588955"/>
                  </a:moveTo>
                  <a:cubicBezTo>
                    <a:pt x="34505" y="1023726"/>
                    <a:pt x="-15430" y="1629398"/>
                    <a:pt x="26670" y="879768"/>
                  </a:cubicBezTo>
                  <a:cubicBezTo>
                    <a:pt x="171200" y="58467"/>
                    <a:pt x="93303" y="890812"/>
                    <a:pt x="188629"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86" name="Freeform: Shape 8"/>
            <p:cNvSpPr>
              <a:spLocks/>
            </p:cNvSpPr>
            <p:nvPr/>
          </p:nvSpPr>
          <p:spPr bwMode="auto">
            <a:xfrm flipH="1">
              <a:off x="8483104" y="2002103"/>
              <a:ext cx="205385" cy="1549151"/>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33989 w 260330"/>
                <a:gd name="connsiteY0" fmla="*/ 1731264 h 1731264"/>
                <a:gd name="connsiteX1" fmla="*/ 260136 w 260330"/>
                <a:gd name="connsiteY1" fmla="*/ 837296 h 1731264"/>
                <a:gd name="connsiteX2" fmla="*/ 73029 w 260330"/>
                <a:gd name="connsiteY2" fmla="*/ 0 h 1731264"/>
                <a:gd name="connsiteX0" fmla="*/ 503826 w 503826"/>
                <a:gd name="connsiteY0" fmla="*/ 1463885 h 1463885"/>
                <a:gd name="connsiteX1" fmla="*/ 260136 w 503826"/>
                <a:gd name="connsiteY1" fmla="*/ 837296 h 1463885"/>
                <a:gd name="connsiteX2" fmla="*/ 73029 w 503826"/>
                <a:gd name="connsiteY2" fmla="*/ 0 h 1463885"/>
                <a:gd name="connsiteX0" fmla="*/ 503826 w 503826"/>
                <a:gd name="connsiteY0" fmla="*/ 1463885 h 1463885"/>
                <a:gd name="connsiteX1" fmla="*/ 260136 w 503826"/>
                <a:gd name="connsiteY1" fmla="*/ 837296 h 1463885"/>
                <a:gd name="connsiteX2" fmla="*/ 73029 w 503826"/>
                <a:gd name="connsiteY2" fmla="*/ 0 h 1463885"/>
                <a:gd name="connsiteX0" fmla="*/ 536047 w 536047"/>
                <a:gd name="connsiteY0" fmla="*/ 1463885 h 1463885"/>
                <a:gd name="connsiteX1" fmla="*/ 113815 w 536047"/>
                <a:gd name="connsiteY1" fmla="*/ 837296 h 1463885"/>
                <a:gd name="connsiteX2" fmla="*/ 105250 w 536047"/>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449780 w 449780"/>
                <a:gd name="connsiteY0" fmla="*/ 1463885 h 1463885"/>
                <a:gd name="connsiteX1" fmla="*/ 27548 w 449780"/>
                <a:gd name="connsiteY1" fmla="*/ 837296 h 1463885"/>
                <a:gd name="connsiteX2" fmla="*/ 18983 w 449780"/>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51181 h 1451181"/>
                <a:gd name="connsiteX1" fmla="*/ 48383 w 436076"/>
                <a:gd name="connsiteY1" fmla="*/ 691196 h 1451181"/>
                <a:gd name="connsiteX2" fmla="*/ 5279 w 436076"/>
                <a:gd name="connsiteY2" fmla="*/ 0 h 1451181"/>
                <a:gd name="connsiteX0" fmla="*/ 430797 w 430797"/>
                <a:gd name="connsiteY0" fmla="*/ 1451181 h 1451181"/>
                <a:gd name="connsiteX1" fmla="*/ 43104 w 430797"/>
                <a:gd name="connsiteY1" fmla="*/ 691196 h 1451181"/>
                <a:gd name="connsiteX2" fmla="*/ 0 w 430797"/>
                <a:gd name="connsiteY2" fmla="*/ 0 h 1451181"/>
                <a:gd name="connsiteX0" fmla="*/ 60464 w 335419"/>
                <a:gd name="connsiteY0" fmla="*/ 1549688 h 1549688"/>
                <a:gd name="connsiteX1" fmla="*/ 246655 w 335419"/>
                <a:gd name="connsiteY1" fmla="*/ 691196 h 1549688"/>
                <a:gd name="connsiteX2" fmla="*/ 203551 w 335419"/>
                <a:gd name="connsiteY2" fmla="*/ 0 h 1549688"/>
                <a:gd name="connsiteX0" fmla="*/ 0 w 341580"/>
                <a:gd name="connsiteY0" fmla="*/ 1549688 h 1549688"/>
                <a:gd name="connsiteX1" fmla="*/ 186191 w 341580"/>
                <a:gd name="connsiteY1" fmla="*/ 691196 h 1549688"/>
                <a:gd name="connsiteX2" fmla="*/ 143087 w 341580"/>
                <a:gd name="connsiteY2" fmla="*/ 0 h 1549688"/>
                <a:gd name="connsiteX0" fmla="*/ 0 w 186191"/>
                <a:gd name="connsiteY0" fmla="*/ 1549688 h 1549688"/>
                <a:gd name="connsiteX1" fmla="*/ 186191 w 186191"/>
                <a:gd name="connsiteY1" fmla="*/ 691196 h 1549688"/>
                <a:gd name="connsiteX2" fmla="*/ 143087 w 186191"/>
                <a:gd name="connsiteY2" fmla="*/ 0 h 1549688"/>
              </a:gdLst>
              <a:ahLst/>
              <a:cxnLst>
                <a:cxn ang="0">
                  <a:pos x="connsiteX0" y="connsiteY0"/>
                </a:cxn>
                <a:cxn ang="0">
                  <a:pos x="connsiteX1" y="connsiteY1"/>
                </a:cxn>
                <a:cxn ang="0">
                  <a:pos x="connsiteX2" y="connsiteY2"/>
                </a:cxn>
              </a:cxnLst>
              <a:rect l="l" t="t" r="r" b="b"/>
              <a:pathLst>
                <a:path w="186191" h="1549688">
                  <a:moveTo>
                    <a:pt x="0" y="1549688"/>
                  </a:moveTo>
                  <a:cubicBezTo>
                    <a:pt x="214813" y="719255"/>
                    <a:pt x="26398" y="1491239"/>
                    <a:pt x="186191" y="691196"/>
                  </a:cubicBezTo>
                  <a:cubicBezTo>
                    <a:pt x="137772" y="-5452"/>
                    <a:pt x="182673" y="708964"/>
                    <a:pt x="143087"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87" name="Rectangle 86"/>
            <p:cNvSpPr/>
            <p:nvPr/>
          </p:nvSpPr>
          <p:spPr bwMode="auto">
            <a:xfrm>
              <a:off x="8054656" y="1325085"/>
              <a:ext cx="1609108" cy="2611648"/>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sp>
          <p:nvSpPr>
            <p:cNvPr id="88" name="TextBox 87"/>
            <p:cNvSpPr txBox="1"/>
            <p:nvPr/>
          </p:nvSpPr>
          <p:spPr>
            <a:xfrm rot="20549433">
              <a:off x="8761593" y="2318190"/>
              <a:ext cx="601447" cy="215444"/>
            </a:xfrm>
            <a:prstGeom prst="rect">
              <a:avLst/>
            </a:prstGeom>
            <a:noFill/>
          </p:spPr>
          <p:txBody>
            <a:bodyPr wrap="none" rtlCol="0">
              <a:spAutoFit/>
            </a:bodyPr>
            <a:lstStyle/>
            <a:p>
              <a:r>
                <a:rPr lang="en-US" sz="800" b="1" dirty="0">
                  <a:latin typeface="+mn-lt"/>
                </a:rPr>
                <a:t>Option 2</a:t>
              </a:r>
            </a:p>
          </p:txBody>
        </p:sp>
      </p:grpSp>
      <p:grpSp>
        <p:nvGrpSpPr>
          <p:cNvPr id="103" name="Group 102"/>
          <p:cNvGrpSpPr/>
          <p:nvPr/>
        </p:nvGrpSpPr>
        <p:grpSpPr>
          <a:xfrm>
            <a:off x="8057904" y="4071126"/>
            <a:ext cx="1588168" cy="2560320"/>
            <a:chOff x="8057904" y="4071126"/>
            <a:chExt cx="1588168" cy="2560320"/>
          </a:xfrm>
        </p:grpSpPr>
        <p:grpSp>
          <p:nvGrpSpPr>
            <p:cNvPr id="104" name="Group 261"/>
            <p:cNvGrpSpPr>
              <a:grpSpLocks/>
            </p:cNvGrpSpPr>
            <p:nvPr/>
          </p:nvGrpSpPr>
          <p:grpSpPr bwMode="auto">
            <a:xfrm>
              <a:off x="9026762" y="4154673"/>
              <a:ext cx="496390" cy="689716"/>
              <a:chOff x="239" y="1832"/>
              <a:chExt cx="363" cy="520"/>
            </a:xfrm>
          </p:grpSpPr>
          <p:sp>
            <p:nvSpPr>
              <p:cNvPr id="14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4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4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14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4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105" name="Group 104"/>
            <p:cNvGrpSpPr>
              <a:grpSpLocks noChangeAspect="1"/>
            </p:cNvGrpSpPr>
            <p:nvPr/>
          </p:nvGrpSpPr>
          <p:grpSpPr bwMode="auto">
            <a:xfrm>
              <a:off x="9027445" y="5227774"/>
              <a:ext cx="496390" cy="703123"/>
              <a:chOff x="3106" y="2389"/>
              <a:chExt cx="363" cy="520"/>
            </a:xfrm>
          </p:grpSpPr>
          <p:sp>
            <p:nvSpPr>
              <p:cNvPr id="13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3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3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13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3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106" name="Group 9"/>
            <p:cNvGrpSpPr>
              <a:grpSpLocks/>
            </p:cNvGrpSpPr>
            <p:nvPr/>
          </p:nvGrpSpPr>
          <p:grpSpPr bwMode="auto">
            <a:xfrm>
              <a:off x="8672630" y="6186407"/>
              <a:ext cx="239369" cy="360989"/>
              <a:chOff x="416" y="1332"/>
              <a:chExt cx="408" cy="737"/>
            </a:xfrm>
          </p:grpSpPr>
          <p:sp>
            <p:nvSpPr>
              <p:cNvPr id="131"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132" name="Group 11"/>
              <p:cNvGrpSpPr>
                <a:grpSpLocks/>
              </p:cNvGrpSpPr>
              <p:nvPr/>
            </p:nvGrpSpPr>
            <p:grpSpPr bwMode="auto">
              <a:xfrm>
                <a:off x="416" y="1332"/>
                <a:ext cx="408" cy="737"/>
                <a:chOff x="518" y="1338"/>
                <a:chExt cx="357" cy="568"/>
              </a:xfrm>
            </p:grpSpPr>
            <p:sp>
              <p:nvSpPr>
                <p:cNvPr id="133"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134"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107" name="Straight Connector 106"/>
            <p:cNvCxnSpPr>
              <a:stCxn id="136" idx="1"/>
              <a:endCxn id="142" idx="2"/>
            </p:cNvCxnSpPr>
            <p:nvPr/>
          </p:nvCxnSpPr>
          <p:spPr bwMode="auto">
            <a:xfrm flipV="1">
              <a:off x="9104774" y="4828473"/>
              <a:ext cx="168816" cy="4790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8" name="Straight Connector 107"/>
            <p:cNvCxnSpPr>
              <a:stCxn id="136" idx="7"/>
              <a:endCxn id="140" idx="2"/>
            </p:cNvCxnSpPr>
            <p:nvPr/>
          </p:nvCxnSpPr>
          <p:spPr bwMode="auto">
            <a:xfrm flipH="1" flipV="1">
              <a:off x="9275641" y="4836431"/>
              <a:ext cx="169497" cy="4711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09" name="Straight Connector 108"/>
            <p:cNvCxnSpPr/>
            <p:nvPr/>
          </p:nvCxnSpPr>
          <p:spPr bwMode="auto">
            <a:xfrm flipV="1">
              <a:off x="8792314" y="5922785"/>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flipV="1">
              <a:off x="8911999" y="5914671"/>
              <a:ext cx="416914" cy="327574"/>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11" name="Group 261"/>
            <p:cNvGrpSpPr>
              <a:grpSpLocks/>
            </p:cNvGrpSpPr>
            <p:nvPr/>
          </p:nvGrpSpPr>
          <p:grpSpPr bwMode="auto">
            <a:xfrm>
              <a:off x="8142842" y="4138757"/>
              <a:ext cx="496390" cy="689716"/>
              <a:chOff x="239" y="1832"/>
              <a:chExt cx="363" cy="520"/>
            </a:xfrm>
          </p:grpSpPr>
          <p:sp>
            <p:nvSpPr>
              <p:cNvPr id="12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2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2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EPC</a:t>
                </a:r>
              </a:p>
            </p:txBody>
          </p:sp>
          <p:sp>
            <p:nvSpPr>
              <p:cNvPr id="12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3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112" name="Straight Connector 111"/>
            <p:cNvCxnSpPr>
              <a:endCxn id="121" idx="2"/>
            </p:cNvCxnSpPr>
            <p:nvPr/>
          </p:nvCxnSpPr>
          <p:spPr bwMode="auto">
            <a:xfrm flipH="1" flipV="1">
              <a:off x="8396219" y="5921094"/>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13" name="Straight Connector 112"/>
            <p:cNvCxnSpPr>
              <a:stCxn id="137" idx="1"/>
              <a:endCxn id="123" idx="3"/>
            </p:cNvCxnSpPr>
            <p:nvPr/>
          </p:nvCxnSpPr>
          <p:spPr bwMode="auto">
            <a:xfrm flipH="1" flipV="1">
              <a:off x="8617748" y="5760863"/>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14" name="Group 113"/>
            <p:cNvGrpSpPr>
              <a:grpSpLocks noChangeAspect="1"/>
            </p:cNvGrpSpPr>
            <p:nvPr/>
          </p:nvGrpSpPr>
          <p:grpSpPr bwMode="auto">
            <a:xfrm>
              <a:off x="8147340" y="5226084"/>
              <a:ext cx="496390" cy="703123"/>
              <a:chOff x="3106" y="2389"/>
              <a:chExt cx="363" cy="520"/>
            </a:xfrm>
          </p:grpSpPr>
          <p:sp>
            <p:nvSpPr>
              <p:cNvPr id="12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2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2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12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2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115" name="Straight Connector 114"/>
            <p:cNvCxnSpPr>
              <a:cxnSpLocks/>
              <a:stCxn id="122" idx="0"/>
              <a:endCxn id="118" idx="2"/>
            </p:cNvCxnSpPr>
            <p:nvPr/>
          </p:nvCxnSpPr>
          <p:spPr bwMode="auto">
            <a:xfrm flipV="1">
              <a:off x="8394851" y="4815338"/>
              <a:ext cx="859452" cy="420211"/>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16" name="TextBox 115"/>
            <p:cNvSpPr txBox="1"/>
            <p:nvPr/>
          </p:nvSpPr>
          <p:spPr>
            <a:xfrm rot="20549433">
              <a:off x="8303946" y="4897923"/>
              <a:ext cx="601447" cy="215444"/>
            </a:xfrm>
            <a:prstGeom prst="rect">
              <a:avLst/>
            </a:prstGeom>
            <a:noFill/>
          </p:spPr>
          <p:txBody>
            <a:bodyPr wrap="none" rtlCol="0">
              <a:spAutoFit/>
            </a:bodyPr>
            <a:lstStyle/>
            <a:p>
              <a:r>
                <a:rPr lang="en-US" sz="800" b="1" dirty="0">
                  <a:latin typeface="+mn-lt"/>
                </a:rPr>
                <a:t>Option 4</a:t>
              </a:r>
            </a:p>
          </p:txBody>
        </p:sp>
        <p:sp>
          <p:nvSpPr>
            <p:cNvPr id="117" name="Freeform: Shape 116"/>
            <p:cNvSpPr/>
            <p:nvPr/>
          </p:nvSpPr>
          <p:spPr bwMode="auto">
            <a:xfrm flipH="1">
              <a:off x="8817423" y="4791393"/>
              <a:ext cx="641333" cy="1489075"/>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623523 w 623523"/>
                <a:gd name="connsiteY0" fmla="*/ 1490394 h 1490394"/>
                <a:gd name="connsiteX1" fmla="*/ 50499 w 623523"/>
                <a:gd name="connsiteY1" fmla="*/ 978330 h 1490394"/>
                <a:gd name="connsiteX2" fmla="*/ 161419 w 623523"/>
                <a:gd name="connsiteY2" fmla="*/ 0 h 1490394"/>
                <a:gd name="connsiteX0" fmla="*/ 583811 w 583811"/>
                <a:gd name="connsiteY0" fmla="*/ 1490394 h 1490394"/>
                <a:gd name="connsiteX1" fmla="*/ 10787 w 583811"/>
                <a:gd name="connsiteY1" fmla="*/ 978330 h 1490394"/>
                <a:gd name="connsiteX2" fmla="*/ 121707 w 583811"/>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91333 w 591333"/>
                <a:gd name="connsiteY0" fmla="*/ 1490394 h 1490394"/>
                <a:gd name="connsiteX1" fmla="*/ 18309 w 591333"/>
                <a:gd name="connsiteY1" fmla="*/ 978330 h 1490394"/>
                <a:gd name="connsiteX2" fmla="*/ 129229 w 591333"/>
                <a:gd name="connsiteY2" fmla="*/ 0 h 1490394"/>
                <a:gd name="connsiteX0" fmla="*/ 581692 w 581692"/>
                <a:gd name="connsiteY0" fmla="*/ 1490394 h 1490394"/>
                <a:gd name="connsiteX1" fmla="*/ 8668 w 581692"/>
                <a:gd name="connsiteY1" fmla="*/ 978330 h 1490394"/>
                <a:gd name="connsiteX2" fmla="*/ 119588 w 581692"/>
                <a:gd name="connsiteY2" fmla="*/ 0 h 1490394"/>
              </a:gdLst>
              <a:ahLst/>
              <a:cxnLst>
                <a:cxn ang="0">
                  <a:pos x="connsiteX0" y="connsiteY0"/>
                </a:cxn>
                <a:cxn ang="0">
                  <a:pos x="connsiteX1" y="connsiteY1"/>
                </a:cxn>
                <a:cxn ang="0">
                  <a:pos x="connsiteX2" y="connsiteY2"/>
                </a:cxn>
              </a:cxnLst>
              <a:rect l="l" t="t" r="r" b="b"/>
              <a:pathLst>
                <a:path w="581692" h="1490394">
                  <a:moveTo>
                    <a:pt x="581692" y="1490394"/>
                  </a:moveTo>
                  <a:cubicBezTo>
                    <a:pt x="297212" y="1389810"/>
                    <a:pt x="145200" y="1333715"/>
                    <a:pt x="8668" y="978330"/>
                  </a:cubicBezTo>
                  <a:cubicBezTo>
                    <a:pt x="-12675" y="438631"/>
                    <a:pt x="-1258" y="750011"/>
                    <a:pt x="119588"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118" name="Freeform: Shape 8"/>
            <p:cNvSpPr>
              <a:spLocks/>
            </p:cNvSpPr>
            <p:nvPr/>
          </p:nvSpPr>
          <p:spPr bwMode="auto">
            <a:xfrm flipH="1">
              <a:off x="8779095" y="4815338"/>
              <a:ext cx="475208" cy="1450678"/>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33989 w 260330"/>
                <a:gd name="connsiteY0" fmla="*/ 1731264 h 1731264"/>
                <a:gd name="connsiteX1" fmla="*/ 260136 w 260330"/>
                <a:gd name="connsiteY1" fmla="*/ 837296 h 1731264"/>
                <a:gd name="connsiteX2" fmla="*/ 73029 w 260330"/>
                <a:gd name="connsiteY2" fmla="*/ 0 h 1731264"/>
                <a:gd name="connsiteX0" fmla="*/ 503826 w 503826"/>
                <a:gd name="connsiteY0" fmla="*/ 1463885 h 1463885"/>
                <a:gd name="connsiteX1" fmla="*/ 260136 w 503826"/>
                <a:gd name="connsiteY1" fmla="*/ 837296 h 1463885"/>
                <a:gd name="connsiteX2" fmla="*/ 73029 w 503826"/>
                <a:gd name="connsiteY2" fmla="*/ 0 h 1463885"/>
                <a:gd name="connsiteX0" fmla="*/ 503826 w 503826"/>
                <a:gd name="connsiteY0" fmla="*/ 1463885 h 1463885"/>
                <a:gd name="connsiteX1" fmla="*/ 260136 w 503826"/>
                <a:gd name="connsiteY1" fmla="*/ 837296 h 1463885"/>
                <a:gd name="connsiteX2" fmla="*/ 73029 w 503826"/>
                <a:gd name="connsiteY2" fmla="*/ 0 h 1463885"/>
                <a:gd name="connsiteX0" fmla="*/ 536047 w 536047"/>
                <a:gd name="connsiteY0" fmla="*/ 1463885 h 1463885"/>
                <a:gd name="connsiteX1" fmla="*/ 113815 w 536047"/>
                <a:gd name="connsiteY1" fmla="*/ 837296 h 1463885"/>
                <a:gd name="connsiteX2" fmla="*/ 105250 w 536047"/>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449780 w 449780"/>
                <a:gd name="connsiteY0" fmla="*/ 1463885 h 1463885"/>
                <a:gd name="connsiteX1" fmla="*/ 27548 w 449780"/>
                <a:gd name="connsiteY1" fmla="*/ 837296 h 1463885"/>
                <a:gd name="connsiteX2" fmla="*/ 18983 w 449780"/>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51181 h 1451181"/>
                <a:gd name="connsiteX1" fmla="*/ 48383 w 436076"/>
                <a:gd name="connsiteY1" fmla="*/ 691196 h 1451181"/>
                <a:gd name="connsiteX2" fmla="*/ 5279 w 436076"/>
                <a:gd name="connsiteY2" fmla="*/ 0 h 1451181"/>
                <a:gd name="connsiteX0" fmla="*/ 430797 w 430797"/>
                <a:gd name="connsiteY0" fmla="*/ 1451181 h 1451181"/>
                <a:gd name="connsiteX1" fmla="*/ 43104 w 430797"/>
                <a:gd name="connsiteY1" fmla="*/ 691196 h 1451181"/>
                <a:gd name="connsiteX2" fmla="*/ 0 w 430797"/>
                <a:gd name="connsiteY2" fmla="*/ 0 h 1451181"/>
              </a:gdLst>
              <a:ahLst/>
              <a:cxnLst>
                <a:cxn ang="0">
                  <a:pos x="connsiteX0" y="connsiteY0"/>
                </a:cxn>
                <a:cxn ang="0">
                  <a:pos x="connsiteX1" y="connsiteY1"/>
                </a:cxn>
                <a:cxn ang="0">
                  <a:pos x="connsiteX2" y="connsiteY2"/>
                </a:cxn>
              </a:cxnLst>
              <a:rect l="l" t="t" r="r" b="b"/>
              <a:pathLst>
                <a:path w="430797" h="1451181">
                  <a:moveTo>
                    <a:pt x="430797" y="1451181"/>
                  </a:moveTo>
                  <a:cubicBezTo>
                    <a:pt x="148243" y="972562"/>
                    <a:pt x="393431" y="1406803"/>
                    <a:pt x="43104" y="691196"/>
                  </a:cubicBezTo>
                  <a:cubicBezTo>
                    <a:pt x="-5315" y="-5452"/>
                    <a:pt x="39586" y="708964"/>
                    <a:pt x="0"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19" name="Freeform: Shape 9"/>
            <p:cNvSpPr>
              <a:spLocks/>
            </p:cNvSpPr>
            <p:nvPr/>
          </p:nvSpPr>
          <p:spPr bwMode="auto">
            <a:xfrm flipH="1">
              <a:off x="8325673" y="5675965"/>
              <a:ext cx="821911" cy="5641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524256 w 1004081"/>
                <a:gd name="connsiteY0" fmla="*/ 987552 h 987552"/>
                <a:gd name="connsiteX1" fmla="*/ 987552 w 1004081"/>
                <a:gd name="connsiteY1" fmla="*/ 719328 h 987552"/>
                <a:gd name="connsiteX2" fmla="*/ 0 w 1004081"/>
                <a:gd name="connsiteY2" fmla="*/ 0 h 987552"/>
                <a:gd name="connsiteX0" fmla="*/ 817575 w 1313073"/>
                <a:gd name="connsiteY0" fmla="*/ 959407 h 959407"/>
                <a:gd name="connsiteX1" fmla="*/ 1280871 w 1313073"/>
                <a:gd name="connsiteY1" fmla="*/ 691183 h 959407"/>
                <a:gd name="connsiteX2" fmla="*/ 0 w 1313073"/>
                <a:gd name="connsiteY2" fmla="*/ 0 h 959407"/>
                <a:gd name="connsiteX0" fmla="*/ 817575 w 983243"/>
                <a:gd name="connsiteY0" fmla="*/ 959407 h 959407"/>
                <a:gd name="connsiteX1" fmla="*/ 834515 w 983243"/>
                <a:gd name="connsiteY1" fmla="*/ 705255 h 959407"/>
                <a:gd name="connsiteX2" fmla="*/ 0 w 983243"/>
                <a:gd name="connsiteY2" fmla="*/ 0 h 959407"/>
                <a:gd name="connsiteX0" fmla="*/ 422232 w 848397"/>
                <a:gd name="connsiteY0" fmla="*/ 1451947 h 1451947"/>
                <a:gd name="connsiteX1" fmla="*/ 834515 w 848397"/>
                <a:gd name="connsiteY1" fmla="*/ 705255 h 1451947"/>
                <a:gd name="connsiteX2" fmla="*/ 0 w 848397"/>
                <a:gd name="connsiteY2" fmla="*/ 0 h 1451947"/>
                <a:gd name="connsiteX0" fmla="*/ 422232 w 839069"/>
                <a:gd name="connsiteY0" fmla="*/ 1451947 h 1451947"/>
                <a:gd name="connsiteX1" fmla="*/ 824689 w 839069"/>
                <a:gd name="connsiteY1" fmla="*/ 259357 h 1451947"/>
                <a:gd name="connsiteX2" fmla="*/ 0 w 839069"/>
                <a:gd name="connsiteY2" fmla="*/ 0 h 1451947"/>
              </a:gdLst>
              <a:ahLst/>
              <a:cxnLst>
                <a:cxn ang="0">
                  <a:pos x="connsiteX0" y="connsiteY0"/>
                </a:cxn>
                <a:cxn ang="0">
                  <a:pos x="connsiteX1" y="connsiteY1"/>
                </a:cxn>
                <a:cxn ang="0">
                  <a:pos x="connsiteX2" y="connsiteY2"/>
                </a:cxn>
              </a:cxnLst>
              <a:rect l="l" t="t" r="r" b="b"/>
              <a:pathLst>
                <a:path w="839069" h="1451947">
                  <a:moveTo>
                    <a:pt x="422232" y="1451947"/>
                  </a:moveTo>
                  <a:cubicBezTo>
                    <a:pt x="698584" y="1357459"/>
                    <a:pt x="895061" y="501348"/>
                    <a:pt x="824689" y="259357"/>
                  </a:cubicBezTo>
                  <a:cubicBezTo>
                    <a:pt x="754317" y="17366"/>
                    <a:pt x="205740" y="149860"/>
                    <a:pt x="0"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20" name="Rectangle 119"/>
            <p:cNvSpPr/>
            <p:nvPr/>
          </p:nvSpPr>
          <p:spPr bwMode="auto">
            <a:xfrm>
              <a:off x="8057904" y="4071126"/>
              <a:ext cx="1588168" cy="2560320"/>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grpSp>
        <p:nvGrpSpPr>
          <p:cNvPr id="145" name="Group 144"/>
          <p:cNvGrpSpPr/>
          <p:nvPr/>
        </p:nvGrpSpPr>
        <p:grpSpPr>
          <a:xfrm>
            <a:off x="10256839" y="4071126"/>
            <a:ext cx="1588168" cy="2560320"/>
            <a:chOff x="10256839" y="4071126"/>
            <a:chExt cx="1588168" cy="2560320"/>
          </a:xfrm>
        </p:grpSpPr>
        <p:grpSp>
          <p:nvGrpSpPr>
            <p:cNvPr id="146" name="Group 261"/>
            <p:cNvGrpSpPr>
              <a:grpSpLocks/>
            </p:cNvGrpSpPr>
            <p:nvPr/>
          </p:nvGrpSpPr>
          <p:grpSpPr bwMode="auto">
            <a:xfrm>
              <a:off x="11225697" y="4154673"/>
              <a:ext cx="496390" cy="689716"/>
              <a:chOff x="239" y="1832"/>
              <a:chExt cx="363" cy="520"/>
            </a:xfrm>
          </p:grpSpPr>
          <p:sp>
            <p:nvSpPr>
              <p:cNvPr id="18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8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8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18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8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147" name="Group 146"/>
            <p:cNvGrpSpPr>
              <a:grpSpLocks noChangeAspect="1"/>
            </p:cNvGrpSpPr>
            <p:nvPr/>
          </p:nvGrpSpPr>
          <p:grpSpPr bwMode="auto">
            <a:xfrm>
              <a:off x="11226380" y="5227774"/>
              <a:ext cx="496390" cy="703123"/>
              <a:chOff x="3106" y="2389"/>
              <a:chExt cx="363" cy="520"/>
            </a:xfrm>
          </p:grpSpPr>
          <p:sp>
            <p:nvSpPr>
              <p:cNvPr id="17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7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7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18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8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148" name="Group 9"/>
            <p:cNvGrpSpPr>
              <a:grpSpLocks/>
            </p:cNvGrpSpPr>
            <p:nvPr/>
          </p:nvGrpSpPr>
          <p:grpSpPr bwMode="auto">
            <a:xfrm>
              <a:off x="10871565" y="6186407"/>
              <a:ext cx="239369" cy="360989"/>
              <a:chOff x="416" y="1332"/>
              <a:chExt cx="408" cy="737"/>
            </a:xfrm>
          </p:grpSpPr>
          <p:sp>
            <p:nvSpPr>
              <p:cNvPr id="173"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174" name="Group 11"/>
              <p:cNvGrpSpPr>
                <a:grpSpLocks/>
              </p:cNvGrpSpPr>
              <p:nvPr/>
            </p:nvGrpSpPr>
            <p:grpSpPr bwMode="auto">
              <a:xfrm>
                <a:off x="416" y="1332"/>
                <a:ext cx="408" cy="737"/>
                <a:chOff x="518" y="1338"/>
                <a:chExt cx="357" cy="568"/>
              </a:xfrm>
            </p:grpSpPr>
            <p:sp>
              <p:nvSpPr>
                <p:cNvPr id="175"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176"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149" name="Straight Connector 148"/>
            <p:cNvCxnSpPr>
              <a:stCxn id="178" idx="1"/>
              <a:endCxn id="184" idx="2"/>
            </p:cNvCxnSpPr>
            <p:nvPr/>
          </p:nvCxnSpPr>
          <p:spPr bwMode="auto">
            <a:xfrm flipV="1">
              <a:off x="11303709" y="4828473"/>
              <a:ext cx="168816" cy="4790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50" name="Straight Connector 149"/>
            <p:cNvCxnSpPr>
              <a:stCxn id="178" idx="7"/>
              <a:endCxn id="182" idx="2"/>
            </p:cNvCxnSpPr>
            <p:nvPr/>
          </p:nvCxnSpPr>
          <p:spPr bwMode="auto">
            <a:xfrm flipH="1" flipV="1">
              <a:off x="11474576" y="4836431"/>
              <a:ext cx="169497" cy="4711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51" name="Straight Connector 150"/>
            <p:cNvCxnSpPr/>
            <p:nvPr/>
          </p:nvCxnSpPr>
          <p:spPr bwMode="auto">
            <a:xfrm flipV="1">
              <a:off x="10991249" y="5922785"/>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52" name="Straight Connector 151"/>
            <p:cNvCxnSpPr/>
            <p:nvPr/>
          </p:nvCxnSpPr>
          <p:spPr bwMode="auto">
            <a:xfrm flipV="1">
              <a:off x="11110934" y="5914671"/>
              <a:ext cx="416914" cy="327574"/>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53" name="Group 261"/>
            <p:cNvGrpSpPr>
              <a:grpSpLocks/>
            </p:cNvGrpSpPr>
            <p:nvPr/>
          </p:nvGrpSpPr>
          <p:grpSpPr bwMode="auto">
            <a:xfrm>
              <a:off x="10341777" y="4138757"/>
              <a:ext cx="496390" cy="689716"/>
              <a:chOff x="239" y="1832"/>
              <a:chExt cx="363" cy="520"/>
            </a:xfrm>
          </p:grpSpPr>
          <p:sp>
            <p:nvSpPr>
              <p:cNvPr id="16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6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7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EPC</a:t>
                </a:r>
              </a:p>
            </p:txBody>
          </p:sp>
          <p:sp>
            <p:nvSpPr>
              <p:cNvPr id="17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17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154" name="Straight Connector 153"/>
            <p:cNvCxnSpPr>
              <a:endCxn id="163" idx="2"/>
            </p:cNvCxnSpPr>
            <p:nvPr/>
          </p:nvCxnSpPr>
          <p:spPr bwMode="auto">
            <a:xfrm flipH="1" flipV="1">
              <a:off x="10595154" y="5921094"/>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55" name="Straight Connector 154"/>
            <p:cNvCxnSpPr>
              <a:stCxn id="179" idx="1"/>
              <a:endCxn id="165" idx="3"/>
            </p:cNvCxnSpPr>
            <p:nvPr/>
          </p:nvCxnSpPr>
          <p:spPr bwMode="auto">
            <a:xfrm flipH="1" flipV="1">
              <a:off x="10816683" y="5760863"/>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56" name="Group 155"/>
            <p:cNvGrpSpPr>
              <a:grpSpLocks noChangeAspect="1"/>
            </p:cNvGrpSpPr>
            <p:nvPr/>
          </p:nvGrpSpPr>
          <p:grpSpPr bwMode="auto">
            <a:xfrm>
              <a:off x="10346275" y="5226084"/>
              <a:ext cx="496390" cy="703123"/>
              <a:chOff x="3106" y="2389"/>
              <a:chExt cx="363" cy="520"/>
            </a:xfrm>
          </p:grpSpPr>
          <p:sp>
            <p:nvSpPr>
              <p:cNvPr id="16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6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6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16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6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157" name="Straight Connector 156"/>
            <p:cNvCxnSpPr>
              <a:cxnSpLocks/>
              <a:stCxn id="164" idx="0"/>
              <a:endCxn id="160" idx="2"/>
            </p:cNvCxnSpPr>
            <p:nvPr/>
          </p:nvCxnSpPr>
          <p:spPr bwMode="auto">
            <a:xfrm flipV="1">
              <a:off x="10593786" y="4815338"/>
              <a:ext cx="859452" cy="420211"/>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58" name="TextBox 157"/>
            <p:cNvSpPr txBox="1"/>
            <p:nvPr/>
          </p:nvSpPr>
          <p:spPr>
            <a:xfrm rot="20549433">
              <a:off x="10466012" y="4897923"/>
              <a:ext cx="675185" cy="215444"/>
            </a:xfrm>
            <a:prstGeom prst="rect">
              <a:avLst/>
            </a:prstGeom>
            <a:noFill/>
          </p:spPr>
          <p:txBody>
            <a:bodyPr wrap="none" rtlCol="0">
              <a:spAutoFit/>
            </a:bodyPr>
            <a:lstStyle/>
            <a:p>
              <a:r>
                <a:rPr lang="en-US" sz="800" b="1" dirty="0">
                  <a:latin typeface="+mn-lt"/>
                </a:rPr>
                <a:t>Option 4A</a:t>
              </a:r>
            </a:p>
          </p:txBody>
        </p:sp>
        <p:sp>
          <p:nvSpPr>
            <p:cNvPr id="159" name="Freeform: Shape 158"/>
            <p:cNvSpPr/>
            <p:nvPr/>
          </p:nvSpPr>
          <p:spPr bwMode="auto">
            <a:xfrm flipH="1">
              <a:off x="11016358" y="4791393"/>
              <a:ext cx="641333" cy="1489075"/>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623523 w 623523"/>
                <a:gd name="connsiteY0" fmla="*/ 1490394 h 1490394"/>
                <a:gd name="connsiteX1" fmla="*/ 50499 w 623523"/>
                <a:gd name="connsiteY1" fmla="*/ 978330 h 1490394"/>
                <a:gd name="connsiteX2" fmla="*/ 161419 w 623523"/>
                <a:gd name="connsiteY2" fmla="*/ 0 h 1490394"/>
                <a:gd name="connsiteX0" fmla="*/ 583811 w 583811"/>
                <a:gd name="connsiteY0" fmla="*/ 1490394 h 1490394"/>
                <a:gd name="connsiteX1" fmla="*/ 10787 w 583811"/>
                <a:gd name="connsiteY1" fmla="*/ 978330 h 1490394"/>
                <a:gd name="connsiteX2" fmla="*/ 121707 w 583811"/>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73024 w 573024"/>
                <a:gd name="connsiteY0" fmla="*/ 1490394 h 1490394"/>
                <a:gd name="connsiteX1" fmla="*/ 0 w 573024"/>
                <a:gd name="connsiteY1" fmla="*/ 978330 h 1490394"/>
                <a:gd name="connsiteX2" fmla="*/ 110920 w 573024"/>
                <a:gd name="connsiteY2" fmla="*/ 0 h 1490394"/>
                <a:gd name="connsiteX0" fmla="*/ 591333 w 591333"/>
                <a:gd name="connsiteY0" fmla="*/ 1490394 h 1490394"/>
                <a:gd name="connsiteX1" fmla="*/ 18309 w 591333"/>
                <a:gd name="connsiteY1" fmla="*/ 978330 h 1490394"/>
                <a:gd name="connsiteX2" fmla="*/ 129229 w 591333"/>
                <a:gd name="connsiteY2" fmla="*/ 0 h 1490394"/>
                <a:gd name="connsiteX0" fmla="*/ 581692 w 581692"/>
                <a:gd name="connsiteY0" fmla="*/ 1490394 h 1490394"/>
                <a:gd name="connsiteX1" fmla="*/ 8668 w 581692"/>
                <a:gd name="connsiteY1" fmla="*/ 978330 h 1490394"/>
                <a:gd name="connsiteX2" fmla="*/ 119588 w 581692"/>
                <a:gd name="connsiteY2" fmla="*/ 0 h 1490394"/>
              </a:gdLst>
              <a:ahLst/>
              <a:cxnLst>
                <a:cxn ang="0">
                  <a:pos x="connsiteX0" y="connsiteY0"/>
                </a:cxn>
                <a:cxn ang="0">
                  <a:pos x="connsiteX1" y="connsiteY1"/>
                </a:cxn>
                <a:cxn ang="0">
                  <a:pos x="connsiteX2" y="connsiteY2"/>
                </a:cxn>
              </a:cxnLst>
              <a:rect l="l" t="t" r="r" b="b"/>
              <a:pathLst>
                <a:path w="581692" h="1490394">
                  <a:moveTo>
                    <a:pt x="581692" y="1490394"/>
                  </a:moveTo>
                  <a:cubicBezTo>
                    <a:pt x="297212" y="1389810"/>
                    <a:pt x="145200" y="1333715"/>
                    <a:pt x="8668" y="978330"/>
                  </a:cubicBezTo>
                  <a:cubicBezTo>
                    <a:pt x="-12675" y="438631"/>
                    <a:pt x="-1258" y="750011"/>
                    <a:pt x="119588"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160" name="Freeform: Shape 8"/>
            <p:cNvSpPr>
              <a:spLocks/>
            </p:cNvSpPr>
            <p:nvPr/>
          </p:nvSpPr>
          <p:spPr bwMode="auto">
            <a:xfrm flipH="1">
              <a:off x="10978030" y="4815338"/>
              <a:ext cx="475208" cy="1450678"/>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33989 w 260330"/>
                <a:gd name="connsiteY0" fmla="*/ 1731264 h 1731264"/>
                <a:gd name="connsiteX1" fmla="*/ 260136 w 260330"/>
                <a:gd name="connsiteY1" fmla="*/ 837296 h 1731264"/>
                <a:gd name="connsiteX2" fmla="*/ 73029 w 260330"/>
                <a:gd name="connsiteY2" fmla="*/ 0 h 1731264"/>
                <a:gd name="connsiteX0" fmla="*/ 503826 w 503826"/>
                <a:gd name="connsiteY0" fmla="*/ 1463885 h 1463885"/>
                <a:gd name="connsiteX1" fmla="*/ 260136 w 503826"/>
                <a:gd name="connsiteY1" fmla="*/ 837296 h 1463885"/>
                <a:gd name="connsiteX2" fmla="*/ 73029 w 503826"/>
                <a:gd name="connsiteY2" fmla="*/ 0 h 1463885"/>
                <a:gd name="connsiteX0" fmla="*/ 503826 w 503826"/>
                <a:gd name="connsiteY0" fmla="*/ 1463885 h 1463885"/>
                <a:gd name="connsiteX1" fmla="*/ 260136 w 503826"/>
                <a:gd name="connsiteY1" fmla="*/ 837296 h 1463885"/>
                <a:gd name="connsiteX2" fmla="*/ 73029 w 503826"/>
                <a:gd name="connsiteY2" fmla="*/ 0 h 1463885"/>
                <a:gd name="connsiteX0" fmla="*/ 536047 w 536047"/>
                <a:gd name="connsiteY0" fmla="*/ 1463885 h 1463885"/>
                <a:gd name="connsiteX1" fmla="*/ 113815 w 536047"/>
                <a:gd name="connsiteY1" fmla="*/ 837296 h 1463885"/>
                <a:gd name="connsiteX2" fmla="*/ 105250 w 536047"/>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545035 w 545035"/>
                <a:gd name="connsiteY0" fmla="*/ 1463885 h 1463885"/>
                <a:gd name="connsiteX1" fmla="*/ 122803 w 545035"/>
                <a:gd name="connsiteY1" fmla="*/ 837296 h 1463885"/>
                <a:gd name="connsiteX2" fmla="*/ 114238 w 545035"/>
                <a:gd name="connsiteY2" fmla="*/ 0 h 1463885"/>
                <a:gd name="connsiteX0" fmla="*/ 449780 w 449780"/>
                <a:gd name="connsiteY0" fmla="*/ 1463885 h 1463885"/>
                <a:gd name="connsiteX1" fmla="*/ 27548 w 449780"/>
                <a:gd name="connsiteY1" fmla="*/ 837296 h 1463885"/>
                <a:gd name="connsiteX2" fmla="*/ 18983 w 449780"/>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63885 h 1463885"/>
                <a:gd name="connsiteX1" fmla="*/ 48383 w 436076"/>
                <a:gd name="connsiteY1" fmla="*/ 703900 h 1463885"/>
                <a:gd name="connsiteX2" fmla="*/ 5279 w 436076"/>
                <a:gd name="connsiteY2" fmla="*/ 0 h 1463885"/>
                <a:gd name="connsiteX0" fmla="*/ 436076 w 436076"/>
                <a:gd name="connsiteY0" fmla="*/ 1451181 h 1451181"/>
                <a:gd name="connsiteX1" fmla="*/ 48383 w 436076"/>
                <a:gd name="connsiteY1" fmla="*/ 691196 h 1451181"/>
                <a:gd name="connsiteX2" fmla="*/ 5279 w 436076"/>
                <a:gd name="connsiteY2" fmla="*/ 0 h 1451181"/>
                <a:gd name="connsiteX0" fmla="*/ 430797 w 430797"/>
                <a:gd name="connsiteY0" fmla="*/ 1451181 h 1451181"/>
                <a:gd name="connsiteX1" fmla="*/ 43104 w 430797"/>
                <a:gd name="connsiteY1" fmla="*/ 691196 h 1451181"/>
                <a:gd name="connsiteX2" fmla="*/ 0 w 430797"/>
                <a:gd name="connsiteY2" fmla="*/ 0 h 1451181"/>
              </a:gdLst>
              <a:ahLst/>
              <a:cxnLst>
                <a:cxn ang="0">
                  <a:pos x="connsiteX0" y="connsiteY0"/>
                </a:cxn>
                <a:cxn ang="0">
                  <a:pos x="connsiteX1" y="connsiteY1"/>
                </a:cxn>
                <a:cxn ang="0">
                  <a:pos x="connsiteX2" y="connsiteY2"/>
                </a:cxn>
              </a:cxnLst>
              <a:rect l="l" t="t" r="r" b="b"/>
              <a:pathLst>
                <a:path w="430797" h="1451181">
                  <a:moveTo>
                    <a:pt x="430797" y="1451181"/>
                  </a:moveTo>
                  <a:cubicBezTo>
                    <a:pt x="148243" y="972562"/>
                    <a:pt x="393431" y="1406803"/>
                    <a:pt x="43104" y="691196"/>
                  </a:cubicBezTo>
                  <a:cubicBezTo>
                    <a:pt x="-5315" y="-5452"/>
                    <a:pt x="39586" y="708964"/>
                    <a:pt x="0"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61" name="Freeform: Shape 9"/>
            <p:cNvSpPr>
              <a:spLocks/>
            </p:cNvSpPr>
            <p:nvPr/>
          </p:nvSpPr>
          <p:spPr bwMode="auto">
            <a:xfrm flipH="1">
              <a:off x="10515471" y="4788674"/>
              <a:ext cx="935856" cy="1451445"/>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524256 w 1004081"/>
                <a:gd name="connsiteY0" fmla="*/ 987552 h 987552"/>
                <a:gd name="connsiteX1" fmla="*/ 987552 w 1004081"/>
                <a:gd name="connsiteY1" fmla="*/ 719328 h 987552"/>
                <a:gd name="connsiteX2" fmla="*/ 0 w 1004081"/>
                <a:gd name="connsiteY2" fmla="*/ 0 h 987552"/>
                <a:gd name="connsiteX0" fmla="*/ 817575 w 1313073"/>
                <a:gd name="connsiteY0" fmla="*/ 959407 h 959407"/>
                <a:gd name="connsiteX1" fmla="*/ 1280871 w 1313073"/>
                <a:gd name="connsiteY1" fmla="*/ 691183 h 959407"/>
                <a:gd name="connsiteX2" fmla="*/ 0 w 1313073"/>
                <a:gd name="connsiteY2" fmla="*/ 0 h 959407"/>
                <a:gd name="connsiteX0" fmla="*/ 817575 w 983243"/>
                <a:gd name="connsiteY0" fmla="*/ 959407 h 959407"/>
                <a:gd name="connsiteX1" fmla="*/ 834515 w 983243"/>
                <a:gd name="connsiteY1" fmla="*/ 705255 h 959407"/>
                <a:gd name="connsiteX2" fmla="*/ 0 w 983243"/>
                <a:gd name="connsiteY2" fmla="*/ 0 h 959407"/>
                <a:gd name="connsiteX0" fmla="*/ 422232 w 848397"/>
                <a:gd name="connsiteY0" fmla="*/ 1451947 h 1451947"/>
                <a:gd name="connsiteX1" fmla="*/ 834515 w 848397"/>
                <a:gd name="connsiteY1" fmla="*/ 705255 h 1451947"/>
                <a:gd name="connsiteX2" fmla="*/ 0 w 848397"/>
                <a:gd name="connsiteY2" fmla="*/ 0 h 1451947"/>
              </a:gdLst>
              <a:ahLst/>
              <a:cxnLst>
                <a:cxn ang="0">
                  <a:pos x="connsiteX0" y="connsiteY0"/>
                </a:cxn>
                <a:cxn ang="0">
                  <a:pos x="connsiteX1" y="connsiteY1"/>
                </a:cxn>
                <a:cxn ang="0">
                  <a:pos x="connsiteX2" y="connsiteY2"/>
                </a:cxn>
              </a:cxnLst>
              <a:rect l="l" t="t" r="r" b="b"/>
              <a:pathLst>
                <a:path w="848397" h="1451947">
                  <a:moveTo>
                    <a:pt x="422232" y="1451947"/>
                  </a:moveTo>
                  <a:cubicBezTo>
                    <a:pt x="698584" y="1357459"/>
                    <a:pt x="904887" y="947246"/>
                    <a:pt x="834515" y="705255"/>
                  </a:cubicBezTo>
                  <a:cubicBezTo>
                    <a:pt x="764143" y="463264"/>
                    <a:pt x="205740" y="149860"/>
                    <a:pt x="0"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62" name="Rectangle 161"/>
            <p:cNvSpPr/>
            <p:nvPr/>
          </p:nvSpPr>
          <p:spPr bwMode="auto">
            <a:xfrm>
              <a:off x="10256839" y="4071126"/>
              <a:ext cx="1588168" cy="2560320"/>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2684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2" end="1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3" end="13"/>
                                            </p:txEl>
                                          </p:spTgt>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nodeType="afterEffect">
                                  <p:stCondLst>
                                    <p:cond delay="0"/>
                                  </p:stCondLst>
                                  <p:childTnLst>
                                    <p:set>
                                      <p:cBhvr>
                                        <p:cTn id="35" dur="1" fill="hold">
                                          <p:stCondLst>
                                            <p:cond delay="0"/>
                                          </p:stCondLst>
                                        </p:cTn>
                                        <p:tgtEl>
                                          <p:spTgt spid="77"/>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nodeType="afterEffect">
                                  <p:stCondLst>
                                    <p:cond delay="0"/>
                                  </p:stCondLst>
                                  <p:childTnLst>
                                    <p:set>
                                      <p:cBhvr>
                                        <p:cTn id="38" dur="1" fill="hold">
                                          <p:stCondLst>
                                            <p:cond delay="0"/>
                                          </p:stCondLst>
                                        </p:cTn>
                                        <p:tgtEl>
                                          <p:spTgt spid="103"/>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0"/>
                                  </p:stCondLst>
                                  <p:childTnLst>
                                    <p:set>
                                      <p:cBhvr>
                                        <p:cTn id="41"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RAN-CN option 5 &amp; 7</a:t>
            </a:r>
          </a:p>
        </p:txBody>
      </p:sp>
      <p:sp>
        <p:nvSpPr>
          <p:cNvPr id="4" name="Content Placeholder 2"/>
          <p:cNvSpPr txBox="1">
            <a:spLocks/>
          </p:cNvSpPr>
          <p:nvPr/>
        </p:nvSpPr>
        <p:spPr>
          <a:xfrm>
            <a:off x="524934" y="1339186"/>
            <a:ext cx="8266556" cy="5328900"/>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altLang="en-US" sz="2000" kern="0" dirty="0"/>
              <a:t>Option 5 - </a:t>
            </a:r>
            <a:r>
              <a:rPr lang="en-US" altLang="es-ES_tradnl" sz="2000" kern="0" dirty="0">
                <a:solidFill>
                  <a:srgbClr val="00B0F0"/>
                </a:solidFill>
              </a:rPr>
              <a:t>Stand-alone LTE R15 with 5GC</a:t>
            </a:r>
            <a:endParaRPr lang="en-US" altLang="en-US" sz="2000" kern="0" dirty="0"/>
          </a:p>
          <a:p>
            <a:pPr lvl="1"/>
            <a:r>
              <a:rPr lang="en-US" sz="1800" kern="0" dirty="0"/>
              <a:t>LTE stand-alone connected to 5GC</a:t>
            </a:r>
          </a:p>
          <a:p>
            <a:pPr lvl="1"/>
            <a:r>
              <a:rPr lang="en-US" sz="1800" kern="0" dirty="0"/>
              <a:t>Control plane 5G-NAS via LTE</a:t>
            </a:r>
          </a:p>
          <a:p>
            <a:pPr lvl="1"/>
            <a:r>
              <a:rPr lang="en-US" sz="1800" kern="0" dirty="0"/>
              <a:t>New 5GC</a:t>
            </a:r>
          </a:p>
          <a:p>
            <a:pPr lvl="1"/>
            <a:r>
              <a:rPr lang="en-US" altLang="en-US" sz="1800" dirty="0"/>
              <a:t>Upgrade of LTE </a:t>
            </a:r>
            <a:r>
              <a:rPr lang="en-US" altLang="en-US" sz="1800" dirty="0" err="1"/>
              <a:t>eNb</a:t>
            </a:r>
            <a:r>
              <a:rPr lang="en-US" altLang="en-US" sz="1800" dirty="0"/>
              <a:t> to support 5GC</a:t>
            </a:r>
          </a:p>
          <a:p>
            <a:pPr lvl="1"/>
            <a:r>
              <a:rPr lang="en-US" altLang="en-US" sz="1800" kern="0" dirty="0"/>
              <a:t>Common 5G CN for options 2, 4, 5 &amp; 7</a:t>
            </a:r>
          </a:p>
          <a:p>
            <a:pPr lvl="1"/>
            <a:endParaRPr lang="en-US" altLang="en-US" sz="1800" kern="0" dirty="0"/>
          </a:p>
          <a:p>
            <a:r>
              <a:rPr lang="en-US" altLang="en-US" sz="2000" kern="0" dirty="0"/>
              <a:t>Option 7/7A/7X - </a:t>
            </a:r>
            <a:r>
              <a:rPr lang="en-US" altLang="es-ES_tradnl" sz="1800" kern="0" dirty="0">
                <a:solidFill>
                  <a:srgbClr val="00B0F0"/>
                </a:solidFill>
              </a:rPr>
              <a:t>“LTE-Assisted” NR with 5GC</a:t>
            </a:r>
            <a:endParaRPr lang="en-US" altLang="en-US" sz="1800" kern="0" dirty="0"/>
          </a:p>
          <a:p>
            <a:pPr lvl="1"/>
            <a:r>
              <a:rPr lang="en-US" sz="1800" kern="0" dirty="0"/>
              <a:t>NR anchored in LTE </a:t>
            </a:r>
            <a:r>
              <a:rPr lang="en-US" sz="1800" kern="0" dirty="0" err="1"/>
              <a:t>eNB</a:t>
            </a:r>
            <a:r>
              <a:rPr lang="en-US" sz="1800" kern="0" dirty="0"/>
              <a:t> and used for User Plane only</a:t>
            </a:r>
          </a:p>
          <a:p>
            <a:pPr lvl="1"/>
            <a:r>
              <a:rPr lang="en-US" sz="1800" kern="0" dirty="0"/>
              <a:t>Option 7A: NR User Plane directly to 5GC</a:t>
            </a:r>
          </a:p>
          <a:p>
            <a:pPr lvl="1"/>
            <a:r>
              <a:rPr lang="en-US" sz="1800" kern="0" dirty="0"/>
              <a:t>Option 7X: User Plane aggregated in NR </a:t>
            </a:r>
            <a:r>
              <a:rPr lang="en-US" sz="1800" kern="0" dirty="0" err="1"/>
              <a:t>gNb</a:t>
            </a:r>
            <a:r>
              <a:rPr lang="en-US" sz="1800" kern="0" dirty="0"/>
              <a:t> towards 5GC</a:t>
            </a:r>
          </a:p>
          <a:p>
            <a:pPr lvl="1"/>
            <a:r>
              <a:rPr lang="en-US" sz="1800" kern="0" dirty="0"/>
              <a:t>Control plane 5G-NAS via LTE</a:t>
            </a:r>
          </a:p>
          <a:p>
            <a:pPr lvl="1"/>
            <a:r>
              <a:rPr lang="en-US" sz="1800" kern="0" dirty="0"/>
              <a:t>New 5GC</a:t>
            </a:r>
          </a:p>
          <a:p>
            <a:pPr lvl="1"/>
            <a:r>
              <a:rPr lang="en-US" altLang="en-US" sz="1800" dirty="0"/>
              <a:t>Upgrade of LTE </a:t>
            </a:r>
            <a:r>
              <a:rPr lang="en-US" altLang="en-US" sz="1800" dirty="0" err="1"/>
              <a:t>eNb</a:t>
            </a:r>
            <a:r>
              <a:rPr lang="en-US" altLang="en-US" sz="1800" dirty="0"/>
              <a:t> to support 5GC</a:t>
            </a:r>
          </a:p>
          <a:p>
            <a:pPr lvl="1"/>
            <a:r>
              <a:rPr lang="en-US" altLang="en-US" sz="1800" kern="0" dirty="0"/>
              <a:t>Common 5GC for options 2, 4, 5 &amp; 7</a:t>
            </a:r>
          </a:p>
        </p:txBody>
      </p:sp>
      <p:grpSp>
        <p:nvGrpSpPr>
          <p:cNvPr id="68" name="Group 67"/>
          <p:cNvGrpSpPr/>
          <p:nvPr/>
        </p:nvGrpSpPr>
        <p:grpSpPr>
          <a:xfrm>
            <a:off x="5336845" y="5835213"/>
            <a:ext cx="1871073" cy="630942"/>
            <a:chOff x="8784866" y="5459894"/>
            <a:chExt cx="1871073" cy="630942"/>
          </a:xfrm>
        </p:grpSpPr>
        <p:cxnSp>
          <p:nvCxnSpPr>
            <p:cNvPr id="69" name="Straight Connector 68"/>
            <p:cNvCxnSpPr/>
            <p:nvPr/>
          </p:nvCxnSpPr>
          <p:spPr bwMode="auto">
            <a:xfrm>
              <a:off x="8791490" y="5618922"/>
              <a:ext cx="503545" cy="0"/>
            </a:xfrm>
            <a:prstGeom prst="line">
              <a:avLst/>
            </a:prstGeom>
            <a:noFill/>
            <a:ln w="38100" cap="flat" cmpd="sng" algn="ctr">
              <a:solidFill>
                <a:schemeClr val="tx2">
                  <a:lumMod val="75000"/>
                  <a:lumOff val="25000"/>
                </a:schemeClr>
              </a:solidFill>
              <a:prstDash val="solid"/>
              <a:round/>
              <a:headEnd type="none" w="med" len="med"/>
              <a:tailEnd type="none" w="med" len="med"/>
            </a:ln>
            <a:effectLst/>
          </p:spPr>
        </p:cxnSp>
        <p:cxnSp>
          <p:nvCxnSpPr>
            <p:cNvPr id="70" name="Straight Connector 69"/>
            <p:cNvCxnSpPr/>
            <p:nvPr/>
          </p:nvCxnSpPr>
          <p:spPr bwMode="auto">
            <a:xfrm>
              <a:off x="8784866" y="5943598"/>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71" name="TextBox 70"/>
            <p:cNvSpPr txBox="1"/>
            <p:nvPr/>
          </p:nvSpPr>
          <p:spPr>
            <a:xfrm>
              <a:off x="9386040" y="5459894"/>
              <a:ext cx="1269899" cy="630942"/>
            </a:xfrm>
            <a:prstGeom prst="rect">
              <a:avLst/>
            </a:prstGeom>
            <a:noFill/>
          </p:spPr>
          <p:txBody>
            <a:bodyPr wrap="none" rtlCol="0">
              <a:spAutoFit/>
            </a:bodyPr>
            <a:lstStyle/>
            <a:p>
              <a:r>
                <a:rPr lang="en-US" sz="1400">
                  <a:latin typeface="+mn-lt"/>
                </a:rPr>
                <a:t>Control Plane</a:t>
              </a:r>
            </a:p>
            <a:p>
              <a:r>
                <a:rPr lang="en-US" sz="1400">
                  <a:latin typeface="+mn-lt"/>
                </a:rPr>
                <a:t>User Plane</a:t>
              </a:r>
            </a:p>
          </p:txBody>
        </p:sp>
      </p:grpSp>
      <p:grpSp>
        <p:nvGrpSpPr>
          <p:cNvPr id="3" name="Group 2"/>
          <p:cNvGrpSpPr/>
          <p:nvPr/>
        </p:nvGrpSpPr>
        <p:grpSpPr>
          <a:xfrm>
            <a:off x="9783177" y="1183601"/>
            <a:ext cx="2023350" cy="2517268"/>
            <a:chOff x="9978047" y="1588331"/>
            <a:chExt cx="2023350" cy="2517268"/>
          </a:xfrm>
        </p:grpSpPr>
        <p:sp>
          <p:nvSpPr>
            <p:cNvPr id="180" name="Rectangle 179"/>
            <p:cNvSpPr/>
            <p:nvPr/>
          </p:nvSpPr>
          <p:spPr bwMode="auto">
            <a:xfrm>
              <a:off x="9978047" y="1588331"/>
              <a:ext cx="2023350" cy="2517268"/>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181" name="Group 261"/>
            <p:cNvGrpSpPr>
              <a:grpSpLocks/>
            </p:cNvGrpSpPr>
            <p:nvPr/>
          </p:nvGrpSpPr>
          <p:grpSpPr bwMode="auto">
            <a:xfrm>
              <a:off x="10984465" y="1675779"/>
              <a:ext cx="496390" cy="689716"/>
              <a:chOff x="239" y="1832"/>
              <a:chExt cx="363" cy="520"/>
            </a:xfrm>
          </p:grpSpPr>
          <p:sp>
            <p:nvSpPr>
              <p:cNvPr id="21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1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1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1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2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182" name="Group 181"/>
            <p:cNvGrpSpPr>
              <a:grpSpLocks noChangeAspect="1"/>
            </p:cNvGrpSpPr>
            <p:nvPr/>
          </p:nvGrpSpPr>
          <p:grpSpPr bwMode="auto">
            <a:xfrm>
              <a:off x="10985148" y="2748880"/>
              <a:ext cx="496390" cy="703123"/>
              <a:chOff x="3106" y="2389"/>
              <a:chExt cx="363" cy="520"/>
            </a:xfrm>
          </p:grpSpPr>
          <p:sp>
            <p:nvSpPr>
              <p:cNvPr id="21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1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1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1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1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183" name="Group 9"/>
            <p:cNvGrpSpPr>
              <a:grpSpLocks/>
            </p:cNvGrpSpPr>
            <p:nvPr/>
          </p:nvGrpSpPr>
          <p:grpSpPr bwMode="auto">
            <a:xfrm>
              <a:off x="10630333" y="3707513"/>
              <a:ext cx="239369" cy="360989"/>
              <a:chOff x="416" y="1332"/>
              <a:chExt cx="408" cy="737"/>
            </a:xfrm>
          </p:grpSpPr>
          <p:sp>
            <p:nvSpPr>
              <p:cNvPr id="20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208" name="Group 11"/>
              <p:cNvGrpSpPr>
                <a:grpSpLocks/>
              </p:cNvGrpSpPr>
              <p:nvPr/>
            </p:nvGrpSpPr>
            <p:grpSpPr bwMode="auto">
              <a:xfrm>
                <a:off x="416" y="1332"/>
                <a:ext cx="408" cy="737"/>
                <a:chOff x="518" y="1338"/>
                <a:chExt cx="357" cy="568"/>
              </a:xfrm>
            </p:grpSpPr>
            <p:sp>
              <p:nvSpPr>
                <p:cNvPr id="20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21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184" name="Straight Connector 183"/>
            <p:cNvCxnSpPr>
              <a:stCxn id="198" idx="1"/>
              <a:endCxn id="216" idx="2"/>
            </p:cNvCxnSpPr>
            <p:nvPr/>
          </p:nvCxnSpPr>
          <p:spPr bwMode="auto">
            <a:xfrm flipV="1">
              <a:off x="10182372" y="2357537"/>
              <a:ext cx="1050972" cy="4694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85" name="Straight Connector 184"/>
            <p:cNvCxnSpPr>
              <a:stCxn id="198" idx="7"/>
              <a:endCxn id="216" idx="2"/>
            </p:cNvCxnSpPr>
            <p:nvPr/>
          </p:nvCxnSpPr>
          <p:spPr bwMode="auto">
            <a:xfrm flipV="1">
              <a:off x="10522736" y="2357537"/>
              <a:ext cx="710608" cy="4694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6" name="Straight Connector 185"/>
            <p:cNvCxnSpPr/>
            <p:nvPr/>
          </p:nvCxnSpPr>
          <p:spPr bwMode="auto">
            <a:xfrm flipV="1">
              <a:off x="10750017" y="3443891"/>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7" name="Straight Connector 186"/>
            <p:cNvCxnSpPr/>
            <p:nvPr/>
          </p:nvCxnSpPr>
          <p:spPr bwMode="auto">
            <a:xfrm flipH="1" flipV="1">
              <a:off x="10265898" y="3442200"/>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88" name="Group 261"/>
            <p:cNvGrpSpPr>
              <a:grpSpLocks/>
            </p:cNvGrpSpPr>
            <p:nvPr/>
          </p:nvGrpSpPr>
          <p:grpSpPr bwMode="auto">
            <a:xfrm>
              <a:off x="10100545" y="1659863"/>
              <a:ext cx="496390" cy="689716"/>
              <a:chOff x="239" y="1832"/>
              <a:chExt cx="363" cy="520"/>
            </a:xfrm>
          </p:grpSpPr>
          <p:sp>
            <p:nvSpPr>
              <p:cNvPr id="20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0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0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EPC</a:t>
                </a:r>
              </a:p>
            </p:txBody>
          </p:sp>
          <p:sp>
            <p:nvSpPr>
              <p:cNvPr id="20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0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189" name="Straight Connector 188"/>
            <p:cNvCxnSpPr>
              <a:endCxn id="197" idx="2"/>
            </p:cNvCxnSpPr>
            <p:nvPr/>
          </p:nvCxnSpPr>
          <p:spPr bwMode="auto">
            <a:xfrm flipH="1" flipV="1">
              <a:off x="10353922" y="3442200"/>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90" name="Straight Connector 189"/>
            <p:cNvCxnSpPr>
              <a:stCxn id="213" idx="1"/>
              <a:endCxn id="199" idx="3"/>
            </p:cNvCxnSpPr>
            <p:nvPr/>
          </p:nvCxnSpPr>
          <p:spPr bwMode="auto">
            <a:xfrm flipH="1" flipV="1">
              <a:off x="10575451" y="3281969"/>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91" name="Group 190"/>
            <p:cNvGrpSpPr>
              <a:grpSpLocks noChangeAspect="1"/>
            </p:cNvGrpSpPr>
            <p:nvPr/>
          </p:nvGrpSpPr>
          <p:grpSpPr bwMode="auto">
            <a:xfrm>
              <a:off x="10105043" y="2747190"/>
              <a:ext cx="496390" cy="703123"/>
              <a:chOff x="3106" y="2389"/>
              <a:chExt cx="363" cy="520"/>
            </a:xfrm>
          </p:grpSpPr>
          <p:sp>
            <p:nvSpPr>
              <p:cNvPr id="19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9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19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0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0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192" name="Straight Connector 191"/>
            <p:cNvCxnSpPr>
              <a:stCxn id="212" idx="0"/>
              <a:endCxn id="216" idx="2"/>
            </p:cNvCxnSpPr>
            <p:nvPr/>
          </p:nvCxnSpPr>
          <p:spPr bwMode="auto">
            <a:xfrm flipV="1">
              <a:off x="11232659" y="2357537"/>
              <a:ext cx="685" cy="4008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93" name="TextBox 192"/>
            <p:cNvSpPr txBox="1"/>
            <p:nvPr/>
          </p:nvSpPr>
          <p:spPr>
            <a:xfrm>
              <a:off x="11296326" y="2529467"/>
              <a:ext cx="705071" cy="215444"/>
            </a:xfrm>
            <a:prstGeom prst="rect">
              <a:avLst/>
            </a:prstGeom>
            <a:noFill/>
          </p:spPr>
          <p:txBody>
            <a:bodyPr wrap="square" rtlCol="0">
              <a:spAutoFit/>
            </a:bodyPr>
            <a:lstStyle/>
            <a:p>
              <a:r>
                <a:rPr lang="en-US" sz="800" b="1" dirty="0">
                  <a:latin typeface="+mn-lt"/>
                </a:rPr>
                <a:t>Option 7X</a:t>
              </a:r>
            </a:p>
          </p:txBody>
        </p:sp>
        <p:sp>
          <p:nvSpPr>
            <p:cNvPr id="194" name="Freeform: Shape 193"/>
            <p:cNvSpPr/>
            <p:nvPr/>
          </p:nvSpPr>
          <p:spPr bwMode="auto">
            <a:xfrm>
              <a:off x="10067219" y="2291162"/>
              <a:ext cx="1019067" cy="1484090"/>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8010 w 838910"/>
                <a:gd name="connsiteY0" fmla="*/ 1626736 h 1626736"/>
                <a:gd name="connsiteX1" fmla="*/ 8526 w 838910"/>
                <a:gd name="connsiteY1" fmla="*/ 1015881 h 1626736"/>
                <a:gd name="connsiteX2" fmla="*/ 838910 w 838910"/>
                <a:gd name="connsiteY2" fmla="*/ 0 h 1626736"/>
                <a:gd name="connsiteX0" fmla="*/ 445375 w 816275"/>
                <a:gd name="connsiteY0" fmla="*/ 1626736 h 1626736"/>
                <a:gd name="connsiteX1" fmla="*/ 9142 w 816275"/>
                <a:gd name="connsiteY1" fmla="*/ 777240 h 1626736"/>
                <a:gd name="connsiteX2" fmla="*/ 816275 w 816275"/>
                <a:gd name="connsiteY2" fmla="*/ 0 h 1626736"/>
              </a:gdLst>
              <a:ahLst/>
              <a:cxnLst>
                <a:cxn ang="0">
                  <a:pos x="connsiteX0" y="connsiteY0"/>
                </a:cxn>
                <a:cxn ang="0">
                  <a:pos x="connsiteX1" y="connsiteY1"/>
                </a:cxn>
                <a:cxn ang="0">
                  <a:pos x="connsiteX2" y="connsiteY2"/>
                </a:cxn>
              </a:cxnLst>
              <a:rect l="l" t="t" r="r" b="b"/>
              <a:pathLst>
                <a:path w="816275" h="1626736">
                  <a:moveTo>
                    <a:pt x="445375" y="1626736"/>
                  </a:moveTo>
                  <a:cubicBezTo>
                    <a:pt x="210774" y="1410551"/>
                    <a:pt x="-52675" y="1048363"/>
                    <a:pt x="9142" y="777240"/>
                  </a:cubicBezTo>
                  <a:cubicBezTo>
                    <a:pt x="70959" y="506117"/>
                    <a:pt x="781337" y="238157"/>
                    <a:pt x="8162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195" name="Freeform: Shape 8"/>
            <p:cNvSpPr>
              <a:spLocks/>
            </p:cNvSpPr>
            <p:nvPr/>
          </p:nvSpPr>
          <p:spPr bwMode="auto">
            <a:xfrm>
              <a:off x="10794349" y="2254115"/>
              <a:ext cx="572790" cy="1496587"/>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111286 w 568413"/>
                <a:gd name="connsiteY0" fmla="*/ 1422534 h 1422534"/>
                <a:gd name="connsiteX1" fmla="*/ 517980 w 568413"/>
                <a:gd name="connsiteY1" fmla="*/ 721361 h 1422534"/>
                <a:gd name="connsiteX2" fmla="*/ 546591 w 568413"/>
                <a:gd name="connsiteY2" fmla="*/ 0 h 1422534"/>
                <a:gd name="connsiteX0" fmla="*/ 101840 w 660585"/>
                <a:gd name="connsiteY0" fmla="*/ 1422534 h 1422534"/>
                <a:gd name="connsiteX1" fmla="*/ 610152 w 660585"/>
                <a:gd name="connsiteY1" fmla="*/ 721361 h 1422534"/>
                <a:gd name="connsiteX2" fmla="*/ 638763 w 660585"/>
                <a:gd name="connsiteY2" fmla="*/ 0 h 1422534"/>
                <a:gd name="connsiteX0" fmla="*/ 0 w 558745"/>
                <a:gd name="connsiteY0" fmla="*/ 1422534 h 1422534"/>
                <a:gd name="connsiteX1" fmla="*/ 508312 w 558745"/>
                <a:gd name="connsiteY1" fmla="*/ 721361 h 1422534"/>
                <a:gd name="connsiteX2" fmla="*/ 536923 w 558745"/>
                <a:gd name="connsiteY2" fmla="*/ 0 h 1422534"/>
                <a:gd name="connsiteX0" fmla="*/ 0 w 558745"/>
                <a:gd name="connsiteY0" fmla="*/ 1313533 h 1313533"/>
                <a:gd name="connsiteX1" fmla="*/ 508312 w 558745"/>
                <a:gd name="connsiteY1" fmla="*/ 721361 h 1313533"/>
                <a:gd name="connsiteX2" fmla="*/ 536923 w 558745"/>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Lst>
              <a:ahLst/>
              <a:cxnLst>
                <a:cxn ang="0">
                  <a:pos x="connsiteX0" y="connsiteY0"/>
                </a:cxn>
                <a:cxn ang="0">
                  <a:pos x="connsiteX1" y="connsiteY1"/>
                </a:cxn>
                <a:cxn ang="0">
                  <a:pos x="connsiteX2" y="connsiteY2"/>
                </a:cxn>
              </a:cxnLst>
              <a:rect l="l" t="t" r="r" b="b"/>
              <a:pathLst>
                <a:path w="572892" h="1313533">
                  <a:moveTo>
                    <a:pt x="0" y="1313533"/>
                  </a:moveTo>
                  <a:cubicBezTo>
                    <a:pt x="512110" y="847517"/>
                    <a:pt x="300720" y="1173407"/>
                    <a:pt x="566380" y="694110"/>
                  </a:cubicBezTo>
                  <a:cubicBezTo>
                    <a:pt x="556220" y="323816"/>
                    <a:pt x="602589" y="525998"/>
                    <a:pt x="536923"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96" name="Freeform: Shape 8"/>
            <p:cNvSpPr>
              <a:spLocks/>
            </p:cNvSpPr>
            <p:nvPr/>
          </p:nvSpPr>
          <p:spPr bwMode="auto">
            <a:xfrm>
              <a:off x="10465289" y="2789350"/>
              <a:ext cx="863274" cy="985902"/>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Lst>
              <a:ahLst/>
              <a:cxnLst>
                <a:cxn ang="0">
                  <a:pos x="connsiteX0" y="connsiteY0"/>
                </a:cxn>
                <a:cxn ang="0">
                  <a:pos x="connsiteX1" y="connsiteY1"/>
                </a:cxn>
                <a:cxn ang="0">
                  <a:pos x="connsiteX2" y="connsiteY2"/>
                </a:cxn>
              </a:cxnLst>
              <a:rect l="l" t="t" r="r" b="b"/>
              <a:pathLst>
                <a:path w="845002" h="1422534">
                  <a:moveTo>
                    <a:pt x="406333" y="1422534"/>
                  </a:moveTo>
                  <a:cubicBezTo>
                    <a:pt x="3882" y="970143"/>
                    <a:pt x="10243" y="1064406"/>
                    <a:pt x="83" y="775862"/>
                  </a:cubicBezTo>
                  <a:cubicBezTo>
                    <a:pt x="-10077" y="487318"/>
                    <a:pt x="907304" y="525998"/>
                    <a:pt x="84163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grpSp>
      <p:grpSp>
        <p:nvGrpSpPr>
          <p:cNvPr id="221" name="Group 220"/>
          <p:cNvGrpSpPr/>
          <p:nvPr/>
        </p:nvGrpSpPr>
        <p:grpSpPr>
          <a:xfrm>
            <a:off x="7596520" y="1227685"/>
            <a:ext cx="2023350" cy="2517268"/>
            <a:chOff x="7716440" y="1257665"/>
            <a:chExt cx="2023350" cy="2517268"/>
          </a:xfrm>
        </p:grpSpPr>
        <p:grpSp>
          <p:nvGrpSpPr>
            <p:cNvPr id="222" name="Group 261"/>
            <p:cNvGrpSpPr>
              <a:grpSpLocks/>
            </p:cNvGrpSpPr>
            <p:nvPr/>
          </p:nvGrpSpPr>
          <p:grpSpPr bwMode="auto">
            <a:xfrm>
              <a:off x="8814288" y="1327995"/>
              <a:ext cx="496390" cy="689716"/>
              <a:chOff x="239" y="1832"/>
              <a:chExt cx="363" cy="520"/>
            </a:xfrm>
          </p:grpSpPr>
          <p:sp>
            <p:nvSpPr>
              <p:cNvPr id="24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4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4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223" name="Group 9"/>
            <p:cNvGrpSpPr>
              <a:grpSpLocks/>
            </p:cNvGrpSpPr>
            <p:nvPr/>
          </p:nvGrpSpPr>
          <p:grpSpPr bwMode="auto">
            <a:xfrm>
              <a:off x="8460156" y="3331154"/>
              <a:ext cx="239369" cy="360989"/>
              <a:chOff x="416" y="1332"/>
              <a:chExt cx="408" cy="737"/>
            </a:xfrm>
          </p:grpSpPr>
          <p:sp>
            <p:nvSpPr>
              <p:cNvPr id="238"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239" name="Group 11"/>
              <p:cNvGrpSpPr>
                <a:grpSpLocks/>
              </p:cNvGrpSpPr>
              <p:nvPr/>
            </p:nvGrpSpPr>
            <p:grpSpPr bwMode="auto">
              <a:xfrm>
                <a:off x="416" y="1332"/>
                <a:ext cx="408" cy="737"/>
                <a:chOff x="518" y="1338"/>
                <a:chExt cx="357" cy="568"/>
              </a:xfrm>
            </p:grpSpPr>
            <p:sp>
              <p:nvSpPr>
                <p:cNvPr id="240"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24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224" name="Straight Connector 223"/>
            <p:cNvCxnSpPr>
              <a:stCxn id="234" idx="1"/>
              <a:endCxn id="244" idx="2"/>
            </p:cNvCxnSpPr>
            <p:nvPr/>
          </p:nvCxnSpPr>
          <p:spPr bwMode="auto">
            <a:xfrm flipV="1">
              <a:off x="8012195" y="2001795"/>
              <a:ext cx="1048921" cy="448798"/>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25" name="Straight Connector 224"/>
            <p:cNvCxnSpPr>
              <a:stCxn id="234" idx="7"/>
              <a:endCxn id="242" idx="2"/>
            </p:cNvCxnSpPr>
            <p:nvPr/>
          </p:nvCxnSpPr>
          <p:spPr bwMode="auto">
            <a:xfrm flipV="1">
              <a:off x="8352559" y="2009753"/>
              <a:ext cx="710608" cy="44084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26" name="Straight Connector 225"/>
            <p:cNvCxnSpPr/>
            <p:nvPr/>
          </p:nvCxnSpPr>
          <p:spPr bwMode="auto">
            <a:xfrm flipH="1" flipV="1">
              <a:off x="8095721" y="3065841"/>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27" name="Straight Connector 226"/>
            <p:cNvCxnSpPr>
              <a:endCxn id="233" idx="2"/>
            </p:cNvCxnSpPr>
            <p:nvPr/>
          </p:nvCxnSpPr>
          <p:spPr bwMode="auto">
            <a:xfrm flipH="1" flipV="1">
              <a:off x="8183745" y="3065841"/>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28" name="Group 227"/>
            <p:cNvGrpSpPr>
              <a:grpSpLocks noChangeAspect="1"/>
            </p:cNvGrpSpPr>
            <p:nvPr/>
          </p:nvGrpSpPr>
          <p:grpSpPr bwMode="auto">
            <a:xfrm>
              <a:off x="7934866" y="2370831"/>
              <a:ext cx="496390" cy="703123"/>
              <a:chOff x="3106" y="2389"/>
              <a:chExt cx="363" cy="520"/>
            </a:xfrm>
          </p:grpSpPr>
          <p:sp>
            <p:nvSpPr>
              <p:cNvPr id="23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3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3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3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3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sp>
          <p:nvSpPr>
            <p:cNvPr id="229" name="Freeform: Shape 228"/>
            <p:cNvSpPr/>
            <p:nvPr/>
          </p:nvSpPr>
          <p:spPr bwMode="auto">
            <a:xfrm>
              <a:off x="7941380" y="1902902"/>
              <a:ext cx="1019067" cy="1484090"/>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8010 w 838910"/>
                <a:gd name="connsiteY0" fmla="*/ 1626736 h 1626736"/>
                <a:gd name="connsiteX1" fmla="*/ 8526 w 838910"/>
                <a:gd name="connsiteY1" fmla="*/ 1015881 h 1626736"/>
                <a:gd name="connsiteX2" fmla="*/ 838910 w 838910"/>
                <a:gd name="connsiteY2" fmla="*/ 0 h 1626736"/>
                <a:gd name="connsiteX0" fmla="*/ 445375 w 816275"/>
                <a:gd name="connsiteY0" fmla="*/ 1626736 h 1626736"/>
                <a:gd name="connsiteX1" fmla="*/ 9142 w 816275"/>
                <a:gd name="connsiteY1" fmla="*/ 777240 h 1626736"/>
                <a:gd name="connsiteX2" fmla="*/ 816275 w 816275"/>
                <a:gd name="connsiteY2" fmla="*/ 0 h 1626736"/>
              </a:gdLst>
              <a:ahLst/>
              <a:cxnLst>
                <a:cxn ang="0">
                  <a:pos x="connsiteX0" y="connsiteY0"/>
                </a:cxn>
                <a:cxn ang="0">
                  <a:pos x="connsiteX1" y="connsiteY1"/>
                </a:cxn>
                <a:cxn ang="0">
                  <a:pos x="connsiteX2" y="connsiteY2"/>
                </a:cxn>
              </a:cxnLst>
              <a:rect l="l" t="t" r="r" b="b"/>
              <a:pathLst>
                <a:path w="816275" h="1626736">
                  <a:moveTo>
                    <a:pt x="445375" y="1626736"/>
                  </a:moveTo>
                  <a:cubicBezTo>
                    <a:pt x="210774" y="1410551"/>
                    <a:pt x="-52675" y="1048363"/>
                    <a:pt x="9142" y="777240"/>
                  </a:cubicBezTo>
                  <a:cubicBezTo>
                    <a:pt x="70959" y="506117"/>
                    <a:pt x="781337" y="238157"/>
                    <a:pt x="8162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230" name="Freeform: Shape 8"/>
            <p:cNvSpPr>
              <a:spLocks/>
            </p:cNvSpPr>
            <p:nvPr/>
          </p:nvSpPr>
          <p:spPr bwMode="auto">
            <a:xfrm>
              <a:off x="8211448" y="1931968"/>
              <a:ext cx="844852" cy="1422763"/>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Lst>
              <a:ahLst/>
              <a:cxnLst>
                <a:cxn ang="0">
                  <a:pos x="connsiteX0" y="connsiteY0"/>
                </a:cxn>
                <a:cxn ang="0">
                  <a:pos x="connsiteX1" y="connsiteY1"/>
                </a:cxn>
                <a:cxn ang="0">
                  <a:pos x="connsiteX2" y="connsiteY2"/>
                </a:cxn>
              </a:cxnLst>
              <a:rect l="l" t="t" r="r" b="b"/>
              <a:pathLst>
                <a:path w="845002" h="1422534">
                  <a:moveTo>
                    <a:pt x="406333" y="1422534"/>
                  </a:moveTo>
                  <a:cubicBezTo>
                    <a:pt x="3882" y="970143"/>
                    <a:pt x="10243" y="1064406"/>
                    <a:pt x="83" y="775862"/>
                  </a:cubicBezTo>
                  <a:cubicBezTo>
                    <a:pt x="-10077" y="487318"/>
                    <a:pt x="907304" y="525998"/>
                    <a:pt x="84163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31" name="TextBox 230"/>
            <p:cNvSpPr txBox="1"/>
            <p:nvPr/>
          </p:nvSpPr>
          <p:spPr>
            <a:xfrm>
              <a:off x="8617429" y="2570379"/>
              <a:ext cx="626631" cy="215444"/>
            </a:xfrm>
            <a:prstGeom prst="rect">
              <a:avLst/>
            </a:prstGeom>
            <a:noFill/>
          </p:spPr>
          <p:txBody>
            <a:bodyPr wrap="square" rtlCol="0">
              <a:spAutoFit/>
            </a:bodyPr>
            <a:lstStyle/>
            <a:p>
              <a:r>
                <a:rPr lang="en-US" sz="800" b="1" dirty="0">
                  <a:latin typeface="+mn-lt"/>
                </a:rPr>
                <a:t>Option 5</a:t>
              </a:r>
            </a:p>
          </p:txBody>
        </p:sp>
        <p:sp>
          <p:nvSpPr>
            <p:cNvPr id="232" name="Rectangle 231"/>
            <p:cNvSpPr/>
            <p:nvPr/>
          </p:nvSpPr>
          <p:spPr bwMode="auto">
            <a:xfrm>
              <a:off x="7716440" y="1257665"/>
              <a:ext cx="2023350" cy="2517268"/>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grpSp>
        <p:nvGrpSpPr>
          <p:cNvPr id="247" name="Group 246"/>
          <p:cNvGrpSpPr/>
          <p:nvPr/>
        </p:nvGrpSpPr>
        <p:grpSpPr>
          <a:xfrm>
            <a:off x="7577847" y="4075619"/>
            <a:ext cx="2023350" cy="2517268"/>
            <a:chOff x="7697767" y="4105599"/>
            <a:chExt cx="2023350" cy="2517268"/>
          </a:xfrm>
        </p:grpSpPr>
        <p:sp>
          <p:nvSpPr>
            <p:cNvPr id="248" name="Rectangle 247"/>
            <p:cNvSpPr/>
            <p:nvPr/>
          </p:nvSpPr>
          <p:spPr bwMode="auto">
            <a:xfrm>
              <a:off x="7697767" y="4105599"/>
              <a:ext cx="2023350" cy="2517268"/>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249" name="Group 261"/>
            <p:cNvGrpSpPr>
              <a:grpSpLocks/>
            </p:cNvGrpSpPr>
            <p:nvPr/>
          </p:nvGrpSpPr>
          <p:grpSpPr bwMode="auto">
            <a:xfrm>
              <a:off x="8704185" y="4193047"/>
              <a:ext cx="496390" cy="689716"/>
              <a:chOff x="239" y="1832"/>
              <a:chExt cx="363" cy="520"/>
            </a:xfrm>
          </p:grpSpPr>
          <p:sp>
            <p:nvSpPr>
              <p:cNvPr id="28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8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8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28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8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250" name="Group 249"/>
            <p:cNvGrpSpPr>
              <a:grpSpLocks noChangeAspect="1"/>
            </p:cNvGrpSpPr>
            <p:nvPr/>
          </p:nvGrpSpPr>
          <p:grpSpPr bwMode="auto">
            <a:xfrm>
              <a:off x="8704868" y="5266148"/>
              <a:ext cx="496390" cy="703123"/>
              <a:chOff x="3106" y="2389"/>
              <a:chExt cx="363" cy="520"/>
            </a:xfrm>
          </p:grpSpPr>
          <p:sp>
            <p:nvSpPr>
              <p:cNvPr id="27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8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8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8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8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251" name="Group 9"/>
            <p:cNvGrpSpPr>
              <a:grpSpLocks/>
            </p:cNvGrpSpPr>
            <p:nvPr/>
          </p:nvGrpSpPr>
          <p:grpSpPr bwMode="auto">
            <a:xfrm>
              <a:off x="8350053" y="6224781"/>
              <a:ext cx="239369" cy="360989"/>
              <a:chOff x="416" y="1332"/>
              <a:chExt cx="408" cy="737"/>
            </a:xfrm>
          </p:grpSpPr>
          <p:sp>
            <p:nvSpPr>
              <p:cNvPr id="275"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276" name="Group 11"/>
              <p:cNvGrpSpPr>
                <a:grpSpLocks/>
              </p:cNvGrpSpPr>
              <p:nvPr/>
            </p:nvGrpSpPr>
            <p:grpSpPr bwMode="auto">
              <a:xfrm>
                <a:off x="416" y="1332"/>
                <a:ext cx="408" cy="737"/>
                <a:chOff x="518" y="1338"/>
                <a:chExt cx="357" cy="568"/>
              </a:xfrm>
            </p:grpSpPr>
            <p:sp>
              <p:nvSpPr>
                <p:cNvPr id="277"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278"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252" name="Straight Connector 251"/>
            <p:cNvCxnSpPr>
              <a:stCxn id="266" idx="1"/>
              <a:endCxn id="284" idx="2"/>
            </p:cNvCxnSpPr>
            <p:nvPr/>
          </p:nvCxnSpPr>
          <p:spPr bwMode="auto">
            <a:xfrm flipV="1">
              <a:off x="7902092" y="4874805"/>
              <a:ext cx="1050972" cy="4694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53" name="Straight Connector 252"/>
            <p:cNvCxnSpPr>
              <a:stCxn id="266" idx="7"/>
              <a:endCxn id="284" idx="2"/>
            </p:cNvCxnSpPr>
            <p:nvPr/>
          </p:nvCxnSpPr>
          <p:spPr bwMode="auto">
            <a:xfrm flipV="1">
              <a:off x="8242456" y="4874805"/>
              <a:ext cx="710608" cy="4694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54" name="Straight Connector 253"/>
            <p:cNvCxnSpPr/>
            <p:nvPr/>
          </p:nvCxnSpPr>
          <p:spPr bwMode="auto">
            <a:xfrm flipV="1">
              <a:off x="8469737" y="5961159"/>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55" name="Straight Connector 254"/>
            <p:cNvCxnSpPr/>
            <p:nvPr/>
          </p:nvCxnSpPr>
          <p:spPr bwMode="auto">
            <a:xfrm flipH="1" flipV="1">
              <a:off x="7985618" y="5959468"/>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256" name="Group 261"/>
            <p:cNvGrpSpPr>
              <a:grpSpLocks/>
            </p:cNvGrpSpPr>
            <p:nvPr/>
          </p:nvGrpSpPr>
          <p:grpSpPr bwMode="auto">
            <a:xfrm>
              <a:off x="7820265" y="4177131"/>
              <a:ext cx="496390" cy="689716"/>
              <a:chOff x="239" y="1832"/>
              <a:chExt cx="363" cy="520"/>
            </a:xfrm>
          </p:grpSpPr>
          <p:sp>
            <p:nvSpPr>
              <p:cNvPr id="27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7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7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EPC</a:t>
                </a:r>
              </a:p>
            </p:txBody>
          </p:sp>
          <p:sp>
            <p:nvSpPr>
              <p:cNvPr id="27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27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257" name="Straight Connector 256"/>
            <p:cNvCxnSpPr>
              <a:endCxn id="265" idx="2"/>
            </p:cNvCxnSpPr>
            <p:nvPr/>
          </p:nvCxnSpPr>
          <p:spPr bwMode="auto">
            <a:xfrm flipH="1" flipV="1">
              <a:off x="8073642" y="5959468"/>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58" name="Straight Connector 257"/>
            <p:cNvCxnSpPr>
              <a:stCxn id="281" idx="1"/>
              <a:endCxn id="267" idx="3"/>
            </p:cNvCxnSpPr>
            <p:nvPr/>
          </p:nvCxnSpPr>
          <p:spPr bwMode="auto">
            <a:xfrm flipH="1" flipV="1">
              <a:off x="8295171" y="5799237"/>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59" name="Group 258"/>
            <p:cNvGrpSpPr>
              <a:grpSpLocks noChangeAspect="1"/>
            </p:cNvGrpSpPr>
            <p:nvPr/>
          </p:nvGrpSpPr>
          <p:grpSpPr bwMode="auto">
            <a:xfrm>
              <a:off x="7824763" y="5264458"/>
              <a:ext cx="496390" cy="703123"/>
              <a:chOff x="3106" y="2389"/>
              <a:chExt cx="363" cy="520"/>
            </a:xfrm>
          </p:grpSpPr>
          <p:sp>
            <p:nvSpPr>
              <p:cNvPr id="26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6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6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26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26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260" name="Straight Connector 259"/>
            <p:cNvCxnSpPr>
              <a:stCxn id="280" idx="0"/>
              <a:endCxn id="284" idx="2"/>
            </p:cNvCxnSpPr>
            <p:nvPr/>
          </p:nvCxnSpPr>
          <p:spPr bwMode="auto">
            <a:xfrm flipV="1">
              <a:off x="8952379" y="4874805"/>
              <a:ext cx="685" cy="4008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261" name="TextBox 260"/>
            <p:cNvSpPr txBox="1"/>
            <p:nvPr/>
          </p:nvSpPr>
          <p:spPr>
            <a:xfrm>
              <a:off x="9016046" y="5046735"/>
              <a:ext cx="626631" cy="215444"/>
            </a:xfrm>
            <a:prstGeom prst="rect">
              <a:avLst/>
            </a:prstGeom>
            <a:noFill/>
          </p:spPr>
          <p:txBody>
            <a:bodyPr wrap="square" rtlCol="0">
              <a:spAutoFit/>
            </a:bodyPr>
            <a:lstStyle/>
            <a:p>
              <a:r>
                <a:rPr lang="en-US" sz="800" b="1" dirty="0">
                  <a:latin typeface="+mn-lt"/>
                </a:rPr>
                <a:t>Option 7</a:t>
              </a:r>
            </a:p>
          </p:txBody>
        </p:sp>
        <p:sp>
          <p:nvSpPr>
            <p:cNvPr id="262" name="Freeform: Shape 261"/>
            <p:cNvSpPr/>
            <p:nvPr/>
          </p:nvSpPr>
          <p:spPr bwMode="auto">
            <a:xfrm>
              <a:off x="7786939" y="4808430"/>
              <a:ext cx="1019067" cy="1484090"/>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8010 w 838910"/>
                <a:gd name="connsiteY0" fmla="*/ 1626736 h 1626736"/>
                <a:gd name="connsiteX1" fmla="*/ 8526 w 838910"/>
                <a:gd name="connsiteY1" fmla="*/ 1015881 h 1626736"/>
                <a:gd name="connsiteX2" fmla="*/ 838910 w 838910"/>
                <a:gd name="connsiteY2" fmla="*/ 0 h 1626736"/>
                <a:gd name="connsiteX0" fmla="*/ 445375 w 816275"/>
                <a:gd name="connsiteY0" fmla="*/ 1626736 h 1626736"/>
                <a:gd name="connsiteX1" fmla="*/ 9142 w 816275"/>
                <a:gd name="connsiteY1" fmla="*/ 777240 h 1626736"/>
                <a:gd name="connsiteX2" fmla="*/ 816275 w 816275"/>
                <a:gd name="connsiteY2" fmla="*/ 0 h 1626736"/>
              </a:gdLst>
              <a:ahLst/>
              <a:cxnLst>
                <a:cxn ang="0">
                  <a:pos x="connsiteX0" y="connsiteY0"/>
                </a:cxn>
                <a:cxn ang="0">
                  <a:pos x="connsiteX1" y="connsiteY1"/>
                </a:cxn>
                <a:cxn ang="0">
                  <a:pos x="connsiteX2" y="connsiteY2"/>
                </a:cxn>
              </a:cxnLst>
              <a:rect l="l" t="t" r="r" b="b"/>
              <a:pathLst>
                <a:path w="816275" h="1626736">
                  <a:moveTo>
                    <a:pt x="445375" y="1626736"/>
                  </a:moveTo>
                  <a:cubicBezTo>
                    <a:pt x="210774" y="1410551"/>
                    <a:pt x="-52675" y="1048363"/>
                    <a:pt x="9142" y="777240"/>
                  </a:cubicBezTo>
                  <a:cubicBezTo>
                    <a:pt x="70959" y="506117"/>
                    <a:pt x="781337" y="238157"/>
                    <a:pt x="8162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263" name="Freeform: Shape 8"/>
            <p:cNvSpPr>
              <a:spLocks/>
            </p:cNvSpPr>
            <p:nvPr/>
          </p:nvSpPr>
          <p:spPr bwMode="auto">
            <a:xfrm>
              <a:off x="8057007" y="4799958"/>
              <a:ext cx="844852" cy="1501034"/>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Lst>
              <a:ahLst/>
              <a:cxnLst>
                <a:cxn ang="0">
                  <a:pos x="connsiteX0" y="connsiteY0"/>
                </a:cxn>
                <a:cxn ang="0">
                  <a:pos x="connsiteX1" y="connsiteY1"/>
                </a:cxn>
                <a:cxn ang="0">
                  <a:pos x="connsiteX2" y="connsiteY2"/>
                </a:cxn>
              </a:cxnLst>
              <a:rect l="l" t="t" r="r" b="b"/>
              <a:pathLst>
                <a:path w="845002" h="1422534">
                  <a:moveTo>
                    <a:pt x="406333" y="1422534"/>
                  </a:moveTo>
                  <a:cubicBezTo>
                    <a:pt x="3882" y="970143"/>
                    <a:pt x="10243" y="1064406"/>
                    <a:pt x="83" y="775862"/>
                  </a:cubicBezTo>
                  <a:cubicBezTo>
                    <a:pt x="-10077" y="487318"/>
                    <a:pt x="907304" y="525998"/>
                    <a:pt x="84163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64" name="Freeform: Shape 8"/>
            <p:cNvSpPr>
              <a:spLocks/>
            </p:cNvSpPr>
            <p:nvPr/>
          </p:nvSpPr>
          <p:spPr bwMode="auto">
            <a:xfrm>
              <a:off x="8098486" y="5695332"/>
              <a:ext cx="882399" cy="667367"/>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111286 w 568413"/>
                <a:gd name="connsiteY0" fmla="*/ 1422534 h 1422534"/>
                <a:gd name="connsiteX1" fmla="*/ 517980 w 568413"/>
                <a:gd name="connsiteY1" fmla="*/ 721361 h 1422534"/>
                <a:gd name="connsiteX2" fmla="*/ 546591 w 568413"/>
                <a:gd name="connsiteY2" fmla="*/ 0 h 1422534"/>
                <a:gd name="connsiteX0" fmla="*/ 101840 w 660585"/>
                <a:gd name="connsiteY0" fmla="*/ 1422534 h 1422534"/>
                <a:gd name="connsiteX1" fmla="*/ 610152 w 660585"/>
                <a:gd name="connsiteY1" fmla="*/ 721361 h 1422534"/>
                <a:gd name="connsiteX2" fmla="*/ 638763 w 660585"/>
                <a:gd name="connsiteY2" fmla="*/ 0 h 1422534"/>
                <a:gd name="connsiteX0" fmla="*/ 0 w 558745"/>
                <a:gd name="connsiteY0" fmla="*/ 1422534 h 1422534"/>
                <a:gd name="connsiteX1" fmla="*/ 508312 w 558745"/>
                <a:gd name="connsiteY1" fmla="*/ 721361 h 1422534"/>
                <a:gd name="connsiteX2" fmla="*/ 536923 w 558745"/>
                <a:gd name="connsiteY2" fmla="*/ 0 h 1422534"/>
                <a:gd name="connsiteX0" fmla="*/ 0 w 558745"/>
                <a:gd name="connsiteY0" fmla="*/ 1313533 h 1313533"/>
                <a:gd name="connsiteX1" fmla="*/ 508312 w 558745"/>
                <a:gd name="connsiteY1" fmla="*/ 721361 h 1313533"/>
                <a:gd name="connsiteX2" fmla="*/ 536923 w 558745"/>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66380"/>
                <a:gd name="connsiteY0" fmla="*/ 1213214 h 1213214"/>
                <a:gd name="connsiteX1" fmla="*/ 566380 w 566380"/>
                <a:gd name="connsiteY1" fmla="*/ 593791 h 1213214"/>
                <a:gd name="connsiteX2" fmla="*/ 279702 w 566380"/>
                <a:gd name="connsiteY2" fmla="*/ 0 h 1213214"/>
                <a:gd name="connsiteX0" fmla="*/ 0 w 566380"/>
                <a:gd name="connsiteY0" fmla="*/ 1213214 h 1213214"/>
                <a:gd name="connsiteX1" fmla="*/ 566380 w 566380"/>
                <a:gd name="connsiteY1" fmla="*/ 593791 h 1213214"/>
                <a:gd name="connsiteX2" fmla="*/ 165381 w 566380"/>
                <a:gd name="connsiteY2" fmla="*/ 0 h 1213214"/>
                <a:gd name="connsiteX0" fmla="*/ 0 w 1042715"/>
                <a:gd name="connsiteY0" fmla="*/ 1320829 h 1320829"/>
                <a:gd name="connsiteX1" fmla="*/ 1042715 w 1042715"/>
                <a:gd name="connsiteY1" fmla="*/ 91129 h 1320829"/>
                <a:gd name="connsiteX2" fmla="*/ 165381 w 1042715"/>
                <a:gd name="connsiteY2" fmla="*/ 107615 h 1320829"/>
                <a:gd name="connsiteX0" fmla="*/ 0 w 1047937"/>
                <a:gd name="connsiteY0" fmla="*/ 1339013 h 1339013"/>
                <a:gd name="connsiteX1" fmla="*/ 1042715 w 1047937"/>
                <a:gd name="connsiteY1" fmla="*/ 109313 h 1339013"/>
                <a:gd name="connsiteX2" fmla="*/ 448946 w 1047937"/>
                <a:gd name="connsiteY2" fmla="*/ 25622 h 1339013"/>
                <a:gd name="connsiteX3" fmla="*/ 165381 w 1047937"/>
                <a:gd name="connsiteY3" fmla="*/ 125799 h 1339013"/>
                <a:gd name="connsiteX0" fmla="*/ 0 w 1047937"/>
                <a:gd name="connsiteY0" fmla="*/ 1339013 h 1339013"/>
                <a:gd name="connsiteX1" fmla="*/ 591846 w 1047937"/>
                <a:gd name="connsiteY1" fmla="*/ 585738 h 1339013"/>
                <a:gd name="connsiteX2" fmla="*/ 1042715 w 1047937"/>
                <a:gd name="connsiteY2" fmla="*/ 109313 h 1339013"/>
                <a:gd name="connsiteX3" fmla="*/ 448946 w 1047937"/>
                <a:gd name="connsiteY3" fmla="*/ 25622 h 1339013"/>
                <a:gd name="connsiteX4" fmla="*/ 165381 w 1047937"/>
                <a:gd name="connsiteY4" fmla="*/ 125799 h 1339013"/>
                <a:gd name="connsiteX0" fmla="*/ 426465 w 882556"/>
                <a:gd name="connsiteY0" fmla="*/ 585738 h 585738"/>
                <a:gd name="connsiteX1" fmla="*/ 877334 w 882556"/>
                <a:gd name="connsiteY1" fmla="*/ 109313 h 585738"/>
                <a:gd name="connsiteX2" fmla="*/ 283565 w 882556"/>
                <a:gd name="connsiteY2" fmla="*/ 25622 h 585738"/>
                <a:gd name="connsiteX3" fmla="*/ 0 w 882556"/>
                <a:gd name="connsiteY3" fmla="*/ 125799 h 585738"/>
              </a:gdLst>
              <a:ahLst/>
              <a:cxnLst>
                <a:cxn ang="0">
                  <a:pos x="connsiteX0" y="connsiteY0"/>
                </a:cxn>
                <a:cxn ang="0">
                  <a:pos x="connsiteX1" y="connsiteY1"/>
                </a:cxn>
                <a:cxn ang="0">
                  <a:pos x="connsiteX2" y="connsiteY2"/>
                </a:cxn>
                <a:cxn ang="0">
                  <a:pos x="connsiteX3" y="connsiteY3"/>
                </a:cxn>
              </a:cxnLst>
              <a:rect l="l" t="t" r="r" b="b"/>
              <a:pathLst>
                <a:path w="882556" h="585738">
                  <a:moveTo>
                    <a:pt x="426465" y="585738"/>
                  </a:moveTo>
                  <a:cubicBezTo>
                    <a:pt x="600251" y="380788"/>
                    <a:pt x="845578" y="289052"/>
                    <a:pt x="877334" y="109313"/>
                  </a:cubicBezTo>
                  <a:cubicBezTo>
                    <a:pt x="939456" y="-67786"/>
                    <a:pt x="429787" y="22874"/>
                    <a:pt x="283565" y="25622"/>
                  </a:cubicBezTo>
                  <a:cubicBezTo>
                    <a:pt x="137343" y="28370"/>
                    <a:pt x="34559" y="150903"/>
                    <a:pt x="0" y="125799"/>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grpSp>
      <p:grpSp>
        <p:nvGrpSpPr>
          <p:cNvPr id="289" name="Group 288"/>
          <p:cNvGrpSpPr/>
          <p:nvPr/>
        </p:nvGrpSpPr>
        <p:grpSpPr>
          <a:xfrm>
            <a:off x="9978147" y="4075619"/>
            <a:ext cx="2023350" cy="2517268"/>
            <a:chOff x="10098067" y="4105599"/>
            <a:chExt cx="2023350" cy="2517268"/>
          </a:xfrm>
        </p:grpSpPr>
        <p:sp>
          <p:nvSpPr>
            <p:cNvPr id="290" name="Rectangle 289"/>
            <p:cNvSpPr/>
            <p:nvPr/>
          </p:nvSpPr>
          <p:spPr bwMode="auto">
            <a:xfrm>
              <a:off x="10098067" y="4105599"/>
              <a:ext cx="2023350" cy="2517268"/>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zh-CN" altLang="en-US" sz="2000" b="0" i="0" u="none" strike="noStrike" cap="none" normalizeH="0" baseline="0">
                <a:ln>
                  <a:noFill/>
                </a:ln>
                <a:solidFill>
                  <a:schemeClr val="tx1"/>
                </a:solidFill>
                <a:effectLst/>
                <a:latin typeface="Arial" charset="0"/>
              </a:endParaRPr>
            </a:p>
          </p:txBody>
        </p:sp>
        <p:grpSp>
          <p:nvGrpSpPr>
            <p:cNvPr id="291" name="Group 261"/>
            <p:cNvGrpSpPr>
              <a:grpSpLocks/>
            </p:cNvGrpSpPr>
            <p:nvPr/>
          </p:nvGrpSpPr>
          <p:grpSpPr bwMode="auto">
            <a:xfrm>
              <a:off x="11104485" y="4193047"/>
              <a:ext cx="496390" cy="689716"/>
              <a:chOff x="239" y="1832"/>
              <a:chExt cx="363" cy="520"/>
            </a:xfrm>
          </p:grpSpPr>
          <p:sp>
            <p:nvSpPr>
              <p:cNvPr id="32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2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2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5GC</a:t>
                </a:r>
              </a:p>
            </p:txBody>
          </p:sp>
          <p:sp>
            <p:nvSpPr>
              <p:cNvPr id="32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3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grpSp>
          <p:nvGrpSpPr>
            <p:cNvPr id="292" name="Group 291"/>
            <p:cNvGrpSpPr>
              <a:grpSpLocks noChangeAspect="1"/>
            </p:cNvGrpSpPr>
            <p:nvPr/>
          </p:nvGrpSpPr>
          <p:grpSpPr bwMode="auto">
            <a:xfrm>
              <a:off x="11105168" y="5266148"/>
              <a:ext cx="496390" cy="703123"/>
              <a:chOff x="3106" y="2389"/>
              <a:chExt cx="363" cy="520"/>
            </a:xfrm>
          </p:grpSpPr>
          <p:sp>
            <p:nvSpPr>
              <p:cNvPr id="32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2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2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NR</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32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2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grpSp>
          <p:nvGrpSpPr>
            <p:cNvPr id="293" name="Group 9"/>
            <p:cNvGrpSpPr>
              <a:grpSpLocks/>
            </p:cNvGrpSpPr>
            <p:nvPr/>
          </p:nvGrpSpPr>
          <p:grpSpPr bwMode="auto">
            <a:xfrm>
              <a:off x="10750353" y="6224781"/>
              <a:ext cx="239369" cy="360989"/>
              <a:chOff x="416" y="1332"/>
              <a:chExt cx="408" cy="737"/>
            </a:xfrm>
          </p:grpSpPr>
          <p:sp>
            <p:nvSpPr>
              <p:cNvPr id="31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endParaRPr lang="en-US" altLang="es-ES_tradnl" sz="800" b="1" dirty="0">
                  <a:solidFill>
                    <a:schemeClr val="hlink"/>
                  </a:solidFill>
                  <a:latin typeface="+mn-lt"/>
                </a:endParaRPr>
              </a:p>
            </p:txBody>
          </p:sp>
          <p:grpSp>
            <p:nvGrpSpPr>
              <p:cNvPr id="318" name="Group 11"/>
              <p:cNvGrpSpPr>
                <a:grpSpLocks/>
              </p:cNvGrpSpPr>
              <p:nvPr/>
            </p:nvGrpSpPr>
            <p:grpSpPr bwMode="auto">
              <a:xfrm>
                <a:off x="416" y="1332"/>
                <a:ext cx="408" cy="737"/>
                <a:chOff x="518" y="1338"/>
                <a:chExt cx="357" cy="568"/>
              </a:xfrm>
            </p:grpSpPr>
            <p:sp>
              <p:nvSpPr>
                <p:cNvPr id="31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br>
                    <a:rPr lang="de-DE" altLang="es-ES_tradnl" sz="2400">
                      <a:latin typeface="+mn-lt"/>
                    </a:rPr>
                  </a:br>
                  <a:endParaRPr lang="en-US" altLang="es-ES_tradnl" sz="2400">
                    <a:latin typeface="+mn-lt"/>
                  </a:endParaRPr>
                </a:p>
              </p:txBody>
            </p:sp>
            <p:sp>
              <p:nvSpPr>
                <p:cNvPr id="32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mn-lt"/>
                  </a:endParaRPr>
                </a:p>
              </p:txBody>
            </p:sp>
          </p:grpSp>
        </p:grpSp>
        <p:cxnSp>
          <p:nvCxnSpPr>
            <p:cNvPr id="294" name="Straight Connector 293"/>
            <p:cNvCxnSpPr>
              <a:stCxn id="308" idx="1"/>
              <a:endCxn id="326" idx="2"/>
            </p:cNvCxnSpPr>
            <p:nvPr/>
          </p:nvCxnSpPr>
          <p:spPr bwMode="auto">
            <a:xfrm flipV="1">
              <a:off x="10302392" y="4874805"/>
              <a:ext cx="1050972" cy="4694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95" name="Straight Connector 294"/>
            <p:cNvCxnSpPr>
              <a:stCxn id="308" idx="7"/>
              <a:endCxn id="326" idx="2"/>
            </p:cNvCxnSpPr>
            <p:nvPr/>
          </p:nvCxnSpPr>
          <p:spPr bwMode="auto">
            <a:xfrm flipV="1">
              <a:off x="10642756" y="4874805"/>
              <a:ext cx="710608" cy="4694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96" name="Straight Connector 295"/>
            <p:cNvCxnSpPr/>
            <p:nvPr/>
          </p:nvCxnSpPr>
          <p:spPr bwMode="auto">
            <a:xfrm flipV="1">
              <a:off x="10870037" y="5961159"/>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97" name="Straight Connector 296"/>
            <p:cNvCxnSpPr/>
            <p:nvPr/>
          </p:nvCxnSpPr>
          <p:spPr bwMode="auto">
            <a:xfrm flipH="1" flipV="1">
              <a:off x="10385918" y="5959468"/>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298" name="Group 261"/>
            <p:cNvGrpSpPr>
              <a:grpSpLocks/>
            </p:cNvGrpSpPr>
            <p:nvPr/>
          </p:nvGrpSpPr>
          <p:grpSpPr bwMode="auto">
            <a:xfrm>
              <a:off x="10220565" y="4177131"/>
              <a:ext cx="496390" cy="689716"/>
              <a:chOff x="239" y="1832"/>
              <a:chExt cx="363" cy="520"/>
            </a:xfrm>
          </p:grpSpPr>
          <p:sp>
            <p:nvSpPr>
              <p:cNvPr id="31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1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1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100" b="1" dirty="0">
                    <a:solidFill>
                      <a:srgbClr val="8F3F7B"/>
                    </a:solidFill>
                    <a:latin typeface="+mn-lt"/>
                    <a:ea typeface="ＭＳ Ｐゴシック" pitchFamily="34" charset="-128"/>
                  </a:rPr>
                  <a:t>EPC</a:t>
                </a:r>
              </a:p>
            </p:txBody>
          </p:sp>
          <p:sp>
            <p:nvSpPr>
              <p:cNvPr id="31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latin typeface="+mn-lt"/>
                </a:endParaRPr>
              </a:p>
            </p:txBody>
          </p:sp>
          <p:sp>
            <p:nvSpPr>
              <p:cNvPr id="31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latin typeface="+mn-lt"/>
                </a:endParaRPr>
              </a:p>
            </p:txBody>
          </p:sp>
        </p:grpSp>
        <p:cxnSp>
          <p:nvCxnSpPr>
            <p:cNvPr id="299" name="Straight Connector 298"/>
            <p:cNvCxnSpPr>
              <a:endCxn id="307" idx="2"/>
            </p:cNvCxnSpPr>
            <p:nvPr/>
          </p:nvCxnSpPr>
          <p:spPr bwMode="auto">
            <a:xfrm flipH="1" flipV="1">
              <a:off x="10473942" y="5959468"/>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00" name="Straight Connector 299"/>
            <p:cNvCxnSpPr>
              <a:stCxn id="323" idx="1"/>
              <a:endCxn id="309" idx="3"/>
            </p:cNvCxnSpPr>
            <p:nvPr/>
          </p:nvCxnSpPr>
          <p:spPr bwMode="auto">
            <a:xfrm flipH="1" flipV="1">
              <a:off x="10695471" y="5799237"/>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301" name="Group 300"/>
            <p:cNvGrpSpPr>
              <a:grpSpLocks noChangeAspect="1"/>
            </p:cNvGrpSpPr>
            <p:nvPr/>
          </p:nvGrpSpPr>
          <p:grpSpPr bwMode="auto">
            <a:xfrm>
              <a:off x="10225063" y="5264458"/>
              <a:ext cx="496390" cy="703123"/>
              <a:chOff x="3106" y="2389"/>
              <a:chExt cx="363" cy="520"/>
            </a:xfrm>
          </p:grpSpPr>
          <p:sp>
            <p:nvSpPr>
              <p:cNvPr id="30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0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0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solidFill>
                      <a:srgbClr val="8F3F7B"/>
                    </a:solidFill>
                    <a:latin typeface="+mn-lt"/>
                    <a:ea typeface="Segoe UI" panose="020B0502040204020203" pitchFamily="34" charset="0"/>
                    <a:cs typeface="Segoe UI" panose="020B0502040204020203" pitchFamily="34" charset="0"/>
                  </a:rPr>
                  <a:t>LTE</a:t>
                </a:r>
                <a:endParaRPr lang="en-US" altLang="en-US" sz="900" b="1" dirty="0">
                  <a:solidFill>
                    <a:srgbClr val="8F3F7B"/>
                  </a:solidFill>
                  <a:latin typeface="+mn-lt"/>
                  <a:ea typeface="Segoe UI" panose="020B0502040204020203" pitchFamily="34" charset="0"/>
                  <a:cs typeface="Segoe UI" panose="020B0502040204020203" pitchFamily="34" charset="0"/>
                </a:endParaRPr>
              </a:p>
            </p:txBody>
          </p:sp>
          <p:sp>
            <p:nvSpPr>
              <p:cNvPr id="31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latin typeface="+mn-lt"/>
                </a:endParaRPr>
              </a:p>
            </p:txBody>
          </p:sp>
          <p:sp>
            <p:nvSpPr>
              <p:cNvPr id="31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latin typeface="+mn-lt"/>
                </a:endParaRPr>
              </a:p>
            </p:txBody>
          </p:sp>
        </p:grpSp>
        <p:cxnSp>
          <p:nvCxnSpPr>
            <p:cNvPr id="302" name="Straight Connector 301"/>
            <p:cNvCxnSpPr>
              <a:stCxn id="322" idx="0"/>
              <a:endCxn id="326" idx="2"/>
            </p:cNvCxnSpPr>
            <p:nvPr/>
          </p:nvCxnSpPr>
          <p:spPr bwMode="auto">
            <a:xfrm flipV="1">
              <a:off x="11352679" y="4874805"/>
              <a:ext cx="685" cy="4008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303" name="TextBox 302"/>
            <p:cNvSpPr txBox="1"/>
            <p:nvPr/>
          </p:nvSpPr>
          <p:spPr>
            <a:xfrm>
              <a:off x="11416346" y="5046735"/>
              <a:ext cx="705071" cy="215444"/>
            </a:xfrm>
            <a:prstGeom prst="rect">
              <a:avLst/>
            </a:prstGeom>
            <a:noFill/>
          </p:spPr>
          <p:txBody>
            <a:bodyPr wrap="square" rtlCol="0">
              <a:spAutoFit/>
            </a:bodyPr>
            <a:lstStyle/>
            <a:p>
              <a:r>
                <a:rPr lang="en-US" sz="800" b="1" dirty="0">
                  <a:latin typeface="+mn-lt"/>
                </a:rPr>
                <a:t>Option 7A</a:t>
              </a:r>
            </a:p>
          </p:txBody>
        </p:sp>
        <p:sp>
          <p:nvSpPr>
            <p:cNvPr id="304" name="Freeform: Shape 303"/>
            <p:cNvSpPr/>
            <p:nvPr/>
          </p:nvSpPr>
          <p:spPr bwMode="auto">
            <a:xfrm>
              <a:off x="10187239" y="4808430"/>
              <a:ext cx="1019067" cy="1484090"/>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8010 w 838910"/>
                <a:gd name="connsiteY0" fmla="*/ 1626736 h 1626736"/>
                <a:gd name="connsiteX1" fmla="*/ 8526 w 838910"/>
                <a:gd name="connsiteY1" fmla="*/ 1015881 h 1626736"/>
                <a:gd name="connsiteX2" fmla="*/ 838910 w 838910"/>
                <a:gd name="connsiteY2" fmla="*/ 0 h 1626736"/>
                <a:gd name="connsiteX0" fmla="*/ 445375 w 816275"/>
                <a:gd name="connsiteY0" fmla="*/ 1626736 h 1626736"/>
                <a:gd name="connsiteX1" fmla="*/ 9142 w 816275"/>
                <a:gd name="connsiteY1" fmla="*/ 777240 h 1626736"/>
                <a:gd name="connsiteX2" fmla="*/ 816275 w 816275"/>
                <a:gd name="connsiteY2" fmla="*/ 0 h 1626736"/>
              </a:gdLst>
              <a:ahLst/>
              <a:cxnLst>
                <a:cxn ang="0">
                  <a:pos x="connsiteX0" y="connsiteY0"/>
                </a:cxn>
                <a:cxn ang="0">
                  <a:pos x="connsiteX1" y="connsiteY1"/>
                </a:cxn>
                <a:cxn ang="0">
                  <a:pos x="connsiteX2" y="connsiteY2"/>
                </a:cxn>
              </a:cxnLst>
              <a:rect l="l" t="t" r="r" b="b"/>
              <a:pathLst>
                <a:path w="816275" h="1626736">
                  <a:moveTo>
                    <a:pt x="445375" y="1626736"/>
                  </a:moveTo>
                  <a:cubicBezTo>
                    <a:pt x="210774" y="1410551"/>
                    <a:pt x="-52675" y="1048363"/>
                    <a:pt x="9142" y="777240"/>
                  </a:cubicBezTo>
                  <a:cubicBezTo>
                    <a:pt x="70959" y="506117"/>
                    <a:pt x="781337" y="238157"/>
                    <a:pt x="8162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eaLnBrk="1" hangingPunct="1">
                <a:spcBef>
                  <a:spcPct val="50000"/>
                </a:spcBef>
                <a:defRPr/>
              </a:pPr>
              <a:endParaRPr lang="en-US">
                <a:latin typeface="Arial" charset="0"/>
                <a:cs typeface="+mn-cs"/>
              </a:endParaRPr>
            </a:p>
          </p:txBody>
        </p:sp>
        <p:sp>
          <p:nvSpPr>
            <p:cNvPr id="305" name="Freeform: Shape 8"/>
            <p:cNvSpPr>
              <a:spLocks/>
            </p:cNvSpPr>
            <p:nvPr/>
          </p:nvSpPr>
          <p:spPr bwMode="auto">
            <a:xfrm>
              <a:off x="10914369" y="4771383"/>
              <a:ext cx="572790" cy="1496587"/>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111286 w 568413"/>
                <a:gd name="connsiteY0" fmla="*/ 1422534 h 1422534"/>
                <a:gd name="connsiteX1" fmla="*/ 517980 w 568413"/>
                <a:gd name="connsiteY1" fmla="*/ 721361 h 1422534"/>
                <a:gd name="connsiteX2" fmla="*/ 546591 w 568413"/>
                <a:gd name="connsiteY2" fmla="*/ 0 h 1422534"/>
                <a:gd name="connsiteX0" fmla="*/ 101840 w 660585"/>
                <a:gd name="connsiteY0" fmla="*/ 1422534 h 1422534"/>
                <a:gd name="connsiteX1" fmla="*/ 610152 w 660585"/>
                <a:gd name="connsiteY1" fmla="*/ 721361 h 1422534"/>
                <a:gd name="connsiteX2" fmla="*/ 638763 w 660585"/>
                <a:gd name="connsiteY2" fmla="*/ 0 h 1422534"/>
                <a:gd name="connsiteX0" fmla="*/ 0 w 558745"/>
                <a:gd name="connsiteY0" fmla="*/ 1422534 h 1422534"/>
                <a:gd name="connsiteX1" fmla="*/ 508312 w 558745"/>
                <a:gd name="connsiteY1" fmla="*/ 721361 h 1422534"/>
                <a:gd name="connsiteX2" fmla="*/ 536923 w 558745"/>
                <a:gd name="connsiteY2" fmla="*/ 0 h 1422534"/>
                <a:gd name="connsiteX0" fmla="*/ 0 w 558745"/>
                <a:gd name="connsiteY0" fmla="*/ 1313533 h 1313533"/>
                <a:gd name="connsiteX1" fmla="*/ 508312 w 558745"/>
                <a:gd name="connsiteY1" fmla="*/ 721361 h 1313533"/>
                <a:gd name="connsiteX2" fmla="*/ 536923 w 558745"/>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 name="connsiteX0" fmla="*/ 0 w 572892"/>
                <a:gd name="connsiteY0" fmla="*/ 1313533 h 1313533"/>
                <a:gd name="connsiteX1" fmla="*/ 566380 w 572892"/>
                <a:gd name="connsiteY1" fmla="*/ 694110 h 1313533"/>
                <a:gd name="connsiteX2" fmla="*/ 536923 w 572892"/>
                <a:gd name="connsiteY2" fmla="*/ 0 h 1313533"/>
              </a:gdLst>
              <a:ahLst/>
              <a:cxnLst>
                <a:cxn ang="0">
                  <a:pos x="connsiteX0" y="connsiteY0"/>
                </a:cxn>
                <a:cxn ang="0">
                  <a:pos x="connsiteX1" y="connsiteY1"/>
                </a:cxn>
                <a:cxn ang="0">
                  <a:pos x="connsiteX2" y="connsiteY2"/>
                </a:cxn>
              </a:cxnLst>
              <a:rect l="l" t="t" r="r" b="b"/>
              <a:pathLst>
                <a:path w="572892" h="1313533">
                  <a:moveTo>
                    <a:pt x="0" y="1313533"/>
                  </a:moveTo>
                  <a:cubicBezTo>
                    <a:pt x="512110" y="847517"/>
                    <a:pt x="300720" y="1173407"/>
                    <a:pt x="566380" y="694110"/>
                  </a:cubicBezTo>
                  <a:cubicBezTo>
                    <a:pt x="556220" y="323816"/>
                    <a:pt x="602589" y="525998"/>
                    <a:pt x="536923"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306" name="Freeform: Shape 8"/>
            <p:cNvSpPr>
              <a:spLocks/>
            </p:cNvSpPr>
            <p:nvPr/>
          </p:nvSpPr>
          <p:spPr bwMode="auto">
            <a:xfrm>
              <a:off x="10405257" y="4779585"/>
              <a:ext cx="844852" cy="1501034"/>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Lst>
              <a:ahLst/>
              <a:cxnLst>
                <a:cxn ang="0">
                  <a:pos x="connsiteX0" y="connsiteY0"/>
                </a:cxn>
                <a:cxn ang="0">
                  <a:pos x="connsiteX1" y="connsiteY1"/>
                </a:cxn>
                <a:cxn ang="0">
                  <a:pos x="connsiteX2" y="connsiteY2"/>
                </a:cxn>
              </a:cxnLst>
              <a:rect l="l" t="t" r="r" b="b"/>
              <a:pathLst>
                <a:path w="845002" h="1422534">
                  <a:moveTo>
                    <a:pt x="406333" y="1422534"/>
                  </a:moveTo>
                  <a:cubicBezTo>
                    <a:pt x="3882" y="970143"/>
                    <a:pt x="10243" y="1064406"/>
                    <a:pt x="83" y="775862"/>
                  </a:cubicBezTo>
                  <a:cubicBezTo>
                    <a:pt x="-10077" y="487318"/>
                    <a:pt x="907304" y="525998"/>
                    <a:pt x="84163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grpSp>
    </p:spTree>
    <p:extLst>
      <p:ext uri="{BB962C8B-B14F-4D97-AF65-F5344CB8AC3E}">
        <p14:creationId xmlns:p14="http://schemas.microsoft.com/office/powerpoint/2010/main" val="1717671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2" end="1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3" end="1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4" end="14"/>
                                            </p:txEl>
                                          </p:spTgt>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nodeType="afterEffect">
                                  <p:stCondLst>
                                    <p:cond delay="0"/>
                                  </p:stCondLst>
                                  <p:childTnLst>
                                    <p:set>
                                      <p:cBhvr>
                                        <p:cTn id="37" dur="1" fill="hold">
                                          <p:stCondLst>
                                            <p:cond delay="0"/>
                                          </p:stCondLst>
                                        </p:cTn>
                                        <p:tgtEl>
                                          <p:spTgt spid="221"/>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289"/>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nodeType="afterEffect">
                                  <p:stCondLst>
                                    <p:cond delay="0"/>
                                  </p:stCondLst>
                                  <p:childTnLst>
                                    <p:set>
                                      <p:cBhvr>
                                        <p:cTn id="43" dur="1" fill="hold">
                                          <p:stCondLst>
                                            <p:cond delay="0"/>
                                          </p:stCondLst>
                                        </p:cTn>
                                        <p:tgtEl>
                                          <p:spTgt spid="2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E types supporting NR</a:t>
            </a:r>
            <a:br>
              <a:rPr lang="en-US" dirty="0"/>
            </a:br>
            <a:r>
              <a:rPr lang="en-US" sz="2800" dirty="0">
                <a:latin typeface="+mn-lt"/>
              </a:rPr>
              <a:t>Assumptions on capabilities</a:t>
            </a:r>
          </a:p>
        </p:txBody>
      </p:sp>
      <p:sp>
        <p:nvSpPr>
          <p:cNvPr id="4" name="Content Placeholder 1"/>
          <p:cNvSpPr txBox="1">
            <a:spLocks/>
          </p:cNvSpPr>
          <p:nvPr/>
        </p:nvSpPr>
        <p:spPr>
          <a:xfrm>
            <a:off x="6193368" y="3269014"/>
            <a:ext cx="5629438" cy="3076826"/>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2000" kern="0" dirty="0"/>
              <a:t>A UE that also supports one or more Options 2, 4, 5, 7: </a:t>
            </a:r>
          </a:p>
          <a:p>
            <a:pPr lvl="1"/>
            <a:r>
              <a:rPr lang="en-US" sz="1800" kern="0" dirty="0"/>
              <a:t>performs initial access over LTE (in option 1, 3, 5, 7) or NR (in option 2, 4)</a:t>
            </a:r>
          </a:p>
          <a:p>
            <a:pPr lvl="1"/>
            <a:r>
              <a:rPr lang="en-US" sz="1800" kern="0" dirty="0"/>
              <a:t>performs EPC-NAS procedures over LTE/EPC or 5G-NAS procedures over NR/5GC or LTE/5GC depending on capability indicated by the CN</a:t>
            </a:r>
          </a:p>
          <a:p>
            <a:pPr lvl="1"/>
            <a:r>
              <a:rPr lang="en-US" sz="1800" kern="0" dirty="0"/>
              <a:t>supports legacy LTE/EPC procedures (Option 1) for backwards compatibility with pre-Rel. 15 networks (e.g. for roaming, mobility between NR and LTE)</a:t>
            </a:r>
          </a:p>
        </p:txBody>
      </p:sp>
      <p:sp>
        <p:nvSpPr>
          <p:cNvPr id="5" name="Content Placeholder 2"/>
          <p:cNvSpPr txBox="1">
            <a:spLocks/>
          </p:cNvSpPr>
          <p:nvPr/>
        </p:nvSpPr>
        <p:spPr bwMode="auto">
          <a:xfrm>
            <a:off x="434781" y="3269014"/>
            <a:ext cx="5668434" cy="2686086"/>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2000" kern="0" dirty="0"/>
              <a:t>A UE that supports Option 3: </a:t>
            </a:r>
          </a:p>
          <a:p>
            <a:pPr lvl="1"/>
            <a:r>
              <a:rPr lang="en-US" sz="1800" kern="0" dirty="0"/>
              <a:t>always initial access over LTE, never over NR</a:t>
            </a:r>
          </a:p>
          <a:p>
            <a:pPr lvl="1"/>
            <a:r>
              <a:rPr lang="en-US" sz="1800" kern="0" dirty="0"/>
              <a:t>performs EPC-NAS procedures over LTE </a:t>
            </a:r>
          </a:p>
          <a:p>
            <a:pPr lvl="1"/>
            <a:r>
              <a:rPr lang="en-US" sz="1800" kern="0" dirty="0"/>
              <a:t>supports legacy LTE/EPC procedures (Option 1) for backwards compatibility with pre-Rel. 15 networks (e.g. for roaming, mobility between NR and LTE)</a:t>
            </a:r>
          </a:p>
          <a:p>
            <a:endParaRPr lang="en-US" sz="2000" kern="0" dirty="0"/>
          </a:p>
        </p:txBody>
      </p:sp>
      <p:sp>
        <p:nvSpPr>
          <p:cNvPr id="13" name="Content Placeholder 2"/>
          <p:cNvSpPr txBox="1">
            <a:spLocks/>
          </p:cNvSpPr>
          <p:nvPr/>
        </p:nvSpPr>
        <p:spPr bwMode="auto">
          <a:xfrm>
            <a:off x="524933" y="1454303"/>
            <a:ext cx="8128737" cy="814727"/>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2000" kern="0"/>
              <a:t>The accelerated Option 3 will result in two different UE types:</a:t>
            </a:r>
          </a:p>
        </p:txBody>
      </p:sp>
      <p:grpSp>
        <p:nvGrpSpPr>
          <p:cNvPr id="22" name="Group 21"/>
          <p:cNvGrpSpPr/>
          <p:nvPr/>
        </p:nvGrpSpPr>
        <p:grpSpPr>
          <a:xfrm>
            <a:off x="7708698" y="1950225"/>
            <a:ext cx="2259724" cy="1323439"/>
            <a:chOff x="7708698" y="2238922"/>
            <a:chExt cx="2259724" cy="1323439"/>
          </a:xfrm>
        </p:grpSpPr>
        <p:sp>
          <p:nvSpPr>
            <p:cNvPr id="10" name="Rectangle 5"/>
            <p:cNvSpPr>
              <a:spLocks noChangeArrowheads="1"/>
            </p:cNvSpPr>
            <p:nvPr/>
          </p:nvSpPr>
          <p:spPr bwMode="auto">
            <a:xfrm>
              <a:off x="7708698" y="2280005"/>
              <a:ext cx="2259724" cy="1219550"/>
            </a:xfrm>
            <a:prstGeom prst="rect">
              <a:avLst/>
            </a:prstGeom>
            <a:blipFill dpi="0" rotWithShape="1">
              <a:blip r:embed="rId3"/>
              <a:srcRect/>
              <a:stretch>
                <a:fillRect/>
              </a:stretch>
            </a:blipFill>
            <a:ln w="12700" algn="ctr">
              <a:solidFill>
                <a:schemeClr val="bg1"/>
              </a:solidFill>
              <a:round/>
              <a:headEnd/>
              <a:tailEnd/>
            </a:ln>
            <a:extLst/>
          </p:spPr>
          <p:txBody>
            <a:bodyPr wrap="none" lIns="71998" tIns="45718" rIns="71998" bIns="45718"/>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a:p>
              <a:pPr eaLnBrk="1" hangingPunct="1"/>
              <a:endParaRPr lang="en-US" altLang="x-none">
                <a:solidFill>
                  <a:schemeClr val="bg1"/>
                </a:solidFill>
                <a:latin typeface="+mn-lt"/>
              </a:endParaRPr>
            </a:p>
          </p:txBody>
        </p:sp>
        <p:sp>
          <p:nvSpPr>
            <p:cNvPr id="17" name="Freeform 6"/>
            <p:cNvSpPr>
              <a:spLocks noEditPoints="1"/>
            </p:cNvSpPr>
            <p:nvPr/>
          </p:nvSpPr>
          <p:spPr bwMode="auto">
            <a:xfrm>
              <a:off x="7995178" y="2544580"/>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18" name="TextBox 17"/>
            <p:cNvSpPr txBox="1"/>
            <p:nvPr/>
          </p:nvSpPr>
          <p:spPr>
            <a:xfrm>
              <a:off x="8459548" y="2238922"/>
              <a:ext cx="1255472" cy="1323439"/>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2000" b="0" i="0" u="none" strike="noStrike" kern="0" cap="none" spc="0" normalizeH="0" baseline="0" noProof="0" dirty="0">
                  <a:ln>
                    <a:noFill/>
                  </a:ln>
                  <a:solidFill>
                    <a:schemeClr val="bg1"/>
                  </a:solidFill>
                  <a:effectLst/>
                  <a:uLnTx/>
                  <a:uFillTx/>
                </a:rPr>
                <a:t>LTE/EP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EPC</a:t>
              </a:r>
            </a:p>
            <a:p>
              <a:pPr marL="0" marR="0" lvl="0" indent="0" algn="l" defTabSz="914400" eaLnBrk="1" fontAlgn="auto" latinLnBrk="0" hangingPunct="1">
                <a:lnSpc>
                  <a:spcPct val="100000"/>
                </a:lnSpc>
                <a:spcBef>
                  <a:spcPts val="0"/>
                </a:spcBef>
                <a:spcAft>
                  <a:spcPts val="0"/>
                </a:spcAft>
                <a:buClrTx/>
                <a:buSzTx/>
                <a:buFontTx/>
                <a:buNone/>
                <a:tabLst/>
                <a:defRPr/>
              </a:pPr>
              <a:r>
                <a:rPr lang="sv-SE" kern="0" dirty="0">
                  <a:solidFill>
                    <a:schemeClr val="bg1"/>
                  </a:solidFill>
                </a:rPr>
                <a:t>LTE/5G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5GC</a:t>
              </a:r>
            </a:p>
          </p:txBody>
        </p:sp>
      </p:grpSp>
      <p:grpSp>
        <p:nvGrpSpPr>
          <p:cNvPr id="21" name="Group 20"/>
          <p:cNvGrpSpPr/>
          <p:nvPr/>
        </p:nvGrpSpPr>
        <p:grpSpPr>
          <a:xfrm>
            <a:off x="1981212" y="1950225"/>
            <a:ext cx="2259724" cy="1219550"/>
            <a:chOff x="1981212" y="2280005"/>
            <a:chExt cx="2259724" cy="1219550"/>
          </a:xfrm>
        </p:grpSpPr>
        <p:sp>
          <p:nvSpPr>
            <p:cNvPr id="6" name="Rectangle 5"/>
            <p:cNvSpPr>
              <a:spLocks noChangeArrowheads="1"/>
            </p:cNvSpPr>
            <p:nvPr/>
          </p:nvSpPr>
          <p:spPr bwMode="auto">
            <a:xfrm>
              <a:off x="1981212" y="2280005"/>
              <a:ext cx="2259724" cy="1219550"/>
            </a:xfrm>
            <a:prstGeom prst="rect">
              <a:avLst/>
            </a:prstGeom>
            <a:blipFill dpi="0" rotWithShape="1">
              <a:blip r:embed="rId3"/>
              <a:srcRect/>
              <a:stretch>
                <a:fillRect/>
              </a:stretch>
            </a:blipFill>
            <a:ln w="12700" algn="ctr">
              <a:solidFill>
                <a:schemeClr val="bg1"/>
              </a:solidFill>
              <a:round/>
              <a:headEnd/>
              <a:tailEnd/>
            </a:ln>
            <a:extLst/>
          </p:spPr>
          <p:txBody>
            <a:bodyPr wrap="none" lIns="71998" tIns="45718" rIns="71998" bIns="45718"/>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x-none">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a:p>
              <a:pPr eaLnBrk="1" hangingPunct="1"/>
              <a:endParaRPr lang="en-US" altLang="x-none" dirty="0">
                <a:solidFill>
                  <a:schemeClr val="bg1"/>
                </a:solidFill>
                <a:latin typeface="+mn-lt"/>
              </a:endParaRPr>
            </a:p>
          </p:txBody>
        </p:sp>
        <p:sp>
          <p:nvSpPr>
            <p:cNvPr id="19" name="Freeform 6"/>
            <p:cNvSpPr>
              <a:spLocks noEditPoints="1"/>
            </p:cNvSpPr>
            <p:nvPr/>
          </p:nvSpPr>
          <p:spPr bwMode="auto">
            <a:xfrm>
              <a:off x="2240869" y="2518300"/>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20" name="TextBox 19"/>
            <p:cNvSpPr txBox="1"/>
            <p:nvPr/>
          </p:nvSpPr>
          <p:spPr>
            <a:xfrm>
              <a:off x="2721502" y="2447102"/>
              <a:ext cx="1255472" cy="70788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2000" b="0" i="0" u="none" strike="noStrike" kern="0" cap="none" spc="0" normalizeH="0" baseline="0" noProof="0" dirty="0">
                  <a:ln>
                    <a:noFill/>
                  </a:ln>
                  <a:solidFill>
                    <a:schemeClr val="bg1"/>
                  </a:solidFill>
                  <a:effectLst/>
                  <a:uLnTx/>
                  <a:uFillTx/>
                </a:rPr>
                <a:t>LTE/EP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EPC</a:t>
              </a:r>
            </a:p>
          </p:txBody>
        </p:sp>
      </p:grpSp>
    </p:spTree>
    <p:extLst>
      <p:ext uri="{BB962C8B-B14F-4D97-AF65-F5344CB8AC3E}">
        <p14:creationId xmlns:p14="http://schemas.microsoft.com/office/powerpoint/2010/main" val="367777764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fontScale="90000"/>
          </a:bodyPr>
          <a:lstStyle/>
          <a:p>
            <a:r>
              <a:rPr lang="en-US" sz="4900" dirty="0">
                <a:solidFill>
                  <a:schemeClr val="bg1"/>
                </a:solidFill>
              </a:rPr>
              <a:t>5G RAN-CN architecture options</a:t>
            </a:r>
            <a:br>
              <a:rPr lang="en-US" sz="4800" dirty="0">
                <a:solidFill>
                  <a:schemeClr val="bg1"/>
                </a:solidFill>
              </a:rPr>
            </a:br>
            <a:r>
              <a:rPr lang="en-US" sz="3100" dirty="0">
                <a:solidFill>
                  <a:schemeClr val="bg1"/>
                </a:solidFill>
                <a:latin typeface="Arial"/>
              </a:rPr>
              <a:t>Two architecture tracks in 3GPP rel15</a:t>
            </a:r>
            <a:endParaRPr lang="en-US" altLang="en-US" sz="3100"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p:cNvSpPr/>
          <p:nvPr/>
        </p:nvSpPr>
        <p:spPr bwMode="auto">
          <a:xfrm>
            <a:off x="6787770" y="4132043"/>
            <a:ext cx="4520247" cy="837282"/>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6" name="Oval 5"/>
          <p:cNvSpPr/>
          <p:nvPr/>
        </p:nvSpPr>
        <p:spPr bwMode="auto">
          <a:xfrm>
            <a:off x="732167" y="4132043"/>
            <a:ext cx="6055604" cy="837282"/>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7" name="Oval 6"/>
          <p:cNvSpPr/>
          <p:nvPr/>
        </p:nvSpPr>
        <p:spPr bwMode="auto">
          <a:xfrm>
            <a:off x="3755501" y="4288177"/>
            <a:ext cx="1294480" cy="376937"/>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8" name="Freeform 3"/>
          <p:cNvSpPr>
            <a:spLocks noChangeAspect="1" noEditPoints="1"/>
          </p:cNvSpPr>
          <p:nvPr/>
        </p:nvSpPr>
        <p:spPr bwMode="auto">
          <a:xfrm>
            <a:off x="1267438" y="3516355"/>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9" name="Freeform 3"/>
          <p:cNvSpPr>
            <a:spLocks noChangeAspect="1" noEditPoints="1"/>
          </p:cNvSpPr>
          <p:nvPr/>
        </p:nvSpPr>
        <p:spPr bwMode="auto">
          <a:xfrm>
            <a:off x="3140456" y="3516355"/>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0" name="Freeform 3"/>
          <p:cNvSpPr>
            <a:spLocks noChangeAspect="1" noEditPoints="1"/>
          </p:cNvSpPr>
          <p:nvPr/>
        </p:nvSpPr>
        <p:spPr bwMode="auto">
          <a:xfrm>
            <a:off x="8409585" y="3526299"/>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1" name="Freeform 3"/>
          <p:cNvSpPr>
            <a:spLocks noChangeAspect="1" noEditPoints="1"/>
          </p:cNvSpPr>
          <p:nvPr/>
        </p:nvSpPr>
        <p:spPr bwMode="auto">
          <a:xfrm>
            <a:off x="10348683" y="3493543"/>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2" name="Freeform 3"/>
          <p:cNvSpPr>
            <a:spLocks noChangeAspect="1" noEditPoints="1"/>
          </p:cNvSpPr>
          <p:nvPr/>
        </p:nvSpPr>
        <p:spPr bwMode="auto">
          <a:xfrm>
            <a:off x="4130296" y="3915818"/>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3" name="AutoShape 15" descr="bpct-blend1"/>
          <p:cNvSpPr>
            <a:spLocks noChangeArrowheads="1"/>
          </p:cNvSpPr>
          <p:nvPr/>
        </p:nvSpPr>
        <p:spPr bwMode="auto">
          <a:xfrm>
            <a:off x="954205" y="1594093"/>
            <a:ext cx="3137804"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cxnSp>
        <p:nvCxnSpPr>
          <p:cNvPr id="14" name="Connector: Elbow 13"/>
          <p:cNvCxnSpPr>
            <a:cxnSpLocks/>
          </p:cNvCxnSpPr>
          <p:nvPr/>
        </p:nvCxnSpPr>
        <p:spPr bwMode="auto">
          <a:xfrm rot="16200000" flipH="1">
            <a:off x="2335219" y="2501392"/>
            <a:ext cx="1196568" cy="853252"/>
          </a:xfrm>
          <a:prstGeom prst="bentConnector3">
            <a:avLst>
              <a:gd name="adj1" fmla="val 50000"/>
            </a:avLst>
          </a:prstGeom>
          <a:solidFill>
            <a:schemeClr val="accent1"/>
          </a:solidFill>
          <a:ln w="12700" cap="flat" cmpd="sng" algn="ctr">
            <a:solidFill>
              <a:schemeClr val="bg1"/>
            </a:solidFill>
            <a:prstDash val="solid"/>
            <a:round/>
            <a:headEnd type="none" w="med" len="med"/>
            <a:tailEnd type="none" w="med" len="med"/>
          </a:ln>
          <a:effectLst/>
        </p:spPr>
      </p:cxnSp>
      <p:sp>
        <p:nvSpPr>
          <p:cNvPr id="15" name="AutoShape 15" descr="bpct-blend1"/>
          <p:cNvSpPr>
            <a:spLocks noChangeArrowheads="1"/>
          </p:cNvSpPr>
          <p:nvPr/>
        </p:nvSpPr>
        <p:spPr bwMode="auto">
          <a:xfrm>
            <a:off x="7048620" y="1605749"/>
            <a:ext cx="3137804"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E9822C"/>
              </a:solidFill>
              <a:effectLst/>
              <a:uLnTx/>
              <a:uFillTx/>
              <a:latin typeface="Arial" pitchFamily="34" charset="0"/>
            </a:endParaRPr>
          </a:p>
        </p:txBody>
      </p:sp>
      <p:cxnSp>
        <p:nvCxnSpPr>
          <p:cNvPr id="16" name="Straight Connector 15"/>
          <p:cNvCxnSpPr>
            <a:cxnSpLocks/>
          </p:cNvCxnSpPr>
          <p:nvPr/>
        </p:nvCxnSpPr>
        <p:spPr bwMode="auto">
          <a:xfrm>
            <a:off x="8753278" y="2329733"/>
            <a:ext cx="0" cy="124470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17" name="Straight Connector 16"/>
          <p:cNvCxnSpPr/>
          <p:nvPr/>
        </p:nvCxnSpPr>
        <p:spPr bwMode="auto">
          <a:xfrm>
            <a:off x="3661530" y="3960786"/>
            <a:ext cx="392669" cy="132009"/>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18" name="Straight Connector 17"/>
          <p:cNvCxnSpPr>
            <a:cxnSpLocks/>
          </p:cNvCxnSpPr>
          <p:nvPr/>
        </p:nvCxnSpPr>
        <p:spPr bwMode="auto">
          <a:xfrm flipV="1">
            <a:off x="8253016" y="3993884"/>
            <a:ext cx="358121" cy="98911"/>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9" name="Oval 18"/>
          <p:cNvSpPr/>
          <p:nvPr/>
        </p:nvSpPr>
        <p:spPr bwMode="auto">
          <a:xfrm>
            <a:off x="7323042" y="4288176"/>
            <a:ext cx="1294480" cy="376937"/>
          </a:xfrm>
          <a:prstGeom prst="ellipse">
            <a:avLst/>
          </a:prstGeom>
          <a:solidFill>
            <a:srgbClr val="BED682"/>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20" name="Freeform 3"/>
          <p:cNvSpPr>
            <a:spLocks noChangeAspect="1" noEditPoints="1"/>
          </p:cNvSpPr>
          <p:nvPr/>
        </p:nvSpPr>
        <p:spPr bwMode="auto">
          <a:xfrm>
            <a:off x="7741772" y="3993884"/>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grpSp>
        <p:nvGrpSpPr>
          <p:cNvPr id="21" name="Group 20"/>
          <p:cNvGrpSpPr/>
          <p:nvPr/>
        </p:nvGrpSpPr>
        <p:grpSpPr>
          <a:xfrm>
            <a:off x="1730747" y="2344060"/>
            <a:ext cx="6567435" cy="1141399"/>
            <a:chOff x="1730747" y="2344060"/>
            <a:chExt cx="6567435" cy="1141399"/>
          </a:xfrm>
        </p:grpSpPr>
        <p:cxnSp>
          <p:nvCxnSpPr>
            <p:cNvPr id="22" name="Straight Connector 21"/>
            <p:cNvCxnSpPr>
              <a:cxnSpLocks/>
            </p:cNvCxnSpPr>
            <p:nvPr/>
          </p:nvCxnSpPr>
          <p:spPr bwMode="auto">
            <a:xfrm flipV="1">
              <a:off x="1730747" y="3203576"/>
              <a:ext cx="0" cy="281883"/>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3" name="Straight Connector 22"/>
            <p:cNvCxnSpPr/>
            <p:nvPr/>
          </p:nvCxnSpPr>
          <p:spPr bwMode="auto">
            <a:xfrm>
              <a:off x="1730747" y="3203576"/>
              <a:ext cx="6567435"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4" name="Straight Connector 23"/>
            <p:cNvCxnSpPr>
              <a:cxnSpLocks/>
            </p:cNvCxnSpPr>
            <p:nvPr/>
          </p:nvCxnSpPr>
          <p:spPr bwMode="auto">
            <a:xfrm flipV="1">
              <a:off x="8298182" y="2344060"/>
              <a:ext cx="0" cy="860434"/>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grpSp>
        <p:nvGrpSpPr>
          <p:cNvPr id="25" name="Group 24"/>
          <p:cNvGrpSpPr/>
          <p:nvPr/>
        </p:nvGrpSpPr>
        <p:grpSpPr>
          <a:xfrm>
            <a:off x="3495321" y="2349323"/>
            <a:ext cx="5030410" cy="1204086"/>
            <a:chOff x="3495321" y="2349323"/>
            <a:chExt cx="5030410" cy="1204086"/>
          </a:xfrm>
        </p:grpSpPr>
        <p:cxnSp>
          <p:nvCxnSpPr>
            <p:cNvPr id="26" name="Straight Connector 25"/>
            <p:cNvCxnSpPr/>
            <p:nvPr/>
          </p:nvCxnSpPr>
          <p:spPr bwMode="auto">
            <a:xfrm flipV="1">
              <a:off x="3495321" y="3340241"/>
              <a:ext cx="0" cy="213168"/>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7" name="Straight Connector 26"/>
            <p:cNvCxnSpPr/>
            <p:nvPr/>
          </p:nvCxnSpPr>
          <p:spPr bwMode="auto">
            <a:xfrm>
              <a:off x="3495321" y="3340241"/>
              <a:ext cx="5030410"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8" name="Straight Connector 27"/>
            <p:cNvCxnSpPr>
              <a:cxnSpLocks/>
            </p:cNvCxnSpPr>
            <p:nvPr/>
          </p:nvCxnSpPr>
          <p:spPr bwMode="auto">
            <a:xfrm flipV="1">
              <a:off x="8525731" y="2349323"/>
              <a:ext cx="0" cy="990919"/>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cxnSp>
        <p:nvCxnSpPr>
          <p:cNvPr id="29" name="Connector: Elbow 28"/>
          <p:cNvCxnSpPr>
            <a:cxnSpLocks/>
          </p:cNvCxnSpPr>
          <p:nvPr/>
        </p:nvCxnSpPr>
        <p:spPr bwMode="auto">
          <a:xfrm rot="5400000" flipH="1" flipV="1">
            <a:off x="1394549" y="2530188"/>
            <a:ext cx="1176976" cy="815247"/>
          </a:xfrm>
          <a:prstGeom prst="bentConnector3">
            <a:avLst/>
          </a:prstGeom>
          <a:solidFill>
            <a:schemeClr val="accent1"/>
          </a:solidFill>
          <a:ln w="12700" cap="flat" cmpd="sng" algn="ctr">
            <a:solidFill>
              <a:schemeClr val="bg1"/>
            </a:solidFill>
            <a:prstDash val="solid"/>
            <a:round/>
            <a:headEnd type="none" w="med" len="med"/>
            <a:tailEnd type="none" w="med" len="med"/>
          </a:ln>
          <a:effectLst/>
        </p:spPr>
      </p:cxnSp>
      <p:sp>
        <p:nvSpPr>
          <p:cNvPr id="30" name="Rectangle 36"/>
          <p:cNvSpPr>
            <a:spLocks noChangeArrowheads="1"/>
          </p:cNvSpPr>
          <p:nvPr/>
        </p:nvSpPr>
        <p:spPr bwMode="auto">
          <a:xfrm>
            <a:off x="975269" y="1725459"/>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a:ln>
                  <a:noFill/>
                </a:ln>
                <a:solidFill>
                  <a:srgbClr val="FFFFFF"/>
                </a:solidFill>
                <a:effectLst/>
                <a:uLnTx/>
                <a:uFillTx/>
                <a:latin typeface="Arial" pitchFamily="34" charset="0"/>
              </a:rPr>
              <a:t>5G EPC</a:t>
            </a:r>
          </a:p>
        </p:txBody>
      </p:sp>
      <p:sp>
        <p:nvSpPr>
          <p:cNvPr id="31" name="Rectangle 36"/>
          <p:cNvSpPr>
            <a:spLocks noChangeArrowheads="1"/>
          </p:cNvSpPr>
          <p:nvPr/>
        </p:nvSpPr>
        <p:spPr bwMode="auto">
          <a:xfrm>
            <a:off x="7090748" y="1747098"/>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a:ln>
                  <a:noFill/>
                </a:ln>
                <a:solidFill>
                  <a:srgbClr val="FFFFFF"/>
                </a:solidFill>
                <a:effectLst/>
                <a:uLnTx/>
                <a:uFillTx/>
                <a:latin typeface="Arial" pitchFamily="34" charset="0"/>
              </a:rPr>
              <a:t>5GC</a:t>
            </a:r>
          </a:p>
        </p:txBody>
      </p:sp>
      <p:sp>
        <p:nvSpPr>
          <p:cNvPr id="32" name="TextBox 31"/>
          <p:cNvSpPr txBox="1"/>
          <p:nvPr/>
        </p:nvSpPr>
        <p:spPr>
          <a:xfrm>
            <a:off x="2267524" y="4293119"/>
            <a:ext cx="60785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ysClr val="windowText" lastClr="000000"/>
                </a:solidFill>
                <a:effectLst/>
                <a:uLnTx/>
                <a:uFillTx/>
              </a:rPr>
              <a:t>LTE</a:t>
            </a:r>
          </a:p>
        </p:txBody>
      </p:sp>
      <p:sp>
        <p:nvSpPr>
          <p:cNvPr id="33" name="TextBox 32"/>
          <p:cNvSpPr txBox="1"/>
          <p:nvPr/>
        </p:nvSpPr>
        <p:spPr>
          <a:xfrm>
            <a:off x="7456782" y="4308591"/>
            <a:ext cx="51328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LTE</a:t>
            </a:r>
          </a:p>
        </p:txBody>
      </p:sp>
      <p:sp>
        <p:nvSpPr>
          <p:cNvPr id="34" name="TextBox 33"/>
          <p:cNvSpPr txBox="1"/>
          <p:nvPr/>
        </p:nvSpPr>
        <p:spPr>
          <a:xfrm>
            <a:off x="4519224" y="4307102"/>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NR</a:t>
            </a:r>
          </a:p>
        </p:txBody>
      </p:sp>
      <p:sp>
        <p:nvSpPr>
          <p:cNvPr id="35" name="TextBox 34"/>
          <p:cNvSpPr txBox="1"/>
          <p:nvPr/>
        </p:nvSpPr>
        <p:spPr>
          <a:xfrm>
            <a:off x="9605042" y="4296066"/>
            <a:ext cx="518091" cy="369332"/>
          </a:xfrm>
          <a:prstGeom prst="rect">
            <a:avLst/>
          </a:prstGeom>
          <a:noFill/>
        </p:spPr>
        <p:txBody>
          <a:bodyPr wrap="none" rtlCol="0">
            <a:spAutoFit/>
          </a:bodyPr>
          <a:lstStyle>
            <a:defPPr>
              <a:defRPr lang="en-US"/>
            </a:def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ysClr val="windowText" lastClr="000000"/>
                </a:solidFill>
                <a:effectLst/>
                <a:uLnTx/>
                <a:uFillTx/>
              </a:rPr>
              <a:t>NR</a:t>
            </a:r>
          </a:p>
        </p:txBody>
      </p:sp>
      <p:sp>
        <p:nvSpPr>
          <p:cNvPr id="36" name="TextBox 35"/>
          <p:cNvSpPr txBox="1"/>
          <p:nvPr/>
        </p:nvSpPr>
        <p:spPr>
          <a:xfrm>
            <a:off x="1536737" y="2891529"/>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1</a:t>
            </a:r>
          </a:p>
        </p:txBody>
      </p:sp>
      <p:sp>
        <p:nvSpPr>
          <p:cNvPr id="37" name="TextBox 36"/>
          <p:cNvSpPr txBox="1"/>
          <p:nvPr/>
        </p:nvSpPr>
        <p:spPr>
          <a:xfrm>
            <a:off x="2647160" y="2883768"/>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3</a:t>
            </a:r>
          </a:p>
        </p:txBody>
      </p:sp>
      <p:sp>
        <p:nvSpPr>
          <p:cNvPr id="38" name="TextBox 37"/>
          <p:cNvSpPr txBox="1"/>
          <p:nvPr/>
        </p:nvSpPr>
        <p:spPr>
          <a:xfrm>
            <a:off x="7573454" y="2947992"/>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5</a:t>
            </a:r>
          </a:p>
        </p:txBody>
      </p:sp>
      <p:sp>
        <p:nvSpPr>
          <p:cNvPr id="39" name="TextBox 38"/>
          <p:cNvSpPr txBox="1"/>
          <p:nvPr/>
        </p:nvSpPr>
        <p:spPr>
          <a:xfrm>
            <a:off x="7638542" y="3297434"/>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7</a:t>
            </a:r>
          </a:p>
        </p:txBody>
      </p:sp>
      <p:sp>
        <p:nvSpPr>
          <p:cNvPr id="40" name="TextBox 39"/>
          <p:cNvSpPr txBox="1"/>
          <p:nvPr/>
        </p:nvSpPr>
        <p:spPr>
          <a:xfrm>
            <a:off x="8682300" y="3290121"/>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4</a:t>
            </a:r>
          </a:p>
        </p:txBody>
      </p:sp>
      <p:sp>
        <p:nvSpPr>
          <p:cNvPr id="41" name="TextBox 40"/>
          <p:cNvSpPr txBox="1"/>
          <p:nvPr/>
        </p:nvSpPr>
        <p:spPr>
          <a:xfrm>
            <a:off x="8994948" y="2970102"/>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a:ln>
                  <a:noFill/>
                </a:ln>
                <a:solidFill>
                  <a:schemeClr val="bg1"/>
                </a:solidFill>
                <a:effectLst/>
                <a:uLnTx/>
                <a:uFillTx/>
              </a:rPr>
              <a:t>Option 2</a:t>
            </a:r>
          </a:p>
        </p:txBody>
      </p:sp>
      <p:sp>
        <p:nvSpPr>
          <p:cNvPr id="42" name="Oval 41"/>
          <p:cNvSpPr/>
          <p:nvPr/>
        </p:nvSpPr>
        <p:spPr bwMode="auto">
          <a:xfrm>
            <a:off x="8064347" y="2739092"/>
            <a:ext cx="1156771" cy="143219"/>
          </a:xfrm>
          <a:prstGeom prst="ellipse">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43" name="Oval 42"/>
          <p:cNvSpPr/>
          <p:nvPr/>
        </p:nvSpPr>
        <p:spPr bwMode="auto">
          <a:xfrm>
            <a:off x="2115575" y="2739093"/>
            <a:ext cx="618780" cy="113042"/>
          </a:xfrm>
          <a:prstGeom prst="ellipse">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44" name="Rectangle 36"/>
          <p:cNvSpPr>
            <a:spLocks noChangeArrowheads="1"/>
          </p:cNvSpPr>
          <p:nvPr/>
        </p:nvSpPr>
        <p:spPr bwMode="auto">
          <a:xfrm>
            <a:off x="2539048" y="2430662"/>
            <a:ext cx="14937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rgbClr val="FFFFFF"/>
                </a:solidFill>
                <a:effectLst/>
                <a:uLnTx/>
                <a:uFillTx/>
                <a:latin typeface="Arial" pitchFamily="34" charset="0"/>
              </a:rPr>
              <a:t>S1-based</a:t>
            </a:r>
          </a:p>
        </p:txBody>
      </p:sp>
      <p:sp>
        <p:nvSpPr>
          <p:cNvPr id="45" name="Rectangle 36"/>
          <p:cNvSpPr>
            <a:spLocks noChangeArrowheads="1"/>
          </p:cNvSpPr>
          <p:nvPr/>
        </p:nvSpPr>
        <p:spPr bwMode="auto">
          <a:xfrm>
            <a:off x="8964201" y="2442554"/>
            <a:ext cx="28838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rgbClr val="FFFFFF"/>
                </a:solidFill>
                <a:effectLst/>
                <a:uLnTx/>
                <a:uFillTx/>
                <a:latin typeface="Arial" pitchFamily="34" charset="0"/>
              </a:rPr>
              <a:t>N2/N3 (new interface)</a:t>
            </a:r>
          </a:p>
        </p:txBody>
      </p:sp>
      <p:grpSp>
        <p:nvGrpSpPr>
          <p:cNvPr id="46" name="Group 45"/>
          <p:cNvGrpSpPr/>
          <p:nvPr/>
        </p:nvGrpSpPr>
        <p:grpSpPr>
          <a:xfrm flipH="1">
            <a:off x="9002117" y="2352618"/>
            <a:ext cx="1643137" cy="1067546"/>
            <a:chOff x="3495321" y="2349323"/>
            <a:chExt cx="5030410" cy="1204086"/>
          </a:xfrm>
        </p:grpSpPr>
        <p:cxnSp>
          <p:nvCxnSpPr>
            <p:cNvPr id="47" name="Straight Connector 46"/>
            <p:cNvCxnSpPr/>
            <p:nvPr/>
          </p:nvCxnSpPr>
          <p:spPr bwMode="auto">
            <a:xfrm flipV="1">
              <a:off x="3495321" y="3340241"/>
              <a:ext cx="0" cy="213168"/>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48" name="Straight Connector 47"/>
            <p:cNvCxnSpPr/>
            <p:nvPr/>
          </p:nvCxnSpPr>
          <p:spPr bwMode="auto">
            <a:xfrm>
              <a:off x="3495321" y="3340241"/>
              <a:ext cx="5030410"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49" name="Straight Connector 48"/>
            <p:cNvCxnSpPr>
              <a:cxnSpLocks/>
            </p:cNvCxnSpPr>
            <p:nvPr/>
          </p:nvCxnSpPr>
          <p:spPr bwMode="auto">
            <a:xfrm flipV="1">
              <a:off x="8525731" y="2349323"/>
              <a:ext cx="0" cy="990919"/>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sp>
        <p:nvSpPr>
          <p:cNvPr id="50" name="Freeform 6"/>
          <p:cNvSpPr>
            <a:spLocks noEditPoints="1"/>
          </p:cNvSpPr>
          <p:nvPr/>
        </p:nvSpPr>
        <p:spPr bwMode="auto">
          <a:xfrm>
            <a:off x="2194650"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51" name="Freeform 6"/>
          <p:cNvSpPr>
            <a:spLocks noEditPoints="1"/>
          </p:cNvSpPr>
          <p:nvPr/>
        </p:nvSpPr>
        <p:spPr bwMode="auto">
          <a:xfrm>
            <a:off x="503090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52" name="Freeform 6"/>
          <p:cNvSpPr>
            <a:spLocks noEditPoints="1"/>
          </p:cNvSpPr>
          <p:nvPr/>
        </p:nvSpPr>
        <p:spPr bwMode="auto">
          <a:xfrm>
            <a:off x="792178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53" name="TextBox 52"/>
          <p:cNvSpPr txBox="1"/>
          <p:nvPr/>
        </p:nvSpPr>
        <p:spPr>
          <a:xfrm>
            <a:off x="2675087" y="5239100"/>
            <a:ext cx="1255472"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p>
        </p:txBody>
      </p:sp>
      <p:sp>
        <p:nvSpPr>
          <p:cNvPr id="54" name="TextBox 53"/>
          <p:cNvSpPr txBox="1"/>
          <p:nvPr/>
        </p:nvSpPr>
        <p:spPr>
          <a:xfrm>
            <a:off x="5511541" y="5239100"/>
            <a:ext cx="1255472" cy="70788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br>
              <a:rPr kumimoji="0" lang="en-US" sz="2000" b="0" i="0" u="none" strike="noStrike" kern="0" cap="none" spc="0" normalizeH="0" baseline="0" dirty="0">
                <a:ln>
                  <a:noFill/>
                </a:ln>
                <a:solidFill>
                  <a:schemeClr val="bg1"/>
                </a:solidFill>
                <a:effectLst/>
                <a:uLnTx/>
                <a:uFillTx/>
              </a:rPr>
            </a:br>
            <a:r>
              <a:rPr kumimoji="0" lang="en-US" sz="2000" b="0" i="0" u="none" strike="noStrike" kern="0" cap="none" spc="0" normalizeH="0" baseline="0" dirty="0">
                <a:ln>
                  <a:noFill/>
                </a:ln>
                <a:solidFill>
                  <a:schemeClr val="bg1"/>
                </a:solidFill>
                <a:effectLst/>
                <a:uLnTx/>
                <a:uFillTx/>
              </a:rPr>
              <a:t>NR/EPC</a:t>
            </a:r>
          </a:p>
        </p:txBody>
      </p:sp>
      <p:sp>
        <p:nvSpPr>
          <p:cNvPr id="55" name="TextBox 54"/>
          <p:cNvSpPr txBox="1"/>
          <p:nvPr/>
        </p:nvSpPr>
        <p:spPr>
          <a:xfrm>
            <a:off x="8386158" y="5239100"/>
            <a:ext cx="1255472" cy="1323439"/>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br>
              <a:rPr kumimoji="0" lang="en-US" sz="2000" b="0" i="0" u="none" strike="noStrike" kern="0" cap="none" spc="0" normalizeH="0" baseline="0" dirty="0">
                <a:ln>
                  <a:noFill/>
                </a:ln>
                <a:solidFill>
                  <a:schemeClr val="bg1"/>
                </a:solidFill>
                <a:effectLst/>
                <a:uLnTx/>
                <a:uFillTx/>
              </a:rPr>
            </a:br>
            <a:r>
              <a:rPr kumimoji="0" lang="en-US" sz="2000" b="0" i="0" u="none" strike="noStrike" kern="0" cap="none" spc="0" normalizeH="0" baseline="0" dirty="0">
                <a:ln>
                  <a:noFill/>
                </a:ln>
                <a:solidFill>
                  <a:schemeClr val="bg1"/>
                </a:solidFill>
                <a:effectLst/>
                <a:uLnTx/>
                <a:uFillTx/>
              </a:rPr>
              <a:t>NR/EPC</a:t>
            </a:r>
          </a:p>
          <a:p>
            <a:pPr marL="0" marR="0" lvl="0" indent="0" algn="l" defTabSz="914400" eaLnBrk="1" fontAlgn="auto" latinLnBrk="0" hangingPunct="1">
              <a:lnSpc>
                <a:spcPct val="100000"/>
              </a:lnSpc>
              <a:spcBef>
                <a:spcPts val="0"/>
              </a:spcBef>
              <a:spcAft>
                <a:spcPts val="0"/>
              </a:spcAft>
              <a:buClrTx/>
              <a:buSzTx/>
              <a:buFontTx/>
              <a:buNone/>
              <a:tabLst/>
              <a:defRPr/>
            </a:pPr>
            <a:r>
              <a:rPr lang="en-US" kern="0" dirty="0">
                <a:solidFill>
                  <a:schemeClr val="bg1"/>
                </a:solidFill>
              </a:rPr>
              <a:t>LTE/5GC</a:t>
            </a:r>
            <a:br>
              <a:rPr kumimoji="0" lang="en-US" sz="2000" b="0" i="0" u="none" strike="noStrike" kern="0" cap="none" spc="0" normalizeH="0" baseline="0" dirty="0">
                <a:ln>
                  <a:noFill/>
                </a:ln>
                <a:solidFill>
                  <a:schemeClr val="bg1"/>
                </a:solidFill>
                <a:effectLst/>
                <a:uLnTx/>
                <a:uFillTx/>
              </a:rPr>
            </a:br>
            <a:r>
              <a:rPr kumimoji="0" lang="en-US" sz="2000" b="0" i="0" u="none" strike="noStrike" kern="0" cap="none" spc="0" normalizeH="0" baseline="0" dirty="0">
                <a:ln>
                  <a:noFill/>
                </a:ln>
                <a:solidFill>
                  <a:schemeClr val="bg1"/>
                </a:solidFill>
                <a:effectLst/>
                <a:uLnTx/>
                <a:uFillTx/>
              </a:rPr>
              <a:t>NR/5GC</a:t>
            </a:r>
          </a:p>
        </p:txBody>
      </p:sp>
      <p:sp>
        <p:nvSpPr>
          <p:cNvPr id="56" name="TextBox 55"/>
          <p:cNvSpPr txBox="1"/>
          <p:nvPr/>
        </p:nvSpPr>
        <p:spPr>
          <a:xfrm>
            <a:off x="4217575" y="1615533"/>
            <a:ext cx="1450076"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chemeClr val="bg1"/>
                </a:solidFill>
                <a:effectLst/>
                <a:uLnTx/>
                <a:uFillTx/>
              </a:rPr>
              <a:t>3GPP target</a:t>
            </a:r>
            <a:br>
              <a:rPr kumimoji="0" lang="en-US" sz="1800" b="0" i="0" u="none" strike="noStrike" kern="0" cap="none" spc="0" normalizeH="0" baseline="0">
                <a:ln>
                  <a:noFill/>
                </a:ln>
                <a:solidFill>
                  <a:schemeClr val="bg1"/>
                </a:solidFill>
                <a:effectLst/>
                <a:uLnTx/>
                <a:uFillTx/>
              </a:rPr>
            </a:br>
            <a:r>
              <a:rPr kumimoji="0" lang="en-US" sz="1800" b="0" i="0" u="none" strike="noStrike" kern="0" cap="none" spc="0" normalizeH="0" baseline="0">
                <a:ln>
                  <a:noFill/>
                </a:ln>
                <a:solidFill>
                  <a:schemeClr val="bg1"/>
                </a:solidFill>
                <a:effectLst/>
                <a:uLnTx/>
                <a:uFillTx/>
              </a:rPr>
              <a:t>Q4 17</a:t>
            </a:r>
          </a:p>
        </p:txBody>
      </p:sp>
      <p:sp>
        <p:nvSpPr>
          <p:cNvPr id="57" name="TextBox 56"/>
          <p:cNvSpPr txBox="1"/>
          <p:nvPr/>
        </p:nvSpPr>
        <p:spPr>
          <a:xfrm>
            <a:off x="10285302" y="1638747"/>
            <a:ext cx="1450076"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chemeClr val="bg1"/>
                </a:solidFill>
                <a:effectLst/>
                <a:uLnTx/>
                <a:uFillTx/>
              </a:rPr>
              <a:t>3GPP target</a:t>
            </a:r>
            <a:br>
              <a:rPr kumimoji="0" lang="en-US" sz="1800" b="0" i="0" u="none" strike="noStrike" kern="0" cap="none" spc="0" normalizeH="0" baseline="0">
                <a:ln>
                  <a:noFill/>
                </a:ln>
                <a:solidFill>
                  <a:schemeClr val="bg1"/>
                </a:solidFill>
                <a:effectLst/>
                <a:uLnTx/>
                <a:uFillTx/>
              </a:rPr>
            </a:br>
            <a:r>
              <a:rPr kumimoji="0" lang="en-US" sz="1800" b="0" i="0" u="none" strike="noStrike" kern="0" cap="none" spc="0" normalizeH="0" baseline="0">
                <a:ln>
                  <a:noFill/>
                </a:ln>
                <a:solidFill>
                  <a:schemeClr val="bg1"/>
                </a:solidFill>
                <a:effectLst/>
                <a:uLnTx/>
                <a:uFillTx/>
              </a:rPr>
              <a:t>Q2 18</a:t>
            </a:r>
          </a:p>
        </p:txBody>
      </p:sp>
    </p:spTree>
    <p:extLst>
      <p:ext uri="{BB962C8B-B14F-4D97-AF65-F5344CB8AC3E}">
        <p14:creationId xmlns:p14="http://schemas.microsoft.com/office/powerpoint/2010/main" val="3597259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Understand the 5G Core standardization</a:t>
            </a:r>
            <a:br>
              <a:rPr lang="en-US" dirty="0"/>
            </a:br>
            <a:endParaRPr lang="en-US" sz="2000" dirty="0"/>
          </a:p>
          <a:p>
            <a:pPr marL="735013" lvl="1" indent="-381000">
              <a:lnSpc>
                <a:spcPct val="90000"/>
              </a:lnSpc>
            </a:pPr>
            <a:r>
              <a:rPr lang="en-US" dirty="0"/>
              <a:t>Understand the 3GPP 5G Core standardization time plan</a:t>
            </a:r>
            <a:br>
              <a:rPr lang="en-US" dirty="0"/>
            </a:br>
            <a:endParaRPr lang="en-US" dirty="0"/>
          </a:p>
          <a:p>
            <a:pPr marL="735013" lvl="1" indent="-381000">
              <a:lnSpc>
                <a:spcPct val="90000"/>
              </a:lnSpc>
            </a:pPr>
            <a:r>
              <a:rPr lang="en-US" dirty="0"/>
              <a:t>List the 5G Core deployment options studied by 3GPP</a:t>
            </a:r>
            <a:br>
              <a:rPr lang="en-US" dirty="0"/>
            </a:br>
            <a:endParaRPr lang="en-US" dirty="0"/>
          </a:p>
          <a:p>
            <a:pPr marL="735013" lvl="1" indent="-381000">
              <a:lnSpc>
                <a:spcPct val="90000"/>
              </a:lnSpc>
            </a:pPr>
            <a:r>
              <a:rPr lang="en-US" dirty="0"/>
              <a:t>Understand the main purpose of the Next Generation Mobile Networks Alliance (NGMN)</a:t>
            </a:r>
          </a:p>
        </p:txBody>
      </p:sp>
    </p:spTree>
    <p:extLst>
      <p:ext uri="{BB962C8B-B14F-4D97-AF65-F5344CB8AC3E}">
        <p14:creationId xmlns:p14="http://schemas.microsoft.com/office/powerpoint/2010/main" val="263871984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9" name="Title 3"/>
          <p:cNvSpPr>
            <a:spLocks noGrp="1"/>
          </p:cNvSpPr>
          <p:nvPr>
            <p:ph type="title"/>
          </p:nvPr>
        </p:nvSpPr>
        <p:spPr>
          <a:xfrm>
            <a:off x="525463" y="239713"/>
            <a:ext cx="10636250" cy="1085850"/>
          </a:xfrm>
          <a:noFill/>
        </p:spPr>
        <p:txBody>
          <a:bodyPr>
            <a:normAutofit/>
          </a:bodyPr>
          <a:lstStyle/>
          <a:p>
            <a:r>
              <a:rPr lang="en-US" sz="4900" dirty="0">
                <a:solidFill>
                  <a:schemeClr val="bg1"/>
                </a:solidFill>
              </a:rPr>
              <a:t>3GPP Architecture options</a:t>
            </a:r>
            <a:br>
              <a:rPr lang="en-US" sz="4800" dirty="0">
                <a:solidFill>
                  <a:schemeClr val="bg1"/>
                </a:solidFill>
              </a:rPr>
            </a:br>
            <a:r>
              <a:rPr lang="en-US" sz="3100" dirty="0">
                <a:solidFill>
                  <a:schemeClr val="bg1"/>
                </a:solidFill>
                <a:latin typeface="Arial"/>
              </a:rPr>
              <a:t>Specification </a:t>
            </a:r>
            <a:r>
              <a:rPr lang="en-US" sz="3100" dirty="0" err="1">
                <a:solidFill>
                  <a:schemeClr val="bg1"/>
                </a:solidFill>
                <a:latin typeface="Arial"/>
              </a:rPr>
              <a:t>Availabiltiy</a:t>
            </a:r>
            <a:r>
              <a:rPr lang="en-US" sz="3100" dirty="0">
                <a:solidFill>
                  <a:schemeClr val="bg1"/>
                </a:solidFill>
                <a:latin typeface="Arial"/>
              </a:rPr>
              <a:t> </a:t>
            </a:r>
            <a:endParaRPr lang="en-US" altLang="en-US" sz="3100" dirty="0">
              <a:solidFill>
                <a:schemeClr val="bg1"/>
              </a:solidFill>
              <a:latin typeface="Ericsson Capital TT" pitchFamily="2" charset="0"/>
            </a:endParaRPr>
          </a:p>
        </p:txBody>
      </p:sp>
      <p:pic>
        <p:nvPicPr>
          <p:cNvPr id="60"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 name="Group 1"/>
          <p:cNvGrpSpPr>
            <a:grpSpLocks/>
          </p:cNvGrpSpPr>
          <p:nvPr/>
        </p:nvGrpSpPr>
        <p:grpSpPr bwMode="auto">
          <a:xfrm>
            <a:off x="1091708" y="1689537"/>
            <a:ext cx="1000125" cy="685800"/>
            <a:chOff x="4063384" y="1394560"/>
            <a:chExt cx="1000125" cy="685800"/>
          </a:xfrm>
        </p:grpSpPr>
        <p:sp>
          <p:nvSpPr>
            <p:cNvPr id="62" name="Freeform 70"/>
            <p:cNvSpPr>
              <a:spLocks noChangeAspect="1"/>
            </p:cNvSpPr>
            <p:nvPr/>
          </p:nvSpPr>
          <p:spPr bwMode="auto">
            <a:xfrm>
              <a:off x="4063384" y="1394560"/>
              <a:ext cx="1000125" cy="685800"/>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63" name="TextBox 7"/>
            <p:cNvSpPr txBox="1">
              <a:spLocks noChangeArrowheads="1"/>
            </p:cNvSpPr>
            <p:nvPr/>
          </p:nvSpPr>
          <p:spPr bwMode="auto">
            <a:xfrm>
              <a:off x="4225761" y="1579931"/>
              <a:ext cx="6046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EPC</a:t>
              </a:r>
            </a:p>
          </p:txBody>
        </p:sp>
      </p:grpSp>
      <p:sp>
        <p:nvSpPr>
          <p:cNvPr id="64" name="TextBox 37"/>
          <p:cNvSpPr txBox="1">
            <a:spLocks noChangeArrowheads="1"/>
          </p:cNvSpPr>
          <p:nvPr/>
        </p:nvSpPr>
        <p:spPr bwMode="auto">
          <a:xfrm>
            <a:off x="1331421"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65" name="TextBox 37"/>
          <p:cNvSpPr txBox="1">
            <a:spLocks noChangeArrowheads="1"/>
          </p:cNvSpPr>
          <p:nvPr/>
        </p:nvSpPr>
        <p:spPr bwMode="auto">
          <a:xfrm>
            <a:off x="3749675"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grpSp>
        <p:nvGrpSpPr>
          <p:cNvPr id="66" name="Group 70"/>
          <p:cNvGrpSpPr>
            <a:grpSpLocks/>
          </p:cNvGrpSpPr>
          <p:nvPr/>
        </p:nvGrpSpPr>
        <p:grpSpPr bwMode="auto">
          <a:xfrm>
            <a:off x="4377700" y="1482743"/>
            <a:ext cx="1543328" cy="898525"/>
            <a:chOff x="4063384" y="1131588"/>
            <a:chExt cx="1383624" cy="948771"/>
          </a:xfrm>
        </p:grpSpPr>
        <p:sp>
          <p:nvSpPr>
            <p:cNvPr id="67" name="Freeform 70"/>
            <p:cNvSpPr>
              <a:spLocks noChangeAspect="1"/>
            </p:cNvSpPr>
            <p:nvPr/>
          </p:nvSpPr>
          <p:spPr bwMode="auto">
            <a:xfrm>
              <a:off x="4063384" y="1131588"/>
              <a:ext cx="1383624" cy="948771"/>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68" name="TextBox 7"/>
            <p:cNvSpPr txBox="1">
              <a:spLocks noChangeArrowheads="1"/>
            </p:cNvSpPr>
            <p:nvPr/>
          </p:nvSpPr>
          <p:spPr bwMode="auto">
            <a:xfrm>
              <a:off x="4091560" y="1533842"/>
              <a:ext cx="1326058"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5G EPC</a:t>
              </a:r>
            </a:p>
          </p:txBody>
        </p:sp>
      </p:grpSp>
      <p:cxnSp>
        <p:nvCxnSpPr>
          <p:cNvPr id="69" name="Straight Connector 32"/>
          <p:cNvCxnSpPr>
            <a:cxnSpLocks noChangeShapeType="1"/>
          </p:cNvCxnSpPr>
          <p:nvPr/>
        </p:nvCxnSpPr>
        <p:spPr bwMode="auto">
          <a:xfrm flipV="1">
            <a:off x="5176838" y="2375338"/>
            <a:ext cx="0" cy="1510060"/>
          </a:xfrm>
          <a:prstGeom prst="line">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sp>
        <p:nvSpPr>
          <p:cNvPr id="70" name="Oval 74"/>
          <p:cNvSpPr>
            <a:spLocks noChangeArrowheads="1"/>
          </p:cNvSpPr>
          <p:nvPr/>
        </p:nvSpPr>
        <p:spPr bwMode="auto">
          <a:xfrm>
            <a:off x="4668838"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71" name="Freeform 3"/>
          <p:cNvSpPr>
            <a:spLocks noChangeAspect="1" noEditPoints="1"/>
          </p:cNvSpPr>
          <p:nvPr/>
        </p:nvSpPr>
        <p:spPr bwMode="auto">
          <a:xfrm>
            <a:off x="4791075"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72" name="Oval 20"/>
          <p:cNvSpPr>
            <a:spLocks noChangeArrowheads="1"/>
          </p:cNvSpPr>
          <p:nvPr/>
        </p:nvSpPr>
        <p:spPr bwMode="auto">
          <a:xfrm>
            <a:off x="5695950"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a:p>
        </p:txBody>
      </p:sp>
      <p:sp>
        <p:nvSpPr>
          <p:cNvPr id="73" name="Freeform 3"/>
          <p:cNvSpPr>
            <a:spLocks noChangeAspect="1" noEditPoints="1"/>
          </p:cNvSpPr>
          <p:nvPr/>
        </p:nvSpPr>
        <p:spPr bwMode="auto">
          <a:xfrm>
            <a:off x="5818188"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74" name="Straight Connector 31"/>
          <p:cNvCxnSpPr>
            <a:cxnSpLocks noChangeShapeType="1"/>
            <a:stCxn id="70" idx="6"/>
          </p:cNvCxnSpPr>
          <p:nvPr/>
        </p:nvCxnSpPr>
        <p:spPr bwMode="auto">
          <a:xfrm>
            <a:off x="5599113"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75" name="TextBox 38"/>
          <p:cNvSpPr txBox="1">
            <a:spLocks noChangeArrowheads="1"/>
          </p:cNvSpPr>
          <p:nvPr/>
        </p:nvSpPr>
        <p:spPr bwMode="auto">
          <a:xfrm>
            <a:off x="5922963"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76" name="TextBox 40"/>
          <p:cNvSpPr txBox="1">
            <a:spLocks noChangeArrowheads="1"/>
          </p:cNvSpPr>
          <p:nvPr/>
        </p:nvSpPr>
        <p:spPr bwMode="auto">
          <a:xfrm>
            <a:off x="4818063"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77" name="Oval 81"/>
          <p:cNvSpPr>
            <a:spLocks noChangeArrowheads="1"/>
          </p:cNvSpPr>
          <p:nvPr/>
        </p:nvSpPr>
        <p:spPr bwMode="auto">
          <a:xfrm>
            <a:off x="3557588"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78" name="Freeform 3"/>
          <p:cNvSpPr>
            <a:spLocks noChangeAspect="1" noEditPoints="1"/>
          </p:cNvSpPr>
          <p:nvPr/>
        </p:nvSpPr>
        <p:spPr bwMode="auto">
          <a:xfrm>
            <a:off x="3679825"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79" name="TextBox 17"/>
          <p:cNvSpPr txBox="1">
            <a:spLocks noChangeArrowheads="1"/>
          </p:cNvSpPr>
          <p:nvPr/>
        </p:nvSpPr>
        <p:spPr bwMode="auto">
          <a:xfrm rot="5400000">
            <a:off x="4876252" y="3025888"/>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3</a:t>
            </a:r>
          </a:p>
        </p:txBody>
      </p:sp>
      <p:cxnSp>
        <p:nvCxnSpPr>
          <p:cNvPr id="80" name="Straight Connector 19"/>
          <p:cNvCxnSpPr>
            <a:cxnSpLocks noChangeShapeType="1"/>
            <a:endCxn id="68" idx="2"/>
          </p:cNvCxnSpPr>
          <p:nvPr/>
        </p:nvCxnSpPr>
        <p:spPr bwMode="auto">
          <a:xfrm flipV="1">
            <a:off x="4010665" y="2202248"/>
            <a:ext cx="1138022" cy="1787461"/>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81" name="Freeform 6"/>
          <p:cNvSpPr>
            <a:spLocks noEditPoints="1"/>
          </p:cNvSpPr>
          <p:nvPr/>
        </p:nvSpPr>
        <p:spPr bwMode="auto">
          <a:xfrm>
            <a:off x="5638004" y="5190774"/>
            <a:ext cx="320675" cy="508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en-US">
              <a:solidFill>
                <a:srgbClr val="FED57A"/>
              </a:solidFill>
            </a:endParaRPr>
          </a:p>
        </p:txBody>
      </p:sp>
      <p:cxnSp>
        <p:nvCxnSpPr>
          <p:cNvPr id="82" name="Straight Arrow Connector 21"/>
          <p:cNvCxnSpPr>
            <a:cxnSpLocks noChangeShapeType="1"/>
          </p:cNvCxnSpPr>
          <p:nvPr/>
        </p:nvCxnSpPr>
        <p:spPr bwMode="auto">
          <a:xfrm>
            <a:off x="3749675" y="5460198"/>
            <a:ext cx="2946400" cy="0"/>
          </a:xfrm>
          <a:prstGeom prst="straightConnector1">
            <a:avLst/>
          </a:prstGeom>
          <a:noFill/>
          <a:ln w="9525">
            <a:solidFill>
              <a:schemeClr val="tx2">
                <a:lumMod val="10000"/>
                <a:lumOff val="90000"/>
              </a:schemeClr>
            </a:solidFill>
            <a:round/>
            <a:headEnd type="arrow" w="lg" len="med"/>
            <a:tailEnd type="arrow" w="lg" len="med"/>
          </a:ln>
        </p:spPr>
      </p:cxnSp>
      <p:sp>
        <p:nvSpPr>
          <p:cNvPr id="83" name="TextBox 37"/>
          <p:cNvSpPr txBox="1">
            <a:spLocks noChangeArrowheads="1"/>
          </p:cNvSpPr>
          <p:nvPr/>
        </p:nvSpPr>
        <p:spPr bwMode="auto">
          <a:xfrm>
            <a:off x="7804150"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cxnSp>
        <p:nvCxnSpPr>
          <p:cNvPr id="84" name="Straight Connector 32"/>
          <p:cNvCxnSpPr>
            <a:cxnSpLocks noChangeShapeType="1"/>
          </p:cNvCxnSpPr>
          <p:nvPr/>
        </p:nvCxnSpPr>
        <p:spPr bwMode="auto">
          <a:xfrm flipV="1">
            <a:off x="9172575" y="2361398"/>
            <a:ext cx="889000" cy="152400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85" name="Oval 105"/>
          <p:cNvSpPr>
            <a:spLocks noChangeArrowheads="1"/>
          </p:cNvSpPr>
          <p:nvPr/>
        </p:nvSpPr>
        <p:spPr bwMode="auto">
          <a:xfrm>
            <a:off x="87042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86" name="Freeform 3"/>
          <p:cNvSpPr>
            <a:spLocks noChangeAspect="1" noEditPoints="1"/>
          </p:cNvSpPr>
          <p:nvPr/>
        </p:nvSpPr>
        <p:spPr bwMode="auto">
          <a:xfrm>
            <a:off x="88265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87" name="Oval 20"/>
          <p:cNvSpPr>
            <a:spLocks noChangeArrowheads="1"/>
          </p:cNvSpPr>
          <p:nvPr/>
        </p:nvSpPr>
        <p:spPr bwMode="auto">
          <a:xfrm>
            <a:off x="973137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a:p>
        </p:txBody>
      </p:sp>
      <p:sp>
        <p:nvSpPr>
          <p:cNvPr id="88" name="Freeform 3"/>
          <p:cNvSpPr>
            <a:spLocks noChangeAspect="1" noEditPoints="1"/>
          </p:cNvSpPr>
          <p:nvPr/>
        </p:nvSpPr>
        <p:spPr bwMode="auto">
          <a:xfrm>
            <a:off x="985361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89" name="Straight Connector 31"/>
          <p:cNvCxnSpPr>
            <a:cxnSpLocks noChangeShapeType="1"/>
            <a:stCxn id="85" idx="6"/>
          </p:cNvCxnSpPr>
          <p:nvPr/>
        </p:nvCxnSpPr>
        <p:spPr bwMode="auto">
          <a:xfrm>
            <a:off x="9634538"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90" name="TextBox 38"/>
          <p:cNvSpPr txBox="1">
            <a:spLocks noChangeArrowheads="1"/>
          </p:cNvSpPr>
          <p:nvPr/>
        </p:nvSpPr>
        <p:spPr bwMode="auto">
          <a:xfrm>
            <a:off x="9956800"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91" name="TextBox 40"/>
          <p:cNvSpPr txBox="1">
            <a:spLocks noChangeArrowheads="1"/>
          </p:cNvSpPr>
          <p:nvPr/>
        </p:nvSpPr>
        <p:spPr bwMode="auto">
          <a:xfrm>
            <a:off x="8853488"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92" name="Oval 112"/>
          <p:cNvSpPr>
            <a:spLocks noChangeArrowheads="1"/>
          </p:cNvSpPr>
          <p:nvPr/>
        </p:nvSpPr>
        <p:spPr bwMode="auto">
          <a:xfrm>
            <a:off x="76120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93" name="Freeform 3"/>
          <p:cNvSpPr>
            <a:spLocks noChangeAspect="1" noEditPoints="1"/>
          </p:cNvSpPr>
          <p:nvPr/>
        </p:nvSpPr>
        <p:spPr bwMode="auto">
          <a:xfrm>
            <a:off x="77343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94" name="TextBox 115"/>
          <p:cNvSpPr txBox="1">
            <a:spLocks noChangeArrowheads="1"/>
          </p:cNvSpPr>
          <p:nvPr/>
        </p:nvSpPr>
        <p:spPr bwMode="auto">
          <a:xfrm rot="18105537">
            <a:off x="8673142" y="3161392"/>
            <a:ext cx="130242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7</a:t>
            </a:r>
          </a:p>
        </p:txBody>
      </p:sp>
      <p:cxnSp>
        <p:nvCxnSpPr>
          <p:cNvPr id="95" name="Straight Connector 116"/>
          <p:cNvCxnSpPr>
            <a:cxnSpLocks noChangeShapeType="1"/>
          </p:cNvCxnSpPr>
          <p:nvPr/>
        </p:nvCxnSpPr>
        <p:spPr bwMode="auto">
          <a:xfrm flipV="1">
            <a:off x="8077200" y="2361398"/>
            <a:ext cx="1984375" cy="152400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96" name="Oval 20"/>
          <p:cNvSpPr>
            <a:spLocks noChangeArrowheads="1"/>
          </p:cNvSpPr>
          <p:nvPr/>
        </p:nvSpPr>
        <p:spPr bwMode="auto">
          <a:xfrm>
            <a:off x="1081722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a:p>
        </p:txBody>
      </p:sp>
      <p:sp>
        <p:nvSpPr>
          <p:cNvPr id="97" name="Freeform 3"/>
          <p:cNvSpPr>
            <a:spLocks noChangeAspect="1" noEditPoints="1"/>
          </p:cNvSpPr>
          <p:nvPr/>
        </p:nvSpPr>
        <p:spPr bwMode="auto">
          <a:xfrm>
            <a:off x="1093946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98" name="TextBox 38"/>
          <p:cNvSpPr txBox="1">
            <a:spLocks noChangeArrowheads="1"/>
          </p:cNvSpPr>
          <p:nvPr/>
        </p:nvSpPr>
        <p:spPr bwMode="auto">
          <a:xfrm>
            <a:off x="11044238"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cxnSp>
        <p:nvCxnSpPr>
          <p:cNvPr id="99" name="Straight Connector 32"/>
          <p:cNvCxnSpPr>
            <a:cxnSpLocks noChangeShapeType="1"/>
          </p:cNvCxnSpPr>
          <p:nvPr/>
        </p:nvCxnSpPr>
        <p:spPr bwMode="auto">
          <a:xfrm flipH="1" flipV="1">
            <a:off x="10085388" y="2361398"/>
            <a:ext cx="1196975" cy="152400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100" name="TextBox 128"/>
          <p:cNvSpPr txBox="1">
            <a:spLocks noChangeArrowheads="1"/>
          </p:cNvSpPr>
          <p:nvPr/>
        </p:nvSpPr>
        <p:spPr bwMode="auto">
          <a:xfrm rot="-2245103">
            <a:off x="8264525" y="2882098"/>
            <a:ext cx="13414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5</a:t>
            </a:r>
          </a:p>
        </p:txBody>
      </p:sp>
      <p:sp>
        <p:nvSpPr>
          <p:cNvPr id="101" name="TextBox 130"/>
          <p:cNvSpPr txBox="1">
            <a:spLocks noChangeArrowheads="1"/>
          </p:cNvSpPr>
          <p:nvPr/>
        </p:nvSpPr>
        <p:spPr bwMode="auto">
          <a:xfrm rot="3040460">
            <a:off x="10184607" y="2978142"/>
            <a:ext cx="13414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2</a:t>
            </a:r>
          </a:p>
        </p:txBody>
      </p:sp>
      <p:cxnSp>
        <p:nvCxnSpPr>
          <p:cNvPr id="102" name="Straight Arrow Connector 118"/>
          <p:cNvCxnSpPr>
            <a:cxnSpLocks noChangeShapeType="1"/>
          </p:cNvCxnSpPr>
          <p:nvPr/>
        </p:nvCxnSpPr>
        <p:spPr bwMode="auto">
          <a:xfrm>
            <a:off x="7804150" y="5460198"/>
            <a:ext cx="3822700" cy="0"/>
          </a:xfrm>
          <a:prstGeom prst="straightConnector1">
            <a:avLst/>
          </a:prstGeom>
          <a:noFill/>
          <a:ln w="12700" algn="ctr">
            <a:solidFill>
              <a:srgbClr val="FABB00"/>
            </a:solidFill>
            <a:round/>
            <a:headEnd type="arrow" w="lg" len="lg"/>
            <a:tailEnd type="arrow" w="lg" len="lg"/>
          </a:ln>
        </p:spPr>
      </p:cxnSp>
      <p:sp>
        <p:nvSpPr>
          <p:cNvPr id="103" name="Freeform 6"/>
          <p:cNvSpPr>
            <a:spLocks noEditPoints="1"/>
          </p:cNvSpPr>
          <p:nvPr/>
        </p:nvSpPr>
        <p:spPr bwMode="auto">
          <a:xfrm>
            <a:off x="9852687" y="5220073"/>
            <a:ext cx="304632" cy="51680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grpSp>
        <p:nvGrpSpPr>
          <p:cNvPr id="104" name="Group 70"/>
          <p:cNvGrpSpPr>
            <a:grpSpLocks/>
          </p:cNvGrpSpPr>
          <p:nvPr/>
        </p:nvGrpSpPr>
        <p:grpSpPr bwMode="auto">
          <a:xfrm>
            <a:off x="9247190" y="1493472"/>
            <a:ext cx="1543328" cy="898525"/>
            <a:chOff x="4063384" y="1131588"/>
            <a:chExt cx="1383624" cy="948771"/>
          </a:xfrm>
        </p:grpSpPr>
        <p:sp>
          <p:nvSpPr>
            <p:cNvPr id="105" name="Freeform 70"/>
            <p:cNvSpPr>
              <a:spLocks noChangeAspect="1"/>
            </p:cNvSpPr>
            <p:nvPr/>
          </p:nvSpPr>
          <p:spPr bwMode="auto">
            <a:xfrm>
              <a:off x="4063384" y="1131588"/>
              <a:ext cx="1383624" cy="948771"/>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06" name="TextBox 7"/>
            <p:cNvSpPr txBox="1">
              <a:spLocks noChangeArrowheads="1"/>
            </p:cNvSpPr>
            <p:nvPr/>
          </p:nvSpPr>
          <p:spPr bwMode="auto">
            <a:xfrm>
              <a:off x="4106454" y="1485686"/>
              <a:ext cx="1326058"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5G Core</a:t>
              </a:r>
            </a:p>
          </p:txBody>
        </p:sp>
      </p:grpSp>
      <p:sp>
        <p:nvSpPr>
          <p:cNvPr id="107" name="Pentagon 49"/>
          <p:cNvSpPr/>
          <p:nvPr/>
        </p:nvSpPr>
        <p:spPr bwMode="auto">
          <a:xfrm>
            <a:off x="2124075" y="6132969"/>
            <a:ext cx="9399588" cy="311150"/>
          </a:xfrm>
          <a:prstGeom prst="homePlate">
            <a:avLst/>
          </a:prstGeom>
          <a:solidFill>
            <a:schemeClr val="tx2">
              <a:lumMod val="25000"/>
              <a:lumOff val="75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sz="1800" b="0" i="0" u="none" strike="noStrike" kern="0" cap="none" spc="0" normalizeH="0" baseline="0">
                <a:ln>
                  <a:noFill/>
                </a:ln>
                <a:solidFill>
                  <a:sysClr val="windowText" lastClr="000000"/>
                </a:solidFill>
                <a:effectLst/>
                <a:uLnTx/>
                <a:uFillTx/>
                <a:ea typeface="+mn-ea"/>
                <a:cs typeface="Arial" pitchFamily="34" charset="0"/>
              </a:rPr>
              <a:t>3GPP specifications:</a:t>
            </a:r>
          </a:p>
        </p:txBody>
      </p:sp>
      <p:sp>
        <p:nvSpPr>
          <p:cNvPr id="108" name="TextBox 1"/>
          <p:cNvSpPr txBox="1">
            <a:spLocks noChangeArrowheads="1"/>
          </p:cNvSpPr>
          <p:nvPr/>
        </p:nvSpPr>
        <p:spPr bwMode="auto">
          <a:xfrm>
            <a:off x="5062538" y="6434594"/>
            <a:ext cx="10214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i="0" u="none" strike="noStrike" kern="0" cap="none" spc="0" normalizeH="0" baseline="0">
                <a:ln>
                  <a:noFill/>
                </a:ln>
                <a:solidFill>
                  <a:schemeClr val="bg1"/>
                </a:solidFill>
                <a:effectLst/>
                <a:uLnTx/>
                <a:uFillTx/>
                <a:latin typeface="Arial" charset="0"/>
                <a:ea typeface="Arial" charset="0"/>
                <a:cs typeface="Arial" charset="0"/>
              </a:rPr>
              <a:t>OPTION 3</a:t>
            </a:r>
          </a:p>
        </p:txBody>
      </p:sp>
      <p:sp>
        <p:nvSpPr>
          <p:cNvPr id="109" name="TextBox 50"/>
          <p:cNvSpPr txBox="1">
            <a:spLocks noChangeArrowheads="1"/>
          </p:cNvSpPr>
          <p:nvPr/>
        </p:nvSpPr>
        <p:spPr bwMode="auto">
          <a:xfrm>
            <a:off x="8332788" y="6418719"/>
            <a:ext cx="15888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i="0" u="none" strike="noStrike" kern="0" cap="none" spc="0" normalizeH="0" baseline="0">
                <a:ln>
                  <a:noFill/>
                </a:ln>
                <a:solidFill>
                  <a:schemeClr val="bg1"/>
                </a:solidFill>
                <a:effectLst/>
                <a:uLnTx/>
                <a:uFillTx/>
                <a:latin typeface="Arial" charset="0"/>
                <a:ea typeface="Arial" charset="0"/>
                <a:cs typeface="Arial" charset="0"/>
              </a:rPr>
              <a:t>OPTIONS 2/4/5/7</a:t>
            </a:r>
          </a:p>
        </p:txBody>
      </p:sp>
      <p:cxnSp>
        <p:nvCxnSpPr>
          <p:cNvPr id="110" name="Straight Connector 3"/>
          <p:cNvCxnSpPr>
            <a:cxnSpLocks noChangeShapeType="1"/>
          </p:cNvCxnSpPr>
          <p:nvPr/>
        </p:nvCxnSpPr>
        <p:spPr bwMode="auto">
          <a:xfrm>
            <a:off x="6115050" y="6074232"/>
            <a:ext cx="0" cy="487362"/>
          </a:xfrm>
          <a:prstGeom prst="line">
            <a:avLst/>
          </a:prstGeom>
          <a:noFill/>
          <a:ln w="12700">
            <a:solidFill>
              <a:schemeClr val="bg1"/>
            </a:solidFill>
            <a:round/>
            <a:headEnd/>
            <a:tailEnd/>
          </a:ln>
        </p:spPr>
      </p:cxnSp>
      <p:sp>
        <p:nvSpPr>
          <p:cNvPr id="111" name="Diamond 4"/>
          <p:cNvSpPr>
            <a:spLocks noChangeArrowheads="1"/>
          </p:cNvSpPr>
          <p:nvPr/>
        </p:nvSpPr>
        <p:spPr bwMode="auto">
          <a:xfrm>
            <a:off x="5522913" y="6163132"/>
            <a:ext cx="249237" cy="249237"/>
          </a:xfrm>
          <a:prstGeom prst="diamond">
            <a:avLst/>
          </a:prstGeom>
          <a:solidFill>
            <a:schemeClr val="accent1"/>
          </a:solidFill>
          <a:ln w="12700">
            <a:solidFill>
              <a:schemeClr val="tx1"/>
            </a:solidFill>
            <a:round/>
            <a:headEnd/>
            <a:tailEnd/>
          </a:ln>
        </p:spPr>
        <p:txBody>
          <a:bodyPr wrap="none" lIns="72000" rIns="72000"/>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112" name="Diamond 52"/>
          <p:cNvSpPr>
            <a:spLocks noChangeArrowheads="1"/>
          </p:cNvSpPr>
          <p:nvPr/>
        </p:nvSpPr>
        <p:spPr bwMode="auto">
          <a:xfrm>
            <a:off x="9234488" y="6152019"/>
            <a:ext cx="249237" cy="249238"/>
          </a:xfrm>
          <a:prstGeom prst="diamond">
            <a:avLst/>
          </a:prstGeom>
          <a:solidFill>
            <a:schemeClr val="accent1"/>
          </a:solidFill>
          <a:ln w="12700">
            <a:solidFill>
              <a:schemeClr val="tx1"/>
            </a:solidFill>
            <a:round/>
            <a:headEnd/>
            <a:tailEnd/>
          </a:ln>
        </p:spPr>
        <p:txBody>
          <a:bodyPr wrap="none" lIns="72000" rIns="72000"/>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113" name="TextBox 5"/>
          <p:cNvSpPr txBox="1">
            <a:spLocks noChangeArrowheads="1"/>
          </p:cNvSpPr>
          <p:nvPr/>
        </p:nvSpPr>
        <p:spPr bwMode="auto">
          <a:xfrm>
            <a:off x="4375150" y="6113919"/>
            <a:ext cx="11721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1" u="none" strike="noStrike" kern="0" cap="none" spc="0" normalizeH="0" baseline="0">
                <a:ln>
                  <a:noFill/>
                </a:ln>
                <a:solidFill>
                  <a:srgbClr val="000000"/>
                </a:solidFill>
                <a:effectLst/>
                <a:uLnTx/>
                <a:uFillTx/>
                <a:latin typeface="Arial" charset="0"/>
                <a:ea typeface="Arial" charset="0"/>
                <a:cs typeface="Arial" charset="0"/>
              </a:rPr>
              <a:t>Dec 2017</a:t>
            </a:r>
          </a:p>
        </p:txBody>
      </p:sp>
      <p:sp>
        <p:nvSpPr>
          <p:cNvPr id="114" name="TextBox 54"/>
          <p:cNvSpPr txBox="1">
            <a:spLocks noChangeArrowheads="1"/>
          </p:cNvSpPr>
          <p:nvPr/>
        </p:nvSpPr>
        <p:spPr bwMode="auto">
          <a:xfrm>
            <a:off x="8124825" y="6115507"/>
            <a:ext cx="11336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1" u="none" strike="noStrike" kern="0" cap="none" spc="0" normalizeH="0" baseline="0">
                <a:ln>
                  <a:noFill/>
                </a:ln>
                <a:solidFill>
                  <a:srgbClr val="000000"/>
                </a:solidFill>
                <a:effectLst/>
                <a:uLnTx/>
                <a:uFillTx/>
                <a:latin typeface="Arial" charset="0"/>
                <a:ea typeface="Arial" charset="0"/>
                <a:cs typeface="Arial" charset="0"/>
              </a:rPr>
              <a:t>Jun 2018</a:t>
            </a:r>
          </a:p>
        </p:txBody>
      </p:sp>
      <p:cxnSp>
        <p:nvCxnSpPr>
          <p:cNvPr id="115" name="Straight Connector 32"/>
          <p:cNvCxnSpPr>
            <a:cxnSpLocks noChangeShapeType="1"/>
          </p:cNvCxnSpPr>
          <p:nvPr/>
        </p:nvCxnSpPr>
        <p:spPr bwMode="auto">
          <a:xfrm flipH="1" flipV="1">
            <a:off x="10064331" y="2377242"/>
            <a:ext cx="119640" cy="1487073"/>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116" name="TextBox 115"/>
          <p:cNvSpPr txBox="1">
            <a:spLocks noChangeArrowheads="1"/>
          </p:cNvSpPr>
          <p:nvPr/>
        </p:nvSpPr>
        <p:spPr bwMode="auto">
          <a:xfrm rot="4835452">
            <a:off x="9689763" y="3331310"/>
            <a:ext cx="130242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4</a:t>
            </a:r>
          </a:p>
        </p:txBody>
      </p:sp>
      <p:sp>
        <p:nvSpPr>
          <p:cNvPr id="117" name="Oval 10"/>
          <p:cNvSpPr>
            <a:spLocks noChangeArrowheads="1"/>
          </p:cNvSpPr>
          <p:nvPr/>
        </p:nvSpPr>
        <p:spPr bwMode="auto">
          <a:xfrm>
            <a:off x="1104399"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18" name="Freeform 6"/>
          <p:cNvSpPr>
            <a:spLocks noEditPoints="1"/>
          </p:cNvSpPr>
          <p:nvPr/>
        </p:nvSpPr>
        <p:spPr bwMode="auto">
          <a:xfrm>
            <a:off x="1433015" y="5246798"/>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sp>
        <p:nvSpPr>
          <p:cNvPr id="119" name="Freeform 3"/>
          <p:cNvSpPr>
            <a:spLocks noChangeAspect="1" noEditPoints="1"/>
          </p:cNvSpPr>
          <p:nvPr/>
        </p:nvSpPr>
        <p:spPr bwMode="auto">
          <a:xfrm>
            <a:off x="1226646"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120" name="Straight Arrow Connector 91"/>
          <p:cNvCxnSpPr>
            <a:cxnSpLocks noChangeShapeType="1"/>
          </p:cNvCxnSpPr>
          <p:nvPr/>
        </p:nvCxnSpPr>
        <p:spPr bwMode="auto">
          <a:xfrm>
            <a:off x="3900942" y="5793573"/>
            <a:ext cx="1857375" cy="0"/>
          </a:xfrm>
          <a:prstGeom prst="straightConnector1">
            <a:avLst/>
          </a:prstGeom>
          <a:noFill/>
          <a:ln w="12700">
            <a:solidFill>
              <a:schemeClr val="accent1">
                <a:lumMod val="40000"/>
                <a:lumOff val="60000"/>
              </a:schemeClr>
            </a:solidFill>
            <a:round/>
            <a:headEnd type="arrow" w="lg" len="lg"/>
            <a:tailEnd type="arrow" w="lg" len="lg"/>
          </a:ln>
        </p:spPr>
      </p:cxnSp>
      <p:sp>
        <p:nvSpPr>
          <p:cNvPr id="121" name="Freeform 6"/>
          <p:cNvSpPr>
            <a:spLocks noEditPoints="1"/>
          </p:cNvSpPr>
          <p:nvPr/>
        </p:nvSpPr>
        <p:spPr bwMode="auto">
          <a:xfrm>
            <a:off x="4675735" y="5552429"/>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cxnSp>
        <p:nvCxnSpPr>
          <p:cNvPr id="122" name="Straight Connector 32"/>
          <p:cNvCxnSpPr>
            <a:cxnSpLocks noChangeShapeType="1"/>
          </p:cNvCxnSpPr>
          <p:nvPr/>
        </p:nvCxnSpPr>
        <p:spPr bwMode="auto">
          <a:xfrm flipV="1">
            <a:off x="1568736" y="2391997"/>
            <a:ext cx="0" cy="1493403"/>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23" name="TextBox 17"/>
          <p:cNvSpPr txBox="1">
            <a:spLocks noChangeArrowheads="1"/>
          </p:cNvSpPr>
          <p:nvPr/>
        </p:nvSpPr>
        <p:spPr bwMode="auto">
          <a:xfrm rot="18609607">
            <a:off x="3836276" y="3058640"/>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
        <p:nvSpPr>
          <p:cNvPr id="124" name="TextBox 17"/>
          <p:cNvSpPr txBox="1">
            <a:spLocks noChangeArrowheads="1"/>
          </p:cNvSpPr>
          <p:nvPr/>
        </p:nvSpPr>
        <p:spPr bwMode="auto">
          <a:xfrm rot="16200000">
            <a:off x="800825" y="2967521"/>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Tree>
    <p:extLst>
      <p:ext uri="{BB962C8B-B14F-4D97-AF65-F5344CB8AC3E}">
        <p14:creationId xmlns:p14="http://schemas.microsoft.com/office/powerpoint/2010/main" val="162724308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ion Scenario Aspects</a:t>
            </a:r>
          </a:p>
        </p:txBody>
      </p:sp>
      <p:sp>
        <p:nvSpPr>
          <p:cNvPr id="3" name="Text Placeholder 2"/>
          <p:cNvSpPr>
            <a:spLocks noGrp="1"/>
          </p:cNvSpPr>
          <p:nvPr>
            <p:ph type="body" idx="1"/>
          </p:nvPr>
        </p:nvSpPr>
        <p:spPr/>
        <p:txBody>
          <a:bodyPr/>
          <a:lstStyle/>
          <a:p>
            <a:r>
              <a:rPr lang="en-US" dirty="0"/>
              <a:t>Early introduction of NR</a:t>
            </a:r>
          </a:p>
          <a:p>
            <a:pPr lvl="1"/>
            <a:r>
              <a:rPr lang="en-US" dirty="0"/>
              <a:t>By using 5G EPC via Option 3</a:t>
            </a:r>
          </a:p>
          <a:p>
            <a:pPr lvl="1"/>
            <a:r>
              <a:rPr lang="en-US" dirty="0"/>
              <a:t>Wide area coverage through LTE with capacity to boost by NR</a:t>
            </a:r>
          </a:p>
          <a:p>
            <a:r>
              <a:rPr lang="en-US" dirty="0"/>
              <a:t>Introduction of 5G Core</a:t>
            </a:r>
          </a:p>
          <a:p>
            <a:pPr lvl="1"/>
            <a:r>
              <a:rPr lang="en-US" dirty="0"/>
              <a:t>Enables NR stand alone via Option 2</a:t>
            </a:r>
          </a:p>
          <a:p>
            <a:pPr lvl="1"/>
            <a:r>
              <a:rPr lang="en-US" dirty="0"/>
              <a:t>Option 5,7 likely long term targets</a:t>
            </a:r>
          </a:p>
          <a:p>
            <a:pPr lvl="1"/>
            <a:r>
              <a:rPr lang="en-US" dirty="0"/>
              <a:t>Option 4 (“NR-Assisted” LTE) less likely before NR has wider coverage than LTE</a:t>
            </a:r>
          </a:p>
        </p:txBody>
      </p:sp>
    </p:spTree>
    <p:extLst>
      <p:ext uri="{BB962C8B-B14F-4D97-AF65-F5344CB8AC3E}">
        <p14:creationId xmlns:p14="http://schemas.microsoft.com/office/powerpoint/2010/main" val="115604696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3"/>
          <p:cNvSpPr>
            <a:spLocks noGrp="1"/>
          </p:cNvSpPr>
          <p:nvPr>
            <p:ph type="title"/>
          </p:nvPr>
        </p:nvSpPr>
        <p:spPr>
          <a:xfrm>
            <a:off x="525463" y="239713"/>
            <a:ext cx="10636250" cy="1085850"/>
          </a:xfrm>
          <a:noFill/>
        </p:spPr>
        <p:txBody>
          <a:bodyPr>
            <a:normAutofit fontScale="90000"/>
          </a:bodyPr>
          <a:lstStyle/>
          <a:p>
            <a:r>
              <a:rPr lang="en-US" altLang="en-US" sz="4900" dirty="0">
                <a:solidFill>
                  <a:schemeClr val="bg1"/>
                </a:solidFill>
                <a:latin typeface="Ericsson Capital TT" charset="0"/>
              </a:rPr>
              <a:t>POSSIBLE MIGRATION PATH – Opt 3</a:t>
            </a:r>
            <a:br>
              <a:rPr lang="en-US" altLang="en-US" dirty="0">
                <a:solidFill>
                  <a:schemeClr val="bg1"/>
                </a:solidFill>
                <a:latin typeface="Ericsson Capital TT" charset="0"/>
              </a:rPr>
            </a:br>
            <a:r>
              <a:rPr lang="en-US" altLang="en-US" sz="2700" dirty="0">
                <a:solidFill>
                  <a:schemeClr val="bg1"/>
                </a:solidFill>
                <a:latin typeface="+mn-lt"/>
              </a:rPr>
              <a:t>Introduce 5G EPC (Opt.3) in parallel to existing EPC (Opt. 1)</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0"/>
          <p:cNvSpPr>
            <a:spLocks noChangeArrowheads="1"/>
          </p:cNvSpPr>
          <p:nvPr/>
        </p:nvSpPr>
        <p:spPr bwMode="auto">
          <a:xfrm>
            <a:off x="1104408"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8" name="Freeform 3"/>
          <p:cNvSpPr>
            <a:spLocks noChangeAspect="1" noEditPoints="1"/>
          </p:cNvSpPr>
          <p:nvPr/>
        </p:nvSpPr>
        <p:spPr bwMode="auto">
          <a:xfrm>
            <a:off x="1226646"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9" name="Straight Connector 32"/>
          <p:cNvCxnSpPr>
            <a:cxnSpLocks noChangeShapeType="1"/>
          </p:cNvCxnSpPr>
          <p:nvPr/>
        </p:nvCxnSpPr>
        <p:spPr bwMode="auto">
          <a:xfrm flipV="1">
            <a:off x="1515571" y="2232504"/>
            <a:ext cx="0" cy="1652895"/>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0" name="TextBox 37"/>
          <p:cNvSpPr txBox="1">
            <a:spLocks noChangeArrowheads="1"/>
          </p:cNvSpPr>
          <p:nvPr/>
        </p:nvSpPr>
        <p:spPr bwMode="auto">
          <a:xfrm>
            <a:off x="1331421"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cxnSp>
        <p:nvCxnSpPr>
          <p:cNvPr id="11" name="Straight Connector 32"/>
          <p:cNvCxnSpPr>
            <a:cxnSpLocks noChangeShapeType="1"/>
          </p:cNvCxnSpPr>
          <p:nvPr/>
        </p:nvCxnSpPr>
        <p:spPr bwMode="auto">
          <a:xfrm flipV="1">
            <a:off x="4115254" y="2232504"/>
            <a:ext cx="465138" cy="1652895"/>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2" name="TextBox 37"/>
          <p:cNvSpPr txBox="1">
            <a:spLocks noChangeArrowheads="1"/>
          </p:cNvSpPr>
          <p:nvPr/>
        </p:nvSpPr>
        <p:spPr bwMode="auto">
          <a:xfrm>
            <a:off x="3842204"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cxnSp>
        <p:nvCxnSpPr>
          <p:cNvPr id="13" name="Straight Connector 32"/>
          <p:cNvCxnSpPr>
            <a:cxnSpLocks noChangeShapeType="1"/>
          </p:cNvCxnSpPr>
          <p:nvPr/>
        </p:nvCxnSpPr>
        <p:spPr bwMode="auto">
          <a:xfrm flipV="1">
            <a:off x="5288417" y="2361398"/>
            <a:ext cx="811212" cy="1524000"/>
          </a:xfrm>
          <a:prstGeom prst="line">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sp>
        <p:nvSpPr>
          <p:cNvPr id="14" name="Oval 74"/>
          <p:cNvSpPr>
            <a:spLocks noChangeArrowheads="1"/>
          </p:cNvSpPr>
          <p:nvPr/>
        </p:nvSpPr>
        <p:spPr bwMode="auto">
          <a:xfrm>
            <a:off x="4761367"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5" name="Freeform 3"/>
          <p:cNvSpPr>
            <a:spLocks noChangeAspect="1" noEditPoints="1"/>
          </p:cNvSpPr>
          <p:nvPr/>
        </p:nvSpPr>
        <p:spPr bwMode="auto">
          <a:xfrm>
            <a:off x="4883604"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6" name="Oval 20"/>
          <p:cNvSpPr>
            <a:spLocks noChangeArrowheads="1"/>
          </p:cNvSpPr>
          <p:nvPr/>
        </p:nvSpPr>
        <p:spPr bwMode="auto">
          <a:xfrm>
            <a:off x="5788479"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17" name="Freeform 3"/>
          <p:cNvSpPr>
            <a:spLocks noChangeAspect="1" noEditPoints="1"/>
          </p:cNvSpPr>
          <p:nvPr/>
        </p:nvSpPr>
        <p:spPr bwMode="auto">
          <a:xfrm>
            <a:off x="5910717"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18" name="Straight Connector 31"/>
          <p:cNvCxnSpPr>
            <a:cxnSpLocks noChangeShapeType="1"/>
            <a:stCxn id="14" idx="6"/>
          </p:cNvCxnSpPr>
          <p:nvPr/>
        </p:nvCxnSpPr>
        <p:spPr bwMode="auto">
          <a:xfrm>
            <a:off x="5691642"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19" name="TextBox 38"/>
          <p:cNvSpPr txBox="1">
            <a:spLocks noChangeArrowheads="1"/>
          </p:cNvSpPr>
          <p:nvPr/>
        </p:nvSpPr>
        <p:spPr bwMode="auto">
          <a:xfrm>
            <a:off x="6015492"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20" name="TextBox 40"/>
          <p:cNvSpPr txBox="1">
            <a:spLocks noChangeArrowheads="1"/>
          </p:cNvSpPr>
          <p:nvPr/>
        </p:nvSpPr>
        <p:spPr bwMode="auto">
          <a:xfrm>
            <a:off x="4910592"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21" name="Oval 81"/>
          <p:cNvSpPr>
            <a:spLocks noChangeArrowheads="1"/>
          </p:cNvSpPr>
          <p:nvPr/>
        </p:nvSpPr>
        <p:spPr bwMode="auto">
          <a:xfrm>
            <a:off x="3650117"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22" name="Freeform 3"/>
          <p:cNvSpPr>
            <a:spLocks noChangeAspect="1" noEditPoints="1"/>
          </p:cNvSpPr>
          <p:nvPr/>
        </p:nvSpPr>
        <p:spPr bwMode="auto">
          <a:xfrm>
            <a:off x="3772354"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23" name="TextBox 17"/>
          <p:cNvSpPr txBox="1">
            <a:spLocks noChangeArrowheads="1"/>
          </p:cNvSpPr>
          <p:nvPr/>
        </p:nvSpPr>
        <p:spPr bwMode="auto">
          <a:xfrm rot="17892948">
            <a:off x="4826025" y="2919866"/>
            <a:ext cx="142887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dirty="0">
                <a:ln>
                  <a:noFill/>
                </a:ln>
                <a:solidFill>
                  <a:schemeClr val="bg1"/>
                </a:solidFill>
                <a:effectLst/>
                <a:uLnTx/>
                <a:uFillTx/>
                <a:latin typeface="Arial" charset="0"/>
                <a:ea typeface="Arial" charset="0"/>
                <a:cs typeface="Arial" charset="0"/>
              </a:rPr>
              <a:t>OP TION 1 &amp; 3</a:t>
            </a:r>
          </a:p>
        </p:txBody>
      </p:sp>
      <p:sp>
        <p:nvSpPr>
          <p:cNvPr id="24" name="Freeform 6"/>
          <p:cNvSpPr>
            <a:spLocks noEditPoints="1"/>
          </p:cNvSpPr>
          <p:nvPr/>
        </p:nvSpPr>
        <p:spPr bwMode="auto">
          <a:xfrm>
            <a:off x="5751967" y="5210961"/>
            <a:ext cx="320675" cy="508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FED57A"/>
              </a:solidFill>
              <a:effectLst/>
              <a:uLnTx/>
              <a:uFillTx/>
            </a:endParaRPr>
          </a:p>
        </p:txBody>
      </p:sp>
      <p:cxnSp>
        <p:nvCxnSpPr>
          <p:cNvPr id="25" name="Straight Arrow Connector 21"/>
          <p:cNvCxnSpPr>
            <a:cxnSpLocks noChangeShapeType="1"/>
          </p:cNvCxnSpPr>
          <p:nvPr/>
        </p:nvCxnSpPr>
        <p:spPr bwMode="auto">
          <a:xfrm>
            <a:off x="3842204" y="5460198"/>
            <a:ext cx="2876550" cy="0"/>
          </a:xfrm>
          <a:prstGeom prst="straightConnector1">
            <a:avLst/>
          </a:prstGeom>
          <a:noFill/>
          <a:ln w="9525">
            <a:solidFill>
              <a:schemeClr val="tx2">
                <a:lumMod val="10000"/>
                <a:lumOff val="90000"/>
              </a:schemeClr>
            </a:solidFill>
            <a:round/>
            <a:headEnd type="arrow" w="lg" len="med"/>
            <a:tailEnd type="arrow" w="lg" len="med"/>
          </a:ln>
        </p:spPr>
      </p:cxnSp>
      <p:cxnSp>
        <p:nvCxnSpPr>
          <p:cNvPr id="26" name="Straight Arrow Connector 91"/>
          <p:cNvCxnSpPr>
            <a:cxnSpLocks noChangeShapeType="1"/>
          </p:cNvCxnSpPr>
          <p:nvPr/>
        </p:nvCxnSpPr>
        <p:spPr bwMode="auto">
          <a:xfrm>
            <a:off x="3900942" y="5793573"/>
            <a:ext cx="1857375" cy="0"/>
          </a:xfrm>
          <a:prstGeom prst="straightConnector1">
            <a:avLst/>
          </a:prstGeom>
          <a:noFill/>
          <a:ln w="12700">
            <a:solidFill>
              <a:schemeClr val="accent1">
                <a:lumMod val="40000"/>
                <a:lumOff val="60000"/>
              </a:schemeClr>
            </a:solidFill>
            <a:round/>
            <a:headEnd type="arrow" w="lg" len="lg"/>
            <a:tailEnd type="arrow" w="lg" len="lg"/>
          </a:ln>
        </p:spPr>
      </p:cxnSp>
      <p:sp>
        <p:nvSpPr>
          <p:cNvPr id="27" name="TextBox 37"/>
          <p:cNvSpPr txBox="1">
            <a:spLocks noChangeArrowheads="1"/>
          </p:cNvSpPr>
          <p:nvPr/>
        </p:nvSpPr>
        <p:spPr bwMode="auto">
          <a:xfrm>
            <a:off x="8147050"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cxnSp>
        <p:nvCxnSpPr>
          <p:cNvPr id="28" name="Straight Connector 32"/>
          <p:cNvCxnSpPr>
            <a:cxnSpLocks noChangeShapeType="1"/>
          </p:cNvCxnSpPr>
          <p:nvPr/>
        </p:nvCxnSpPr>
        <p:spPr bwMode="auto">
          <a:xfrm flipV="1">
            <a:off x="9533321" y="2337237"/>
            <a:ext cx="1366218" cy="1509093"/>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29" name="Oval 105"/>
          <p:cNvSpPr>
            <a:spLocks noChangeArrowheads="1"/>
          </p:cNvSpPr>
          <p:nvPr/>
        </p:nvSpPr>
        <p:spPr bwMode="auto">
          <a:xfrm>
            <a:off x="90471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30" name="Freeform 3"/>
          <p:cNvSpPr>
            <a:spLocks noChangeAspect="1" noEditPoints="1"/>
          </p:cNvSpPr>
          <p:nvPr/>
        </p:nvSpPr>
        <p:spPr bwMode="auto">
          <a:xfrm>
            <a:off x="91694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1" name="Oval 20"/>
          <p:cNvSpPr>
            <a:spLocks noChangeArrowheads="1"/>
          </p:cNvSpPr>
          <p:nvPr/>
        </p:nvSpPr>
        <p:spPr bwMode="auto">
          <a:xfrm>
            <a:off x="1007427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32" name="Freeform 3"/>
          <p:cNvSpPr>
            <a:spLocks noChangeAspect="1" noEditPoints="1"/>
          </p:cNvSpPr>
          <p:nvPr/>
        </p:nvSpPr>
        <p:spPr bwMode="auto">
          <a:xfrm>
            <a:off x="1019651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33" name="Straight Connector 31"/>
          <p:cNvCxnSpPr>
            <a:cxnSpLocks noChangeShapeType="1"/>
            <a:stCxn id="29" idx="6"/>
          </p:cNvCxnSpPr>
          <p:nvPr/>
        </p:nvCxnSpPr>
        <p:spPr bwMode="auto">
          <a:xfrm>
            <a:off x="9977438"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34" name="TextBox 38"/>
          <p:cNvSpPr txBox="1">
            <a:spLocks noChangeArrowheads="1"/>
          </p:cNvSpPr>
          <p:nvPr/>
        </p:nvSpPr>
        <p:spPr bwMode="auto">
          <a:xfrm>
            <a:off x="10299700"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35" name="TextBox 40"/>
          <p:cNvSpPr txBox="1">
            <a:spLocks noChangeArrowheads="1"/>
          </p:cNvSpPr>
          <p:nvPr/>
        </p:nvSpPr>
        <p:spPr bwMode="auto">
          <a:xfrm>
            <a:off x="9196388"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36" name="Oval 112"/>
          <p:cNvSpPr>
            <a:spLocks noChangeArrowheads="1"/>
          </p:cNvSpPr>
          <p:nvPr/>
        </p:nvSpPr>
        <p:spPr bwMode="auto">
          <a:xfrm>
            <a:off x="79549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37" name="Freeform 3"/>
          <p:cNvSpPr>
            <a:spLocks noChangeAspect="1" noEditPoints="1"/>
          </p:cNvSpPr>
          <p:nvPr/>
        </p:nvSpPr>
        <p:spPr bwMode="auto">
          <a:xfrm>
            <a:off x="80772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8" name="TextBox 115"/>
          <p:cNvSpPr txBox="1">
            <a:spLocks noChangeArrowheads="1"/>
          </p:cNvSpPr>
          <p:nvPr/>
        </p:nvSpPr>
        <p:spPr bwMode="auto">
          <a:xfrm rot="18825654">
            <a:off x="9705127" y="2966237"/>
            <a:ext cx="13890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7</a:t>
            </a:r>
          </a:p>
        </p:txBody>
      </p:sp>
      <p:cxnSp>
        <p:nvCxnSpPr>
          <p:cNvPr id="39" name="Straight Connector 116"/>
          <p:cNvCxnSpPr>
            <a:cxnSpLocks noChangeShapeType="1"/>
          </p:cNvCxnSpPr>
          <p:nvPr/>
        </p:nvCxnSpPr>
        <p:spPr bwMode="auto">
          <a:xfrm flipV="1">
            <a:off x="8420100" y="2337237"/>
            <a:ext cx="2479439"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cxnSp>
        <p:nvCxnSpPr>
          <p:cNvPr id="40" name="Straight Arrow Connector 119"/>
          <p:cNvCxnSpPr>
            <a:cxnSpLocks noChangeShapeType="1"/>
          </p:cNvCxnSpPr>
          <p:nvPr/>
        </p:nvCxnSpPr>
        <p:spPr bwMode="auto">
          <a:xfrm>
            <a:off x="8194902" y="6381395"/>
            <a:ext cx="1857375" cy="0"/>
          </a:xfrm>
          <a:prstGeom prst="straightConnector1">
            <a:avLst/>
          </a:prstGeom>
          <a:noFill/>
          <a:ln w="12700">
            <a:solidFill>
              <a:schemeClr val="accent1">
                <a:lumMod val="40000"/>
                <a:lumOff val="60000"/>
              </a:schemeClr>
            </a:solidFill>
            <a:round/>
            <a:headEnd type="arrow" w="lg" len="lg"/>
            <a:tailEnd type="arrow" w="lg" len="lg"/>
          </a:ln>
        </p:spPr>
      </p:cxnSp>
      <p:sp>
        <p:nvSpPr>
          <p:cNvPr id="41" name="Oval 20"/>
          <p:cNvSpPr>
            <a:spLocks noChangeArrowheads="1"/>
          </p:cNvSpPr>
          <p:nvPr/>
        </p:nvSpPr>
        <p:spPr bwMode="auto">
          <a:xfrm>
            <a:off x="1116012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42" name="Freeform 3"/>
          <p:cNvSpPr>
            <a:spLocks noChangeAspect="1" noEditPoints="1"/>
          </p:cNvSpPr>
          <p:nvPr/>
        </p:nvSpPr>
        <p:spPr bwMode="auto">
          <a:xfrm>
            <a:off x="1128236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43" name="TextBox 38"/>
          <p:cNvSpPr txBox="1">
            <a:spLocks noChangeArrowheads="1"/>
          </p:cNvSpPr>
          <p:nvPr/>
        </p:nvSpPr>
        <p:spPr bwMode="auto">
          <a:xfrm>
            <a:off x="11387138"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cxnSp>
        <p:nvCxnSpPr>
          <p:cNvPr id="44" name="Straight Connector 32"/>
          <p:cNvCxnSpPr>
            <a:cxnSpLocks noChangeShapeType="1"/>
          </p:cNvCxnSpPr>
          <p:nvPr/>
        </p:nvCxnSpPr>
        <p:spPr bwMode="auto">
          <a:xfrm flipH="1" flipV="1">
            <a:off x="10899539" y="2337237"/>
            <a:ext cx="725726"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45" name="TextBox 128"/>
          <p:cNvSpPr txBox="1">
            <a:spLocks noChangeArrowheads="1"/>
          </p:cNvSpPr>
          <p:nvPr/>
        </p:nvSpPr>
        <p:spPr bwMode="auto">
          <a:xfrm rot="19769358">
            <a:off x="9552084" y="2476194"/>
            <a:ext cx="13414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5</a:t>
            </a:r>
          </a:p>
        </p:txBody>
      </p:sp>
      <p:sp>
        <p:nvSpPr>
          <p:cNvPr id="46" name="TextBox 130"/>
          <p:cNvSpPr txBox="1">
            <a:spLocks noChangeArrowheads="1"/>
          </p:cNvSpPr>
          <p:nvPr/>
        </p:nvSpPr>
        <p:spPr bwMode="auto">
          <a:xfrm rot="3856068">
            <a:off x="10745222" y="2978142"/>
            <a:ext cx="13414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2</a:t>
            </a:r>
          </a:p>
        </p:txBody>
      </p:sp>
      <p:sp>
        <p:nvSpPr>
          <p:cNvPr id="47" name="Right Arrow 29"/>
          <p:cNvSpPr/>
          <p:nvPr/>
        </p:nvSpPr>
        <p:spPr bwMode="auto">
          <a:xfrm>
            <a:off x="2541816" y="2629686"/>
            <a:ext cx="738188"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a typeface="+mn-ea"/>
              <a:cs typeface="Arial" pitchFamily="34" charset="0"/>
            </a:endParaRPr>
          </a:p>
        </p:txBody>
      </p:sp>
      <p:sp>
        <p:nvSpPr>
          <p:cNvPr id="48" name="Right Arrow 132"/>
          <p:cNvSpPr/>
          <p:nvPr/>
        </p:nvSpPr>
        <p:spPr bwMode="auto">
          <a:xfrm>
            <a:off x="7066306" y="2635489"/>
            <a:ext cx="738187"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a typeface="+mn-ea"/>
              <a:cs typeface="Arial" pitchFamily="34" charset="0"/>
            </a:endParaRPr>
          </a:p>
        </p:txBody>
      </p:sp>
      <p:cxnSp>
        <p:nvCxnSpPr>
          <p:cNvPr id="49" name="Straight Arrow Connector 118"/>
          <p:cNvCxnSpPr>
            <a:cxnSpLocks noChangeShapeType="1"/>
          </p:cNvCxnSpPr>
          <p:nvPr/>
        </p:nvCxnSpPr>
        <p:spPr bwMode="auto">
          <a:xfrm>
            <a:off x="8147050" y="5460198"/>
            <a:ext cx="3822700" cy="0"/>
          </a:xfrm>
          <a:prstGeom prst="straightConnector1">
            <a:avLst/>
          </a:prstGeom>
          <a:noFill/>
          <a:ln w="12700" algn="ctr">
            <a:solidFill>
              <a:srgbClr val="FABB00"/>
            </a:solidFill>
            <a:round/>
            <a:headEnd type="arrow" w="lg" len="lg"/>
            <a:tailEnd type="arrow" w="lg" len="lg"/>
          </a:ln>
        </p:spPr>
      </p:cxnSp>
      <p:sp>
        <p:nvSpPr>
          <p:cNvPr id="50" name="Freeform 6"/>
          <p:cNvSpPr>
            <a:spLocks noEditPoints="1"/>
          </p:cNvSpPr>
          <p:nvPr/>
        </p:nvSpPr>
        <p:spPr bwMode="auto">
          <a:xfrm>
            <a:off x="10195587" y="5220073"/>
            <a:ext cx="304632" cy="51680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cxnSp>
        <p:nvCxnSpPr>
          <p:cNvPr id="51" name="Straight Connector 32"/>
          <p:cNvCxnSpPr>
            <a:cxnSpLocks noChangeShapeType="1"/>
          </p:cNvCxnSpPr>
          <p:nvPr/>
        </p:nvCxnSpPr>
        <p:spPr bwMode="auto">
          <a:xfrm flipV="1">
            <a:off x="8415456" y="2336381"/>
            <a:ext cx="836258" cy="1570256"/>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52" name="TextBox 17"/>
          <p:cNvSpPr txBox="1">
            <a:spLocks noChangeArrowheads="1"/>
          </p:cNvSpPr>
          <p:nvPr/>
        </p:nvSpPr>
        <p:spPr bwMode="auto">
          <a:xfrm rot="17107364">
            <a:off x="3602492" y="2940962"/>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
        <p:nvSpPr>
          <p:cNvPr id="53" name="TextBox 17"/>
          <p:cNvSpPr txBox="1">
            <a:spLocks noChangeArrowheads="1"/>
          </p:cNvSpPr>
          <p:nvPr/>
        </p:nvSpPr>
        <p:spPr bwMode="auto">
          <a:xfrm rot="16200000">
            <a:off x="800825" y="2967521"/>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
        <p:nvSpPr>
          <p:cNvPr id="54" name="TextBox 17"/>
          <p:cNvSpPr txBox="1">
            <a:spLocks noChangeArrowheads="1"/>
          </p:cNvSpPr>
          <p:nvPr/>
        </p:nvSpPr>
        <p:spPr bwMode="auto">
          <a:xfrm rot="17820301">
            <a:off x="8149497" y="2924058"/>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cxnSp>
        <p:nvCxnSpPr>
          <p:cNvPr id="55" name="Straight Connector 32"/>
          <p:cNvCxnSpPr>
            <a:cxnSpLocks noChangeShapeType="1"/>
          </p:cNvCxnSpPr>
          <p:nvPr/>
        </p:nvCxnSpPr>
        <p:spPr bwMode="auto">
          <a:xfrm flipH="1" flipV="1">
            <a:off x="9251714" y="2336381"/>
            <a:ext cx="260586" cy="1525396"/>
          </a:xfrm>
          <a:prstGeom prst="line">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sp>
        <p:nvSpPr>
          <p:cNvPr id="56" name="TextBox 17"/>
          <p:cNvSpPr txBox="1">
            <a:spLocks noChangeArrowheads="1"/>
          </p:cNvSpPr>
          <p:nvPr/>
        </p:nvSpPr>
        <p:spPr bwMode="auto">
          <a:xfrm rot="4717612">
            <a:off x="8775428" y="3022665"/>
            <a:ext cx="15276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dirty="0">
                <a:ln>
                  <a:noFill/>
                </a:ln>
                <a:solidFill>
                  <a:schemeClr val="bg1"/>
                </a:solidFill>
                <a:effectLst/>
                <a:uLnTx/>
                <a:uFillTx/>
                <a:latin typeface="Arial" charset="0"/>
                <a:ea typeface="Arial" charset="0"/>
                <a:cs typeface="Arial" charset="0"/>
              </a:rPr>
              <a:t>OPTION 1 &amp; 3</a:t>
            </a:r>
          </a:p>
        </p:txBody>
      </p:sp>
      <p:sp>
        <p:nvSpPr>
          <p:cNvPr id="57" name="Freeform 6"/>
          <p:cNvSpPr>
            <a:spLocks noEditPoints="1"/>
          </p:cNvSpPr>
          <p:nvPr/>
        </p:nvSpPr>
        <p:spPr bwMode="auto">
          <a:xfrm>
            <a:off x="9587354" y="5689250"/>
            <a:ext cx="320675" cy="508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rgbClr val="FED57A"/>
              </a:solidFill>
              <a:effectLst/>
              <a:uLnTx/>
              <a:uFillTx/>
            </a:endParaRPr>
          </a:p>
        </p:txBody>
      </p:sp>
      <p:cxnSp>
        <p:nvCxnSpPr>
          <p:cNvPr id="58" name="Straight Arrow Connector 21"/>
          <p:cNvCxnSpPr>
            <a:cxnSpLocks noChangeShapeType="1"/>
          </p:cNvCxnSpPr>
          <p:nvPr/>
        </p:nvCxnSpPr>
        <p:spPr bwMode="auto">
          <a:xfrm>
            <a:off x="8178335" y="5938487"/>
            <a:ext cx="2777769" cy="0"/>
          </a:xfrm>
          <a:prstGeom prst="straightConnector1">
            <a:avLst/>
          </a:prstGeom>
          <a:noFill/>
          <a:ln w="9525">
            <a:solidFill>
              <a:schemeClr val="tx2">
                <a:lumMod val="10000"/>
                <a:lumOff val="90000"/>
              </a:schemeClr>
            </a:solidFill>
            <a:round/>
            <a:headEnd type="arrow" w="lg" len="med"/>
            <a:tailEnd type="arrow" w="lg" len="med"/>
          </a:ln>
        </p:spPr>
      </p:cxnSp>
      <p:sp>
        <p:nvSpPr>
          <p:cNvPr id="59" name="Freeform 6"/>
          <p:cNvSpPr>
            <a:spLocks noEditPoints="1"/>
          </p:cNvSpPr>
          <p:nvPr/>
        </p:nvSpPr>
        <p:spPr bwMode="auto">
          <a:xfrm>
            <a:off x="1433024" y="5246798"/>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sp>
        <p:nvSpPr>
          <p:cNvPr id="60" name="Freeform 6"/>
          <p:cNvSpPr>
            <a:spLocks noEditPoints="1"/>
          </p:cNvSpPr>
          <p:nvPr/>
        </p:nvSpPr>
        <p:spPr bwMode="auto">
          <a:xfrm>
            <a:off x="8920395" y="6145796"/>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sp>
        <p:nvSpPr>
          <p:cNvPr id="61" name="Freeform 6"/>
          <p:cNvSpPr>
            <a:spLocks noEditPoints="1"/>
          </p:cNvSpPr>
          <p:nvPr/>
        </p:nvSpPr>
        <p:spPr bwMode="auto">
          <a:xfrm>
            <a:off x="4675735" y="5552429"/>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grpSp>
        <p:nvGrpSpPr>
          <p:cNvPr id="62" name="Group 61"/>
          <p:cNvGrpSpPr/>
          <p:nvPr/>
        </p:nvGrpSpPr>
        <p:grpSpPr>
          <a:xfrm>
            <a:off x="8274354" y="1607615"/>
            <a:ext cx="1701650" cy="735640"/>
            <a:chOff x="10052277" y="817409"/>
            <a:chExt cx="1701650" cy="735640"/>
          </a:xfrm>
        </p:grpSpPr>
        <p:sp>
          <p:nvSpPr>
            <p:cNvPr id="63"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64" name="Rectangle 36"/>
            <p:cNvSpPr>
              <a:spLocks noChangeArrowheads="1"/>
            </p:cNvSpPr>
            <p:nvPr/>
          </p:nvSpPr>
          <p:spPr bwMode="auto">
            <a:xfrm>
              <a:off x="10079257" y="953308"/>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5G EPC</a:t>
              </a:r>
            </a:p>
          </p:txBody>
        </p:sp>
      </p:grpSp>
      <p:grpSp>
        <p:nvGrpSpPr>
          <p:cNvPr id="65" name="Group 64"/>
          <p:cNvGrpSpPr/>
          <p:nvPr/>
        </p:nvGrpSpPr>
        <p:grpSpPr>
          <a:xfrm>
            <a:off x="10082130" y="1595842"/>
            <a:ext cx="1709154" cy="735640"/>
            <a:chOff x="7589565" y="-359326"/>
            <a:chExt cx="1709154" cy="735640"/>
          </a:xfrm>
        </p:grpSpPr>
        <p:sp>
          <p:nvSpPr>
            <p:cNvPr id="66" name="AutoShape 15" descr="bpct-blend1"/>
            <p:cNvSpPr>
              <a:spLocks noChangeArrowheads="1"/>
            </p:cNvSpPr>
            <p:nvPr/>
          </p:nvSpPr>
          <p:spPr bwMode="auto">
            <a:xfrm>
              <a:off x="7589565" y="-359326"/>
              <a:ext cx="1709153"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E9822C"/>
                </a:solidFill>
              </a:endParaRPr>
            </a:p>
          </p:txBody>
        </p:sp>
        <p:sp>
          <p:nvSpPr>
            <p:cNvPr id="67" name="Rectangle 36"/>
            <p:cNvSpPr>
              <a:spLocks noChangeArrowheads="1"/>
            </p:cNvSpPr>
            <p:nvPr/>
          </p:nvSpPr>
          <p:spPr bwMode="auto">
            <a:xfrm>
              <a:off x="7603299" y="-217977"/>
              <a:ext cx="16954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5GC</a:t>
              </a:r>
            </a:p>
          </p:txBody>
        </p:sp>
      </p:grpSp>
      <p:grpSp>
        <p:nvGrpSpPr>
          <p:cNvPr id="68" name="Group 67"/>
          <p:cNvGrpSpPr/>
          <p:nvPr/>
        </p:nvGrpSpPr>
        <p:grpSpPr>
          <a:xfrm>
            <a:off x="5256654" y="1607880"/>
            <a:ext cx="1701650" cy="735640"/>
            <a:chOff x="10052277" y="817409"/>
            <a:chExt cx="1701650" cy="735640"/>
          </a:xfrm>
        </p:grpSpPr>
        <p:sp>
          <p:nvSpPr>
            <p:cNvPr id="69"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70" name="Rectangle 36"/>
            <p:cNvSpPr>
              <a:spLocks noChangeArrowheads="1"/>
            </p:cNvSpPr>
            <p:nvPr/>
          </p:nvSpPr>
          <p:spPr bwMode="auto">
            <a:xfrm>
              <a:off x="10066738" y="929352"/>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5G EPC</a:t>
              </a:r>
            </a:p>
          </p:txBody>
        </p:sp>
      </p:grpSp>
      <p:grpSp>
        <p:nvGrpSpPr>
          <p:cNvPr id="71" name="Group 70"/>
          <p:cNvGrpSpPr/>
          <p:nvPr/>
        </p:nvGrpSpPr>
        <p:grpSpPr>
          <a:xfrm>
            <a:off x="3446306" y="1608905"/>
            <a:ext cx="1701650" cy="735640"/>
            <a:chOff x="10052277" y="817409"/>
            <a:chExt cx="1701650" cy="735640"/>
          </a:xfrm>
        </p:grpSpPr>
        <p:sp>
          <p:nvSpPr>
            <p:cNvPr id="72"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73" name="Rectangle 36"/>
            <p:cNvSpPr>
              <a:spLocks noChangeArrowheads="1"/>
            </p:cNvSpPr>
            <p:nvPr/>
          </p:nvSpPr>
          <p:spPr bwMode="auto">
            <a:xfrm>
              <a:off x="10095863" y="948775"/>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EPC</a:t>
              </a:r>
            </a:p>
          </p:txBody>
        </p:sp>
      </p:grpSp>
      <p:grpSp>
        <p:nvGrpSpPr>
          <p:cNvPr id="74" name="Group 73"/>
          <p:cNvGrpSpPr/>
          <p:nvPr/>
        </p:nvGrpSpPr>
        <p:grpSpPr>
          <a:xfrm>
            <a:off x="726784" y="1600203"/>
            <a:ext cx="1701650" cy="735640"/>
            <a:chOff x="10052277" y="817409"/>
            <a:chExt cx="1701650" cy="735640"/>
          </a:xfrm>
        </p:grpSpPr>
        <p:sp>
          <p:nvSpPr>
            <p:cNvPr id="75"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76" name="Rectangle 36"/>
            <p:cNvSpPr>
              <a:spLocks noChangeArrowheads="1"/>
            </p:cNvSpPr>
            <p:nvPr/>
          </p:nvSpPr>
          <p:spPr bwMode="auto">
            <a:xfrm>
              <a:off x="10095863" y="948775"/>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EPC</a:t>
              </a:r>
            </a:p>
          </p:txBody>
        </p:sp>
      </p:grpSp>
      <p:sp>
        <p:nvSpPr>
          <p:cNvPr id="77" name="AutoShape 15" descr="bpct-blend1"/>
          <p:cNvSpPr>
            <a:spLocks noChangeArrowheads="1"/>
          </p:cNvSpPr>
          <p:nvPr/>
        </p:nvSpPr>
        <p:spPr bwMode="auto">
          <a:xfrm>
            <a:off x="8194902" y="1541510"/>
            <a:ext cx="3658591" cy="859827"/>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
        <p:nvSpPr>
          <p:cNvPr id="78" name="AutoShape 15" descr="bpct-blend1"/>
          <p:cNvSpPr>
            <a:spLocks noChangeArrowheads="1"/>
          </p:cNvSpPr>
          <p:nvPr/>
        </p:nvSpPr>
        <p:spPr bwMode="auto">
          <a:xfrm>
            <a:off x="3370093" y="1537237"/>
            <a:ext cx="3658591" cy="859827"/>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Tree>
    <p:extLst>
      <p:ext uri="{BB962C8B-B14F-4D97-AF65-F5344CB8AC3E}">
        <p14:creationId xmlns:p14="http://schemas.microsoft.com/office/powerpoint/2010/main" val="256130518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3"/>
          <p:cNvSpPr>
            <a:spLocks noGrp="1"/>
          </p:cNvSpPr>
          <p:nvPr>
            <p:ph type="title"/>
          </p:nvPr>
        </p:nvSpPr>
        <p:spPr>
          <a:xfrm>
            <a:off x="525463" y="239713"/>
            <a:ext cx="10636250" cy="1085850"/>
          </a:xfrm>
          <a:noFill/>
        </p:spPr>
        <p:txBody>
          <a:bodyPr>
            <a:normAutofit fontScale="90000"/>
          </a:bodyPr>
          <a:lstStyle/>
          <a:p>
            <a:r>
              <a:rPr lang="en-US" altLang="en-US" sz="4900" dirty="0">
                <a:solidFill>
                  <a:schemeClr val="bg1"/>
                </a:solidFill>
                <a:latin typeface="Ericsson Capital TT" charset="0"/>
              </a:rPr>
              <a:t>POSSIBLE MIGRATION PATH – Opt 3</a:t>
            </a:r>
            <a:br>
              <a:rPr lang="en-US" altLang="en-US" dirty="0">
                <a:solidFill>
                  <a:schemeClr val="bg1"/>
                </a:solidFill>
                <a:latin typeface="Ericsson Capital TT" charset="0"/>
              </a:rPr>
            </a:br>
            <a:r>
              <a:rPr lang="en-US" altLang="en-US" sz="2700" dirty="0">
                <a:solidFill>
                  <a:schemeClr val="bg1"/>
                </a:solidFill>
                <a:latin typeface="+mn-lt"/>
              </a:rPr>
              <a:t>Migrating existing EPC to 5G EPC (Opt.3)</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Oval 10"/>
          <p:cNvSpPr>
            <a:spLocks noChangeArrowheads="1"/>
          </p:cNvSpPr>
          <p:nvPr/>
        </p:nvSpPr>
        <p:spPr bwMode="auto">
          <a:xfrm>
            <a:off x="1104408"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78" name="Freeform 3"/>
          <p:cNvSpPr>
            <a:spLocks noChangeAspect="1" noEditPoints="1"/>
          </p:cNvSpPr>
          <p:nvPr/>
        </p:nvSpPr>
        <p:spPr bwMode="auto">
          <a:xfrm>
            <a:off x="1226646"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151" name="Straight Connector 32"/>
          <p:cNvCxnSpPr>
            <a:cxnSpLocks noChangeShapeType="1"/>
          </p:cNvCxnSpPr>
          <p:nvPr/>
        </p:nvCxnSpPr>
        <p:spPr bwMode="auto">
          <a:xfrm flipV="1">
            <a:off x="1515571" y="2232504"/>
            <a:ext cx="0" cy="1652895"/>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52" name="TextBox 37"/>
          <p:cNvSpPr txBox="1">
            <a:spLocks noChangeArrowheads="1"/>
          </p:cNvSpPr>
          <p:nvPr/>
        </p:nvSpPr>
        <p:spPr bwMode="auto">
          <a:xfrm>
            <a:off x="1331421" y="4879173"/>
            <a:ext cx="5445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LTE</a:t>
            </a:r>
          </a:p>
        </p:txBody>
      </p:sp>
      <p:sp>
        <p:nvSpPr>
          <p:cNvPr id="153" name="TextBox 37"/>
          <p:cNvSpPr txBox="1">
            <a:spLocks noChangeArrowheads="1"/>
          </p:cNvSpPr>
          <p:nvPr/>
        </p:nvSpPr>
        <p:spPr bwMode="auto">
          <a:xfrm>
            <a:off x="3842204" y="4937911"/>
            <a:ext cx="5445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LTE</a:t>
            </a:r>
          </a:p>
        </p:txBody>
      </p:sp>
      <p:cxnSp>
        <p:nvCxnSpPr>
          <p:cNvPr id="154" name="Straight Connector 32"/>
          <p:cNvCxnSpPr>
            <a:cxnSpLocks noChangeShapeType="1"/>
          </p:cNvCxnSpPr>
          <p:nvPr/>
        </p:nvCxnSpPr>
        <p:spPr bwMode="auto">
          <a:xfrm flipV="1">
            <a:off x="5288417" y="2361398"/>
            <a:ext cx="811212" cy="1524000"/>
          </a:xfrm>
          <a:prstGeom prst="line">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sp>
        <p:nvSpPr>
          <p:cNvPr id="155" name="Oval 74"/>
          <p:cNvSpPr>
            <a:spLocks noChangeArrowheads="1"/>
          </p:cNvSpPr>
          <p:nvPr/>
        </p:nvSpPr>
        <p:spPr bwMode="auto">
          <a:xfrm>
            <a:off x="4761367"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56" name="Freeform 3"/>
          <p:cNvSpPr>
            <a:spLocks noChangeAspect="1" noEditPoints="1"/>
          </p:cNvSpPr>
          <p:nvPr/>
        </p:nvSpPr>
        <p:spPr bwMode="auto">
          <a:xfrm>
            <a:off x="4883604"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Oval 20"/>
          <p:cNvSpPr>
            <a:spLocks noChangeArrowheads="1"/>
          </p:cNvSpPr>
          <p:nvPr/>
        </p:nvSpPr>
        <p:spPr bwMode="auto">
          <a:xfrm>
            <a:off x="5788479"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chemeClr val="tx1"/>
              </a:solidFill>
              <a:effectLst/>
              <a:uLnTx/>
              <a:uFillTx/>
              <a:latin typeface="Arial" charset="0"/>
              <a:ea typeface="Arial" charset="0"/>
              <a:cs typeface="Arial" charset="0"/>
            </a:endParaRPr>
          </a:p>
        </p:txBody>
      </p:sp>
      <p:sp>
        <p:nvSpPr>
          <p:cNvPr id="158" name="Freeform 3"/>
          <p:cNvSpPr>
            <a:spLocks noChangeAspect="1" noEditPoints="1"/>
          </p:cNvSpPr>
          <p:nvPr/>
        </p:nvSpPr>
        <p:spPr bwMode="auto">
          <a:xfrm>
            <a:off x="5910717"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159" name="Straight Connector 31"/>
          <p:cNvCxnSpPr>
            <a:cxnSpLocks noChangeShapeType="1"/>
            <a:stCxn id="155" idx="6"/>
          </p:cNvCxnSpPr>
          <p:nvPr/>
        </p:nvCxnSpPr>
        <p:spPr bwMode="auto">
          <a:xfrm>
            <a:off x="5691642"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160" name="TextBox 38"/>
          <p:cNvSpPr txBox="1">
            <a:spLocks noChangeArrowheads="1"/>
          </p:cNvSpPr>
          <p:nvPr/>
        </p:nvSpPr>
        <p:spPr bwMode="auto">
          <a:xfrm>
            <a:off x="6015492"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NR</a:t>
            </a:r>
          </a:p>
        </p:txBody>
      </p:sp>
      <p:sp>
        <p:nvSpPr>
          <p:cNvPr id="161" name="TextBox 40"/>
          <p:cNvSpPr txBox="1">
            <a:spLocks noChangeArrowheads="1"/>
          </p:cNvSpPr>
          <p:nvPr/>
        </p:nvSpPr>
        <p:spPr bwMode="auto">
          <a:xfrm>
            <a:off x="4910592" y="4879173"/>
            <a:ext cx="5445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LTE</a:t>
            </a:r>
          </a:p>
        </p:txBody>
      </p:sp>
      <p:sp>
        <p:nvSpPr>
          <p:cNvPr id="162" name="Oval 81"/>
          <p:cNvSpPr>
            <a:spLocks noChangeArrowheads="1"/>
          </p:cNvSpPr>
          <p:nvPr/>
        </p:nvSpPr>
        <p:spPr bwMode="auto">
          <a:xfrm>
            <a:off x="3650117"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63" name="Freeform 3"/>
          <p:cNvSpPr>
            <a:spLocks noChangeAspect="1" noEditPoints="1"/>
          </p:cNvSpPr>
          <p:nvPr/>
        </p:nvSpPr>
        <p:spPr bwMode="auto">
          <a:xfrm>
            <a:off x="3772354"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TextBox 17"/>
          <p:cNvSpPr txBox="1">
            <a:spLocks noChangeArrowheads="1"/>
          </p:cNvSpPr>
          <p:nvPr/>
        </p:nvSpPr>
        <p:spPr bwMode="auto">
          <a:xfrm rot="17892948">
            <a:off x="4783469" y="3036834"/>
            <a:ext cx="14410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1&amp;  3</a:t>
            </a:r>
          </a:p>
        </p:txBody>
      </p:sp>
      <p:cxnSp>
        <p:nvCxnSpPr>
          <p:cNvPr id="165" name="Straight Connector 19"/>
          <p:cNvCxnSpPr>
            <a:cxnSpLocks noChangeShapeType="1"/>
          </p:cNvCxnSpPr>
          <p:nvPr/>
        </p:nvCxnSpPr>
        <p:spPr bwMode="auto">
          <a:xfrm flipV="1">
            <a:off x="4115254" y="2361398"/>
            <a:ext cx="1984375" cy="1524000"/>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66" name="Freeform 6"/>
          <p:cNvSpPr>
            <a:spLocks noEditPoints="1"/>
          </p:cNvSpPr>
          <p:nvPr/>
        </p:nvSpPr>
        <p:spPr bwMode="auto">
          <a:xfrm>
            <a:off x="5751967" y="5210961"/>
            <a:ext cx="320675" cy="508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ED57A"/>
              </a:solidFill>
              <a:effectLst/>
              <a:uLnTx/>
              <a:uFillTx/>
            </a:endParaRPr>
          </a:p>
        </p:txBody>
      </p:sp>
      <p:cxnSp>
        <p:nvCxnSpPr>
          <p:cNvPr id="167" name="Straight Arrow Connector 21"/>
          <p:cNvCxnSpPr>
            <a:cxnSpLocks noChangeShapeType="1"/>
          </p:cNvCxnSpPr>
          <p:nvPr/>
        </p:nvCxnSpPr>
        <p:spPr bwMode="auto">
          <a:xfrm>
            <a:off x="3842204" y="5460198"/>
            <a:ext cx="2876550" cy="0"/>
          </a:xfrm>
          <a:prstGeom prst="straightConnector1">
            <a:avLst/>
          </a:prstGeom>
          <a:noFill/>
          <a:ln w="9525">
            <a:solidFill>
              <a:schemeClr val="tx2">
                <a:lumMod val="10000"/>
                <a:lumOff val="90000"/>
              </a:schemeClr>
            </a:solidFill>
            <a:round/>
            <a:headEnd type="arrow" w="lg" len="med"/>
            <a:tailEnd type="arrow" w="lg" len="med"/>
          </a:ln>
        </p:spPr>
      </p:cxnSp>
      <p:cxnSp>
        <p:nvCxnSpPr>
          <p:cNvPr id="168" name="Straight Arrow Connector 91"/>
          <p:cNvCxnSpPr>
            <a:cxnSpLocks noChangeShapeType="1"/>
          </p:cNvCxnSpPr>
          <p:nvPr/>
        </p:nvCxnSpPr>
        <p:spPr bwMode="auto">
          <a:xfrm>
            <a:off x="3900942" y="5793573"/>
            <a:ext cx="1857375" cy="0"/>
          </a:xfrm>
          <a:prstGeom prst="straightConnector1">
            <a:avLst/>
          </a:prstGeom>
          <a:noFill/>
          <a:ln w="12700">
            <a:solidFill>
              <a:schemeClr val="accent1">
                <a:lumMod val="40000"/>
                <a:lumOff val="60000"/>
              </a:schemeClr>
            </a:solidFill>
            <a:round/>
            <a:headEnd type="arrow" w="lg" len="lg"/>
            <a:tailEnd type="arrow" w="lg" len="lg"/>
          </a:ln>
        </p:spPr>
      </p:cxnSp>
      <p:sp>
        <p:nvSpPr>
          <p:cNvPr id="169" name="TextBox 37"/>
          <p:cNvSpPr txBox="1">
            <a:spLocks noChangeArrowheads="1"/>
          </p:cNvSpPr>
          <p:nvPr/>
        </p:nvSpPr>
        <p:spPr bwMode="auto">
          <a:xfrm>
            <a:off x="8147050" y="4937911"/>
            <a:ext cx="5445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LTE</a:t>
            </a:r>
          </a:p>
        </p:txBody>
      </p:sp>
      <p:cxnSp>
        <p:nvCxnSpPr>
          <p:cNvPr id="170" name="Straight Connector 32"/>
          <p:cNvCxnSpPr>
            <a:cxnSpLocks noChangeShapeType="1"/>
          </p:cNvCxnSpPr>
          <p:nvPr/>
        </p:nvCxnSpPr>
        <p:spPr bwMode="auto">
          <a:xfrm flipV="1">
            <a:off x="9533321" y="2337237"/>
            <a:ext cx="1366218" cy="1509093"/>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171" name="Oval 105"/>
          <p:cNvSpPr>
            <a:spLocks noChangeArrowheads="1"/>
          </p:cNvSpPr>
          <p:nvPr/>
        </p:nvSpPr>
        <p:spPr bwMode="auto">
          <a:xfrm>
            <a:off x="90471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72" name="Freeform 3"/>
          <p:cNvSpPr>
            <a:spLocks noChangeAspect="1" noEditPoints="1"/>
          </p:cNvSpPr>
          <p:nvPr/>
        </p:nvSpPr>
        <p:spPr bwMode="auto">
          <a:xfrm>
            <a:off x="91694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Oval 20"/>
          <p:cNvSpPr>
            <a:spLocks noChangeArrowheads="1"/>
          </p:cNvSpPr>
          <p:nvPr/>
        </p:nvSpPr>
        <p:spPr bwMode="auto">
          <a:xfrm>
            <a:off x="1007427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chemeClr val="tx1"/>
              </a:solidFill>
              <a:effectLst/>
              <a:uLnTx/>
              <a:uFillTx/>
              <a:latin typeface="Arial" charset="0"/>
              <a:ea typeface="Arial" charset="0"/>
              <a:cs typeface="Arial" charset="0"/>
            </a:endParaRPr>
          </a:p>
        </p:txBody>
      </p:sp>
      <p:sp>
        <p:nvSpPr>
          <p:cNvPr id="174" name="Freeform 3"/>
          <p:cNvSpPr>
            <a:spLocks noChangeAspect="1" noEditPoints="1"/>
          </p:cNvSpPr>
          <p:nvPr/>
        </p:nvSpPr>
        <p:spPr bwMode="auto">
          <a:xfrm>
            <a:off x="1019651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175" name="Straight Connector 31"/>
          <p:cNvCxnSpPr>
            <a:cxnSpLocks noChangeShapeType="1"/>
            <a:stCxn id="171" idx="6"/>
          </p:cNvCxnSpPr>
          <p:nvPr/>
        </p:nvCxnSpPr>
        <p:spPr bwMode="auto">
          <a:xfrm>
            <a:off x="9977438"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176" name="TextBox 38"/>
          <p:cNvSpPr txBox="1">
            <a:spLocks noChangeArrowheads="1"/>
          </p:cNvSpPr>
          <p:nvPr/>
        </p:nvSpPr>
        <p:spPr bwMode="auto">
          <a:xfrm>
            <a:off x="10299700"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NR</a:t>
            </a:r>
          </a:p>
        </p:txBody>
      </p:sp>
      <p:sp>
        <p:nvSpPr>
          <p:cNvPr id="177" name="TextBox 40"/>
          <p:cNvSpPr txBox="1">
            <a:spLocks noChangeArrowheads="1"/>
          </p:cNvSpPr>
          <p:nvPr/>
        </p:nvSpPr>
        <p:spPr bwMode="auto">
          <a:xfrm>
            <a:off x="9196388" y="4879173"/>
            <a:ext cx="5445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LTE</a:t>
            </a:r>
          </a:p>
        </p:txBody>
      </p:sp>
      <p:sp>
        <p:nvSpPr>
          <p:cNvPr id="178" name="Oval 112"/>
          <p:cNvSpPr>
            <a:spLocks noChangeArrowheads="1"/>
          </p:cNvSpPr>
          <p:nvPr/>
        </p:nvSpPr>
        <p:spPr bwMode="auto">
          <a:xfrm>
            <a:off x="79549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79" name="Freeform 3"/>
          <p:cNvSpPr>
            <a:spLocks noChangeAspect="1" noEditPoints="1"/>
          </p:cNvSpPr>
          <p:nvPr/>
        </p:nvSpPr>
        <p:spPr bwMode="auto">
          <a:xfrm>
            <a:off x="80772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TextBox 115"/>
          <p:cNvSpPr txBox="1">
            <a:spLocks noChangeArrowheads="1"/>
          </p:cNvSpPr>
          <p:nvPr/>
        </p:nvSpPr>
        <p:spPr bwMode="auto">
          <a:xfrm rot="18825654">
            <a:off x="9705127" y="2966237"/>
            <a:ext cx="13890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7</a:t>
            </a:r>
          </a:p>
        </p:txBody>
      </p:sp>
      <p:cxnSp>
        <p:nvCxnSpPr>
          <p:cNvPr id="181" name="Straight Connector 116"/>
          <p:cNvCxnSpPr>
            <a:cxnSpLocks noChangeShapeType="1"/>
          </p:cNvCxnSpPr>
          <p:nvPr/>
        </p:nvCxnSpPr>
        <p:spPr bwMode="auto">
          <a:xfrm flipV="1">
            <a:off x="8420100" y="2337237"/>
            <a:ext cx="2479439"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cxnSp>
        <p:nvCxnSpPr>
          <p:cNvPr id="182" name="Straight Arrow Connector 119"/>
          <p:cNvCxnSpPr>
            <a:cxnSpLocks noChangeShapeType="1"/>
          </p:cNvCxnSpPr>
          <p:nvPr/>
        </p:nvCxnSpPr>
        <p:spPr bwMode="auto">
          <a:xfrm>
            <a:off x="8194902" y="6381395"/>
            <a:ext cx="1857375" cy="0"/>
          </a:xfrm>
          <a:prstGeom prst="straightConnector1">
            <a:avLst/>
          </a:prstGeom>
          <a:noFill/>
          <a:ln w="12700">
            <a:solidFill>
              <a:schemeClr val="accent1">
                <a:lumMod val="40000"/>
                <a:lumOff val="60000"/>
              </a:schemeClr>
            </a:solidFill>
            <a:round/>
            <a:headEnd type="arrow" w="lg" len="lg"/>
            <a:tailEnd type="arrow" w="lg" len="lg"/>
          </a:ln>
        </p:spPr>
      </p:cxnSp>
      <p:sp>
        <p:nvSpPr>
          <p:cNvPr id="183" name="Oval 20"/>
          <p:cNvSpPr>
            <a:spLocks noChangeArrowheads="1"/>
          </p:cNvSpPr>
          <p:nvPr/>
        </p:nvSpPr>
        <p:spPr bwMode="auto">
          <a:xfrm>
            <a:off x="1116012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noProof="0">
              <a:ln>
                <a:noFill/>
              </a:ln>
              <a:solidFill>
                <a:schemeClr val="tx1"/>
              </a:solidFill>
              <a:effectLst/>
              <a:uLnTx/>
              <a:uFillTx/>
              <a:latin typeface="Arial" charset="0"/>
              <a:ea typeface="Arial" charset="0"/>
              <a:cs typeface="Arial" charset="0"/>
            </a:endParaRPr>
          </a:p>
        </p:txBody>
      </p:sp>
      <p:sp>
        <p:nvSpPr>
          <p:cNvPr id="184" name="Freeform 3"/>
          <p:cNvSpPr>
            <a:spLocks noChangeAspect="1" noEditPoints="1"/>
          </p:cNvSpPr>
          <p:nvPr/>
        </p:nvSpPr>
        <p:spPr bwMode="auto">
          <a:xfrm>
            <a:off x="1128236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TextBox 38"/>
          <p:cNvSpPr txBox="1">
            <a:spLocks noChangeArrowheads="1"/>
          </p:cNvSpPr>
          <p:nvPr/>
        </p:nvSpPr>
        <p:spPr bwMode="auto">
          <a:xfrm>
            <a:off x="11387138"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sv-SE" altLang="en-US" sz="1600" b="0" i="0" u="none" strike="noStrike" kern="0" cap="none" spc="0" normalizeH="0" baseline="0" noProof="0">
                <a:ln>
                  <a:noFill/>
                </a:ln>
                <a:solidFill>
                  <a:schemeClr val="bg1"/>
                </a:solidFill>
                <a:effectLst/>
                <a:uLnTx/>
                <a:uFillTx/>
                <a:latin typeface="Arial" charset="0"/>
              </a:rPr>
              <a:t>NR</a:t>
            </a:r>
          </a:p>
        </p:txBody>
      </p:sp>
      <p:cxnSp>
        <p:nvCxnSpPr>
          <p:cNvPr id="186" name="Straight Connector 32"/>
          <p:cNvCxnSpPr>
            <a:cxnSpLocks noChangeShapeType="1"/>
          </p:cNvCxnSpPr>
          <p:nvPr/>
        </p:nvCxnSpPr>
        <p:spPr bwMode="auto">
          <a:xfrm flipH="1" flipV="1">
            <a:off x="10899539" y="2337237"/>
            <a:ext cx="725726"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187" name="TextBox 128"/>
          <p:cNvSpPr txBox="1">
            <a:spLocks noChangeArrowheads="1"/>
          </p:cNvSpPr>
          <p:nvPr/>
        </p:nvSpPr>
        <p:spPr bwMode="auto">
          <a:xfrm rot="19769358">
            <a:off x="9552084" y="2476194"/>
            <a:ext cx="13414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5</a:t>
            </a:r>
          </a:p>
        </p:txBody>
      </p:sp>
      <p:sp>
        <p:nvSpPr>
          <p:cNvPr id="188" name="TextBox 130"/>
          <p:cNvSpPr txBox="1">
            <a:spLocks noChangeArrowheads="1"/>
          </p:cNvSpPr>
          <p:nvPr/>
        </p:nvSpPr>
        <p:spPr bwMode="auto">
          <a:xfrm rot="3856068">
            <a:off x="10745222" y="2978142"/>
            <a:ext cx="13414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2</a:t>
            </a:r>
          </a:p>
        </p:txBody>
      </p:sp>
      <p:sp>
        <p:nvSpPr>
          <p:cNvPr id="189" name="Right Arrow 29"/>
          <p:cNvSpPr/>
          <p:nvPr/>
        </p:nvSpPr>
        <p:spPr bwMode="auto">
          <a:xfrm>
            <a:off x="2541816" y="2629686"/>
            <a:ext cx="738188"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a typeface="+mn-ea"/>
              <a:cs typeface="Arial" pitchFamily="34" charset="0"/>
            </a:endParaRPr>
          </a:p>
        </p:txBody>
      </p:sp>
      <p:sp>
        <p:nvSpPr>
          <p:cNvPr id="190" name="Right Arrow 132"/>
          <p:cNvSpPr/>
          <p:nvPr/>
        </p:nvSpPr>
        <p:spPr bwMode="auto">
          <a:xfrm>
            <a:off x="7066306" y="2635489"/>
            <a:ext cx="738187"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a typeface="+mn-ea"/>
              <a:cs typeface="Arial" pitchFamily="34" charset="0"/>
            </a:endParaRPr>
          </a:p>
        </p:txBody>
      </p:sp>
      <p:cxnSp>
        <p:nvCxnSpPr>
          <p:cNvPr id="191" name="Straight Arrow Connector 118"/>
          <p:cNvCxnSpPr>
            <a:cxnSpLocks noChangeShapeType="1"/>
          </p:cNvCxnSpPr>
          <p:nvPr/>
        </p:nvCxnSpPr>
        <p:spPr bwMode="auto">
          <a:xfrm>
            <a:off x="8147050" y="5460198"/>
            <a:ext cx="3822700" cy="0"/>
          </a:xfrm>
          <a:prstGeom prst="straightConnector1">
            <a:avLst/>
          </a:prstGeom>
          <a:noFill/>
          <a:ln w="12700" algn="ctr">
            <a:solidFill>
              <a:srgbClr val="FABB00"/>
            </a:solidFill>
            <a:round/>
            <a:headEnd type="arrow" w="lg" len="lg"/>
            <a:tailEnd type="arrow" w="lg" len="lg"/>
          </a:ln>
        </p:spPr>
      </p:cxnSp>
      <p:sp>
        <p:nvSpPr>
          <p:cNvPr id="192" name="Freeform 6"/>
          <p:cNvSpPr>
            <a:spLocks noEditPoints="1"/>
          </p:cNvSpPr>
          <p:nvPr/>
        </p:nvSpPr>
        <p:spPr bwMode="auto">
          <a:xfrm>
            <a:off x="10195587" y="5220073"/>
            <a:ext cx="304632" cy="51680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cxnSp>
        <p:nvCxnSpPr>
          <p:cNvPr id="193" name="Straight Connector 32"/>
          <p:cNvCxnSpPr>
            <a:cxnSpLocks noChangeShapeType="1"/>
          </p:cNvCxnSpPr>
          <p:nvPr/>
        </p:nvCxnSpPr>
        <p:spPr bwMode="auto">
          <a:xfrm flipV="1">
            <a:off x="8415456" y="2336381"/>
            <a:ext cx="836258" cy="1570256"/>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94" name="TextBox 17"/>
          <p:cNvSpPr txBox="1">
            <a:spLocks noChangeArrowheads="1"/>
          </p:cNvSpPr>
          <p:nvPr/>
        </p:nvSpPr>
        <p:spPr bwMode="auto">
          <a:xfrm rot="19470579">
            <a:off x="4302321" y="3017366"/>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1</a:t>
            </a:r>
          </a:p>
        </p:txBody>
      </p:sp>
      <p:sp>
        <p:nvSpPr>
          <p:cNvPr id="195" name="TextBox 17"/>
          <p:cNvSpPr txBox="1">
            <a:spLocks noChangeArrowheads="1"/>
          </p:cNvSpPr>
          <p:nvPr/>
        </p:nvSpPr>
        <p:spPr bwMode="auto">
          <a:xfrm rot="16200000">
            <a:off x="800825" y="2967521"/>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1</a:t>
            </a:r>
          </a:p>
        </p:txBody>
      </p:sp>
      <p:sp>
        <p:nvSpPr>
          <p:cNvPr id="196" name="TextBox 17"/>
          <p:cNvSpPr txBox="1">
            <a:spLocks noChangeArrowheads="1"/>
          </p:cNvSpPr>
          <p:nvPr/>
        </p:nvSpPr>
        <p:spPr bwMode="auto">
          <a:xfrm rot="17820301">
            <a:off x="8149497" y="2924058"/>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1</a:t>
            </a:r>
          </a:p>
        </p:txBody>
      </p:sp>
      <p:cxnSp>
        <p:nvCxnSpPr>
          <p:cNvPr id="197" name="Straight Connector 32"/>
          <p:cNvCxnSpPr>
            <a:cxnSpLocks noChangeShapeType="1"/>
          </p:cNvCxnSpPr>
          <p:nvPr/>
        </p:nvCxnSpPr>
        <p:spPr bwMode="auto">
          <a:xfrm flipH="1" flipV="1">
            <a:off x="9251714" y="2336381"/>
            <a:ext cx="260586" cy="1525396"/>
          </a:xfrm>
          <a:prstGeom prst="line">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sp>
        <p:nvSpPr>
          <p:cNvPr id="198" name="TextBox 17"/>
          <p:cNvSpPr txBox="1">
            <a:spLocks noChangeArrowheads="1"/>
          </p:cNvSpPr>
          <p:nvPr/>
        </p:nvSpPr>
        <p:spPr bwMode="auto">
          <a:xfrm rot="4717612">
            <a:off x="8799174" y="3011971"/>
            <a:ext cx="15058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altLang="en-US" sz="1400" b="0" i="0" u="none" strike="noStrike" kern="0" cap="none" spc="0" normalizeH="0" baseline="0" noProof="0" dirty="0">
                <a:ln>
                  <a:noFill/>
                </a:ln>
                <a:solidFill>
                  <a:schemeClr val="bg1"/>
                </a:solidFill>
                <a:effectLst/>
                <a:uLnTx/>
                <a:uFillTx/>
                <a:latin typeface="Arial" charset="0"/>
                <a:ea typeface="Arial" charset="0"/>
                <a:cs typeface="Arial" charset="0"/>
              </a:rPr>
              <a:t>OPTION 1 &amp; 3</a:t>
            </a:r>
          </a:p>
        </p:txBody>
      </p:sp>
      <p:sp>
        <p:nvSpPr>
          <p:cNvPr id="199" name="Freeform 6"/>
          <p:cNvSpPr>
            <a:spLocks noEditPoints="1"/>
          </p:cNvSpPr>
          <p:nvPr/>
        </p:nvSpPr>
        <p:spPr bwMode="auto">
          <a:xfrm>
            <a:off x="9587354" y="5689250"/>
            <a:ext cx="320675" cy="508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ED57A"/>
              </a:solidFill>
              <a:effectLst/>
              <a:uLnTx/>
              <a:uFillTx/>
            </a:endParaRPr>
          </a:p>
        </p:txBody>
      </p:sp>
      <p:cxnSp>
        <p:nvCxnSpPr>
          <p:cNvPr id="200" name="Straight Arrow Connector 21"/>
          <p:cNvCxnSpPr>
            <a:cxnSpLocks noChangeShapeType="1"/>
          </p:cNvCxnSpPr>
          <p:nvPr/>
        </p:nvCxnSpPr>
        <p:spPr bwMode="auto">
          <a:xfrm>
            <a:off x="8178335" y="5938487"/>
            <a:ext cx="2777769" cy="0"/>
          </a:xfrm>
          <a:prstGeom prst="straightConnector1">
            <a:avLst/>
          </a:prstGeom>
          <a:noFill/>
          <a:ln w="9525">
            <a:solidFill>
              <a:schemeClr val="tx2">
                <a:lumMod val="10000"/>
                <a:lumOff val="90000"/>
              </a:schemeClr>
            </a:solidFill>
            <a:round/>
            <a:headEnd type="arrow" w="lg" len="med"/>
            <a:tailEnd type="arrow" w="lg" len="med"/>
          </a:ln>
        </p:spPr>
      </p:cxnSp>
      <p:sp>
        <p:nvSpPr>
          <p:cNvPr id="201" name="Freeform 6"/>
          <p:cNvSpPr>
            <a:spLocks noEditPoints="1"/>
          </p:cNvSpPr>
          <p:nvPr/>
        </p:nvSpPr>
        <p:spPr bwMode="auto">
          <a:xfrm>
            <a:off x="1433024" y="5246798"/>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sv-SE" sz="2000">
              <a:solidFill>
                <a:srgbClr val="FED57A"/>
              </a:solidFill>
              <a:latin typeface="Arial" charset="0"/>
            </a:endParaRPr>
          </a:p>
        </p:txBody>
      </p:sp>
      <p:sp>
        <p:nvSpPr>
          <p:cNvPr id="202" name="Freeform 6"/>
          <p:cNvSpPr>
            <a:spLocks noEditPoints="1"/>
          </p:cNvSpPr>
          <p:nvPr/>
        </p:nvSpPr>
        <p:spPr bwMode="auto">
          <a:xfrm>
            <a:off x="8920395" y="6145796"/>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sv-SE" sz="2000">
              <a:solidFill>
                <a:srgbClr val="FED57A"/>
              </a:solidFill>
              <a:latin typeface="Arial" charset="0"/>
            </a:endParaRPr>
          </a:p>
        </p:txBody>
      </p:sp>
      <p:sp>
        <p:nvSpPr>
          <p:cNvPr id="203" name="Freeform 6"/>
          <p:cNvSpPr>
            <a:spLocks noEditPoints="1"/>
          </p:cNvSpPr>
          <p:nvPr/>
        </p:nvSpPr>
        <p:spPr bwMode="auto">
          <a:xfrm>
            <a:off x="4675735" y="5552429"/>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sv-SE" sz="2000">
              <a:solidFill>
                <a:srgbClr val="FED57A"/>
              </a:solidFill>
              <a:latin typeface="Arial" charset="0"/>
            </a:endParaRPr>
          </a:p>
        </p:txBody>
      </p:sp>
      <p:sp>
        <p:nvSpPr>
          <p:cNvPr id="204" name="AutoShape 15" descr="bpct-blend1"/>
          <p:cNvSpPr>
            <a:spLocks noChangeArrowheads="1"/>
          </p:cNvSpPr>
          <p:nvPr/>
        </p:nvSpPr>
        <p:spPr bwMode="auto">
          <a:xfrm>
            <a:off x="8274354" y="1607615"/>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sv-SE" altLang="en-US" sz="1500">
              <a:solidFill>
                <a:srgbClr val="00A9D4"/>
              </a:solidFill>
            </a:endParaRPr>
          </a:p>
        </p:txBody>
      </p:sp>
      <p:grpSp>
        <p:nvGrpSpPr>
          <p:cNvPr id="205" name="Group 204"/>
          <p:cNvGrpSpPr/>
          <p:nvPr/>
        </p:nvGrpSpPr>
        <p:grpSpPr>
          <a:xfrm>
            <a:off x="10082130" y="1595842"/>
            <a:ext cx="1709154" cy="735640"/>
            <a:chOff x="7589565" y="-359326"/>
            <a:chExt cx="1709154" cy="735640"/>
          </a:xfrm>
        </p:grpSpPr>
        <p:sp>
          <p:nvSpPr>
            <p:cNvPr id="206" name="AutoShape 15" descr="bpct-blend1"/>
            <p:cNvSpPr>
              <a:spLocks noChangeArrowheads="1"/>
            </p:cNvSpPr>
            <p:nvPr/>
          </p:nvSpPr>
          <p:spPr bwMode="auto">
            <a:xfrm>
              <a:off x="7589565" y="-359326"/>
              <a:ext cx="1709153"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sv-SE" altLang="en-US" sz="1500">
                <a:solidFill>
                  <a:srgbClr val="E9822C"/>
                </a:solidFill>
              </a:endParaRPr>
            </a:p>
          </p:txBody>
        </p:sp>
        <p:sp>
          <p:nvSpPr>
            <p:cNvPr id="207" name="Rectangle 36"/>
            <p:cNvSpPr>
              <a:spLocks noChangeArrowheads="1"/>
            </p:cNvSpPr>
            <p:nvPr/>
          </p:nvSpPr>
          <p:spPr bwMode="auto">
            <a:xfrm>
              <a:off x="7603299" y="-217977"/>
              <a:ext cx="16954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dirty="0">
                  <a:solidFill>
                    <a:srgbClr val="FFFFFF"/>
                  </a:solidFill>
                </a:rPr>
                <a:t>5GC</a:t>
              </a:r>
            </a:p>
          </p:txBody>
        </p:sp>
      </p:grpSp>
      <p:sp>
        <p:nvSpPr>
          <p:cNvPr id="208" name="AutoShape 15" descr="bpct-blend1"/>
          <p:cNvSpPr>
            <a:spLocks noChangeArrowheads="1"/>
          </p:cNvSpPr>
          <p:nvPr/>
        </p:nvSpPr>
        <p:spPr bwMode="auto">
          <a:xfrm>
            <a:off x="5256654" y="1607880"/>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sv-SE" altLang="en-US" sz="1500">
              <a:solidFill>
                <a:srgbClr val="00A9D4"/>
              </a:solidFill>
            </a:endParaRPr>
          </a:p>
        </p:txBody>
      </p:sp>
      <p:grpSp>
        <p:nvGrpSpPr>
          <p:cNvPr id="209" name="Group 208"/>
          <p:cNvGrpSpPr/>
          <p:nvPr/>
        </p:nvGrpSpPr>
        <p:grpSpPr>
          <a:xfrm>
            <a:off x="726784" y="1600203"/>
            <a:ext cx="1701650" cy="735640"/>
            <a:chOff x="10052277" y="817409"/>
            <a:chExt cx="1701650" cy="735640"/>
          </a:xfrm>
        </p:grpSpPr>
        <p:sp>
          <p:nvSpPr>
            <p:cNvPr id="210"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sv-SE" altLang="en-US" sz="1500">
                <a:solidFill>
                  <a:srgbClr val="00A9D4"/>
                </a:solidFill>
              </a:endParaRPr>
            </a:p>
          </p:txBody>
        </p:sp>
        <p:sp>
          <p:nvSpPr>
            <p:cNvPr id="211" name="Rectangle 36"/>
            <p:cNvSpPr>
              <a:spLocks noChangeArrowheads="1"/>
            </p:cNvSpPr>
            <p:nvPr/>
          </p:nvSpPr>
          <p:spPr bwMode="auto">
            <a:xfrm>
              <a:off x="10095863" y="948775"/>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dirty="0">
                  <a:solidFill>
                    <a:srgbClr val="FFFFFF"/>
                  </a:solidFill>
                </a:rPr>
                <a:t>EPC</a:t>
              </a:r>
            </a:p>
          </p:txBody>
        </p:sp>
      </p:grpSp>
      <p:sp>
        <p:nvSpPr>
          <p:cNvPr id="212" name="AutoShape 15" descr="bpct-blend1"/>
          <p:cNvSpPr>
            <a:spLocks noChangeArrowheads="1"/>
          </p:cNvSpPr>
          <p:nvPr/>
        </p:nvSpPr>
        <p:spPr bwMode="auto">
          <a:xfrm>
            <a:off x="8194902" y="1541510"/>
            <a:ext cx="3658591" cy="859827"/>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
        <p:nvSpPr>
          <p:cNvPr id="213" name="Rectangle 36"/>
          <p:cNvSpPr>
            <a:spLocks noChangeArrowheads="1"/>
          </p:cNvSpPr>
          <p:nvPr/>
        </p:nvSpPr>
        <p:spPr bwMode="auto">
          <a:xfrm>
            <a:off x="5271115" y="1719823"/>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dirty="0">
                <a:solidFill>
                  <a:srgbClr val="FFFFFF"/>
                </a:solidFill>
              </a:rPr>
              <a:t>5G EPC</a:t>
            </a:r>
          </a:p>
        </p:txBody>
      </p:sp>
      <p:sp>
        <p:nvSpPr>
          <p:cNvPr id="214" name="Rectangle 36"/>
          <p:cNvSpPr>
            <a:spLocks noChangeArrowheads="1"/>
          </p:cNvSpPr>
          <p:nvPr/>
        </p:nvSpPr>
        <p:spPr bwMode="auto">
          <a:xfrm>
            <a:off x="8289822" y="1737191"/>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dirty="0">
                <a:solidFill>
                  <a:srgbClr val="FFFFFF"/>
                </a:solidFill>
              </a:rPr>
              <a:t>5G EPC</a:t>
            </a:r>
          </a:p>
        </p:txBody>
      </p:sp>
    </p:spTree>
    <p:extLst>
      <p:ext uri="{BB962C8B-B14F-4D97-AF65-F5344CB8AC3E}">
        <p14:creationId xmlns:p14="http://schemas.microsoft.com/office/powerpoint/2010/main" val="263669862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3"/>
          <p:cNvSpPr txBox="1">
            <a:spLocks/>
          </p:cNvSpPr>
          <p:nvPr/>
        </p:nvSpPr>
        <p:spPr bwMode="auto">
          <a:xfrm>
            <a:off x="525463" y="239713"/>
            <a:ext cx="10636250"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fontScale="90000"/>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sz="4900" kern="0" dirty="0">
                <a:solidFill>
                  <a:schemeClr val="bg1"/>
                </a:solidFill>
                <a:latin typeface="Ericsson Capital TT" charset="0"/>
              </a:rPr>
              <a:t>POSSIBLE MIGRATION PATH – 5G CN</a:t>
            </a:r>
            <a:br>
              <a:rPr lang="en-US" altLang="en-US" kern="0" dirty="0">
                <a:solidFill>
                  <a:schemeClr val="bg1"/>
                </a:solidFill>
                <a:latin typeface="Ericsson Capital TT" charset="0"/>
              </a:rPr>
            </a:br>
            <a:r>
              <a:rPr lang="en-US" altLang="en-US" sz="2700" kern="0" dirty="0">
                <a:solidFill>
                  <a:schemeClr val="bg1"/>
                </a:solidFill>
                <a:latin typeface="+mn-lt"/>
              </a:rPr>
              <a:t>Introduce 5G CN and Option 2 in parallel to existing EPC</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0"/>
          <p:cNvSpPr>
            <a:spLocks noChangeArrowheads="1"/>
          </p:cNvSpPr>
          <p:nvPr/>
        </p:nvSpPr>
        <p:spPr bwMode="auto">
          <a:xfrm>
            <a:off x="1104408"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8" name="Freeform 3"/>
          <p:cNvSpPr>
            <a:spLocks noChangeAspect="1" noEditPoints="1"/>
          </p:cNvSpPr>
          <p:nvPr/>
        </p:nvSpPr>
        <p:spPr bwMode="auto">
          <a:xfrm>
            <a:off x="1226646"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9" name="Straight Connector 32"/>
          <p:cNvCxnSpPr>
            <a:cxnSpLocks noChangeShapeType="1"/>
          </p:cNvCxnSpPr>
          <p:nvPr/>
        </p:nvCxnSpPr>
        <p:spPr bwMode="auto">
          <a:xfrm flipV="1">
            <a:off x="1515571" y="2232504"/>
            <a:ext cx="0" cy="1652895"/>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10" name="TextBox 37"/>
          <p:cNvSpPr txBox="1">
            <a:spLocks noChangeArrowheads="1"/>
          </p:cNvSpPr>
          <p:nvPr/>
        </p:nvSpPr>
        <p:spPr bwMode="auto">
          <a:xfrm>
            <a:off x="1331421"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11" name="TextBox 37"/>
          <p:cNvSpPr txBox="1">
            <a:spLocks noChangeArrowheads="1"/>
          </p:cNvSpPr>
          <p:nvPr/>
        </p:nvSpPr>
        <p:spPr bwMode="auto">
          <a:xfrm>
            <a:off x="4009631"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12" name="Oval 20"/>
          <p:cNvSpPr>
            <a:spLocks noChangeArrowheads="1"/>
          </p:cNvSpPr>
          <p:nvPr/>
        </p:nvSpPr>
        <p:spPr bwMode="auto">
          <a:xfrm>
            <a:off x="5672568"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13" name="Freeform 3"/>
          <p:cNvSpPr>
            <a:spLocks noChangeAspect="1" noEditPoints="1"/>
          </p:cNvSpPr>
          <p:nvPr/>
        </p:nvSpPr>
        <p:spPr bwMode="auto">
          <a:xfrm>
            <a:off x="5794806"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4" name="TextBox 38"/>
          <p:cNvSpPr txBox="1">
            <a:spLocks noChangeArrowheads="1"/>
          </p:cNvSpPr>
          <p:nvPr/>
        </p:nvSpPr>
        <p:spPr bwMode="auto">
          <a:xfrm>
            <a:off x="5899581"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15" name="Oval 81"/>
          <p:cNvSpPr>
            <a:spLocks noChangeArrowheads="1"/>
          </p:cNvSpPr>
          <p:nvPr/>
        </p:nvSpPr>
        <p:spPr bwMode="auto">
          <a:xfrm>
            <a:off x="3817544"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16" name="Freeform 3"/>
          <p:cNvSpPr>
            <a:spLocks noChangeAspect="1" noEditPoints="1"/>
          </p:cNvSpPr>
          <p:nvPr/>
        </p:nvSpPr>
        <p:spPr bwMode="auto">
          <a:xfrm>
            <a:off x="3939781"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17" name="Straight Arrow Connector 91"/>
          <p:cNvCxnSpPr>
            <a:cxnSpLocks noChangeShapeType="1"/>
          </p:cNvCxnSpPr>
          <p:nvPr/>
        </p:nvCxnSpPr>
        <p:spPr bwMode="auto">
          <a:xfrm>
            <a:off x="3772152" y="5793573"/>
            <a:ext cx="1082581" cy="3894"/>
          </a:xfrm>
          <a:prstGeom prst="straightConnector1">
            <a:avLst/>
          </a:prstGeom>
          <a:noFill/>
          <a:ln w="12700">
            <a:solidFill>
              <a:schemeClr val="accent1">
                <a:lumMod val="40000"/>
                <a:lumOff val="60000"/>
              </a:schemeClr>
            </a:solidFill>
            <a:round/>
            <a:headEnd type="arrow" w="lg" len="lg"/>
            <a:tailEnd type="arrow" w="lg" len="lg"/>
          </a:ln>
        </p:spPr>
      </p:cxnSp>
      <p:sp>
        <p:nvSpPr>
          <p:cNvPr id="18" name="TextBox 37"/>
          <p:cNvSpPr txBox="1">
            <a:spLocks noChangeArrowheads="1"/>
          </p:cNvSpPr>
          <p:nvPr/>
        </p:nvSpPr>
        <p:spPr bwMode="auto">
          <a:xfrm>
            <a:off x="8147050" y="4937911"/>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cxnSp>
        <p:nvCxnSpPr>
          <p:cNvPr id="19" name="Straight Connector 32"/>
          <p:cNvCxnSpPr>
            <a:cxnSpLocks noChangeShapeType="1"/>
          </p:cNvCxnSpPr>
          <p:nvPr/>
        </p:nvCxnSpPr>
        <p:spPr bwMode="auto">
          <a:xfrm flipV="1">
            <a:off x="9533321" y="2337237"/>
            <a:ext cx="1366218" cy="1509093"/>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20" name="Oval 105"/>
          <p:cNvSpPr>
            <a:spLocks noChangeArrowheads="1"/>
          </p:cNvSpPr>
          <p:nvPr/>
        </p:nvSpPr>
        <p:spPr bwMode="auto">
          <a:xfrm>
            <a:off x="90471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21" name="Freeform 3"/>
          <p:cNvSpPr>
            <a:spLocks noChangeAspect="1" noEditPoints="1"/>
          </p:cNvSpPr>
          <p:nvPr/>
        </p:nvSpPr>
        <p:spPr bwMode="auto">
          <a:xfrm>
            <a:off x="91694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22" name="Oval 20"/>
          <p:cNvSpPr>
            <a:spLocks noChangeArrowheads="1"/>
          </p:cNvSpPr>
          <p:nvPr/>
        </p:nvSpPr>
        <p:spPr bwMode="auto">
          <a:xfrm>
            <a:off x="1007427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23" name="Freeform 3"/>
          <p:cNvSpPr>
            <a:spLocks noChangeAspect="1" noEditPoints="1"/>
          </p:cNvSpPr>
          <p:nvPr/>
        </p:nvSpPr>
        <p:spPr bwMode="auto">
          <a:xfrm>
            <a:off x="1019651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24" name="Straight Connector 31"/>
          <p:cNvCxnSpPr>
            <a:cxnSpLocks noChangeShapeType="1"/>
            <a:stCxn id="20" idx="6"/>
          </p:cNvCxnSpPr>
          <p:nvPr/>
        </p:nvCxnSpPr>
        <p:spPr bwMode="auto">
          <a:xfrm>
            <a:off x="9977438" y="4695023"/>
            <a:ext cx="10160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25" name="TextBox 38"/>
          <p:cNvSpPr txBox="1">
            <a:spLocks noChangeArrowheads="1"/>
          </p:cNvSpPr>
          <p:nvPr/>
        </p:nvSpPr>
        <p:spPr bwMode="auto">
          <a:xfrm>
            <a:off x="10299700"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sp>
        <p:nvSpPr>
          <p:cNvPr id="26" name="TextBox 40"/>
          <p:cNvSpPr txBox="1">
            <a:spLocks noChangeArrowheads="1"/>
          </p:cNvSpPr>
          <p:nvPr/>
        </p:nvSpPr>
        <p:spPr bwMode="auto">
          <a:xfrm>
            <a:off x="9196388" y="4879173"/>
            <a:ext cx="5597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LTE</a:t>
            </a:r>
          </a:p>
        </p:txBody>
      </p:sp>
      <p:sp>
        <p:nvSpPr>
          <p:cNvPr id="27" name="Oval 112"/>
          <p:cNvSpPr>
            <a:spLocks noChangeArrowheads="1"/>
          </p:cNvSpPr>
          <p:nvPr/>
        </p:nvSpPr>
        <p:spPr bwMode="auto">
          <a:xfrm>
            <a:off x="7954963" y="4509286"/>
            <a:ext cx="930275" cy="369887"/>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kern="0">
              <a:solidFill>
                <a:srgbClr val="FED57A"/>
              </a:solidFill>
            </a:endParaRPr>
          </a:p>
        </p:txBody>
      </p:sp>
      <p:sp>
        <p:nvSpPr>
          <p:cNvPr id="28" name="Freeform 3"/>
          <p:cNvSpPr>
            <a:spLocks noChangeAspect="1" noEditPoints="1"/>
          </p:cNvSpPr>
          <p:nvPr/>
        </p:nvSpPr>
        <p:spPr bwMode="auto">
          <a:xfrm>
            <a:off x="8077200" y="3885398"/>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29" name="TextBox 115"/>
          <p:cNvSpPr txBox="1">
            <a:spLocks noChangeArrowheads="1"/>
          </p:cNvSpPr>
          <p:nvPr/>
        </p:nvSpPr>
        <p:spPr bwMode="auto">
          <a:xfrm rot="18825654">
            <a:off x="9705127" y="2966237"/>
            <a:ext cx="13890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7</a:t>
            </a:r>
          </a:p>
        </p:txBody>
      </p:sp>
      <p:cxnSp>
        <p:nvCxnSpPr>
          <p:cNvPr id="30" name="Straight Connector 116"/>
          <p:cNvCxnSpPr>
            <a:cxnSpLocks noChangeShapeType="1"/>
          </p:cNvCxnSpPr>
          <p:nvPr/>
        </p:nvCxnSpPr>
        <p:spPr bwMode="auto">
          <a:xfrm flipV="1">
            <a:off x="8420100" y="2337237"/>
            <a:ext cx="2479439"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31" name="Oval 20"/>
          <p:cNvSpPr>
            <a:spLocks noChangeArrowheads="1"/>
          </p:cNvSpPr>
          <p:nvPr/>
        </p:nvSpPr>
        <p:spPr bwMode="auto">
          <a:xfrm>
            <a:off x="11160125" y="4509286"/>
            <a:ext cx="930275" cy="369887"/>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000" b="0" i="0" u="none" strike="noStrike" kern="0" cap="none" spc="0" normalizeH="0" baseline="0">
              <a:ln>
                <a:noFill/>
              </a:ln>
              <a:solidFill>
                <a:schemeClr val="tx1"/>
              </a:solidFill>
              <a:effectLst/>
              <a:uLnTx/>
              <a:uFillTx/>
              <a:latin typeface="Arial" charset="0"/>
              <a:ea typeface="Arial" charset="0"/>
              <a:cs typeface="Arial" charset="0"/>
            </a:endParaRPr>
          </a:p>
        </p:txBody>
      </p:sp>
      <p:sp>
        <p:nvSpPr>
          <p:cNvPr id="32" name="Freeform 3"/>
          <p:cNvSpPr>
            <a:spLocks noChangeAspect="1" noEditPoints="1"/>
          </p:cNvSpPr>
          <p:nvPr/>
        </p:nvSpPr>
        <p:spPr bwMode="auto">
          <a:xfrm>
            <a:off x="11282363" y="3885398"/>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3" name="TextBox 38"/>
          <p:cNvSpPr txBox="1">
            <a:spLocks noChangeArrowheads="1"/>
          </p:cNvSpPr>
          <p:nvPr/>
        </p:nvSpPr>
        <p:spPr bwMode="auto">
          <a:xfrm>
            <a:off x="11387138" y="4879173"/>
            <a:ext cx="4794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a:ln>
                  <a:noFill/>
                </a:ln>
                <a:solidFill>
                  <a:schemeClr val="bg1"/>
                </a:solidFill>
                <a:effectLst/>
                <a:uLnTx/>
                <a:uFillTx/>
                <a:latin typeface="Arial" charset="0"/>
              </a:rPr>
              <a:t>NR</a:t>
            </a:r>
          </a:p>
        </p:txBody>
      </p:sp>
      <p:cxnSp>
        <p:nvCxnSpPr>
          <p:cNvPr id="34" name="Straight Connector 32"/>
          <p:cNvCxnSpPr>
            <a:cxnSpLocks noChangeShapeType="1"/>
          </p:cNvCxnSpPr>
          <p:nvPr/>
        </p:nvCxnSpPr>
        <p:spPr bwMode="auto">
          <a:xfrm flipH="1" flipV="1">
            <a:off x="10899539" y="2337237"/>
            <a:ext cx="725726" cy="1548162"/>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35" name="TextBox 128"/>
          <p:cNvSpPr txBox="1">
            <a:spLocks noChangeArrowheads="1"/>
          </p:cNvSpPr>
          <p:nvPr/>
        </p:nvSpPr>
        <p:spPr bwMode="auto">
          <a:xfrm rot="19769358">
            <a:off x="9349201" y="2576140"/>
            <a:ext cx="13414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5</a:t>
            </a:r>
          </a:p>
        </p:txBody>
      </p:sp>
      <p:sp>
        <p:nvSpPr>
          <p:cNvPr id="36" name="TextBox 130"/>
          <p:cNvSpPr txBox="1">
            <a:spLocks noChangeArrowheads="1"/>
          </p:cNvSpPr>
          <p:nvPr/>
        </p:nvSpPr>
        <p:spPr bwMode="auto">
          <a:xfrm rot="3856068">
            <a:off x="10745222" y="2978142"/>
            <a:ext cx="13414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2</a:t>
            </a:r>
          </a:p>
        </p:txBody>
      </p:sp>
      <p:sp>
        <p:nvSpPr>
          <p:cNvPr id="37" name="Right Arrow 29"/>
          <p:cNvSpPr/>
          <p:nvPr/>
        </p:nvSpPr>
        <p:spPr bwMode="auto">
          <a:xfrm>
            <a:off x="2541816" y="2629686"/>
            <a:ext cx="738188"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a typeface="+mn-ea"/>
              <a:cs typeface="Arial" pitchFamily="34" charset="0"/>
            </a:endParaRPr>
          </a:p>
        </p:txBody>
      </p:sp>
      <p:sp>
        <p:nvSpPr>
          <p:cNvPr id="38" name="Right Arrow 132"/>
          <p:cNvSpPr/>
          <p:nvPr/>
        </p:nvSpPr>
        <p:spPr bwMode="auto">
          <a:xfrm>
            <a:off x="7066306" y="2635489"/>
            <a:ext cx="738187"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a typeface="+mn-ea"/>
              <a:cs typeface="Arial" pitchFamily="34" charset="0"/>
            </a:endParaRPr>
          </a:p>
        </p:txBody>
      </p:sp>
      <p:cxnSp>
        <p:nvCxnSpPr>
          <p:cNvPr id="39" name="Straight Arrow Connector 118"/>
          <p:cNvCxnSpPr>
            <a:cxnSpLocks noChangeShapeType="1"/>
          </p:cNvCxnSpPr>
          <p:nvPr/>
        </p:nvCxnSpPr>
        <p:spPr bwMode="auto">
          <a:xfrm>
            <a:off x="8077200" y="5460197"/>
            <a:ext cx="3892550" cy="1"/>
          </a:xfrm>
          <a:prstGeom prst="straightConnector1">
            <a:avLst/>
          </a:prstGeom>
          <a:noFill/>
          <a:ln w="12700" algn="ctr">
            <a:solidFill>
              <a:srgbClr val="FABB00"/>
            </a:solidFill>
            <a:round/>
            <a:headEnd type="arrow" w="lg" len="lg"/>
            <a:tailEnd type="arrow" w="lg" len="lg"/>
          </a:ln>
        </p:spPr>
      </p:cxnSp>
      <p:sp>
        <p:nvSpPr>
          <p:cNvPr id="40" name="Freeform 6"/>
          <p:cNvSpPr>
            <a:spLocks noEditPoints="1"/>
          </p:cNvSpPr>
          <p:nvPr/>
        </p:nvSpPr>
        <p:spPr bwMode="auto">
          <a:xfrm>
            <a:off x="10195587" y="5220073"/>
            <a:ext cx="304632" cy="51680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cxnSp>
        <p:nvCxnSpPr>
          <p:cNvPr id="41" name="Straight Connector 32"/>
          <p:cNvCxnSpPr>
            <a:cxnSpLocks noChangeShapeType="1"/>
          </p:cNvCxnSpPr>
          <p:nvPr/>
        </p:nvCxnSpPr>
        <p:spPr bwMode="auto">
          <a:xfrm flipV="1">
            <a:off x="8415456" y="2336381"/>
            <a:ext cx="836258" cy="1570256"/>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42" name="TextBox 17"/>
          <p:cNvSpPr txBox="1">
            <a:spLocks noChangeArrowheads="1"/>
          </p:cNvSpPr>
          <p:nvPr/>
        </p:nvSpPr>
        <p:spPr bwMode="auto">
          <a:xfrm rot="16200000">
            <a:off x="800825" y="2967521"/>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
        <p:nvSpPr>
          <p:cNvPr id="43" name="TextBox 17"/>
          <p:cNvSpPr txBox="1">
            <a:spLocks noChangeArrowheads="1"/>
          </p:cNvSpPr>
          <p:nvPr/>
        </p:nvSpPr>
        <p:spPr bwMode="auto">
          <a:xfrm rot="17820301">
            <a:off x="8149497" y="2924058"/>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
        <p:nvSpPr>
          <p:cNvPr id="44" name="Freeform 6"/>
          <p:cNvSpPr>
            <a:spLocks noEditPoints="1"/>
          </p:cNvSpPr>
          <p:nvPr/>
        </p:nvSpPr>
        <p:spPr bwMode="auto">
          <a:xfrm>
            <a:off x="1433024" y="5246798"/>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sp>
        <p:nvSpPr>
          <p:cNvPr id="45" name="Freeform 6"/>
          <p:cNvSpPr>
            <a:spLocks noEditPoints="1"/>
          </p:cNvSpPr>
          <p:nvPr/>
        </p:nvSpPr>
        <p:spPr bwMode="auto">
          <a:xfrm>
            <a:off x="4186336" y="5552429"/>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grpSp>
        <p:nvGrpSpPr>
          <p:cNvPr id="46" name="Group 45"/>
          <p:cNvGrpSpPr/>
          <p:nvPr/>
        </p:nvGrpSpPr>
        <p:grpSpPr>
          <a:xfrm>
            <a:off x="8274354" y="1607615"/>
            <a:ext cx="1701650" cy="735640"/>
            <a:chOff x="10052277" y="817409"/>
            <a:chExt cx="1701650" cy="735640"/>
          </a:xfrm>
        </p:grpSpPr>
        <p:sp>
          <p:nvSpPr>
            <p:cNvPr id="47"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48" name="Rectangle 36"/>
            <p:cNvSpPr>
              <a:spLocks noChangeArrowheads="1"/>
            </p:cNvSpPr>
            <p:nvPr/>
          </p:nvSpPr>
          <p:spPr bwMode="auto">
            <a:xfrm>
              <a:off x="10095863" y="966101"/>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EPC</a:t>
              </a:r>
            </a:p>
          </p:txBody>
        </p:sp>
      </p:grpSp>
      <p:grpSp>
        <p:nvGrpSpPr>
          <p:cNvPr id="49" name="Group 48"/>
          <p:cNvGrpSpPr/>
          <p:nvPr/>
        </p:nvGrpSpPr>
        <p:grpSpPr>
          <a:xfrm>
            <a:off x="10082130" y="1595842"/>
            <a:ext cx="1709154" cy="735640"/>
            <a:chOff x="7589565" y="-359326"/>
            <a:chExt cx="1709154" cy="735640"/>
          </a:xfrm>
        </p:grpSpPr>
        <p:sp>
          <p:nvSpPr>
            <p:cNvPr id="50" name="AutoShape 15" descr="bpct-blend1"/>
            <p:cNvSpPr>
              <a:spLocks noChangeArrowheads="1"/>
            </p:cNvSpPr>
            <p:nvPr/>
          </p:nvSpPr>
          <p:spPr bwMode="auto">
            <a:xfrm>
              <a:off x="7589565" y="-359326"/>
              <a:ext cx="1709153"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E9822C"/>
                </a:solidFill>
              </a:endParaRPr>
            </a:p>
          </p:txBody>
        </p:sp>
        <p:sp>
          <p:nvSpPr>
            <p:cNvPr id="51" name="Rectangle 36"/>
            <p:cNvSpPr>
              <a:spLocks noChangeArrowheads="1"/>
            </p:cNvSpPr>
            <p:nvPr/>
          </p:nvSpPr>
          <p:spPr bwMode="auto">
            <a:xfrm>
              <a:off x="7603299" y="-217977"/>
              <a:ext cx="16954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5GC</a:t>
              </a:r>
            </a:p>
          </p:txBody>
        </p:sp>
      </p:grpSp>
      <p:grpSp>
        <p:nvGrpSpPr>
          <p:cNvPr id="52" name="Group 51"/>
          <p:cNvGrpSpPr/>
          <p:nvPr/>
        </p:nvGrpSpPr>
        <p:grpSpPr>
          <a:xfrm>
            <a:off x="726784" y="1600203"/>
            <a:ext cx="1701650" cy="735640"/>
            <a:chOff x="10052277" y="817409"/>
            <a:chExt cx="1701650" cy="735640"/>
          </a:xfrm>
        </p:grpSpPr>
        <p:sp>
          <p:nvSpPr>
            <p:cNvPr id="53"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54" name="Rectangle 36"/>
            <p:cNvSpPr>
              <a:spLocks noChangeArrowheads="1"/>
            </p:cNvSpPr>
            <p:nvPr/>
          </p:nvSpPr>
          <p:spPr bwMode="auto">
            <a:xfrm>
              <a:off x="10095863" y="948775"/>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EPC</a:t>
              </a:r>
            </a:p>
          </p:txBody>
        </p:sp>
      </p:grpSp>
      <p:sp>
        <p:nvSpPr>
          <p:cNvPr id="55" name="AutoShape 15" descr="bpct-blend1"/>
          <p:cNvSpPr>
            <a:spLocks noChangeArrowheads="1"/>
          </p:cNvSpPr>
          <p:nvPr/>
        </p:nvSpPr>
        <p:spPr bwMode="auto">
          <a:xfrm>
            <a:off x="8194902" y="1541510"/>
            <a:ext cx="3658591" cy="859827"/>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cxnSp>
        <p:nvCxnSpPr>
          <p:cNvPr id="56" name="Straight Connector 32"/>
          <p:cNvCxnSpPr>
            <a:cxnSpLocks noChangeShapeType="1"/>
            <a:endCxn id="58" idx="2"/>
          </p:cNvCxnSpPr>
          <p:nvPr/>
        </p:nvCxnSpPr>
        <p:spPr bwMode="auto">
          <a:xfrm flipV="1">
            <a:off x="4297131" y="2344545"/>
            <a:ext cx="0" cy="1491485"/>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grpSp>
        <p:nvGrpSpPr>
          <p:cNvPr id="57" name="Group 56"/>
          <p:cNvGrpSpPr/>
          <p:nvPr/>
        </p:nvGrpSpPr>
        <p:grpSpPr>
          <a:xfrm>
            <a:off x="3446306" y="1608905"/>
            <a:ext cx="1701650" cy="735640"/>
            <a:chOff x="10052277" y="817409"/>
            <a:chExt cx="1701650" cy="735640"/>
          </a:xfrm>
        </p:grpSpPr>
        <p:sp>
          <p:nvSpPr>
            <p:cNvPr id="58" name="AutoShape 15" descr="bpct-blend1"/>
            <p:cNvSpPr>
              <a:spLocks noChangeArrowheads="1"/>
            </p:cNvSpPr>
            <p:nvPr/>
          </p:nvSpPr>
          <p:spPr bwMode="auto">
            <a:xfrm>
              <a:off x="10052277" y="817409"/>
              <a:ext cx="1701650"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00A9D4"/>
                </a:solidFill>
              </a:endParaRPr>
            </a:p>
          </p:txBody>
        </p:sp>
        <p:sp>
          <p:nvSpPr>
            <p:cNvPr id="59" name="Rectangle 36"/>
            <p:cNvSpPr>
              <a:spLocks noChangeArrowheads="1"/>
            </p:cNvSpPr>
            <p:nvPr/>
          </p:nvSpPr>
          <p:spPr bwMode="auto">
            <a:xfrm>
              <a:off x="10095863" y="948775"/>
              <a:ext cx="1636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EPC</a:t>
              </a:r>
            </a:p>
          </p:txBody>
        </p:sp>
      </p:grpSp>
      <p:sp>
        <p:nvSpPr>
          <p:cNvPr id="60" name="TextBox 17"/>
          <p:cNvSpPr txBox="1">
            <a:spLocks noChangeArrowheads="1"/>
          </p:cNvSpPr>
          <p:nvPr/>
        </p:nvSpPr>
        <p:spPr bwMode="auto">
          <a:xfrm rot="16200000">
            <a:off x="3621768" y="3107601"/>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cxnSp>
        <p:nvCxnSpPr>
          <p:cNvPr id="61" name="Straight Arrow Connector 91"/>
          <p:cNvCxnSpPr>
            <a:cxnSpLocks noChangeShapeType="1"/>
          </p:cNvCxnSpPr>
          <p:nvPr/>
        </p:nvCxnSpPr>
        <p:spPr bwMode="auto">
          <a:xfrm>
            <a:off x="7855147" y="5885491"/>
            <a:ext cx="1082581" cy="3894"/>
          </a:xfrm>
          <a:prstGeom prst="straightConnector1">
            <a:avLst/>
          </a:prstGeom>
          <a:noFill/>
          <a:ln w="12700">
            <a:solidFill>
              <a:schemeClr val="accent1">
                <a:lumMod val="40000"/>
                <a:lumOff val="60000"/>
              </a:schemeClr>
            </a:solidFill>
            <a:round/>
            <a:headEnd type="arrow" w="lg" len="lg"/>
            <a:tailEnd type="arrow" w="lg" len="lg"/>
          </a:ln>
        </p:spPr>
      </p:cxnSp>
      <p:sp>
        <p:nvSpPr>
          <p:cNvPr id="62" name="Freeform 6"/>
          <p:cNvSpPr>
            <a:spLocks noEditPoints="1"/>
          </p:cNvSpPr>
          <p:nvPr/>
        </p:nvSpPr>
        <p:spPr bwMode="auto">
          <a:xfrm>
            <a:off x="8256452" y="5644347"/>
            <a:ext cx="307788" cy="49007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algn="l">
              <a:spcBef>
                <a:spcPct val="50000"/>
              </a:spcBef>
            </a:pPr>
            <a:endParaRPr lang="en-US" sz="2000">
              <a:solidFill>
                <a:srgbClr val="FED57A"/>
              </a:solidFill>
              <a:latin typeface="Arial" charset="0"/>
            </a:endParaRPr>
          </a:p>
        </p:txBody>
      </p:sp>
      <p:cxnSp>
        <p:nvCxnSpPr>
          <p:cNvPr id="63" name="Straight Arrow Connector 118"/>
          <p:cNvCxnSpPr>
            <a:cxnSpLocks noChangeShapeType="1"/>
          </p:cNvCxnSpPr>
          <p:nvPr/>
        </p:nvCxnSpPr>
        <p:spPr bwMode="auto">
          <a:xfrm>
            <a:off x="5525036" y="5460198"/>
            <a:ext cx="1113846" cy="0"/>
          </a:xfrm>
          <a:prstGeom prst="straightConnector1">
            <a:avLst/>
          </a:prstGeom>
          <a:noFill/>
          <a:ln w="12700" algn="ctr">
            <a:solidFill>
              <a:srgbClr val="FABB00"/>
            </a:solidFill>
            <a:round/>
            <a:headEnd type="arrow" w="lg" len="lg"/>
            <a:tailEnd type="arrow" w="lg" len="lg"/>
          </a:ln>
        </p:spPr>
      </p:cxnSp>
      <p:sp>
        <p:nvSpPr>
          <p:cNvPr id="64" name="Freeform 6"/>
          <p:cNvSpPr>
            <a:spLocks noEditPoints="1"/>
          </p:cNvSpPr>
          <p:nvPr/>
        </p:nvSpPr>
        <p:spPr bwMode="auto">
          <a:xfrm>
            <a:off x="5959511" y="5201797"/>
            <a:ext cx="304632" cy="51680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cxnSp>
        <p:nvCxnSpPr>
          <p:cNvPr id="65" name="Straight Connector 32"/>
          <p:cNvCxnSpPr>
            <a:cxnSpLocks noChangeShapeType="1"/>
            <a:endCxn id="68" idx="2"/>
          </p:cNvCxnSpPr>
          <p:nvPr/>
        </p:nvCxnSpPr>
        <p:spPr bwMode="auto">
          <a:xfrm flipH="1" flipV="1">
            <a:off x="6104297" y="2342648"/>
            <a:ext cx="16299" cy="1473991"/>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sp>
        <p:nvSpPr>
          <p:cNvPr id="66" name="TextBox 130"/>
          <p:cNvSpPr txBox="1">
            <a:spLocks noChangeArrowheads="1"/>
          </p:cNvSpPr>
          <p:nvPr/>
        </p:nvSpPr>
        <p:spPr bwMode="auto">
          <a:xfrm rot="16200000">
            <a:off x="5278217" y="2962031"/>
            <a:ext cx="13414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2</a:t>
            </a:r>
          </a:p>
        </p:txBody>
      </p:sp>
      <p:grpSp>
        <p:nvGrpSpPr>
          <p:cNvPr id="67" name="Group 66"/>
          <p:cNvGrpSpPr/>
          <p:nvPr/>
        </p:nvGrpSpPr>
        <p:grpSpPr>
          <a:xfrm>
            <a:off x="5249720" y="1607008"/>
            <a:ext cx="1709154" cy="735640"/>
            <a:chOff x="7589565" y="-359326"/>
            <a:chExt cx="1709154" cy="735640"/>
          </a:xfrm>
        </p:grpSpPr>
        <p:sp>
          <p:nvSpPr>
            <p:cNvPr id="68" name="AutoShape 15" descr="bpct-blend1"/>
            <p:cNvSpPr>
              <a:spLocks noChangeArrowheads="1"/>
            </p:cNvSpPr>
            <p:nvPr/>
          </p:nvSpPr>
          <p:spPr bwMode="auto">
            <a:xfrm>
              <a:off x="7589565" y="-359326"/>
              <a:ext cx="1709153"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l" eaLnBrk="1" hangingPunct="1">
                <a:buClrTx/>
                <a:buNone/>
              </a:pPr>
              <a:endParaRPr lang="en-US" altLang="en-US" sz="1500">
                <a:solidFill>
                  <a:srgbClr val="E9822C"/>
                </a:solidFill>
              </a:endParaRPr>
            </a:p>
          </p:txBody>
        </p:sp>
        <p:sp>
          <p:nvSpPr>
            <p:cNvPr id="69" name="Rectangle 36"/>
            <p:cNvSpPr>
              <a:spLocks noChangeArrowheads="1"/>
            </p:cNvSpPr>
            <p:nvPr/>
          </p:nvSpPr>
          <p:spPr bwMode="auto">
            <a:xfrm>
              <a:off x="7603299" y="-217977"/>
              <a:ext cx="16954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algn="ctr" eaLnBrk="1" hangingPunct="1">
                <a:spcBef>
                  <a:spcPct val="0"/>
                </a:spcBef>
                <a:buClrTx/>
                <a:buFontTx/>
                <a:buNone/>
              </a:pPr>
              <a:r>
                <a:rPr lang="en-US" altLang="en-US" sz="2400">
                  <a:solidFill>
                    <a:srgbClr val="FFFFFF"/>
                  </a:solidFill>
                </a:rPr>
                <a:t>5GC</a:t>
              </a:r>
            </a:p>
          </p:txBody>
        </p:sp>
      </p:grpSp>
      <p:cxnSp>
        <p:nvCxnSpPr>
          <p:cNvPr id="70" name="Straight Connector 32"/>
          <p:cNvCxnSpPr>
            <a:cxnSpLocks noChangeShapeType="1"/>
          </p:cNvCxnSpPr>
          <p:nvPr/>
        </p:nvCxnSpPr>
        <p:spPr bwMode="auto">
          <a:xfrm flipH="1" flipV="1">
            <a:off x="9251714" y="2401337"/>
            <a:ext cx="281607" cy="1444993"/>
          </a:xfrm>
          <a:prstGeom prst="line">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71" name="TextBox 17"/>
          <p:cNvSpPr txBox="1">
            <a:spLocks noChangeArrowheads="1"/>
          </p:cNvSpPr>
          <p:nvPr/>
        </p:nvSpPr>
        <p:spPr bwMode="auto">
          <a:xfrm rot="4681482">
            <a:off x="8723594" y="3076458"/>
            <a:ext cx="10271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a:ln>
                  <a:noFill/>
                </a:ln>
                <a:solidFill>
                  <a:schemeClr val="bg1"/>
                </a:solidFill>
                <a:effectLst/>
                <a:uLnTx/>
                <a:uFillTx/>
                <a:latin typeface="Arial" charset="0"/>
                <a:ea typeface="Arial" charset="0"/>
                <a:cs typeface="Arial" charset="0"/>
              </a:rPr>
              <a:t>OPTION 1</a:t>
            </a:r>
          </a:p>
        </p:txBody>
      </p:sp>
    </p:spTree>
    <p:extLst>
      <p:ext uri="{BB962C8B-B14F-4D97-AF65-F5344CB8AC3E}">
        <p14:creationId xmlns:p14="http://schemas.microsoft.com/office/powerpoint/2010/main" val="297543783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3"/>
          <p:cNvSpPr txBox="1">
            <a:spLocks/>
          </p:cNvSpPr>
          <p:nvPr/>
        </p:nvSpPr>
        <p:spPr bwMode="auto">
          <a:xfrm>
            <a:off x="525463" y="239713"/>
            <a:ext cx="10636250"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fontScale="97500"/>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sz="4900" kern="0" dirty="0">
                <a:solidFill>
                  <a:schemeClr val="bg1"/>
                </a:solidFill>
                <a:latin typeface="Ericsson Capital TT" charset="0"/>
              </a:rPr>
              <a:t>POSSIBLE Network Migration</a:t>
            </a:r>
            <a:br>
              <a:rPr lang="en-US" altLang="en-US" kern="0" dirty="0">
                <a:solidFill>
                  <a:schemeClr val="bg1"/>
                </a:solidFill>
                <a:latin typeface="Ericsson Capital TT" charset="0"/>
              </a:rPr>
            </a:br>
            <a:r>
              <a:rPr lang="en-US" altLang="en-US" sz="2700" kern="0" dirty="0">
                <a:solidFill>
                  <a:schemeClr val="bg1"/>
                </a:solidFill>
                <a:latin typeface="+mn-lt"/>
              </a:rPr>
              <a:t>Initial introduction of 5G NR via Option 3</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bwMode="auto">
          <a:xfrm>
            <a:off x="732166" y="4132043"/>
            <a:ext cx="10477171" cy="837282"/>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8" name="Freeform 3"/>
          <p:cNvSpPr>
            <a:spLocks noChangeAspect="1" noEditPoints="1"/>
          </p:cNvSpPr>
          <p:nvPr/>
        </p:nvSpPr>
        <p:spPr bwMode="auto">
          <a:xfrm>
            <a:off x="3942713" y="3568783"/>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9" name="Freeform 3"/>
          <p:cNvSpPr>
            <a:spLocks noChangeAspect="1" noEditPoints="1"/>
          </p:cNvSpPr>
          <p:nvPr/>
        </p:nvSpPr>
        <p:spPr bwMode="auto">
          <a:xfrm>
            <a:off x="5701043" y="3568783"/>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10" name="Connector: Elbow 9"/>
          <p:cNvCxnSpPr>
            <a:cxnSpLocks/>
          </p:cNvCxnSpPr>
          <p:nvPr/>
        </p:nvCxnSpPr>
        <p:spPr bwMode="auto">
          <a:xfrm rot="16200000" flipH="1">
            <a:off x="5029008" y="2491445"/>
            <a:ext cx="1196568" cy="853252"/>
          </a:xfrm>
          <a:prstGeom prst="bentConnector3">
            <a:avLst>
              <a:gd name="adj1" fmla="val 50000"/>
            </a:avLst>
          </a:prstGeom>
          <a:solidFill>
            <a:schemeClr val="accent1"/>
          </a:solidFill>
          <a:ln w="12700" cap="flat" cmpd="sng" algn="ctr">
            <a:solidFill>
              <a:schemeClr val="bg1"/>
            </a:solidFill>
            <a:prstDash val="solid"/>
            <a:round/>
            <a:headEnd type="none" w="med" len="med"/>
            <a:tailEnd type="none" w="med" len="med"/>
          </a:ln>
          <a:effectLst/>
        </p:spPr>
      </p:cxnSp>
      <p:cxnSp>
        <p:nvCxnSpPr>
          <p:cNvPr id="11" name="Straight Connector 10"/>
          <p:cNvCxnSpPr>
            <a:cxnSpLocks/>
          </p:cNvCxnSpPr>
          <p:nvPr/>
        </p:nvCxnSpPr>
        <p:spPr bwMode="auto">
          <a:xfrm>
            <a:off x="6288227" y="3991058"/>
            <a:ext cx="621166" cy="239126"/>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12" name="Connector: Elbow 11"/>
          <p:cNvCxnSpPr>
            <a:cxnSpLocks/>
          </p:cNvCxnSpPr>
          <p:nvPr/>
        </p:nvCxnSpPr>
        <p:spPr bwMode="auto">
          <a:xfrm rot="5400000" flipH="1" flipV="1">
            <a:off x="4088338" y="2520241"/>
            <a:ext cx="1176976" cy="815247"/>
          </a:xfrm>
          <a:prstGeom prst="bentConnector3">
            <a:avLst/>
          </a:prstGeom>
          <a:solidFill>
            <a:schemeClr val="accent1"/>
          </a:solidFill>
          <a:ln w="12700" cap="flat" cmpd="sng" algn="ctr">
            <a:solidFill>
              <a:schemeClr val="bg1"/>
            </a:solidFill>
            <a:prstDash val="solid"/>
            <a:round/>
            <a:headEnd type="none" w="med" len="med"/>
            <a:tailEnd type="none" w="med" len="med"/>
          </a:ln>
          <a:effectLst/>
        </p:spPr>
      </p:cxnSp>
      <p:sp>
        <p:nvSpPr>
          <p:cNvPr id="13" name="TextBox 12"/>
          <p:cNvSpPr txBox="1"/>
          <p:nvPr/>
        </p:nvSpPr>
        <p:spPr>
          <a:xfrm>
            <a:off x="4961313" y="4283172"/>
            <a:ext cx="60785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ysClr val="windowText" lastClr="000000"/>
                </a:solidFill>
                <a:effectLst/>
                <a:uLnTx/>
                <a:uFillTx/>
              </a:rPr>
              <a:t>LTE</a:t>
            </a:r>
          </a:p>
        </p:txBody>
      </p:sp>
      <p:sp>
        <p:nvSpPr>
          <p:cNvPr id="14" name="Oval 13"/>
          <p:cNvSpPr/>
          <p:nvPr/>
        </p:nvSpPr>
        <p:spPr bwMode="auto">
          <a:xfrm>
            <a:off x="4809364" y="2729146"/>
            <a:ext cx="618780" cy="113042"/>
          </a:xfrm>
          <a:prstGeom prst="ellipse">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15" name="Freeform 6"/>
          <p:cNvSpPr>
            <a:spLocks noEditPoints="1"/>
          </p:cNvSpPr>
          <p:nvPr/>
        </p:nvSpPr>
        <p:spPr bwMode="auto">
          <a:xfrm>
            <a:off x="2194650"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16" name="TextBox 15"/>
          <p:cNvSpPr txBox="1"/>
          <p:nvPr/>
        </p:nvSpPr>
        <p:spPr>
          <a:xfrm>
            <a:off x="2675087" y="5239100"/>
            <a:ext cx="1255472"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p>
        </p:txBody>
      </p:sp>
      <p:sp>
        <p:nvSpPr>
          <p:cNvPr id="17" name="Oval 16"/>
          <p:cNvSpPr/>
          <p:nvPr/>
        </p:nvSpPr>
        <p:spPr bwMode="auto">
          <a:xfrm>
            <a:off x="6597099" y="4297155"/>
            <a:ext cx="1546698" cy="450380"/>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18" name="Freeform 3"/>
          <p:cNvSpPr>
            <a:spLocks noChangeAspect="1" noEditPoints="1"/>
          </p:cNvSpPr>
          <p:nvPr/>
        </p:nvSpPr>
        <p:spPr bwMode="auto">
          <a:xfrm>
            <a:off x="6976485" y="4058271"/>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19" name="Freeform 6"/>
          <p:cNvSpPr>
            <a:spLocks noEditPoints="1"/>
          </p:cNvSpPr>
          <p:nvPr/>
        </p:nvSpPr>
        <p:spPr bwMode="auto">
          <a:xfrm>
            <a:off x="503090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20" name="TextBox 19"/>
          <p:cNvSpPr txBox="1"/>
          <p:nvPr/>
        </p:nvSpPr>
        <p:spPr>
          <a:xfrm>
            <a:off x="5511541" y="5239100"/>
            <a:ext cx="1255472" cy="70788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br>
              <a:rPr kumimoji="0" lang="en-US" sz="2000" b="0" i="0" u="none" strike="noStrike" kern="0" cap="none" spc="0" normalizeH="0" baseline="0" dirty="0">
                <a:ln>
                  <a:noFill/>
                </a:ln>
                <a:solidFill>
                  <a:schemeClr val="bg1"/>
                </a:solidFill>
                <a:effectLst/>
                <a:uLnTx/>
                <a:uFillTx/>
              </a:rPr>
            </a:br>
            <a:r>
              <a:rPr kumimoji="0" lang="en-US" sz="2000" b="0" i="0" u="none" strike="noStrike" kern="0" cap="none" spc="0" normalizeH="0" baseline="0" dirty="0">
                <a:ln>
                  <a:noFill/>
                </a:ln>
                <a:solidFill>
                  <a:schemeClr val="bg1"/>
                </a:solidFill>
                <a:effectLst/>
                <a:uLnTx/>
                <a:uFillTx/>
              </a:rPr>
              <a:t>NR/EPC</a:t>
            </a:r>
          </a:p>
        </p:txBody>
      </p:sp>
      <p:sp>
        <p:nvSpPr>
          <p:cNvPr id="21" name="TextBox 20"/>
          <p:cNvSpPr txBox="1"/>
          <p:nvPr/>
        </p:nvSpPr>
        <p:spPr>
          <a:xfrm>
            <a:off x="7296139" y="4398755"/>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NR</a:t>
            </a:r>
          </a:p>
        </p:txBody>
      </p:sp>
      <p:sp>
        <p:nvSpPr>
          <p:cNvPr id="22" name="AutoShape 15" descr="bpct-blend1"/>
          <p:cNvSpPr>
            <a:spLocks noChangeArrowheads="1"/>
          </p:cNvSpPr>
          <p:nvPr/>
        </p:nvSpPr>
        <p:spPr bwMode="auto">
          <a:xfrm>
            <a:off x="3529823" y="1580645"/>
            <a:ext cx="3137804"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
        <p:nvSpPr>
          <p:cNvPr id="23" name="Rectangle 36"/>
          <p:cNvSpPr>
            <a:spLocks noChangeArrowheads="1"/>
          </p:cNvSpPr>
          <p:nvPr/>
        </p:nvSpPr>
        <p:spPr bwMode="auto">
          <a:xfrm>
            <a:off x="3623248" y="1685699"/>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dirty="0">
                <a:ln>
                  <a:noFill/>
                </a:ln>
                <a:solidFill>
                  <a:srgbClr val="FFFFFF"/>
                </a:solidFill>
                <a:effectLst/>
                <a:uLnTx/>
                <a:uFillTx/>
                <a:latin typeface="Arial" pitchFamily="34" charset="0"/>
              </a:rPr>
              <a:t>5G EPC</a:t>
            </a:r>
          </a:p>
        </p:txBody>
      </p:sp>
      <p:sp>
        <p:nvSpPr>
          <p:cNvPr id="24" name="TextBox 23"/>
          <p:cNvSpPr txBox="1"/>
          <p:nvPr/>
        </p:nvSpPr>
        <p:spPr>
          <a:xfrm>
            <a:off x="5478248" y="2596394"/>
            <a:ext cx="123948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3</a:t>
            </a:r>
          </a:p>
        </p:txBody>
      </p:sp>
      <p:sp>
        <p:nvSpPr>
          <p:cNvPr id="25" name="TextBox 24"/>
          <p:cNvSpPr txBox="1"/>
          <p:nvPr/>
        </p:nvSpPr>
        <p:spPr>
          <a:xfrm>
            <a:off x="7168924" y="5209877"/>
            <a:ext cx="4158336" cy="1077218"/>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New devices which are LTE and NR-capable, including 4G-5G mobility</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EPC-compatible)</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dirty="0">
              <a:ln>
                <a:noFill/>
              </a:ln>
              <a:solidFill>
                <a:schemeClr val="bg1"/>
              </a:solidFill>
              <a:effectLst/>
              <a:uLnTx/>
              <a:uFillTx/>
            </a:endParaRPr>
          </a:p>
        </p:txBody>
      </p:sp>
      <p:sp>
        <p:nvSpPr>
          <p:cNvPr id="26" name="TextBox 25"/>
          <p:cNvSpPr txBox="1"/>
          <p:nvPr/>
        </p:nvSpPr>
        <p:spPr>
          <a:xfrm>
            <a:off x="7455539" y="3208713"/>
            <a:ext cx="3062180" cy="830997"/>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NR with limited coverage, anchored in LTE </a:t>
            </a:r>
            <a:r>
              <a:rPr kumimoji="0" lang="en-US" sz="1600" b="0" i="1" u="none" strike="noStrike" kern="0" cap="none" spc="0" normalizeH="0" baseline="0" dirty="0" err="1">
                <a:ln>
                  <a:noFill/>
                </a:ln>
                <a:solidFill>
                  <a:schemeClr val="bg1"/>
                </a:solidFill>
                <a:effectLst/>
                <a:uLnTx/>
                <a:uFillTx/>
              </a:rPr>
              <a:t>eNBs</a:t>
            </a:r>
            <a:endParaRPr kumimoji="0" lang="en-US" sz="1600" b="0" i="1" u="none" strike="noStrike" kern="0" cap="none" spc="0" normalizeH="0" baseline="0" dirty="0">
              <a:ln>
                <a:noFill/>
              </a:ln>
              <a:solidFill>
                <a:schemeClr val="bg1"/>
              </a:solidFill>
              <a:effectLst/>
              <a:uLnTx/>
              <a:uFillTx/>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dirty="0">
              <a:ln>
                <a:noFill/>
              </a:ln>
              <a:solidFill>
                <a:schemeClr val="bg1"/>
              </a:solidFill>
              <a:effectLst/>
              <a:uLnTx/>
              <a:uFillTx/>
            </a:endParaRPr>
          </a:p>
        </p:txBody>
      </p:sp>
      <p:sp>
        <p:nvSpPr>
          <p:cNvPr id="27" name="TextBox 26"/>
          <p:cNvSpPr txBox="1"/>
          <p:nvPr/>
        </p:nvSpPr>
        <p:spPr>
          <a:xfrm>
            <a:off x="3789322" y="2596394"/>
            <a:ext cx="1295128"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1</a:t>
            </a:r>
          </a:p>
        </p:txBody>
      </p:sp>
    </p:spTree>
    <p:extLst>
      <p:ext uri="{BB962C8B-B14F-4D97-AF65-F5344CB8AC3E}">
        <p14:creationId xmlns:p14="http://schemas.microsoft.com/office/powerpoint/2010/main" val="93428607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5" name="Title 3"/>
          <p:cNvSpPr txBox="1">
            <a:spLocks/>
          </p:cNvSpPr>
          <p:nvPr/>
        </p:nvSpPr>
        <p:spPr bwMode="auto">
          <a:xfrm>
            <a:off x="525463" y="239713"/>
            <a:ext cx="10636250"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fontScale="97500"/>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sz="4900" kern="0" dirty="0">
                <a:solidFill>
                  <a:schemeClr val="bg1"/>
                </a:solidFill>
                <a:latin typeface="Ericsson Capital TT" charset="0"/>
              </a:rPr>
              <a:t>POSSIBLE Network Migration</a:t>
            </a:r>
            <a:br>
              <a:rPr lang="en-US" altLang="en-US" kern="0" dirty="0">
                <a:solidFill>
                  <a:schemeClr val="bg1"/>
                </a:solidFill>
                <a:latin typeface="Ericsson Capital TT" charset="0"/>
              </a:rPr>
            </a:br>
            <a:r>
              <a:rPr lang="en-US" altLang="en-US" sz="2700" kern="0" dirty="0">
                <a:solidFill>
                  <a:schemeClr val="bg1"/>
                </a:solidFill>
                <a:latin typeface="+mn-lt"/>
              </a:rPr>
              <a:t>5G NR expansion &amp; introduction of 5G Core</a:t>
            </a: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Oval 46"/>
          <p:cNvSpPr/>
          <p:nvPr/>
        </p:nvSpPr>
        <p:spPr bwMode="auto">
          <a:xfrm>
            <a:off x="732166" y="4132043"/>
            <a:ext cx="10477171" cy="837282"/>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48" name="Freeform 3"/>
          <p:cNvSpPr>
            <a:spLocks noChangeAspect="1" noEditPoints="1"/>
          </p:cNvSpPr>
          <p:nvPr/>
        </p:nvSpPr>
        <p:spPr bwMode="auto">
          <a:xfrm>
            <a:off x="3942713" y="3568783"/>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49" name="Connector: Elbow 48"/>
          <p:cNvCxnSpPr>
            <a:cxnSpLocks/>
          </p:cNvCxnSpPr>
          <p:nvPr/>
        </p:nvCxnSpPr>
        <p:spPr bwMode="auto">
          <a:xfrm rot="5400000">
            <a:off x="5762082" y="2594464"/>
            <a:ext cx="1358459" cy="556011"/>
          </a:xfrm>
          <a:prstGeom prst="bentConnector3">
            <a:avLst>
              <a:gd name="adj1" fmla="val 53543"/>
            </a:avLst>
          </a:prstGeom>
          <a:noFill/>
          <a:ln w="28575">
            <a:solidFill>
              <a:schemeClr val="accent2"/>
            </a:solidFill>
            <a:round/>
            <a:headEnd/>
            <a:tailEnd/>
          </a:ln>
          <a:extLst>
            <a:ext uri="{909E8E84-426E-40DD-AFC4-6F175D3DCCD1}">
              <a14:hiddenFill xmlns:a14="http://schemas.microsoft.com/office/drawing/2010/main">
                <a:noFill/>
              </a14:hiddenFill>
            </a:ext>
          </a:extLst>
        </p:spPr>
      </p:cxnSp>
      <p:cxnSp>
        <p:nvCxnSpPr>
          <p:cNvPr id="50" name="Connector: Elbow 49"/>
          <p:cNvCxnSpPr>
            <a:cxnSpLocks/>
          </p:cNvCxnSpPr>
          <p:nvPr/>
        </p:nvCxnSpPr>
        <p:spPr bwMode="auto">
          <a:xfrm rot="5400000" flipH="1" flipV="1">
            <a:off x="3607647" y="2854796"/>
            <a:ext cx="1323113" cy="2"/>
          </a:xfrm>
          <a:prstGeom prst="bentConnector3">
            <a:avLst/>
          </a:prstGeom>
          <a:noFill/>
          <a:ln w="28575">
            <a:solidFill>
              <a:schemeClr val="accent1">
                <a:lumMod val="40000"/>
                <a:lumOff val="60000"/>
              </a:schemeClr>
            </a:solidFill>
            <a:round/>
            <a:headEnd/>
            <a:tailEnd/>
          </a:ln>
          <a:extLst>
            <a:ext uri="{909E8E84-426E-40DD-AFC4-6F175D3DCCD1}">
              <a14:hiddenFill xmlns:a14="http://schemas.microsoft.com/office/drawing/2010/main">
                <a:noFill/>
              </a14:hiddenFill>
            </a:ext>
          </a:extLst>
        </p:spPr>
      </p:cxnSp>
      <p:sp>
        <p:nvSpPr>
          <p:cNvPr id="51" name="TextBox 50"/>
          <p:cNvSpPr txBox="1"/>
          <p:nvPr/>
        </p:nvSpPr>
        <p:spPr>
          <a:xfrm>
            <a:off x="1634426" y="4327546"/>
            <a:ext cx="60785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a:ln>
                  <a:noFill/>
                </a:ln>
                <a:solidFill>
                  <a:sysClr val="windowText" lastClr="000000"/>
                </a:solidFill>
                <a:effectLst/>
                <a:uLnTx/>
                <a:uFillTx/>
              </a:rPr>
              <a:t>LTE</a:t>
            </a:r>
          </a:p>
        </p:txBody>
      </p:sp>
      <p:sp>
        <p:nvSpPr>
          <p:cNvPr id="52" name="Freeform 6"/>
          <p:cNvSpPr>
            <a:spLocks noEditPoints="1"/>
          </p:cNvSpPr>
          <p:nvPr/>
        </p:nvSpPr>
        <p:spPr bwMode="auto">
          <a:xfrm>
            <a:off x="2194650"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53" name="TextBox 52"/>
          <p:cNvSpPr txBox="1"/>
          <p:nvPr/>
        </p:nvSpPr>
        <p:spPr>
          <a:xfrm>
            <a:off x="2675087" y="5239100"/>
            <a:ext cx="655949"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bg1"/>
                </a:solidFill>
                <a:effectLst/>
                <a:uLnTx/>
                <a:uFillTx/>
              </a:rPr>
              <a:t>LTE</a:t>
            </a:r>
          </a:p>
        </p:txBody>
      </p:sp>
      <p:sp>
        <p:nvSpPr>
          <p:cNvPr id="54" name="Freeform 6"/>
          <p:cNvSpPr>
            <a:spLocks noEditPoints="1"/>
          </p:cNvSpPr>
          <p:nvPr/>
        </p:nvSpPr>
        <p:spPr bwMode="auto">
          <a:xfrm>
            <a:off x="503090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55" name="TextBox 54"/>
          <p:cNvSpPr txBox="1"/>
          <p:nvPr/>
        </p:nvSpPr>
        <p:spPr>
          <a:xfrm>
            <a:off x="5511541" y="5239100"/>
            <a:ext cx="1156086" cy="70788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bg1"/>
                </a:solidFill>
                <a:effectLst/>
                <a:uLnTx/>
                <a:uFillTx/>
              </a:rPr>
              <a:t>LTE</a:t>
            </a:r>
            <a:br>
              <a:rPr kumimoji="0" lang="en-US" sz="2000" b="0" i="0" u="none" strike="noStrike" kern="0" cap="none" spc="0" normalizeH="0" baseline="0">
                <a:ln>
                  <a:noFill/>
                </a:ln>
                <a:solidFill>
                  <a:schemeClr val="bg1"/>
                </a:solidFill>
                <a:effectLst/>
                <a:uLnTx/>
                <a:uFillTx/>
              </a:rPr>
            </a:br>
            <a:r>
              <a:rPr kumimoji="0" lang="en-US" sz="2000" b="0" i="0" u="none" strike="noStrike" kern="0" cap="none" spc="0" normalizeH="0" baseline="0">
                <a:ln>
                  <a:noFill/>
                </a:ln>
                <a:solidFill>
                  <a:schemeClr val="bg1"/>
                </a:solidFill>
                <a:effectLst/>
                <a:uLnTx/>
                <a:uFillTx/>
              </a:rPr>
              <a:t>NR/EPC</a:t>
            </a:r>
          </a:p>
        </p:txBody>
      </p:sp>
      <p:sp>
        <p:nvSpPr>
          <p:cNvPr id="56" name="Oval 55"/>
          <p:cNvSpPr/>
          <p:nvPr/>
        </p:nvSpPr>
        <p:spPr bwMode="auto">
          <a:xfrm>
            <a:off x="7004500" y="4339632"/>
            <a:ext cx="2873899" cy="689808"/>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57" name="Oval 56"/>
          <p:cNvSpPr/>
          <p:nvPr/>
        </p:nvSpPr>
        <p:spPr bwMode="auto">
          <a:xfrm>
            <a:off x="6256648" y="3814591"/>
            <a:ext cx="2734029" cy="622259"/>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58" name="Oval 57"/>
          <p:cNvSpPr/>
          <p:nvPr/>
        </p:nvSpPr>
        <p:spPr bwMode="auto">
          <a:xfrm>
            <a:off x="9068723" y="3647965"/>
            <a:ext cx="1546698" cy="450380"/>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a:ln>
                <a:noFill/>
              </a:ln>
              <a:solidFill>
                <a:schemeClr val="tx1"/>
              </a:solidFill>
              <a:effectLst/>
              <a:uLnTx/>
              <a:uFillTx/>
              <a:latin typeface="Arial" charset="0"/>
            </a:endParaRPr>
          </a:p>
        </p:txBody>
      </p:sp>
      <p:sp>
        <p:nvSpPr>
          <p:cNvPr id="59" name="Freeform 3"/>
          <p:cNvSpPr>
            <a:spLocks noChangeAspect="1" noEditPoints="1"/>
          </p:cNvSpPr>
          <p:nvPr/>
        </p:nvSpPr>
        <p:spPr bwMode="auto">
          <a:xfrm>
            <a:off x="9602545" y="3273683"/>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60" name="AutoShape 15" descr="bpct-blend1"/>
          <p:cNvSpPr>
            <a:spLocks noChangeArrowheads="1"/>
          </p:cNvSpPr>
          <p:nvPr/>
        </p:nvSpPr>
        <p:spPr bwMode="auto">
          <a:xfrm>
            <a:off x="2404200" y="1703986"/>
            <a:ext cx="2796466" cy="481297"/>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fontAlgn="auto" hangingPunct="1">
              <a:spcAft>
                <a:spcPts val="0"/>
              </a:spcAft>
              <a:buClrTx/>
              <a:buNone/>
            </a:pPr>
            <a:endParaRPr lang="en-US" altLang="en-US" sz="1500" kern="0">
              <a:solidFill>
                <a:srgbClr val="00A9D4"/>
              </a:solidFill>
            </a:endParaRPr>
          </a:p>
        </p:txBody>
      </p:sp>
      <p:sp>
        <p:nvSpPr>
          <p:cNvPr id="61" name="AutoShape 15" descr="bpct-blend1"/>
          <p:cNvSpPr>
            <a:spLocks noChangeArrowheads="1"/>
          </p:cNvSpPr>
          <p:nvPr/>
        </p:nvSpPr>
        <p:spPr bwMode="auto">
          <a:xfrm>
            <a:off x="5360364" y="1700149"/>
            <a:ext cx="2929393" cy="481297"/>
          </a:xfrm>
          <a:prstGeom prst="roundRect">
            <a:avLst>
              <a:gd name="adj" fmla="val 5958"/>
            </a:avLst>
          </a:prstGeom>
          <a:solidFill>
            <a:schemeClr val="accent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
        <p:nvSpPr>
          <p:cNvPr id="62" name="Rectangle 61"/>
          <p:cNvSpPr>
            <a:spLocks noChangeArrowheads="1"/>
          </p:cNvSpPr>
          <p:nvPr/>
        </p:nvSpPr>
        <p:spPr bwMode="auto">
          <a:xfrm>
            <a:off x="2226175" y="1709964"/>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dirty="0">
                <a:ln>
                  <a:noFill/>
                </a:ln>
                <a:solidFill>
                  <a:srgbClr val="FFFFFF"/>
                </a:solidFill>
                <a:effectLst/>
                <a:uLnTx/>
                <a:uFillTx/>
                <a:latin typeface="Arial" pitchFamily="34" charset="0"/>
              </a:rPr>
              <a:t>5G EPC</a:t>
            </a:r>
          </a:p>
        </p:txBody>
      </p:sp>
      <p:sp>
        <p:nvSpPr>
          <p:cNvPr id="63" name="Rectangle 62"/>
          <p:cNvSpPr>
            <a:spLocks noChangeArrowheads="1"/>
          </p:cNvSpPr>
          <p:nvPr/>
        </p:nvSpPr>
        <p:spPr bwMode="auto">
          <a:xfrm>
            <a:off x="5295041" y="1705571"/>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dirty="0">
                <a:ln>
                  <a:noFill/>
                </a:ln>
                <a:solidFill>
                  <a:srgbClr val="FFFFFF"/>
                </a:solidFill>
                <a:effectLst/>
                <a:uLnTx/>
                <a:uFillTx/>
                <a:latin typeface="Arial" pitchFamily="34" charset="0"/>
              </a:rPr>
              <a:t>5GC</a:t>
            </a:r>
          </a:p>
        </p:txBody>
      </p:sp>
      <p:sp>
        <p:nvSpPr>
          <p:cNvPr id="64" name="Freeform 6"/>
          <p:cNvSpPr>
            <a:spLocks noEditPoints="1"/>
          </p:cNvSpPr>
          <p:nvPr/>
        </p:nvSpPr>
        <p:spPr bwMode="auto">
          <a:xfrm>
            <a:off x="7364451" y="5324361"/>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en-US" sz="2000" b="0" i="0" u="none" strike="noStrike" kern="0" cap="none" spc="0" normalizeH="0" baseline="0">
              <a:ln>
                <a:noFill/>
              </a:ln>
              <a:solidFill>
                <a:srgbClr val="FED57A"/>
              </a:solidFill>
              <a:effectLst/>
              <a:uLnTx/>
              <a:uFillTx/>
              <a:latin typeface="Arial" charset="0"/>
            </a:endParaRPr>
          </a:p>
        </p:txBody>
      </p:sp>
      <p:sp>
        <p:nvSpPr>
          <p:cNvPr id="65" name="TextBox 64"/>
          <p:cNvSpPr txBox="1"/>
          <p:nvPr/>
        </p:nvSpPr>
        <p:spPr>
          <a:xfrm>
            <a:off x="7828821" y="5253163"/>
            <a:ext cx="1255472" cy="1323439"/>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LTE/EPC</a:t>
            </a:r>
            <a:br>
              <a:rPr kumimoji="0" lang="en-US" sz="2000" b="0" i="0" u="none" strike="noStrike" kern="0" cap="none" spc="0" normalizeH="0" baseline="0" dirty="0">
                <a:ln>
                  <a:noFill/>
                </a:ln>
                <a:solidFill>
                  <a:schemeClr val="bg1"/>
                </a:solidFill>
                <a:effectLst/>
                <a:uLnTx/>
                <a:uFillTx/>
              </a:rPr>
            </a:br>
            <a:r>
              <a:rPr kumimoji="0" lang="en-US" sz="2000" b="0" i="0" u="none" strike="noStrike" kern="0" cap="none" spc="0" normalizeH="0" baseline="0" dirty="0">
                <a:ln>
                  <a:noFill/>
                </a:ln>
                <a:solidFill>
                  <a:schemeClr val="bg1"/>
                </a:solidFill>
                <a:effectLst/>
                <a:uLnTx/>
                <a:uFillTx/>
              </a:rPr>
              <a:t>NR/EPC</a:t>
            </a:r>
          </a:p>
          <a:p>
            <a:pPr marL="0" marR="0" lvl="0" indent="0" algn="l" defTabSz="914400" eaLnBrk="1" fontAlgn="auto" latinLnBrk="0" hangingPunct="1">
              <a:lnSpc>
                <a:spcPct val="100000"/>
              </a:lnSpc>
              <a:spcBef>
                <a:spcPts val="0"/>
              </a:spcBef>
              <a:spcAft>
                <a:spcPts val="0"/>
              </a:spcAft>
              <a:buClrTx/>
              <a:buSzTx/>
              <a:buFontTx/>
              <a:buNone/>
              <a:tabLst/>
              <a:defRPr/>
            </a:pPr>
            <a:r>
              <a:rPr lang="en-US" kern="0" dirty="0">
                <a:solidFill>
                  <a:schemeClr val="bg1"/>
                </a:solidFill>
              </a:rPr>
              <a:t>LTE/5GC</a:t>
            </a:r>
            <a:endParaRPr kumimoji="0" lang="en-US" sz="2000" b="0" i="0" u="none" strike="noStrike" kern="0" cap="none" spc="0" normalizeH="0" baseline="0" dirty="0">
              <a:ln>
                <a:noFill/>
              </a:ln>
              <a:solidFill>
                <a:schemeClr val="bg1"/>
              </a:solidFill>
              <a:effectLst/>
              <a:uLnTx/>
              <a:uFillTx/>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dirty="0">
                <a:ln>
                  <a:noFill/>
                </a:ln>
                <a:solidFill>
                  <a:schemeClr val="bg1"/>
                </a:solidFill>
                <a:effectLst/>
                <a:uLnTx/>
                <a:uFillTx/>
              </a:rPr>
              <a:t>NR/5GC</a:t>
            </a:r>
          </a:p>
        </p:txBody>
      </p:sp>
      <p:sp>
        <p:nvSpPr>
          <p:cNvPr id="66" name="Freeform 3"/>
          <p:cNvSpPr>
            <a:spLocks noChangeAspect="1" noEditPoints="1"/>
          </p:cNvSpPr>
          <p:nvPr/>
        </p:nvSpPr>
        <p:spPr bwMode="auto">
          <a:xfrm>
            <a:off x="5687986" y="3567975"/>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cxnSp>
        <p:nvCxnSpPr>
          <p:cNvPr id="67" name="Straight Connector 66"/>
          <p:cNvCxnSpPr>
            <a:cxnSpLocks/>
          </p:cNvCxnSpPr>
          <p:nvPr/>
        </p:nvCxnSpPr>
        <p:spPr bwMode="auto">
          <a:xfrm>
            <a:off x="6455131" y="3706531"/>
            <a:ext cx="530846" cy="84539"/>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68" name="Freeform 3"/>
          <p:cNvSpPr>
            <a:spLocks noChangeAspect="1" noEditPoints="1"/>
          </p:cNvSpPr>
          <p:nvPr/>
        </p:nvSpPr>
        <p:spPr bwMode="auto">
          <a:xfrm>
            <a:off x="7066832" y="3659759"/>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69" name="TextBox 68"/>
          <p:cNvSpPr txBox="1"/>
          <p:nvPr/>
        </p:nvSpPr>
        <p:spPr>
          <a:xfrm>
            <a:off x="7626741" y="3967599"/>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NR</a:t>
            </a:r>
          </a:p>
        </p:txBody>
      </p:sp>
      <p:sp>
        <p:nvSpPr>
          <p:cNvPr id="70" name="TextBox 69"/>
          <p:cNvSpPr txBox="1"/>
          <p:nvPr/>
        </p:nvSpPr>
        <p:spPr>
          <a:xfrm>
            <a:off x="8279880" y="4518333"/>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NR</a:t>
            </a:r>
          </a:p>
        </p:txBody>
      </p:sp>
      <p:sp>
        <p:nvSpPr>
          <p:cNvPr id="71" name="TextBox 70"/>
          <p:cNvSpPr txBox="1"/>
          <p:nvPr/>
        </p:nvSpPr>
        <p:spPr>
          <a:xfrm>
            <a:off x="9354858" y="3733114"/>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ysClr val="windowText" lastClr="000000"/>
                </a:solidFill>
                <a:effectLst/>
                <a:uLnTx/>
                <a:uFillTx/>
              </a:rPr>
              <a:t>NR</a:t>
            </a:r>
          </a:p>
        </p:txBody>
      </p:sp>
      <p:cxnSp>
        <p:nvCxnSpPr>
          <p:cNvPr id="72" name="Connector: Elbow 71"/>
          <p:cNvCxnSpPr>
            <a:cxnSpLocks/>
            <a:stCxn id="61" idx="2"/>
            <a:endCxn id="58" idx="0"/>
          </p:cNvCxnSpPr>
          <p:nvPr/>
        </p:nvCxnSpPr>
        <p:spPr bwMode="auto">
          <a:xfrm rot="16200000" flipH="1">
            <a:off x="7600307" y="1406199"/>
            <a:ext cx="1466519" cy="3017011"/>
          </a:xfrm>
          <a:prstGeom prst="bentConnector3">
            <a:avLst>
              <a:gd name="adj1" fmla="val 50000"/>
            </a:avLst>
          </a:prstGeom>
          <a:noFill/>
          <a:ln w="28575">
            <a:solidFill>
              <a:schemeClr val="accent2"/>
            </a:solidFill>
            <a:round/>
            <a:headEnd/>
            <a:tailEnd/>
          </a:ln>
          <a:extLst>
            <a:ext uri="{909E8E84-426E-40DD-AFC4-6F175D3DCCD1}">
              <a14:hiddenFill xmlns:a14="http://schemas.microsoft.com/office/drawing/2010/main">
                <a:noFill/>
              </a14:hiddenFill>
            </a:ext>
          </a:extLst>
        </p:spPr>
      </p:cxnSp>
      <p:cxnSp>
        <p:nvCxnSpPr>
          <p:cNvPr id="73" name="Connector: Elbow 72"/>
          <p:cNvCxnSpPr>
            <a:cxnSpLocks/>
          </p:cNvCxnSpPr>
          <p:nvPr/>
        </p:nvCxnSpPr>
        <p:spPr bwMode="auto">
          <a:xfrm rot="16200000" flipH="1">
            <a:off x="4394045" y="2307723"/>
            <a:ext cx="1776891" cy="1542857"/>
          </a:xfrm>
          <a:prstGeom prst="bentConnector3">
            <a:avLst>
              <a:gd name="adj1" fmla="val 40520"/>
            </a:avLst>
          </a:prstGeom>
          <a:noFill/>
          <a:ln w="28575">
            <a:solidFill>
              <a:schemeClr val="tx2">
                <a:lumMod val="10000"/>
                <a:lumOff val="90000"/>
              </a:schemeClr>
            </a:solidFill>
            <a:round/>
            <a:headEnd/>
            <a:tailEnd/>
          </a:ln>
          <a:extLst>
            <a:ext uri="{909E8E84-426E-40DD-AFC4-6F175D3DCCD1}">
              <a14:hiddenFill xmlns:a14="http://schemas.microsoft.com/office/drawing/2010/main">
                <a:noFill/>
              </a14:hiddenFill>
            </a:ext>
          </a:extLst>
        </p:spPr>
      </p:cxnSp>
      <p:grpSp>
        <p:nvGrpSpPr>
          <p:cNvPr id="74" name="Group 73"/>
          <p:cNvGrpSpPr/>
          <p:nvPr/>
        </p:nvGrpSpPr>
        <p:grpSpPr>
          <a:xfrm>
            <a:off x="4374954" y="2190706"/>
            <a:ext cx="2210581" cy="1325648"/>
            <a:chOff x="4374954" y="2190706"/>
            <a:chExt cx="2210581" cy="1325648"/>
          </a:xfrm>
        </p:grpSpPr>
        <p:cxnSp>
          <p:nvCxnSpPr>
            <p:cNvPr id="75" name="Connector: Elbow 74"/>
            <p:cNvCxnSpPr>
              <a:cxnSpLocks/>
            </p:cNvCxnSpPr>
            <p:nvPr/>
          </p:nvCxnSpPr>
          <p:spPr bwMode="auto">
            <a:xfrm rot="10800000" flipV="1">
              <a:off x="4374954" y="2801236"/>
              <a:ext cx="2210581" cy="715118"/>
            </a:xfrm>
            <a:prstGeom prst="bentConnector3">
              <a:avLst>
                <a:gd name="adj1" fmla="val 100073"/>
              </a:avLst>
            </a:prstGeom>
            <a:noFill/>
            <a:ln w="28575">
              <a:solidFill>
                <a:schemeClr val="accent2"/>
              </a:solidFill>
              <a:round/>
              <a:headEnd/>
              <a:tailEnd/>
            </a:ln>
            <a:extLst>
              <a:ext uri="{909E8E84-426E-40DD-AFC4-6F175D3DCCD1}">
                <a14:hiddenFill xmlns:a14="http://schemas.microsoft.com/office/drawing/2010/main">
                  <a:noFill/>
                </a14:hiddenFill>
              </a:ext>
            </a:extLst>
          </p:spPr>
        </p:cxnSp>
        <p:cxnSp>
          <p:nvCxnSpPr>
            <p:cNvPr id="76" name="Straight Connector 75"/>
            <p:cNvCxnSpPr/>
            <p:nvPr/>
          </p:nvCxnSpPr>
          <p:spPr bwMode="auto">
            <a:xfrm flipV="1">
              <a:off x="6585534" y="2190706"/>
              <a:ext cx="0" cy="61053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cxnSp>
      </p:grpSp>
      <p:sp>
        <p:nvSpPr>
          <p:cNvPr id="77" name="TextBox 76"/>
          <p:cNvSpPr txBox="1"/>
          <p:nvPr/>
        </p:nvSpPr>
        <p:spPr>
          <a:xfrm>
            <a:off x="8709136" y="1200529"/>
            <a:ext cx="3226562" cy="156966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Upgrade of Core network to support two modes/architectures simultaneously, selected on a per device/</a:t>
            </a:r>
            <a:r>
              <a:rPr kumimoji="0" lang="en-US" sz="1600" b="0" i="1" u="none" strike="noStrike" kern="0" cap="none" spc="0" normalizeH="0" baseline="0" dirty="0" err="1">
                <a:ln>
                  <a:noFill/>
                </a:ln>
                <a:solidFill>
                  <a:schemeClr val="bg1"/>
                </a:solidFill>
                <a:effectLst/>
                <a:uLnTx/>
                <a:uFillTx/>
              </a:rPr>
              <a:t>eNB</a:t>
            </a:r>
            <a:r>
              <a:rPr kumimoji="0" lang="en-US" sz="1600" b="0" i="1" u="none" strike="noStrike" kern="0" cap="none" spc="0" normalizeH="0" baseline="0" dirty="0">
                <a:ln>
                  <a:noFill/>
                </a:ln>
                <a:solidFill>
                  <a:schemeClr val="bg1"/>
                </a:solidFill>
                <a:effectLst/>
                <a:uLnTx/>
                <a:uFillTx/>
              </a:rPr>
              <a:t> basis.</a:t>
            </a:r>
          </a:p>
          <a:p>
            <a:pPr lvl="0" fontAlgn="auto">
              <a:spcBef>
                <a:spcPts val="0"/>
              </a:spcBef>
              <a:spcAft>
                <a:spcPts val="0"/>
              </a:spcAft>
            </a:pPr>
            <a:r>
              <a:rPr lang="en-US" sz="1600" i="1" kern="0" dirty="0">
                <a:solidFill>
                  <a:schemeClr val="bg1"/>
                </a:solidFill>
              </a:rPr>
              <a:t>Dynamic capacity sharing across the two modes.</a:t>
            </a:r>
          </a:p>
        </p:txBody>
      </p:sp>
      <p:sp>
        <p:nvSpPr>
          <p:cNvPr id="78" name="TextBox 77"/>
          <p:cNvSpPr txBox="1"/>
          <p:nvPr/>
        </p:nvSpPr>
        <p:spPr>
          <a:xfrm>
            <a:off x="9555094" y="5232250"/>
            <a:ext cx="2514301" cy="830997"/>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New 5G NR </a:t>
            </a:r>
            <a:r>
              <a:rPr kumimoji="0" lang="en-US" sz="1400" b="0" i="1" u="none" strike="noStrike" kern="0" cap="none" spc="0" normalizeH="0" baseline="0" dirty="0">
                <a:ln>
                  <a:noFill/>
                </a:ln>
                <a:solidFill>
                  <a:schemeClr val="bg1"/>
                </a:solidFill>
                <a:effectLst/>
                <a:uLnTx/>
                <a:uFillTx/>
              </a:rPr>
              <a:t>devices</a:t>
            </a:r>
            <a:r>
              <a:rPr kumimoji="0" lang="en-US" sz="1600" b="0" i="1" u="none" strike="noStrike" kern="0" cap="none" spc="0" normalizeH="0" baseline="0" dirty="0">
                <a:ln>
                  <a:noFill/>
                </a:ln>
                <a:solidFill>
                  <a:schemeClr val="bg1"/>
                </a:solidFill>
                <a:effectLst/>
                <a:uLnTx/>
                <a:uFillTx/>
              </a:rPr>
              <a:t>, supporting 5G Core architecture</a:t>
            </a:r>
          </a:p>
        </p:txBody>
      </p:sp>
      <p:sp>
        <p:nvSpPr>
          <p:cNvPr id="79" name="TextBox 78"/>
          <p:cNvSpPr txBox="1"/>
          <p:nvPr/>
        </p:nvSpPr>
        <p:spPr>
          <a:xfrm>
            <a:off x="1140197" y="3271068"/>
            <a:ext cx="2651035" cy="830997"/>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Two core network interfaces per </a:t>
            </a:r>
            <a:r>
              <a:rPr kumimoji="0" lang="en-US" sz="1600" b="0" i="1" u="none" strike="noStrike" kern="0" cap="none" spc="0" normalizeH="0" baseline="0" dirty="0" err="1">
                <a:ln>
                  <a:noFill/>
                </a:ln>
                <a:solidFill>
                  <a:schemeClr val="bg1"/>
                </a:solidFill>
                <a:effectLst/>
                <a:uLnTx/>
                <a:uFillTx/>
              </a:rPr>
              <a:t>eNB</a:t>
            </a:r>
            <a:r>
              <a:rPr kumimoji="0" lang="en-US" sz="1600" b="0" i="1" u="none" strike="noStrike" kern="0" cap="none" spc="0" normalizeH="0" baseline="0" dirty="0">
                <a:ln>
                  <a:noFill/>
                </a:ln>
                <a:solidFill>
                  <a:schemeClr val="bg1"/>
                </a:solidFill>
                <a:effectLst/>
                <a:uLnTx/>
                <a:uFillTx/>
              </a:rPr>
              <a:t>, at least  in 5G NR coverage areas</a:t>
            </a:r>
          </a:p>
        </p:txBody>
      </p:sp>
      <p:sp>
        <p:nvSpPr>
          <p:cNvPr id="80" name="TextBox 79"/>
          <p:cNvSpPr txBox="1"/>
          <p:nvPr/>
        </p:nvSpPr>
        <p:spPr>
          <a:xfrm>
            <a:off x="5428144" y="2482094"/>
            <a:ext cx="104800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5</a:t>
            </a:r>
          </a:p>
        </p:txBody>
      </p:sp>
      <p:sp>
        <p:nvSpPr>
          <p:cNvPr id="81" name="TextBox 80"/>
          <p:cNvSpPr txBox="1"/>
          <p:nvPr/>
        </p:nvSpPr>
        <p:spPr>
          <a:xfrm>
            <a:off x="4827107" y="2888613"/>
            <a:ext cx="104800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3</a:t>
            </a:r>
          </a:p>
        </p:txBody>
      </p:sp>
      <p:sp>
        <p:nvSpPr>
          <p:cNvPr id="82" name="TextBox 81"/>
          <p:cNvSpPr txBox="1"/>
          <p:nvPr/>
        </p:nvSpPr>
        <p:spPr>
          <a:xfrm>
            <a:off x="7574444" y="2596394"/>
            <a:ext cx="104800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2</a:t>
            </a:r>
          </a:p>
        </p:txBody>
      </p:sp>
      <p:sp>
        <p:nvSpPr>
          <p:cNvPr id="83" name="TextBox 82"/>
          <p:cNvSpPr txBox="1"/>
          <p:nvPr/>
        </p:nvSpPr>
        <p:spPr>
          <a:xfrm>
            <a:off x="6101891" y="2965680"/>
            <a:ext cx="104800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7</a:t>
            </a:r>
          </a:p>
        </p:txBody>
      </p:sp>
      <p:sp>
        <p:nvSpPr>
          <p:cNvPr id="84" name="TextBox 83"/>
          <p:cNvSpPr txBox="1"/>
          <p:nvPr/>
        </p:nvSpPr>
        <p:spPr>
          <a:xfrm rot="16200000">
            <a:off x="3610151" y="2800117"/>
            <a:ext cx="1048003"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dirty="0">
                <a:ln>
                  <a:noFill/>
                </a:ln>
                <a:solidFill>
                  <a:schemeClr val="bg1"/>
                </a:solidFill>
                <a:effectLst/>
                <a:uLnTx/>
                <a:uFillTx/>
              </a:rPr>
              <a:t>Option 1</a:t>
            </a:r>
          </a:p>
        </p:txBody>
      </p:sp>
      <p:sp>
        <p:nvSpPr>
          <p:cNvPr id="85" name="AutoShape 15" descr="bpct-blend1"/>
          <p:cNvSpPr>
            <a:spLocks noChangeArrowheads="1"/>
          </p:cNvSpPr>
          <p:nvPr/>
        </p:nvSpPr>
        <p:spPr bwMode="auto">
          <a:xfrm>
            <a:off x="2187661" y="1594093"/>
            <a:ext cx="6293867" cy="735640"/>
          </a:xfrm>
          <a:prstGeom prst="roundRect">
            <a:avLst>
              <a:gd name="adj" fmla="val 5958"/>
            </a:avLst>
          </a:prstGeom>
          <a:no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altLang="en-US" sz="1500" b="0" i="0" u="none" strike="noStrike" kern="0" cap="none" spc="0" normalizeH="0" baseline="0">
              <a:ln>
                <a:noFill/>
              </a:ln>
              <a:solidFill>
                <a:srgbClr val="00A9D4"/>
              </a:solidFill>
              <a:effectLst/>
              <a:uLnTx/>
              <a:uFillTx/>
              <a:latin typeface="Arial" pitchFamily="34" charset="0"/>
            </a:endParaRPr>
          </a:p>
        </p:txBody>
      </p:sp>
    </p:spTree>
    <p:extLst>
      <p:ext uri="{BB962C8B-B14F-4D97-AF65-F5344CB8AC3E}">
        <p14:creationId xmlns:p14="http://schemas.microsoft.com/office/powerpoint/2010/main" val="135036710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2">
                <a:lumMod val="25000"/>
                <a:lumOff val="75000"/>
              </a:schemeClr>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solidFill>
                <a:schemeClr val="tx2">
                  <a:lumMod val="25000"/>
                  <a:lumOff val="75000"/>
                </a:schemeClr>
              </a:solidFill>
            </a:endParaRPr>
          </a:p>
        </p:txBody>
      </p:sp>
      <p:sp>
        <p:nvSpPr>
          <p:cNvPr id="5" name="Title 3"/>
          <p:cNvSpPr txBox="1">
            <a:spLocks/>
          </p:cNvSpPr>
          <p:nvPr/>
        </p:nvSpPr>
        <p:spPr bwMode="auto">
          <a:xfrm>
            <a:off x="265043" y="199957"/>
            <a:ext cx="11264347"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fontScale="97500"/>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kern="0" dirty="0">
                <a:solidFill>
                  <a:schemeClr val="bg1"/>
                </a:solidFill>
                <a:latin typeface="Ericsson Capital TT" charset="0"/>
              </a:rPr>
              <a:t>Two ways for wide area coverage</a:t>
            </a:r>
            <a:br>
              <a:rPr lang="en-US" altLang="en-US" kern="0" dirty="0">
                <a:solidFill>
                  <a:schemeClr val="bg1"/>
                </a:solidFill>
                <a:latin typeface="Ericsson Capital TT" charset="0"/>
              </a:rPr>
            </a:br>
            <a:r>
              <a:rPr lang="en-US" altLang="sv-SE" sz="2400" dirty="0">
                <a:solidFill>
                  <a:schemeClr val="bg1"/>
                </a:solidFill>
                <a:latin typeface="+mn-lt"/>
              </a:rPr>
              <a:t>CN-level or RAN level interworking</a:t>
            </a:r>
            <a:endParaRPr lang="en-US" altLang="en-US" sz="2700" kern="0" dirty="0">
              <a:solidFill>
                <a:schemeClr val="bg1"/>
              </a:solidFill>
              <a:latin typeface="+mn-lt"/>
            </a:endParaRPr>
          </a:p>
        </p:txBody>
      </p:sp>
      <p:pic>
        <p:nvPicPr>
          <p:cNvPr id="6"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Rounded Corners 94"/>
          <p:cNvSpPr>
            <a:spLocks noChangeArrowheads="1"/>
          </p:cNvSpPr>
          <p:nvPr/>
        </p:nvSpPr>
        <p:spPr bwMode="auto">
          <a:xfrm>
            <a:off x="2122488" y="2609850"/>
            <a:ext cx="3773487" cy="728663"/>
          </a:xfrm>
          <a:prstGeom prst="roundRect">
            <a:avLst>
              <a:gd name="adj" fmla="val 16667"/>
            </a:avLst>
          </a:prstGeom>
          <a:solidFill>
            <a:schemeClr val="bg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sv-SE" sz="20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endParaRPr>
          </a:p>
        </p:txBody>
      </p:sp>
      <p:cxnSp>
        <p:nvCxnSpPr>
          <p:cNvPr id="46" name="Straight Connector 49"/>
          <p:cNvCxnSpPr>
            <a:cxnSpLocks/>
          </p:cNvCxnSpPr>
          <p:nvPr/>
        </p:nvCxnSpPr>
        <p:spPr bwMode="auto">
          <a:xfrm>
            <a:off x="3016250" y="5286375"/>
            <a:ext cx="460375" cy="92075"/>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86" name="Oval 3"/>
          <p:cNvSpPr>
            <a:spLocks noChangeArrowheads="1"/>
          </p:cNvSpPr>
          <p:nvPr/>
        </p:nvSpPr>
        <p:spPr bwMode="auto">
          <a:xfrm>
            <a:off x="452438" y="5419725"/>
            <a:ext cx="1785937" cy="458788"/>
          </a:xfrm>
          <a:prstGeom prst="ellipse">
            <a:avLst/>
          </a:prstGeom>
          <a:solidFill>
            <a:srgbClr val="BED68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sv-SE" sz="2000" b="0" i="0" u="none" strike="noStrike" kern="1200" cap="none" spc="0" normalizeH="0" baseline="0" noProof="0">
              <a:ln>
                <a:noFill/>
              </a:ln>
              <a:solidFill>
                <a:srgbClr val="FED57A"/>
              </a:solidFill>
              <a:effectLst/>
              <a:uLnTx/>
              <a:uFillTx/>
              <a:latin typeface="Arial" panose="020B0604020202020204" pitchFamily="34" charset="0"/>
              <a:ea typeface="+mn-ea"/>
              <a:cs typeface="Arial" panose="020B0604020202020204" pitchFamily="34" charset="0"/>
            </a:endParaRPr>
          </a:p>
        </p:txBody>
      </p:sp>
      <p:sp>
        <p:nvSpPr>
          <p:cNvPr id="87" name="Oval 4"/>
          <p:cNvSpPr>
            <a:spLocks noChangeArrowheads="1"/>
          </p:cNvSpPr>
          <p:nvPr/>
        </p:nvSpPr>
        <p:spPr bwMode="auto">
          <a:xfrm>
            <a:off x="2482850" y="5419725"/>
            <a:ext cx="1785938" cy="458788"/>
          </a:xfrm>
          <a:prstGeom prst="ellipse">
            <a:avLst/>
          </a:prstGeom>
          <a:solidFill>
            <a:srgbClr val="BED68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sv-SE" sz="2000" b="0" i="0" u="none" strike="noStrike" kern="1200" cap="none" spc="0" normalizeH="0" baseline="0" noProof="0">
              <a:ln>
                <a:noFill/>
              </a:ln>
              <a:solidFill>
                <a:srgbClr val="FED57A"/>
              </a:solidFill>
              <a:effectLst/>
              <a:uLnTx/>
              <a:uFillTx/>
              <a:latin typeface="Arial" panose="020B0604020202020204" pitchFamily="34" charset="0"/>
              <a:ea typeface="+mn-ea"/>
              <a:cs typeface="Arial" panose="020B0604020202020204" pitchFamily="34" charset="0"/>
            </a:endParaRPr>
          </a:p>
        </p:txBody>
      </p:sp>
      <p:sp>
        <p:nvSpPr>
          <p:cNvPr id="88" name="Oval 87"/>
          <p:cNvSpPr/>
          <p:nvPr/>
        </p:nvSpPr>
        <p:spPr bwMode="auto">
          <a:xfrm>
            <a:off x="3097213" y="5494338"/>
            <a:ext cx="1060450" cy="309562"/>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89" name="Freeform 3"/>
          <p:cNvSpPr>
            <a:spLocks noChangeAspect="1" noEditPoints="1"/>
          </p:cNvSpPr>
          <p:nvPr/>
        </p:nvSpPr>
        <p:spPr bwMode="auto">
          <a:xfrm>
            <a:off x="1011238" y="4765675"/>
            <a:ext cx="687387" cy="844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0" name="Freeform 3"/>
          <p:cNvSpPr>
            <a:spLocks noChangeAspect="1" noEditPoints="1"/>
          </p:cNvSpPr>
          <p:nvPr/>
        </p:nvSpPr>
        <p:spPr bwMode="auto">
          <a:xfrm>
            <a:off x="2570163" y="4765675"/>
            <a:ext cx="687387" cy="844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1" name="Freeform 3"/>
          <p:cNvSpPr>
            <a:spLocks noChangeAspect="1" noEditPoints="1"/>
          </p:cNvSpPr>
          <p:nvPr/>
        </p:nvSpPr>
        <p:spPr bwMode="auto">
          <a:xfrm>
            <a:off x="3316288" y="5032375"/>
            <a:ext cx="477837" cy="590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2" name="TextBox 76"/>
          <p:cNvSpPr txBox="1">
            <a:spLocks noChangeArrowheads="1"/>
          </p:cNvSpPr>
          <p:nvPr/>
        </p:nvSpPr>
        <p:spPr bwMode="auto">
          <a:xfrm>
            <a:off x="1376363" y="5470525"/>
            <a:ext cx="5000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rPr>
              <a:t>LTE</a:t>
            </a:r>
          </a:p>
        </p:txBody>
      </p:sp>
      <p:sp>
        <p:nvSpPr>
          <p:cNvPr id="93" name="TextBox 78"/>
          <p:cNvSpPr txBox="1">
            <a:spLocks noChangeArrowheads="1"/>
          </p:cNvSpPr>
          <p:nvPr/>
        </p:nvSpPr>
        <p:spPr bwMode="auto">
          <a:xfrm>
            <a:off x="3560763" y="5519738"/>
            <a:ext cx="444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rPr>
              <a:t>NR</a:t>
            </a:r>
          </a:p>
        </p:txBody>
      </p:sp>
      <p:sp>
        <p:nvSpPr>
          <p:cNvPr id="94" name="Oval 93"/>
          <p:cNvSpPr/>
          <p:nvPr/>
        </p:nvSpPr>
        <p:spPr bwMode="auto">
          <a:xfrm>
            <a:off x="4491038" y="5419725"/>
            <a:ext cx="1785937" cy="458788"/>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5" name="Freeform 3"/>
          <p:cNvSpPr>
            <a:spLocks noChangeAspect="1" noEditPoints="1"/>
          </p:cNvSpPr>
          <p:nvPr/>
        </p:nvSpPr>
        <p:spPr bwMode="auto">
          <a:xfrm>
            <a:off x="4872038" y="4787900"/>
            <a:ext cx="687387" cy="844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6" name="TextBox 76"/>
          <p:cNvSpPr txBox="1">
            <a:spLocks noChangeArrowheads="1"/>
          </p:cNvSpPr>
          <p:nvPr/>
        </p:nvSpPr>
        <p:spPr bwMode="auto">
          <a:xfrm>
            <a:off x="5416550" y="5470525"/>
            <a:ext cx="444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rPr>
              <a:t>NR</a:t>
            </a:r>
          </a:p>
        </p:txBody>
      </p:sp>
      <p:cxnSp>
        <p:nvCxnSpPr>
          <p:cNvPr id="97" name="Straight Connector 49"/>
          <p:cNvCxnSpPr>
            <a:cxnSpLocks/>
          </p:cNvCxnSpPr>
          <p:nvPr/>
        </p:nvCxnSpPr>
        <p:spPr bwMode="auto">
          <a:xfrm>
            <a:off x="7048500" y="5292725"/>
            <a:ext cx="460375" cy="92075"/>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98" name="Oval 97"/>
          <p:cNvSpPr/>
          <p:nvPr/>
        </p:nvSpPr>
        <p:spPr bwMode="auto">
          <a:xfrm>
            <a:off x="6515100" y="5426075"/>
            <a:ext cx="1785938" cy="458788"/>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99" name="Oval 16"/>
          <p:cNvSpPr>
            <a:spLocks noChangeArrowheads="1"/>
          </p:cNvSpPr>
          <p:nvPr/>
        </p:nvSpPr>
        <p:spPr bwMode="auto">
          <a:xfrm>
            <a:off x="7129463" y="5500688"/>
            <a:ext cx="1060450" cy="309562"/>
          </a:xfrm>
          <a:prstGeom prst="ellipse">
            <a:avLst/>
          </a:prstGeom>
          <a:solidFill>
            <a:srgbClr val="BED68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altLang="sv-SE" sz="2000" b="0" i="0" u="none" strike="noStrike" kern="1200" cap="none" spc="0" normalizeH="0" baseline="0" noProof="0">
              <a:ln>
                <a:noFill/>
              </a:ln>
              <a:solidFill>
                <a:srgbClr val="FED57A"/>
              </a:solidFill>
              <a:effectLst/>
              <a:uLnTx/>
              <a:uFillTx/>
              <a:latin typeface="Arial" panose="020B0604020202020204" pitchFamily="34" charset="0"/>
              <a:ea typeface="+mn-ea"/>
              <a:cs typeface="Arial" panose="020B0604020202020204" pitchFamily="34" charset="0"/>
            </a:endParaRPr>
          </a:p>
        </p:txBody>
      </p:sp>
      <p:sp>
        <p:nvSpPr>
          <p:cNvPr id="100" name="Freeform 3"/>
          <p:cNvSpPr>
            <a:spLocks noChangeAspect="1" noEditPoints="1"/>
          </p:cNvSpPr>
          <p:nvPr/>
        </p:nvSpPr>
        <p:spPr bwMode="auto">
          <a:xfrm>
            <a:off x="6602413" y="4772025"/>
            <a:ext cx="687387" cy="844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01" name="Freeform 3"/>
          <p:cNvSpPr>
            <a:spLocks noChangeAspect="1" noEditPoints="1"/>
          </p:cNvSpPr>
          <p:nvPr/>
        </p:nvSpPr>
        <p:spPr bwMode="auto">
          <a:xfrm>
            <a:off x="7348538" y="5038725"/>
            <a:ext cx="477837" cy="590550"/>
          </a:xfrm>
          <a:custGeom>
            <a:avLst/>
            <a:gdLst>
              <a:gd name="T0" fmla="*/ 2147483646 w 363"/>
              <a:gd name="T1" fmla="*/ 2147483646 h 447"/>
              <a:gd name="T2" fmla="*/ 2147483646 w 363"/>
              <a:gd name="T3" fmla="*/ 2147483646 h 447"/>
              <a:gd name="T4" fmla="*/ 2147483646 w 363"/>
              <a:gd name="T5" fmla="*/ 2147483646 h 447"/>
              <a:gd name="T6" fmla="*/ 2147483646 w 363"/>
              <a:gd name="T7" fmla="*/ 2147483646 h 447"/>
              <a:gd name="T8" fmla="*/ 2147483646 w 363"/>
              <a:gd name="T9" fmla="*/ 2147483646 h 447"/>
              <a:gd name="T10" fmla="*/ 2147483646 w 363"/>
              <a:gd name="T11" fmla="*/ 2147483646 h 447"/>
              <a:gd name="T12" fmla="*/ 2147483646 w 363"/>
              <a:gd name="T13" fmla="*/ 2147483646 h 447"/>
              <a:gd name="T14" fmla="*/ 2147483646 w 363"/>
              <a:gd name="T15" fmla="*/ 2147483646 h 447"/>
              <a:gd name="T16" fmla="*/ 2147483646 w 363"/>
              <a:gd name="T17" fmla="*/ 2147483646 h 447"/>
              <a:gd name="T18" fmla="*/ 2147483646 w 363"/>
              <a:gd name="T19" fmla="*/ 2147483646 h 447"/>
              <a:gd name="T20" fmla="*/ 2147483646 w 363"/>
              <a:gd name="T21" fmla="*/ 2147483646 h 447"/>
              <a:gd name="T22" fmla="*/ 2147483646 w 363"/>
              <a:gd name="T23" fmla="*/ 2147483646 h 447"/>
              <a:gd name="T24" fmla="*/ 2147483646 w 363"/>
              <a:gd name="T25" fmla="*/ 2147483646 h 447"/>
              <a:gd name="T26" fmla="*/ 2147483646 w 363"/>
              <a:gd name="T27" fmla="*/ 2147483646 h 447"/>
              <a:gd name="T28" fmla="*/ 2147483646 w 363"/>
              <a:gd name="T29" fmla="*/ 2147483646 h 447"/>
              <a:gd name="T30" fmla="*/ 2147483646 w 363"/>
              <a:gd name="T31" fmla="*/ 2147483646 h 447"/>
              <a:gd name="T32" fmla="*/ 2147483646 w 363"/>
              <a:gd name="T33" fmla="*/ 2147483646 h 447"/>
              <a:gd name="T34" fmla="*/ 2147483646 w 363"/>
              <a:gd name="T35" fmla="*/ 2147483646 h 447"/>
              <a:gd name="T36" fmla="*/ 2147483646 w 363"/>
              <a:gd name="T37" fmla="*/ 2147483646 h 447"/>
              <a:gd name="T38" fmla="*/ 2147483646 w 363"/>
              <a:gd name="T39" fmla="*/ 2147483646 h 447"/>
              <a:gd name="T40" fmla="*/ 2147483646 w 363"/>
              <a:gd name="T41" fmla="*/ 2147483646 h 447"/>
              <a:gd name="T42" fmla="*/ 0 w 363"/>
              <a:gd name="T43" fmla="*/ 2147483646 h 447"/>
              <a:gd name="T44" fmla="*/ 0 w 363"/>
              <a:gd name="T45" fmla="*/ 2147483646 h 447"/>
              <a:gd name="T46" fmla="*/ 2147483646 w 363"/>
              <a:gd name="T47" fmla="*/ 2147483646 h 447"/>
              <a:gd name="T48" fmla="*/ 2147483646 w 363"/>
              <a:gd name="T49" fmla="*/ 2147483646 h 447"/>
              <a:gd name="T50" fmla="*/ 2147483646 w 363"/>
              <a:gd name="T51" fmla="*/ 2147483646 h 447"/>
              <a:gd name="T52" fmla="*/ 2147483646 w 363"/>
              <a:gd name="T53" fmla="*/ 2147483646 h 447"/>
              <a:gd name="T54" fmla="*/ 2147483646 w 363"/>
              <a:gd name="T55" fmla="*/ 2147483646 h 447"/>
              <a:gd name="T56" fmla="*/ 2147483646 w 363"/>
              <a:gd name="T57" fmla="*/ 2147483646 h 447"/>
              <a:gd name="T58" fmla="*/ 2147483646 w 363"/>
              <a:gd name="T59" fmla="*/ 2147483646 h 447"/>
              <a:gd name="T60" fmla="*/ 2147483646 w 363"/>
              <a:gd name="T61" fmla="*/ 2147483646 h 447"/>
              <a:gd name="T62" fmla="*/ 2147483646 w 363"/>
              <a:gd name="T63" fmla="*/ 2147483646 h 447"/>
              <a:gd name="T64" fmla="*/ 2147483646 w 363"/>
              <a:gd name="T65" fmla="*/ 2147483646 h 447"/>
              <a:gd name="T66" fmla="*/ 2147483646 w 363"/>
              <a:gd name="T67" fmla="*/ 2147483646 h 447"/>
              <a:gd name="T68" fmla="*/ 2147483646 w 363"/>
              <a:gd name="T69" fmla="*/ 2147483646 h 447"/>
              <a:gd name="T70" fmla="*/ 2147483646 w 363"/>
              <a:gd name="T71" fmla="*/ 2147483646 h 447"/>
              <a:gd name="T72" fmla="*/ 2147483646 w 363"/>
              <a:gd name="T73" fmla="*/ 2147483646 h 447"/>
              <a:gd name="T74" fmla="*/ 2147483646 w 363"/>
              <a:gd name="T75" fmla="*/ 2147483646 h 447"/>
              <a:gd name="T76" fmla="*/ 2147483646 w 363"/>
              <a:gd name="T77" fmla="*/ 2147483646 h 447"/>
              <a:gd name="T78" fmla="*/ 2147483646 w 363"/>
              <a:gd name="T79" fmla="*/ 2147483646 h 447"/>
              <a:gd name="T80" fmla="*/ 2147483646 w 363"/>
              <a:gd name="T81" fmla="*/ 2147483646 h 447"/>
              <a:gd name="T82" fmla="*/ 2147483646 w 363"/>
              <a:gd name="T83" fmla="*/ 2147483646 h 447"/>
              <a:gd name="T84" fmla="*/ 2147483646 w 363"/>
              <a:gd name="T85" fmla="*/ 2147483646 h 447"/>
              <a:gd name="T86" fmla="*/ 2147483646 w 363"/>
              <a:gd name="T87" fmla="*/ 2147483646 h 447"/>
              <a:gd name="T88" fmla="*/ 2147483646 w 363"/>
              <a:gd name="T89" fmla="*/ 2147483646 h 447"/>
              <a:gd name="T90" fmla="*/ 2147483646 w 363"/>
              <a:gd name="T91" fmla="*/ 2147483646 h 447"/>
              <a:gd name="T92" fmla="*/ 2147483646 w 363"/>
              <a:gd name="T93" fmla="*/ 2147483646 h 447"/>
              <a:gd name="T94" fmla="*/ 2147483646 w 363"/>
              <a:gd name="T95" fmla="*/ 2147483646 h 447"/>
              <a:gd name="T96" fmla="*/ 2147483646 w 363"/>
              <a:gd name="T97" fmla="*/ 2147483646 h 447"/>
              <a:gd name="T98" fmla="*/ 2147483646 w 363"/>
              <a:gd name="T99" fmla="*/ 2147483646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02" name="TextBox 78"/>
          <p:cNvSpPr txBox="1">
            <a:spLocks noChangeArrowheads="1"/>
          </p:cNvSpPr>
          <p:nvPr/>
        </p:nvSpPr>
        <p:spPr bwMode="auto">
          <a:xfrm>
            <a:off x="7593013" y="5526088"/>
            <a:ext cx="50006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0" i="0" u="none" strike="noStrike" kern="1200" cap="none" spc="0" normalizeH="0" baseline="0" noProof="0">
                <a:ln>
                  <a:noFill/>
                </a:ln>
                <a:solidFill>
                  <a:srgbClr val="58585A"/>
                </a:solidFill>
                <a:effectLst/>
                <a:uLnTx/>
                <a:uFillTx/>
                <a:latin typeface="Arial" panose="020B0604020202020204" pitchFamily="34" charset="0"/>
                <a:ea typeface="+mn-ea"/>
                <a:cs typeface="Arial" panose="020B0604020202020204" pitchFamily="34" charset="0"/>
              </a:rPr>
              <a:t>LTE</a:t>
            </a:r>
          </a:p>
        </p:txBody>
      </p:sp>
      <p:grpSp>
        <p:nvGrpSpPr>
          <p:cNvPr id="103" name="Group 22"/>
          <p:cNvGrpSpPr>
            <a:grpSpLocks/>
          </p:cNvGrpSpPr>
          <p:nvPr/>
        </p:nvGrpSpPr>
        <p:grpSpPr bwMode="auto">
          <a:xfrm>
            <a:off x="4005263" y="2724150"/>
            <a:ext cx="1798637" cy="485775"/>
            <a:chOff x="5274207" y="2680364"/>
            <a:chExt cx="1567918" cy="485276"/>
          </a:xfrm>
        </p:grpSpPr>
        <p:sp>
          <p:nvSpPr>
            <p:cNvPr id="104" name="AutoShape 15" descr="bpct-blend1"/>
            <p:cNvSpPr>
              <a:spLocks noChangeArrowheads="1"/>
            </p:cNvSpPr>
            <p:nvPr/>
          </p:nvSpPr>
          <p:spPr bwMode="auto">
            <a:xfrm>
              <a:off x="5339248" y="2683536"/>
              <a:ext cx="1414309" cy="482104"/>
            </a:xfrm>
            <a:prstGeom prst="roundRect">
              <a:avLst>
                <a:gd name="adj" fmla="val 5958"/>
              </a:avLst>
            </a:prstGeom>
            <a:solidFill>
              <a:schemeClr val="accent6">
                <a:lumMod val="40000"/>
                <a:lumOff val="60000"/>
              </a:schemeClr>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defRPr/>
              </a:pPr>
              <a:endParaRPr kumimoji="0" lang="sv-SE" altLang="en-US" sz="1500" b="0" i="0" u="none" strike="noStrike" kern="1200" cap="none" spc="0" normalizeH="0" baseline="0" noProof="0">
                <a:ln>
                  <a:noFill/>
                </a:ln>
                <a:solidFill>
                  <a:srgbClr val="00A9D4"/>
                </a:solidFill>
                <a:effectLst/>
                <a:uLnTx/>
                <a:uFillTx/>
                <a:latin typeface="Arial" pitchFamily="34" charset="0"/>
                <a:ea typeface="+mn-ea"/>
                <a:cs typeface="+mn-cs"/>
              </a:endParaRPr>
            </a:p>
          </p:txBody>
        </p:sp>
        <p:sp>
          <p:nvSpPr>
            <p:cNvPr id="105" name="Rectangle 36"/>
            <p:cNvSpPr>
              <a:spLocks noChangeArrowheads="1"/>
            </p:cNvSpPr>
            <p:nvPr/>
          </p:nvSpPr>
          <p:spPr bwMode="auto">
            <a:xfrm>
              <a:off x="5274207" y="2680364"/>
              <a:ext cx="156791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5G Core</a:t>
              </a:r>
            </a:p>
          </p:txBody>
        </p:sp>
      </p:grpSp>
      <p:grpSp>
        <p:nvGrpSpPr>
          <p:cNvPr id="106" name="Group 21"/>
          <p:cNvGrpSpPr>
            <a:grpSpLocks/>
          </p:cNvGrpSpPr>
          <p:nvPr/>
        </p:nvGrpSpPr>
        <p:grpSpPr bwMode="auto">
          <a:xfrm>
            <a:off x="2293938" y="2743200"/>
            <a:ext cx="1711325" cy="488950"/>
            <a:chOff x="1529087" y="2651468"/>
            <a:chExt cx="1567918" cy="488067"/>
          </a:xfrm>
        </p:grpSpPr>
        <p:sp>
          <p:nvSpPr>
            <p:cNvPr id="107" name="AutoShape 15" descr="bpct-blend1"/>
            <p:cNvSpPr>
              <a:spLocks noChangeArrowheads="1"/>
            </p:cNvSpPr>
            <p:nvPr/>
          </p:nvSpPr>
          <p:spPr bwMode="auto">
            <a:xfrm>
              <a:off x="1606173" y="2651468"/>
              <a:ext cx="1413744" cy="483314"/>
            </a:xfrm>
            <a:prstGeom prst="roundRect">
              <a:avLst>
                <a:gd name="adj" fmla="val 5958"/>
              </a:avLst>
            </a:prstGeom>
            <a:solidFill>
              <a:schemeClr val="accent5"/>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defRPr/>
              </a:pPr>
              <a:endParaRPr kumimoji="0" lang="sv-SE" altLang="en-US" sz="1500" b="0" i="0" u="none" strike="noStrike" kern="1200" cap="none" spc="0" normalizeH="0" baseline="0" noProof="0">
                <a:ln>
                  <a:noFill/>
                </a:ln>
                <a:solidFill>
                  <a:srgbClr val="00A9D4"/>
                </a:solidFill>
                <a:effectLst/>
                <a:uLnTx/>
                <a:uFillTx/>
                <a:latin typeface="Arial" pitchFamily="34" charset="0"/>
                <a:ea typeface="+mn-ea"/>
                <a:cs typeface="+mn-cs"/>
              </a:endParaRPr>
            </a:p>
          </p:txBody>
        </p:sp>
        <p:sp>
          <p:nvSpPr>
            <p:cNvPr id="108" name="Rectangle 36"/>
            <p:cNvSpPr>
              <a:spLocks noChangeArrowheads="1"/>
            </p:cNvSpPr>
            <p:nvPr/>
          </p:nvSpPr>
          <p:spPr bwMode="auto">
            <a:xfrm>
              <a:off x="1529087" y="2677573"/>
              <a:ext cx="156791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0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5G EPC</a:t>
              </a:r>
            </a:p>
          </p:txBody>
        </p:sp>
      </p:grpSp>
      <p:cxnSp>
        <p:nvCxnSpPr>
          <p:cNvPr id="109" name="Connector: Elbow 39"/>
          <p:cNvCxnSpPr>
            <a:cxnSpLocks/>
          </p:cNvCxnSpPr>
          <p:nvPr/>
        </p:nvCxnSpPr>
        <p:spPr bwMode="auto">
          <a:xfrm rot="16200000" flipH="1">
            <a:off x="5320506" y="3225007"/>
            <a:ext cx="1614487" cy="1536700"/>
          </a:xfrm>
          <a:prstGeom prst="bentConnector3">
            <a:avLst>
              <a:gd name="adj1" fmla="val 50000"/>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110" name="Content Placeholder 1"/>
          <p:cNvSpPr txBox="1">
            <a:spLocks/>
          </p:cNvSpPr>
          <p:nvPr/>
        </p:nvSpPr>
        <p:spPr>
          <a:xfrm>
            <a:off x="8505825" y="1382713"/>
            <a:ext cx="3494088" cy="5018087"/>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altLang="en-US" sz="1999" b="0" i="0" u="none" strike="noStrike" kern="0" cap="none" spc="0" normalizeH="0" baseline="0" noProof="0" dirty="0">
                <a:ln>
                  <a:noFill/>
                </a:ln>
                <a:solidFill>
                  <a:srgbClr val="FFFFFF"/>
                </a:solidFill>
                <a:effectLst/>
                <a:uLnTx/>
                <a:uFillTx/>
                <a:latin typeface="Arial"/>
                <a:ea typeface="+mn-ea"/>
                <a:cs typeface="+mn-cs"/>
              </a:rPr>
              <a:t>IP mobility across 4G and 5G supported with both alternatives</a:t>
            </a: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altLang="en-US" sz="1999" b="0" i="0" u="none" strike="noStrike" kern="0" cap="none" spc="0" normalizeH="0" baseline="0" noProof="0" dirty="0">
                <a:ln>
                  <a:noFill/>
                </a:ln>
                <a:solidFill>
                  <a:srgbClr val="FFFFFF"/>
                </a:solidFill>
                <a:effectLst/>
                <a:uLnTx/>
                <a:uFillTx/>
                <a:latin typeface="Arial"/>
                <a:ea typeface="+mn-ea"/>
                <a:cs typeface="+mn-cs"/>
              </a:rPr>
              <a:t>Optional LTE RAN upgrade to new architecture</a:t>
            </a:r>
            <a:r>
              <a:rPr kumimoji="0" lang="en-US" altLang="en-US" sz="1800" b="0" i="0" u="none" strike="noStrike" kern="0" cap="none" spc="0" normalizeH="0" baseline="0" noProof="0" dirty="0">
                <a:ln>
                  <a:noFill/>
                </a:ln>
                <a:solidFill>
                  <a:srgbClr val="00285E">
                    <a:lumMod val="50000"/>
                    <a:lumOff val="50000"/>
                  </a:srgbClr>
                </a:solidFill>
                <a:effectLst/>
                <a:uLnTx/>
                <a:uFillTx/>
                <a:latin typeface="Arial"/>
                <a:ea typeface="+mn-ea"/>
                <a:cs typeface="Arial" panose="020B0604020202020204" pitchFamily="34" charset="0"/>
              </a:rPr>
              <a:t> </a:t>
            </a:r>
            <a:r>
              <a:rPr kumimoji="0" lang="en-US" altLang="en-US" sz="1800" b="0" i="0" u="none" strike="noStrike" kern="0" cap="none" spc="0" normalizeH="0" baseline="0" noProof="0" dirty="0">
                <a:ln>
                  <a:noFill/>
                </a:ln>
                <a:solidFill>
                  <a:schemeClr val="tx2">
                    <a:lumMod val="25000"/>
                    <a:lumOff val="75000"/>
                  </a:schemeClr>
                </a:solidFill>
                <a:effectLst/>
                <a:uLnTx/>
                <a:uFillTx/>
                <a:latin typeface="Arial"/>
                <a:ea typeface="+mn-ea"/>
                <a:cs typeface="Arial" panose="020B0604020202020204" pitchFamily="34" charset="0"/>
              </a:rPr>
              <a:t>(ALT. A)</a:t>
            </a:r>
            <a:endParaRPr kumimoji="0" lang="en-US" altLang="en-US" sz="1999" b="0" i="0" u="none" strike="noStrike" kern="0" cap="none" spc="0" normalizeH="0" baseline="0" noProof="0" dirty="0">
              <a:ln>
                <a:noFill/>
              </a:ln>
              <a:solidFill>
                <a:schemeClr val="tx2">
                  <a:lumMod val="25000"/>
                  <a:lumOff val="75000"/>
                </a:schemeClr>
              </a:solidFill>
              <a:effectLst/>
              <a:uLnTx/>
              <a:uFillTx/>
              <a:latin typeface="Arial"/>
              <a:ea typeface="+mn-ea"/>
            </a:endParaRP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endParaRPr kumimoji="0" lang="en-US" altLang="en-US" sz="1999" b="0" i="0" u="none" strike="noStrike" kern="0" cap="none" spc="0" normalizeH="0" baseline="0" noProof="0" dirty="0">
              <a:ln>
                <a:noFill/>
              </a:ln>
              <a:solidFill>
                <a:srgbClr val="FFFFFF"/>
              </a:solidFill>
              <a:effectLst/>
              <a:uLnTx/>
              <a:uFillTx/>
              <a:latin typeface="Arial"/>
              <a:ea typeface="+mn-ea"/>
              <a:cs typeface="+mn-cs"/>
            </a:endParaRPr>
          </a:p>
          <a:p>
            <a:pPr marL="176213" marR="0" lvl="0" indent="-176213" algn="l" defTabSz="914400" rtl="0" eaLnBrk="1" fontAlgn="base" latinLnBrk="0" hangingPunct="1">
              <a:lnSpc>
                <a:spcPct val="100000"/>
              </a:lnSpc>
              <a:spcBef>
                <a:spcPct val="20000"/>
              </a:spcBef>
              <a:spcAft>
                <a:spcPct val="0"/>
              </a:spcAft>
              <a:buClr>
                <a:srgbClr val="00A9D4"/>
              </a:buClr>
              <a:buSzTx/>
              <a:buFont typeface="Arial" charset="0"/>
              <a:buChar char="›"/>
              <a:tabLst/>
              <a:defRPr/>
            </a:pPr>
            <a:r>
              <a:rPr kumimoji="0" lang="en-US" altLang="en-US" sz="1999" b="0" i="0" u="none" strike="noStrike" kern="0" cap="none" spc="0" normalizeH="0" baseline="0" noProof="0" dirty="0">
                <a:ln>
                  <a:noFill/>
                </a:ln>
                <a:solidFill>
                  <a:srgbClr val="FFFFFF"/>
                </a:solidFill>
                <a:effectLst/>
                <a:uLnTx/>
                <a:uFillTx/>
                <a:latin typeface="Arial"/>
                <a:ea typeface="+mn-ea"/>
                <a:cs typeface="+mn-cs"/>
              </a:rPr>
              <a:t>Without this upgrade, EPC-5GC interworking is used </a:t>
            </a:r>
            <a:r>
              <a:rPr kumimoji="0" lang="en-US" altLang="en-US" sz="1800" b="0" i="0" u="none" strike="noStrike" kern="0" cap="none" spc="0" normalizeH="0" baseline="0" noProof="0" dirty="0">
                <a:ln>
                  <a:noFill/>
                </a:ln>
                <a:solidFill>
                  <a:schemeClr val="tx2">
                    <a:lumMod val="25000"/>
                    <a:lumOff val="75000"/>
                  </a:schemeClr>
                </a:solidFill>
                <a:effectLst/>
                <a:uLnTx/>
                <a:uFillTx/>
                <a:latin typeface="Arial"/>
                <a:ea typeface="+mn-ea"/>
                <a:cs typeface="+mn-cs"/>
              </a:rPr>
              <a:t>(ALT. B)</a:t>
            </a:r>
            <a:endParaRPr kumimoji="0" lang="en-US" altLang="en-US" sz="2000" b="0" i="0" u="none" strike="noStrike" kern="0" cap="none" spc="0" normalizeH="0" baseline="0" noProof="0" dirty="0">
              <a:ln>
                <a:noFill/>
              </a:ln>
              <a:solidFill>
                <a:schemeClr val="tx2">
                  <a:lumMod val="25000"/>
                  <a:lumOff val="75000"/>
                </a:schemeClr>
              </a:solidFill>
              <a:effectLst/>
              <a:uLnTx/>
              <a:uFillTx/>
              <a:latin typeface="Arial"/>
              <a:ea typeface="+mn-ea"/>
              <a:cs typeface="+mn-cs"/>
            </a:endParaRPr>
          </a:p>
          <a:p>
            <a:pPr marL="533400" marR="0" lvl="1" indent="-177800" algn="l" defTabSz="914400" rtl="0" eaLnBrk="1" fontAlgn="base" latinLnBrk="0" hangingPunct="1">
              <a:lnSpc>
                <a:spcPct val="100000"/>
              </a:lnSpc>
              <a:spcBef>
                <a:spcPct val="20000"/>
              </a:spcBef>
              <a:spcAft>
                <a:spcPct val="0"/>
              </a:spcAft>
              <a:buClr>
                <a:srgbClr val="58585A"/>
              </a:buClr>
              <a:buSzTx/>
              <a:buFont typeface="Ericsson Capital TT" pitchFamily="2" charset="0"/>
              <a:buChar char="–"/>
              <a:tabLst/>
              <a:defRPr/>
            </a:pPr>
            <a:r>
              <a:rPr kumimoji="0" lang="en-US" altLang="en-US" sz="1599" b="0" i="0" u="none" strike="noStrike" kern="0" cap="none" spc="0" normalizeH="0" baseline="0" noProof="0" dirty="0">
                <a:ln>
                  <a:noFill/>
                </a:ln>
                <a:solidFill>
                  <a:srgbClr val="FFFFFF"/>
                </a:solidFill>
                <a:effectLst/>
                <a:uLnTx/>
                <a:uFillTx/>
                <a:latin typeface="Arial"/>
                <a:ea typeface="+mn-ea"/>
                <a:cs typeface="+mn-cs"/>
              </a:rPr>
              <a:t>No impact on LTE</a:t>
            </a:r>
          </a:p>
          <a:p>
            <a:pPr marL="533400" marR="0" lvl="1" indent="-177800" algn="l" defTabSz="914400" rtl="0" eaLnBrk="1" fontAlgn="base" latinLnBrk="0" hangingPunct="1">
              <a:lnSpc>
                <a:spcPct val="100000"/>
              </a:lnSpc>
              <a:spcBef>
                <a:spcPct val="20000"/>
              </a:spcBef>
              <a:spcAft>
                <a:spcPct val="0"/>
              </a:spcAft>
              <a:buClr>
                <a:srgbClr val="58585A"/>
              </a:buClr>
              <a:buSzTx/>
              <a:buFont typeface="Ericsson Capital TT" pitchFamily="2" charset="0"/>
              <a:buChar char="–"/>
              <a:tabLst/>
              <a:defRPr/>
            </a:pPr>
            <a:r>
              <a:rPr kumimoji="0" lang="en-US" altLang="en-US" sz="1599" b="0" i="0" u="none" strike="noStrike" kern="0" cap="none" spc="0" normalizeH="0" baseline="0" noProof="0" dirty="0">
                <a:ln>
                  <a:noFill/>
                </a:ln>
                <a:solidFill>
                  <a:srgbClr val="FFFFFF"/>
                </a:solidFill>
                <a:effectLst/>
                <a:uLnTx/>
                <a:uFillTx/>
                <a:latin typeface="Arial"/>
                <a:ea typeface="+mn-ea"/>
                <a:cs typeface="+mn-cs"/>
              </a:rPr>
              <a:t>… but creates dependency between radio coverage and service capabilities, e.g.</a:t>
            </a:r>
          </a:p>
          <a:p>
            <a:pPr marL="892175" marR="0" lvl="2" indent="-179388" algn="l" defTabSz="914400" rtl="0" eaLnBrk="1" fontAlgn="base" latinLnBrk="0" hangingPunct="1">
              <a:lnSpc>
                <a:spcPct val="100000"/>
              </a:lnSpc>
              <a:spcBef>
                <a:spcPct val="20000"/>
              </a:spcBef>
              <a:spcAft>
                <a:spcPct val="0"/>
              </a:spcAft>
              <a:buClr>
                <a:srgbClr val="92CCE5"/>
              </a:buClr>
              <a:buSzTx/>
              <a:buFont typeface="Ericsson Capital TT" pitchFamily="2" charset="0"/>
              <a:buChar char="›"/>
              <a:tabLst/>
              <a:defRPr/>
            </a:pPr>
            <a:r>
              <a:rPr kumimoji="0" lang="en-US" altLang="en-US" sz="1599" b="0" i="0" u="none" strike="noStrike" kern="0" cap="none" spc="0" normalizeH="0" baseline="0" noProof="0" dirty="0">
                <a:ln>
                  <a:noFill/>
                </a:ln>
                <a:solidFill>
                  <a:srgbClr val="FFFFFF"/>
                </a:solidFill>
                <a:effectLst/>
                <a:uLnTx/>
                <a:uFillTx/>
                <a:latin typeface="Arial"/>
                <a:ea typeface="+mn-ea"/>
                <a:cs typeface="+mn-cs"/>
              </a:rPr>
              <a:t>Extended s</a:t>
            </a:r>
            <a:r>
              <a:rPr kumimoji="0" lang="en-US" altLang="en-US" sz="1599" b="0" i="0" u="none" strike="noStrike" kern="0" cap="none" spc="0" normalizeH="0" baseline="0" noProof="0" dirty="0" err="1">
                <a:ln>
                  <a:noFill/>
                </a:ln>
                <a:solidFill>
                  <a:srgbClr val="FFFFFF"/>
                </a:solidFill>
                <a:effectLst/>
                <a:uLnTx/>
                <a:uFillTx/>
                <a:latin typeface="Arial"/>
                <a:ea typeface="+mn-ea"/>
                <a:cs typeface="+mn-cs"/>
              </a:rPr>
              <a:t>licing</a:t>
            </a:r>
            <a:r>
              <a:rPr kumimoji="0" lang="en-US" altLang="en-US" sz="1599" b="0" i="0" u="none" strike="noStrike" kern="0" cap="none" spc="0" normalizeH="0" baseline="0" noProof="0" dirty="0">
                <a:ln>
                  <a:noFill/>
                </a:ln>
                <a:solidFill>
                  <a:srgbClr val="FFFFFF"/>
                </a:solidFill>
                <a:effectLst/>
                <a:uLnTx/>
                <a:uFillTx/>
                <a:latin typeface="Arial"/>
                <a:ea typeface="+mn-ea"/>
                <a:cs typeface="+mn-cs"/>
              </a:rPr>
              <a:t> support</a:t>
            </a:r>
            <a:endParaRPr kumimoji="0" lang="en-US" altLang="en-US" sz="1400" b="0" i="0" u="none" strike="noStrike" kern="0" cap="none" spc="0" normalizeH="0" baseline="0" noProof="0" dirty="0">
              <a:ln>
                <a:noFill/>
              </a:ln>
              <a:solidFill>
                <a:srgbClr val="FFFFFF"/>
              </a:solidFill>
              <a:effectLst/>
              <a:uLnTx/>
              <a:uFillTx/>
              <a:latin typeface="Arial"/>
              <a:ea typeface="+mn-ea"/>
              <a:cs typeface="+mn-cs"/>
            </a:endParaRPr>
          </a:p>
          <a:p>
            <a:pPr marL="892175" marR="0" lvl="2" indent="-179388" algn="l" defTabSz="914400" rtl="0" eaLnBrk="1" fontAlgn="base" latinLnBrk="0" hangingPunct="1">
              <a:lnSpc>
                <a:spcPct val="100000"/>
              </a:lnSpc>
              <a:spcBef>
                <a:spcPct val="20000"/>
              </a:spcBef>
              <a:spcAft>
                <a:spcPct val="0"/>
              </a:spcAft>
              <a:buClr>
                <a:srgbClr val="92CCE5"/>
              </a:buClr>
              <a:buSzTx/>
              <a:buFont typeface="Ericsson Capital TT" pitchFamily="2" charset="0"/>
              <a:buChar char="›"/>
              <a:tabLst/>
              <a:defRPr/>
            </a:pPr>
            <a:r>
              <a:rPr kumimoji="0" lang="en-US" altLang="en-US" sz="1599" b="0" i="0" u="none" strike="noStrike" kern="0" cap="none" spc="0" normalizeH="0" baseline="0" noProof="0" dirty="0">
                <a:ln>
                  <a:noFill/>
                </a:ln>
                <a:solidFill>
                  <a:srgbClr val="FFFFFF"/>
                </a:solidFill>
                <a:effectLst/>
                <a:uLnTx/>
                <a:uFillTx/>
                <a:latin typeface="Arial"/>
                <a:ea typeface="+mn-ea"/>
                <a:cs typeface="+mn-cs"/>
              </a:rPr>
              <a:t>5G </a:t>
            </a:r>
            <a:r>
              <a:rPr kumimoji="0" lang="en-US" altLang="en-US" sz="1599" b="0" i="0" u="none" strike="noStrike" kern="0" cap="none" spc="0" normalizeH="0" baseline="0" noProof="0" dirty="0" err="1">
                <a:ln>
                  <a:noFill/>
                </a:ln>
                <a:solidFill>
                  <a:srgbClr val="FFFFFF"/>
                </a:solidFill>
                <a:effectLst/>
                <a:uLnTx/>
                <a:uFillTx/>
                <a:latin typeface="Arial"/>
                <a:ea typeface="+mn-ea"/>
                <a:cs typeface="+mn-cs"/>
              </a:rPr>
              <a:t>QoS</a:t>
            </a:r>
            <a:r>
              <a:rPr kumimoji="0" lang="en-US" altLang="en-US" sz="1599" b="0" i="0" u="none" strike="noStrike" kern="0" cap="none" spc="0" normalizeH="0" baseline="0" noProof="0" dirty="0">
                <a:ln>
                  <a:noFill/>
                </a:ln>
                <a:solidFill>
                  <a:srgbClr val="FFFFFF"/>
                </a:solidFill>
                <a:effectLst/>
                <a:uLnTx/>
                <a:uFillTx/>
                <a:latin typeface="Arial"/>
                <a:ea typeface="+mn-ea"/>
                <a:cs typeface="+mn-cs"/>
              </a:rPr>
              <a:t> model</a:t>
            </a:r>
          </a:p>
          <a:p>
            <a:pPr marL="892175" marR="0" lvl="2" indent="-179388" algn="l" defTabSz="914400" rtl="0" eaLnBrk="1" fontAlgn="base" latinLnBrk="0" hangingPunct="1">
              <a:lnSpc>
                <a:spcPct val="100000"/>
              </a:lnSpc>
              <a:spcBef>
                <a:spcPct val="20000"/>
              </a:spcBef>
              <a:spcAft>
                <a:spcPct val="0"/>
              </a:spcAft>
              <a:buClr>
                <a:srgbClr val="92CCE5"/>
              </a:buClr>
              <a:buSzTx/>
              <a:buFont typeface="Ericsson Capital TT" pitchFamily="2" charset="0"/>
              <a:buChar char="›"/>
              <a:tabLst/>
              <a:defRPr/>
            </a:pPr>
            <a:r>
              <a:rPr kumimoji="0" lang="en-US" altLang="en-US" sz="1599" b="0" i="0" u="none" strike="noStrike" kern="0" cap="none" spc="0" normalizeH="0" baseline="0" noProof="0" dirty="0">
                <a:ln>
                  <a:noFill/>
                </a:ln>
                <a:solidFill>
                  <a:srgbClr val="FFFFFF"/>
                </a:solidFill>
                <a:effectLst/>
                <a:uLnTx/>
                <a:uFillTx/>
                <a:latin typeface="Arial"/>
                <a:ea typeface="+mn-ea"/>
                <a:cs typeface="+mn-cs"/>
              </a:rPr>
              <a:t>LBO/anchoring</a:t>
            </a:r>
          </a:p>
        </p:txBody>
      </p:sp>
      <p:sp>
        <p:nvSpPr>
          <p:cNvPr id="111" name="Content Placeholder 1"/>
          <p:cNvSpPr txBox="1">
            <a:spLocks/>
          </p:cNvSpPr>
          <p:nvPr/>
        </p:nvSpPr>
        <p:spPr>
          <a:xfrm>
            <a:off x="544514" y="1303338"/>
            <a:ext cx="5732462" cy="708024"/>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B0F0"/>
              </a:buClr>
              <a:buSzTx/>
              <a:buFont typeface="Arial" charset="0"/>
              <a:buChar char="›"/>
              <a:tabLst/>
              <a:defRPr/>
            </a:pPr>
            <a:r>
              <a:rPr kumimoji="0" lang="en-US" altLang="en-US" sz="1999" b="0" i="0" u="none" strike="noStrike" kern="0" cap="none" spc="0" normalizeH="0" baseline="0" noProof="0" dirty="0">
                <a:ln>
                  <a:noFill/>
                </a:ln>
                <a:solidFill>
                  <a:srgbClr val="FFFFFF"/>
                </a:solidFill>
                <a:effectLst/>
                <a:uLnTx/>
                <a:uFillTx/>
                <a:latin typeface="Arial"/>
                <a:ea typeface="+mn-ea"/>
                <a:cs typeface="+mn-cs"/>
              </a:rPr>
              <a:t>Optional upgrade of LTE RAN to support</a:t>
            </a:r>
            <a:r>
              <a:rPr kumimoji="0" lang="en-US" altLang="en-US" sz="1999" b="0" i="0" u="none" strike="noStrike" kern="0" cap="none" spc="0" normalizeH="0" noProof="0" dirty="0">
                <a:ln>
                  <a:noFill/>
                </a:ln>
                <a:solidFill>
                  <a:srgbClr val="FFFFFF"/>
                </a:solidFill>
                <a:effectLst/>
                <a:uLnTx/>
                <a:uFillTx/>
                <a:latin typeface="Arial"/>
                <a:ea typeface="+mn-ea"/>
                <a:cs typeface="+mn-cs"/>
              </a:rPr>
              <a:t> 5GC</a:t>
            </a:r>
            <a:endParaRPr kumimoji="0" lang="en-US" altLang="en-US" sz="1999" b="0" i="0" u="none" strike="noStrike" kern="0" cap="none" spc="0" normalizeH="0" baseline="0" noProof="0" dirty="0">
              <a:ln>
                <a:noFill/>
              </a:ln>
              <a:solidFill>
                <a:srgbClr val="FFFFFF"/>
              </a:solidFill>
              <a:effectLst/>
              <a:uLnTx/>
              <a:uFillTx/>
              <a:latin typeface="Arial"/>
              <a:ea typeface="+mn-ea"/>
              <a:cs typeface="+mn-cs"/>
            </a:endParaRPr>
          </a:p>
          <a:p>
            <a:pPr marL="176213" marR="0" lvl="0" indent="-176213" algn="l" defTabSz="914400" rtl="0" eaLnBrk="1" fontAlgn="base" latinLnBrk="0" hangingPunct="1">
              <a:lnSpc>
                <a:spcPct val="100000"/>
              </a:lnSpc>
              <a:spcBef>
                <a:spcPct val="20000"/>
              </a:spcBef>
              <a:spcAft>
                <a:spcPct val="0"/>
              </a:spcAft>
              <a:buClr>
                <a:srgbClr val="00B0F0"/>
              </a:buClr>
              <a:buSzTx/>
              <a:buFont typeface="Arial" charset="0"/>
              <a:buChar char="›"/>
              <a:tabLst/>
              <a:defRPr/>
            </a:pPr>
            <a:r>
              <a:rPr kumimoji="0" lang="en-US" altLang="en-US" sz="1999" b="0" i="0" u="none" strike="noStrike" kern="0" cap="none" spc="0" normalizeH="0" baseline="0" noProof="0" dirty="0">
                <a:ln>
                  <a:noFill/>
                </a:ln>
                <a:solidFill>
                  <a:srgbClr val="FFFFFF"/>
                </a:solidFill>
                <a:effectLst/>
                <a:uLnTx/>
                <a:uFillTx/>
                <a:latin typeface="Arial"/>
                <a:ea typeface="+mn-ea"/>
                <a:cs typeface="Arial" panose="020B0604020202020204" pitchFamily="34" charset="0"/>
              </a:rPr>
              <a:t>Core network interworking</a:t>
            </a:r>
          </a:p>
        </p:txBody>
      </p:sp>
      <p:sp>
        <p:nvSpPr>
          <p:cNvPr id="112" name="TextBox 111"/>
          <p:cNvSpPr txBox="1"/>
          <p:nvPr/>
        </p:nvSpPr>
        <p:spPr>
          <a:xfrm>
            <a:off x="3554413" y="2222500"/>
            <a:ext cx="847725" cy="369888"/>
          </a:xfrm>
          <a:prstGeom prst="rect">
            <a:avLst/>
          </a:prstGeom>
          <a:noFill/>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800" b="0" i="0" u="none" strike="noStrike" kern="1200" cap="none" spc="0" normalizeH="0" baseline="0" noProof="0" dirty="0">
                <a:ln>
                  <a:noFill/>
                </a:ln>
                <a:solidFill>
                  <a:schemeClr val="tx2">
                    <a:lumMod val="25000"/>
                    <a:lumOff val="75000"/>
                  </a:schemeClr>
                </a:solidFill>
                <a:effectLst/>
                <a:uLnTx/>
                <a:uFillTx/>
                <a:latin typeface="Arial" charset="0"/>
                <a:ea typeface="+mn-ea"/>
                <a:cs typeface="+mn-cs"/>
              </a:rPr>
              <a:t>ALT. B</a:t>
            </a:r>
          </a:p>
        </p:txBody>
      </p:sp>
      <p:sp>
        <p:nvSpPr>
          <p:cNvPr id="113" name="TextBox 112"/>
          <p:cNvSpPr txBox="1"/>
          <p:nvPr/>
        </p:nvSpPr>
        <p:spPr>
          <a:xfrm>
            <a:off x="3698875" y="4168775"/>
            <a:ext cx="835025" cy="369888"/>
          </a:xfrm>
          <a:prstGeom prst="rect">
            <a:avLst/>
          </a:prstGeom>
          <a:noFill/>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800" b="0" i="0" u="none" strike="noStrike" kern="1200" cap="none" spc="0" normalizeH="0" baseline="0" noProof="0" dirty="0">
                <a:ln>
                  <a:noFill/>
                </a:ln>
                <a:solidFill>
                  <a:schemeClr val="tx2">
                    <a:lumMod val="25000"/>
                    <a:lumOff val="75000"/>
                  </a:schemeClr>
                </a:solidFill>
                <a:effectLst/>
                <a:uLnTx/>
                <a:uFillTx/>
                <a:latin typeface="Arial" charset="0"/>
                <a:ea typeface="+mn-ea"/>
                <a:cs typeface="+mn-cs"/>
              </a:rPr>
              <a:t>ALT. A</a:t>
            </a:r>
          </a:p>
        </p:txBody>
      </p:sp>
      <p:grpSp>
        <p:nvGrpSpPr>
          <p:cNvPr id="114" name="Group 56"/>
          <p:cNvGrpSpPr>
            <a:grpSpLocks/>
          </p:cNvGrpSpPr>
          <p:nvPr/>
        </p:nvGrpSpPr>
        <p:grpSpPr bwMode="auto">
          <a:xfrm>
            <a:off x="1989138" y="5908675"/>
            <a:ext cx="611187" cy="425450"/>
            <a:chOff x="1220052" y="5933241"/>
            <a:chExt cx="610712" cy="425648"/>
          </a:xfrm>
        </p:grpSpPr>
        <p:sp>
          <p:nvSpPr>
            <p:cNvPr id="115" name="Freeform 6"/>
            <p:cNvSpPr>
              <a:spLocks noEditPoints="1"/>
            </p:cNvSpPr>
            <p:nvPr/>
          </p:nvSpPr>
          <p:spPr bwMode="auto">
            <a:xfrm>
              <a:off x="1261972" y="5933241"/>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16" name="TextBox 28"/>
            <p:cNvSpPr txBox="1">
              <a:spLocks noChangeArrowheads="1"/>
            </p:cNvSpPr>
            <p:nvPr/>
          </p:nvSpPr>
          <p:spPr bwMode="auto">
            <a:xfrm>
              <a:off x="1220052" y="6030649"/>
              <a:ext cx="61071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p>
          </p:txBody>
        </p:sp>
      </p:grpSp>
      <p:grpSp>
        <p:nvGrpSpPr>
          <p:cNvPr id="117" name="Group 59"/>
          <p:cNvGrpSpPr>
            <a:grpSpLocks/>
          </p:cNvGrpSpPr>
          <p:nvPr/>
        </p:nvGrpSpPr>
        <p:grpSpPr bwMode="auto">
          <a:xfrm>
            <a:off x="2439988" y="5992813"/>
            <a:ext cx="611187" cy="427037"/>
            <a:chOff x="3580205" y="5893859"/>
            <a:chExt cx="610712" cy="425648"/>
          </a:xfrm>
        </p:grpSpPr>
        <p:sp>
          <p:nvSpPr>
            <p:cNvPr id="118" name="Freeform 6"/>
            <p:cNvSpPr>
              <a:spLocks noEditPoints="1"/>
            </p:cNvSpPr>
            <p:nvPr/>
          </p:nvSpPr>
          <p:spPr bwMode="auto">
            <a:xfrm>
              <a:off x="3616731" y="5893859"/>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a:noFill/>
            </a:ln>
            <a:extLst>
              <a:ext uri="{91240B29-F687-4F45-9708-019B960494DF}">
                <a14:hiddenLine xmlns:a14="http://schemas.microsoft.com/office/drawing/2010/main" w="12700" cap="flat" cmpd="sng" algn="ctr">
                  <a:solidFill>
                    <a:srgbClr val="000000"/>
                  </a:solidFill>
                  <a:prstDash val="solid"/>
                  <a:round/>
                  <a:headEnd type="none" w="med" len="med"/>
                  <a:tailEnd type="none" w="med" len="me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19" name="TextBox 28"/>
            <p:cNvSpPr txBox="1">
              <a:spLocks noChangeArrowheads="1"/>
            </p:cNvSpPr>
            <p:nvPr/>
          </p:nvSpPr>
          <p:spPr bwMode="auto">
            <a:xfrm>
              <a:off x="3580205" y="5913744"/>
              <a:ext cx="6107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b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G</a:t>
              </a:r>
            </a:p>
          </p:txBody>
        </p:sp>
      </p:grpSp>
      <p:grpSp>
        <p:nvGrpSpPr>
          <p:cNvPr id="120" name="Group 62"/>
          <p:cNvGrpSpPr>
            <a:grpSpLocks/>
          </p:cNvGrpSpPr>
          <p:nvPr/>
        </p:nvGrpSpPr>
        <p:grpSpPr bwMode="auto">
          <a:xfrm>
            <a:off x="5919788" y="2316957"/>
            <a:ext cx="611187" cy="425450"/>
            <a:chOff x="6158329" y="5679315"/>
            <a:chExt cx="610712" cy="425648"/>
          </a:xfrm>
        </p:grpSpPr>
        <p:sp>
          <p:nvSpPr>
            <p:cNvPr id="121" name="Freeform 6"/>
            <p:cNvSpPr>
              <a:spLocks noEditPoints="1"/>
            </p:cNvSpPr>
            <p:nvPr/>
          </p:nvSpPr>
          <p:spPr bwMode="auto">
            <a:xfrm>
              <a:off x="6194855" y="5679315"/>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22" name="TextBox 28"/>
            <p:cNvSpPr txBox="1">
              <a:spLocks noChangeArrowheads="1"/>
            </p:cNvSpPr>
            <p:nvPr/>
          </p:nvSpPr>
          <p:spPr bwMode="auto">
            <a:xfrm>
              <a:off x="6158329" y="5699200"/>
              <a:ext cx="6107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b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G</a:t>
              </a:r>
            </a:p>
          </p:txBody>
        </p:sp>
      </p:grpSp>
      <p:grpSp>
        <p:nvGrpSpPr>
          <p:cNvPr id="123" name="Group 65"/>
          <p:cNvGrpSpPr>
            <a:grpSpLocks/>
          </p:cNvGrpSpPr>
          <p:nvPr/>
        </p:nvGrpSpPr>
        <p:grpSpPr bwMode="auto">
          <a:xfrm>
            <a:off x="1477822" y="2220787"/>
            <a:ext cx="609600" cy="425450"/>
            <a:chOff x="1220052" y="5933241"/>
            <a:chExt cx="610712" cy="425648"/>
          </a:xfrm>
        </p:grpSpPr>
        <p:sp>
          <p:nvSpPr>
            <p:cNvPr id="124" name="Freeform 6"/>
            <p:cNvSpPr>
              <a:spLocks noEditPoints="1"/>
            </p:cNvSpPr>
            <p:nvPr/>
          </p:nvSpPr>
          <p:spPr bwMode="auto">
            <a:xfrm>
              <a:off x="1261972" y="5933241"/>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25" name="TextBox 28"/>
            <p:cNvSpPr txBox="1">
              <a:spLocks noChangeArrowheads="1"/>
            </p:cNvSpPr>
            <p:nvPr/>
          </p:nvSpPr>
          <p:spPr bwMode="auto">
            <a:xfrm>
              <a:off x="1220052" y="6030649"/>
              <a:ext cx="61071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p>
          </p:txBody>
        </p:sp>
      </p:grpSp>
      <p:grpSp>
        <p:nvGrpSpPr>
          <p:cNvPr id="126" name="Group 68"/>
          <p:cNvGrpSpPr>
            <a:grpSpLocks/>
          </p:cNvGrpSpPr>
          <p:nvPr/>
        </p:nvGrpSpPr>
        <p:grpSpPr bwMode="auto">
          <a:xfrm>
            <a:off x="1787098" y="2438400"/>
            <a:ext cx="611187" cy="425450"/>
            <a:chOff x="3580205" y="5893859"/>
            <a:chExt cx="610712" cy="425648"/>
          </a:xfrm>
        </p:grpSpPr>
        <p:sp>
          <p:nvSpPr>
            <p:cNvPr id="127" name="Freeform 6"/>
            <p:cNvSpPr>
              <a:spLocks noEditPoints="1"/>
            </p:cNvSpPr>
            <p:nvPr/>
          </p:nvSpPr>
          <p:spPr bwMode="auto">
            <a:xfrm>
              <a:off x="3616731" y="5893859"/>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a:noFill/>
            </a:ln>
            <a:extLst>
              <a:ext uri="{91240B29-F687-4F45-9708-019B960494DF}">
                <a14:hiddenLine xmlns:a14="http://schemas.microsoft.com/office/drawing/2010/main" w="12700" cap="flat" cmpd="sng" algn="ctr">
                  <a:solidFill>
                    <a:srgbClr val="000000"/>
                  </a:solidFill>
                  <a:prstDash val="solid"/>
                  <a:round/>
                  <a:headEnd type="none" w="med" len="med"/>
                  <a:tailEnd type="none" w="med" len="me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28" name="TextBox 28"/>
            <p:cNvSpPr txBox="1">
              <a:spLocks noChangeArrowheads="1"/>
            </p:cNvSpPr>
            <p:nvPr/>
          </p:nvSpPr>
          <p:spPr bwMode="auto">
            <a:xfrm>
              <a:off x="3580205" y="5913744"/>
              <a:ext cx="6107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b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G</a:t>
              </a:r>
            </a:p>
          </p:txBody>
        </p:sp>
      </p:grpSp>
      <p:grpSp>
        <p:nvGrpSpPr>
          <p:cNvPr id="129" name="Group 50"/>
          <p:cNvGrpSpPr>
            <a:grpSpLocks/>
          </p:cNvGrpSpPr>
          <p:nvPr/>
        </p:nvGrpSpPr>
        <p:grpSpPr bwMode="auto">
          <a:xfrm>
            <a:off x="5424488" y="6005513"/>
            <a:ext cx="609600" cy="425450"/>
            <a:chOff x="6158329" y="5679315"/>
            <a:chExt cx="610712" cy="425648"/>
          </a:xfrm>
        </p:grpSpPr>
        <p:sp>
          <p:nvSpPr>
            <p:cNvPr id="130" name="Freeform 6"/>
            <p:cNvSpPr>
              <a:spLocks noEditPoints="1"/>
            </p:cNvSpPr>
            <p:nvPr/>
          </p:nvSpPr>
          <p:spPr bwMode="auto">
            <a:xfrm>
              <a:off x="6194855" y="5679315"/>
              <a:ext cx="268830" cy="425648"/>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rIns="72000"/>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58585A"/>
                </a:solidFill>
                <a:effectLst/>
                <a:uLnTx/>
                <a:uFillTx/>
                <a:latin typeface="Arial" charset="0"/>
                <a:ea typeface="+mn-ea"/>
                <a:cs typeface="+mn-cs"/>
              </a:endParaRPr>
            </a:p>
          </p:txBody>
        </p:sp>
        <p:sp>
          <p:nvSpPr>
            <p:cNvPr id="131" name="TextBox 28"/>
            <p:cNvSpPr txBox="1">
              <a:spLocks noChangeArrowheads="1"/>
            </p:cNvSpPr>
            <p:nvPr/>
          </p:nvSpPr>
          <p:spPr bwMode="auto">
            <a:xfrm>
              <a:off x="6158329" y="5699200"/>
              <a:ext cx="6107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G</a:t>
              </a:r>
              <a:b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sv-SE" altLang="sv-SE"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G</a:t>
              </a:r>
            </a:p>
          </p:txBody>
        </p:sp>
      </p:grpSp>
      <p:cxnSp>
        <p:nvCxnSpPr>
          <p:cNvPr id="132" name="Connector: Elbow 72"/>
          <p:cNvCxnSpPr>
            <a:cxnSpLocks/>
          </p:cNvCxnSpPr>
          <p:nvPr/>
        </p:nvCxnSpPr>
        <p:spPr bwMode="auto">
          <a:xfrm rot="5400000">
            <a:off x="1308894" y="3229769"/>
            <a:ext cx="1627188" cy="1549400"/>
          </a:xfrm>
          <a:prstGeom prst="bentConnector3">
            <a:avLst>
              <a:gd name="adj1" fmla="val 50000"/>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133" name="Straight Connector 40"/>
          <p:cNvCxnSpPr>
            <a:cxnSpLocks noChangeShapeType="1"/>
          </p:cNvCxnSpPr>
          <p:nvPr/>
        </p:nvCxnSpPr>
        <p:spPr bwMode="auto">
          <a:xfrm flipV="1">
            <a:off x="2992438" y="3249613"/>
            <a:ext cx="0" cy="1460500"/>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134" name="Straight Connector 73"/>
          <p:cNvCxnSpPr>
            <a:cxnSpLocks/>
          </p:cNvCxnSpPr>
          <p:nvPr/>
        </p:nvCxnSpPr>
        <p:spPr bwMode="auto">
          <a:xfrm flipV="1">
            <a:off x="5216525" y="3249613"/>
            <a:ext cx="0" cy="1538287"/>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grpSp>
        <p:nvGrpSpPr>
          <p:cNvPr id="135" name="Group 84"/>
          <p:cNvGrpSpPr>
            <a:grpSpLocks/>
          </p:cNvGrpSpPr>
          <p:nvPr/>
        </p:nvGrpSpPr>
        <p:grpSpPr bwMode="auto">
          <a:xfrm>
            <a:off x="1498600" y="3298825"/>
            <a:ext cx="3521075" cy="1489075"/>
            <a:chOff x="1499016" y="3269028"/>
            <a:chExt cx="3521228" cy="1488295"/>
          </a:xfrm>
        </p:grpSpPr>
        <p:cxnSp>
          <p:nvCxnSpPr>
            <p:cNvPr id="136" name="Straight Connector 135"/>
            <p:cNvCxnSpPr/>
            <p:nvPr/>
          </p:nvCxnSpPr>
          <p:spPr bwMode="auto">
            <a:xfrm flipV="1">
              <a:off x="1499016" y="4466963"/>
              <a:ext cx="3510116" cy="15867"/>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cxnSp>
          <p:nvCxnSpPr>
            <p:cNvPr id="137" name="Straight Connector 136"/>
            <p:cNvCxnSpPr/>
            <p:nvPr/>
          </p:nvCxnSpPr>
          <p:spPr bwMode="auto">
            <a:xfrm flipV="1">
              <a:off x="5020244" y="3269028"/>
              <a:ext cx="0" cy="1197935"/>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cxnSp>
          <p:nvCxnSpPr>
            <p:cNvPr id="138" name="Straight Connector 137"/>
            <p:cNvCxnSpPr/>
            <p:nvPr/>
          </p:nvCxnSpPr>
          <p:spPr bwMode="auto">
            <a:xfrm>
              <a:off x="1499016" y="4482830"/>
              <a:ext cx="0" cy="274493"/>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cxnSp>
          <p:nvCxnSpPr>
            <p:cNvPr id="139" name="Straight Connector 138"/>
            <p:cNvCxnSpPr/>
            <p:nvPr/>
          </p:nvCxnSpPr>
          <p:spPr bwMode="auto">
            <a:xfrm>
              <a:off x="2897665" y="4482830"/>
              <a:ext cx="0" cy="274493"/>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grpSp>
      <p:grpSp>
        <p:nvGrpSpPr>
          <p:cNvPr id="140" name="Group 93"/>
          <p:cNvGrpSpPr>
            <a:grpSpLocks/>
          </p:cNvGrpSpPr>
          <p:nvPr/>
        </p:nvGrpSpPr>
        <p:grpSpPr bwMode="auto">
          <a:xfrm>
            <a:off x="3668713" y="2514600"/>
            <a:ext cx="590550" cy="152400"/>
            <a:chOff x="3679757" y="2396379"/>
            <a:chExt cx="589332" cy="153141"/>
          </a:xfrm>
        </p:grpSpPr>
        <p:cxnSp>
          <p:nvCxnSpPr>
            <p:cNvPr id="141" name="Straight Connector 140"/>
            <p:cNvCxnSpPr/>
            <p:nvPr/>
          </p:nvCxnSpPr>
          <p:spPr bwMode="auto">
            <a:xfrm flipV="1">
              <a:off x="3679757" y="2396379"/>
              <a:ext cx="0" cy="153141"/>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cxnSp>
          <p:nvCxnSpPr>
            <p:cNvPr id="142" name="Straight Connector 141"/>
            <p:cNvCxnSpPr/>
            <p:nvPr/>
          </p:nvCxnSpPr>
          <p:spPr bwMode="auto">
            <a:xfrm flipV="1">
              <a:off x="4269089" y="2396379"/>
              <a:ext cx="0" cy="153141"/>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cxnSp>
          <p:nvCxnSpPr>
            <p:cNvPr id="143" name="Straight Connector 142"/>
            <p:cNvCxnSpPr/>
            <p:nvPr/>
          </p:nvCxnSpPr>
          <p:spPr bwMode="auto">
            <a:xfrm>
              <a:off x="3679757" y="2396379"/>
              <a:ext cx="589332" cy="0"/>
            </a:xfrm>
            <a:prstGeom prst="line">
              <a:avLst/>
            </a:prstGeom>
            <a:solidFill>
              <a:schemeClr val="accent1"/>
            </a:solidFill>
            <a:ln w="12700" cap="flat" cmpd="sng" algn="ctr">
              <a:solidFill>
                <a:schemeClr val="tx2">
                  <a:lumMod val="25000"/>
                  <a:lumOff val="75000"/>
                </a:schemeClr>
              </a:solidFill>
              <a:prstDash val="dash"/>
              <a:round/>
              <a:headEnd type="none" w="med" len="med"/>
              <a:tailEnd type="none" w="med" len="med"/>
            </a:ln>
            <a:effectLst/>
          </p:spPr>
        </p:cxnSp>
      </p:grpSp>
      <p:sp>
        <p:nvSpPr>
          <p:cNvPr id="144" name="TextBox 143"/>
          <p:cNvSpPr txBox="1"/>
          <p:nvPr/>
        </p:nvSpPr>
        <p:spPr>
          <a:xfrm>
            <a:off x="3790950" y="1686771"/>
            <a:ext cx="847725" cy="369888"/>
          </a:xfrm>
          <a:prstGeom prst="rect">
            <a:avLst/>
          </a:prstGeom>
          <a:noFill/>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800" b="0" i="0" u="none" strike="noStrike" kern="1200" cap="none" spc="0" normalizeH="0" baseline="0" noProof="0" dirty="0">
                <a:ln>
                  <a:noFill/>
                </a:ln>
                <a:solidFill>
                  <a:schemeClr val="tx2">
                    <a:lumMod val="25000"/>
                    <a:lumOff val="75000"/>
                  </a:schemeClr>
                </a:solidFill>
                <a:effectLst/>
                <a:uLnTx/>
                <a:uFillTx/>
                <a:latin typeface="Arial" charset="0"/>
                <a:ea typeface="+mn-ea"/>
                <a:cs typeface="+mn-cs"/>
              </a:rPr>
              <a:t>ALT. B</a:t>
            </a:r>
          </a:p>
        </p:txBody>
      </p:sp>
      <p:sp>
        <p:nvSpPr>
          <p:cNvPr id="145" name="TextBox 144"/>
          <p:cNvSpPr txBox="1"/>
          <p:nvPr/>
        </p:nvSpPr>
        <p:spPr>
          <a:xfrm>
            <a:off x="5992129" y="1337326"/>
            <a:ext cx="835025" cy="369888"/>
          </a:xfrm>
          <a:prstGeom prst="rect">
            <a:avLst/>
          </a:prstGeom>
          <a:noFill/>
        </p:spPr>
        <p:txBody>
          <a:bodyPr wrap="non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sz="1800" b="0" i="0" u="none" strike="noStrike" kern="1200" cap="none" spc="0" normalizeH="0" baseline="0" noProof="0" dirty="0">
                <a:ln>
                  <a:noFill/>
                </a:ln>
                <a:solidFill>
                  <a:schemeClr val="tx2">
                    <a:lumMod val="25000"/>
                    <a:lumOff val="75000"/>
                  </a:schemeClr>
                </a:solidFill>
                <a:effectLst/>
                <a:uLnTx/>
                <a:uFillTx/>
                <a:latin typeface="Arial" charset="0"/>
                <a:ea typeface="+mn-ea"/>
                <a:cs typeface="+mn-cs"/>
              </a:rPr>
              <a:t>ALT. A</a:t>
            </a:r>
          </a:p>
        </p:txBody>
      </p:sp>
    </p:spTree>
    <p:extLst>
      <p:ext uri="{BB962C8B-B14F-4D97-AF65-F5344CB8AC3E}">
        <p14:creationId xmlns:p14="http://schemas.microsoft.com/office/powerpoint/2010/main" val="416647127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4G to 5G migration per slice type</a:t>
            </a:r>
          </a:p>
        </p:txBody>
      </p:sp>
      <p:sp>
        <p:nvSpPr>
          <p:cNvPr id="4" name="Content Placeholder 1"/>
          <p:cNvSpPr txBox="1">
            <a:spLocks/>
          </p:cNvSpPr>
          <p:nvPr/>
        </p:nvSpPr>
        <p:spPr bwMode="auto">
          <a:xfrm>
            <a:off x="2581048" y="1430996"/>
            <a:ext cx="9083904" cy="4653963"/>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dirty="0"/>
              <a:t>Migration per network slice type. Considerations depending on requirements and timing</a:t>
            </a:r>
          </a:p>
          <a:p>
            <a:r>
              <a:rPr lang="en-US" kern="0" dirty="0"/>
              <a:t>M-MTC</a:t>
            </a:r>
          </a:p>
          <a:p>
            <a:pPr lvl="1"/>
            <a:r>
              <a:rPr lang="en-US" kern="0" dirty="0"/>
              <a:t>Supported by new technologies like NB </a:t>
            </a:r>
            <a:r>
              <a:rPr lang="en-US" kern="0" dirty="0" err="1"/>
              <a:t>IoT</a:t>
            </a:r>
            <a:r>
              <a:rPr lang="en-US" kern="0" dirty="0"/>
              <a:t> in evolution of LTE/EPC. Limited need for NR and 5GC in the near future.</a:t>
            </a:r>
          </a:p>
          <a:p>
            <a:r>
              <a:rPr lang="en-US" kern="0" dirty="0" err="1"/>
              <a:t>eMBB</a:t>
            </a:r>
            <a:endParaRPr lang="en-US" kern="0" dirty="0"/>
          </a:p>
          <a:p>
            <a:pPr lvl="1"/>
            <a:r>
              <a:rPr lang="en-US" kern="0" dirty="0"/>
              <a:t>NR as a capacity boost driving for early introduction leveraging Option 3. Over time, migrate core network to 5GC, but EPC capability needs to be maintained for roamers and legacy devices.</a:t>
            </a:r>
          </a:p>
          <a:p>
            <a:r>
              <a:rPr lang="en-US" kern="0" dirty="0"/>
              <a:t>Enterprise &amp; Industry, Critical Comm. &amp; C-MTC</a:t>
            </a:r>
          </a:p>
          <a:p>
            <a:pPr lvl="1"/>
            <a:r>
              <a:rPr lang="en-US" kern="0" dirty="0"/>
              <a:t>Two main cases; wide area coverage and new opportunities with local coverage. Some use cases possible to address with LTE/EPC, with enhanced performance longer term with Option 2</a:t>
            </a:r>
          </a:p>
        </p:txBody>
      </p:sp>
      <p:grpSp>
        <p:nvGrpSpPr>
          <p:cNvPr id="5" name="Group 4"/>
          <p:cNvGrpSpPr/>
          <p:nvPr/>
        </p:nvGrpSpPr>
        <p:grpSpPr>
          <a:xfrm>
            <a:off x="524932" y="1148257"/>
            <a:ext cx="1738801" cy="1242472"/>
            <a:chOff x="1336617" y="1847970"/>
            <a:chExt cx="1738801" cy="1242472"/>
          </a:xfrm>
        </p:grpSpPr>
        <p:sp>
          <p:nvSpPr>
            <p:cNvPr id="6" name="Freeform 27"/>
            <p:cNvSpPr/>
            <p:nvPr/>
          </p:nvSpPr>
          <p:spPr>
            <a:xfrm>
              <a:off x="133661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Massive MTC</a:t>
              </a:r>
            </a:p>
          </p:txBody>
        </p:sp>
        <p:sp>
          <p:nvSpPr>
            <p:cNvPr id="7" name="Freeform 6"/>
            <p:cNvSpPr>
              <a:spLocks noEditPoints="1"/>
            </p:cNvSpPr>
            <p:nvPr/>
          </p:nvSpPr>
          <p:spPr bwMode="auto">
            <a:xfrm>
              <a:off x="1837632" y="2019135"/>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ndParaRPr>
            </a:p>
          </p:txBody>
        </p:sp>
      </p:grpSp>
      <p:grpSp>
        <p:nvGrpSpPr>
          <p:cNvPr id="8" name="Group 7"/>
          <p:cNvGrpSpPr/>
          <p:nvPr/>
        </p:nvGrpSpPr>
        <p:grpSpPr>
          <a:xfrm>
            <a:off x="524932" y="2515506"/>
            <a:ext cx="1738801" cy="1242472"/>
            <a:chOff x="3998642" y="1847970"/>
            <a:chExt cx="1738801" cy="1242472"/>
          </a:xfrm>
        </p:grpSpPr>
        <p:sp>
          <p:nvSpPr>
            <p:cNvPr id="9" name="Freeform 29"/>
            <p:cNvSpPr/>
            <p:nvPr/>
          </p:nvSpPr>
          <p:spPr>
            <a:xfrm>
              <a:off x="399864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hanced MBB</a:t>
              </a:r>
            </a:p>
          </p:txBody>
        </p:sp>
        <p:sp>
          <p:nvSpPr>
            <p:cNvPr id="10" name="Freeform 6"/>
            <p:cNvSpPr>
              <a:spLocks noEditPoints="1"/>
            </p:cNvSpPr>
            <p:nvPr/>
          </p:nvSpPr>
          <p:spPr bwMode="auto">
            <a:xfrm>
              <a:off x="4618302" y="1967701"/>
              <a:ext cx="460358" cy="75345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ndParaRPr>
            </a:p>
          </p:txBody>
        </p:sp>
      </p:grpSp>
      <p:grpSp>
        <p:nvGrpSpPr>
          <p:cNvPr id="11" name="Group 10"/>
          <p:cNvGrpSpPr/>
          <p:nvPr/>
        </p:nvGrpSpPr>
        <p:grpSpPr>
          <a:xfrm>
            <a:off x="505368" y="5244958"/>
            <a:ext cx="1738801" cy="1242472"/>
            <a:chOff x="9322692" y="1847970"/>
            <a:chExt cx="1738801" cy="1242472"/>
          </a:xfrm>
        </p:grpSpPr>
        <p:sp>
          <p:nvSpPr>
            <p:cNvPr id="12" name="Freeform 33"/>
            <p:cNvSpPr/>
            <p:nvPr/>
          </p:nvSpPr>
          <p:spPr>
            <a:xfrm>
              <a:off x="932269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Critical Comm. and MTC</a:t>
              </a:r>
            </a:p>
          </p:txBody>
        </p:sp>
        <p:sp>
          <p:nvSpPr>
            <p:cNvPr id="13" name="Freeform 3"/>
            <p:cNvSpPr>
              <a:spLocks noChangeAspect="1" noEditPoints="1"/>
            </p:cNvSpPr>
            <p:nvPr/>
          </p:nvSpPr>
          <p:spPr bwMode="auto">
            <a:xfrm>
              <a:off x="9920032" y="1982362"/>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4" name="Group 13"/>
          <p:cNvGrpSpPr/>
          <p:nvPr/>
        </p:nvGrpSpPr>
        <p:grpSpPr>
          <a:xfrm>
            <a:off x="505370" y="3877709"/>
            <a:ext cx="1738801" cy="1242472"/>
            <a:chOff x="6660667" y="1847970"/>
            <a:chExt cx="1738801" cy="1242472"/>
          </a:xfrm>
        </p:grpSpPr>
        <p:sp>
          <p:nvSpPr>
            <p:cNvPr id="15" name="Freeform 31"/>
            <p:cNvSpPr/>
            <p:nvPr/>
          </p:nvSpPr>
          <p:spPr>
            <a:xfrm>
              <a:off x="666066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terprise and Industry</a:t>
              </a:r>
            </a:p>
          </p:txBody>
        </p:sp>
        <p:sp>
          <p:nvSpPr>
            <p:cNvPr id="16" name="Freeform 3"/>
            <p:cNvSpPr>
              <a:spLocks noChangeAspect="1" noEditPoints="1"/>
            </p:cNvSpPr>
            <p:nvPr/>
          </p:nvSpPr>
          <p:spPr bwMode="auto">
            <a:xfrm>
              <a:off x="7285202" y="1962739"/>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n-lt"/>
              </a:endParaRPr>
            </a:p>
          </p:txBody>
        </p:sp>
      </p:grpSp>
    </p:spTree>
    <p:extLst>
      <p:ext uri="{BB962C8B-B14F-4D97-AF65-F5344CB8AC3E}">
        <p14:creationId xmlns:p14="http://schemas.microsoft.com/office/powerpoint/2010/main" val="80423431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sive-MTC network slice</a:t>
            </a:r>
          </a:p>
        </p:txBody>
      </p:sp>
      <p:grpSp>
        <p:nvGrpSpPr>
          <p:cNvPr id="4" name="Group 3"/>
          <p:cNvGrpSpPr/>
          <p:nvPr/>
        </p:nvGrpSpPr>
        <p:grpSpPr>
          <a:xfrm>
            <a:off x="524932" y="1126719"/>
            <a:ext cx="1738801" cy="1242472"/>
            <a:chOff x="1336617" y="1847970"/>
            <a:chExt cx="1738801" cy="1242472"/>
          </a:xfrm>
        </p:grpSpPr>
        <p:sp>
          <p:nvSpPr>
            <p:cNvPr id="5" name="Freeform 27"/>
            <p:cNvSpPr/>
            <p:nvPr/>
          </p:nvSpPr>
          <p:spPr>
            <a:xfrm>
              <a:off x="133661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Massive MTC</a:t>
              </a:r>
            </a:p>
          </p:txBody>
        </p:sp>
        <p:sp>
          <p:nvSpPr>
            <p:cNvPr id="6" name="Freeform 6"/>
            <p:cNvSpPr>
              <a:spLocks noEditPoints="1"/>
            </p:cNvSpPr>
            <p:nvPr/>
          </p:nvSpPr>
          <p:spPr bwMode="auto">
            <a:xfrm>
              <a:off x="1837632" y="2019135"/>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7" name="Group 6"/>
          <p:cNvGrpSpPr/>
          <p:nvPr/>
        </p:nvGrpSpPr>
        <p:grpSpPr>
          <a:xfrm>
            <a:off x="524932" y="2493968"/>
            <a:ext cx="1738801" cy="1242472"/>
            <a:chOff x="3998642" y="1847970"/>
            <a:chExt cx="1738801" cy="1242472"/>
          </a:xfrm>
        </p:grpSpPr>
        <p:sp>
          <p:nvSpPr>
            <p:cNvPr id="8" name="Freeform 29"/>
            <p:cNvSpPr/>
            <p:nvPr/>
          </p:nvSpPr>
          <p:spPr>
            <a:xfrm>
              <a:off x="399864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hanced MBB</a:t>
              </a:r>
            </a:p>
          </p:txBody>
        </p:sp>
        <p:sp>
          <p:nvSpPr>
            <p:cNvPr id="9" name="Freeform 6"/>
            <p:cNvSpPr>
              <a:spLocks noEditPoints="1"/>
            </p:cNvSpPr>
            <p:nvPr/>
          </p:nvSpPr>
          <p:spPr bwMode="auto">
            <a:xfrm>
              <a:off x="4618302" y="1967701"/>
              <a:ext cx="460358" cy="75345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0" name="Group 9"/>
          <p:cNvGrpSpPr/>
          <p:nvPr/>
        </p:nvGrpSpPr>
        <p:grpSpPr>
          <a:xfrm>
            <a:off x="505368" y="5223420"/>
            <a:ext cx="1738801" cy="1242472"/>
            <a:chOff x="9322692" y="1847970"/>
            <a:chExt cx="1738801" cy="1242472"/>
          </a:xfrm>
        </p:grpSpPr>
        <p:sp>
          <p:nvSpPr>
            <p:cNvPr id="11" name="Freeform 33"/>
            <p:cNvSpPr/>
            <p:nvPr/>
          </p:nvSpPr>
          <p:spPr>
            <a:xfrm>
              <a:off x="932269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Critical Comm. and MTC</a:t>
              </a:r>
            </a:p>
          </p:txBody>
        </p:sp>
        <p:sp>
          <p:nvSpPr>
            <p:cNvPr id="12" name="Freeform 3"/>
            <p:cNvSpPr>
              <a:spLocks noChangeAspect="1" noEditPoints="1"/>
            </p:cNvSpPr>
            <p:nvPr/>
          </p:nvSpPr>
          <p:spPr bwMode="auto">
            <a:xfrm>
              <a:off x="9920032" y="1982362"/>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3" name="Group 12"/>
          <p:cNvGrpSpPr/>
          <p:nvPr/>
        </p:nvGrpSpPr>
        <p:grpSpPr>
          <a:xfrm>
            <a:off x="505370" y="3856171"/>
            <a:ext cx="1738801" cy="1242472"/>
            <a:chOff x="6660667" y="1847970"/>
            <a:chExt cx="1738801" cy="1242472"/>
          </a:xfrm>
        </p:grpSpPr>
        <p:sp>
          <p:nvSpPr>
            <p:cNvPr id="14" name="Freeform 31"/>
            <p:cNvSpPr/>
            <p:nvPr/>
          </p:nvSpPr>
          <p:spPr>
            <a:xfrm>
              <a:off x="666066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terprise and Industry</a:t>
              </a:r>
            </a:p>
          </p:txBody>
        </p:sp>
        <p:sp>
          <p:nvSpPr>
            <p:cNvPr id="15" name="Freeform 3"/>
            <p:cNvSpPr>
              <a:spLocks noChangeAspect="1" noEditPoints="1"/>
            </p:cNvSpPr>
            <p:nvPr/>
          </p:nvSpPr>
          <p:spPr bwMode="auto">
            <a:xfrm>
              <a:off x="7285202" y="1962739"/>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6" name="Group 261"/>
          <p:cNvGrpSpPr>
            <a:grpSpLocks/>
          </p:cNvGrpSpPr>
          <p:nvPr/>
        </p:nvGrpSpPr>
        <p:grpSpPr bwMode="auto">
          <a:xfrm>
            <a:off x="3235840" y="1288547"/>
            <a:ext cx="496390" cy="689716"/>
            <a:chOff x="239" y="1832"/>
            <a:chExt cx="363" cy="520"/>
          </a:xfrm>
        </p:grpSpPr>
        <p:sp>
          <p:nvSpPr>
            <p:cNvPr id="1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EPC</a:t>
              </a:r>
            </a:p>
          </p:txBody>
        </p:sp>
        <p:sp>
          <p:nvSpPr>
            <p:cNvPr id="2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2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22" name="Group 9"/>
          <p:cNvGrpSpPr>
            <a:grpSpLocks/>
          </p:cNvGrpSpPr>
          <p:nvPr/>
        </p:nvGrpSpPr>
        <p:grpSpPr bwMode="auto">
          <a:xfrm>
            <a:off x="3749812" y="3167881"/>
            <a:ext cx="239369" cy="360989"/>
            <a:chOff x="416" y="1332"/>
            <a:chExt cx="408" cy="737"/>
          </a:xfrm>
        </p:grpSpPr>
        <p:sp>
          <p:nvSpPr>
            <p:cNvPr id="23"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24" name="Group 11"/>
            <p:cNvGrpSpPr>
              <a:grpSpLocks/>
            </p:cNvGrpSpPr>
            <p:nvPr/>
          </p:nvGrpSpPr>
          <p:grpSpPr bwMode="auto">
            <a:xfrm>
              <a:off x="416" y="1332"/>
              <a:ext cx="408" cy="737"/>
              <a:chOff x="518" y="1338"/>
              <a:chExt cx="357" cy="568"/>
            </a:xfrm>
          </p:grpSpPr>
          <p:sp>
            <p:nvSpPr>
              <p:cNvPr id="25"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26"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27" name="Straight Connector 26"/>
          <p:cNvCxnSpPr>
            <a:stCxn id="34" idx="1"/>
            <a:endCxn id="19" idx="2"/>
          </p:cNvCxnSpPr>
          <p:nvPr/>
        </p:nvCxnSpPr>
        <p:spPr bwMode="auto">
          <a:xfrm flipV="1">
            <a:off x="3301851" y="1962347"/>
            <a:ext cx="180817"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8" name="Straight Connector 27"/>
          <p:cNvCxnSpPr>
            <a:stCxn id="34" idx="7"/>
            <a:endCxn id="17" idx="2"/>
          </p:cNvCxnSpPr>
          <p:nvPr/>
        </p:nvCxnSpPr>
        <p:spPr bwMode="auto">
          <a:xfrm flipH="1" flipV="1">
            <a:off x="3484719" y="1970305"/>
            <a:ext cx="157496"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9" name="Straight Connector 28"/>
          <p:cNvCxnSpPr/>
          <p:nvPr/>
        </p:nvCxnSpPr>
        <p:spPr bwMode="auto">
          <a:xfrm flipH="1" flipV="1">
            <a:off x="3385377" y="2902568"/>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30" name="Freeform 5"/>
          <p:cNvSpPr>
            <a:spLocks noChangeAspect="1"/>
          </p:cNvSpPr>
          <p:nvPr/>
        </p:nvSpPr>
        <p:spPr bwMode="auto">
          <a:xfrm>
            <a:off x="2674308" y="1152661"/>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1</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Existing LTE </a:t>
            </a:r>
          </a:p>
        </p:txBody>
      </p:sp>
      <p:cxnSp>
        <p:nvCxnSpPr>
          <p:cNvPr id="31" name="Straight Connector 30"/>
          <p:cNvCxnSpPr>
            <a:endCxn id="33" idx="2"/>
          </p:cNvCxnSpPr>
          <p:nvPr/>
        </p:nvCxnSpPr>
        <p:spPr bwMode="auto">
          <a:xfrm flipH="1" flipV="1">
            <a:off x="3473401" y="2902568"/>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32" name="Group 31"/>
          <p:cNvGrpSpPr>
            <a:grpSpLocks noChangeAspect="1"/>
          </p:cNvGrpSpPr>
          <p:nvPr/>
        </p:nvGrpSpPr>
        <p:grpSpPr bwMode="auto">
          <a:xfrm>
            <a:off x="3224522" y="2207558"/>
            <a:ext cx="496390" cy="703123"/>
            <a:chOff x="3106" y="2389"/>
            <a:chExt cx="363" cy="520"/>
          </a:xfrm>
        </p:grpSpPr>
        <p:sp>
          <p:nvSpPr>
            <p:cNvPr id="3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3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sp>
        <p:nvSpPr>
          <p:cNvPr id="38" name="TextBox 37"/>
          <p:cNvSpPr txBox="1"/>
          <p:nvPr/>
        </p:nvSpPr>
        <p:spPr>
          <a:xfrm>
            <a:off x="9123191" y="4282656"/>
            <a:ext cx="2925329"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2 - Introduction of 5G Core</a:t>
            </a:r>
          </a:p>
        </p:txBody>
      </p:sp>
      <p:sp>
        <p:nvSpPr>
          <p:cNvPr id="39" name="Rectangle 38"/>
          <p:cNvSpPr/>
          <p:nvPr/>
        </p:nvSpPr>
        <p:spPr bwMode="auto">
          <a:xfrm>
            <a:off x="367769" y="3856171"/>
            <a:ext cx="2013995" cy="2672109"/>
          </a:xfrm>
          <a:prstGeom prst="rect">
            <a:avLst/>
          </a:prstGeom>
          <a:solidFill>
            <a:schemeClr val="bg1">
              <a:alpha val="6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mn-lt"/>
            </a:endParaRPr>
          </a:p>
        </p:txBody>
      </p:sp>
      <p:sp>
        <p:nvSpPr>
          <p:cNvPr id="40" name="Rectangle 39"/>
          <p:cNvSpPr/>
          <p:nvPr/>
        </p:nvSpPr>
        <p:spPr bwMode="auto">
          <a:xfrm>
            <a:off x="325648" y="2463472"/>
            <a:ext cx="2013995" cy="1366757"/>
          </a:xfrm>
          <a:prstGeom prst="rect">
            <a:avLst/>
          </a:prstGeom>
          <a:solidFill>
            <a:schemeClr val="bg1">
              <a:alpha val="6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mn-lt"/>
            </a:endParaRPr>
          </a:p>
        </p:txBody>
      </p:sp>
      <p:sp>
        <p:nvSpPr>
          <p:cNvPr id="41" name="Right Arrow 29"/>
          <p:cNvSpPr/>
          <p:nvPr/>
        </p:nvSpPr>
        <p:spPr bwMode="auto">
          <a:xfrm>
            <a:off x="7107330" y="2020590"/>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grpSp>
        <p:nvGrpSpPr>
          <p:cNvPr id="42" name="Group 41"/>
          <p:cNvGrpSpPr/>
          <p:nvPr/>
        </p:nvGrpSpPr>
        <p:grpSpPr>
          <a:xfrm>
            <a:off x="9123191" y="1153557"/>
            <a:ext cx="2712720" cy="2508241"/>
            <a:chOff x="9123191" y="1175095"/>
            <a:chExt cx="2712720" cy="2508241"/>
          </a:xfrm>
        </p:grpSpPr>
        <p:grpSp>
          <p:nvGrpSpPr>
            <p:cNvPr id="43" name="Group 261"/>
            <p:cNvGrpSpPr>
              <a:grpSpLocks/>
            </p:cNvGrpSpPr>
            <p:nvPr/>
          </p:nvGrpSpPr>
          <p:grpSpPr bwMode="auto">
            <a:xfrm>
              <a:off x="10552827" y="1310981"/>
              <a:ext cx="496390" cy="689716"/>
              <a:chOff x="239" y="1832"/>
              <a:chExt cx="363" cy="520"/>
            </a:xfrm>
          </p:grpSpPr>
          <p:sp>
            <p:nvSpPr>
              <p:cNvPr id="6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G</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C</a:t>
                </a:r>
              </a:p>
            </p:txBody>
          </p:sp>
          <p:sp>
            <p:nvSpPr>
              <p:cNvPr id="6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44" name="Group 9"/>
            <p:cNvGrpSpPr>
              <a:grpSpLocks/>
            </p:cNvGrpSpPr>
            <p:nvPr/>
          </p:nvGrpSpPr>
          <p:grpSpPr bwMode="auto">
            <a:xfrm>
              <a:off x="10198695" y="3190315"/>
              <a:ext cx="239369" cy="360989"/>
              <a:chOff x="416" y="1332"/>
              <a:chExt cx="408" cy="737"/>
            </a:xfrm>
          </p:grpSpPr>
          <p:sp>
            <p:nvSpPr>
              <p:cNvPr id="56"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57" name="Group 11"/>
              <p:cNvGrpSpPr>
                <a:grpSpLocks/>
              </p:cNvGrpSpPr>
              <p:nvPr/>
            </p:nvGrpSpPr>
            <p:grpSpPr bwMode="auto">
              <a:xfrm>
                <a:off x="416" y="1332"/>
                <a:ext cx="408" cy="737"/>
                <a:chOff x="518" y="1338"/>
                <a:chExt cx="357" cy="568"/>
              </a:xfrm>
            </p:grpSpPr>
            <p:sp>
              <p:nvSpPr>
                <p:cNvPr id="58"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59"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45" name="Straight Connector 44"/>
            <p:cNvCxnSpPr>
              <a:stCxn id="52" idx="1"/>
              <a:endCxn id="62" idx="2"/>
            </p:cNvCxnSpPr>
            <p:nvPr/>
          </p:nvCxnSpPr>
          <p:spPr bwMode="auto">
            <a:xfrm flipV="1">
              <a:off x="9750734" y="1984781"/>
              <a:ext cx="1048921"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46" name="Straight Connector 45"/>
            <p:cNvCxnSpPr>
              <a:stCxn id="52" idx="7"/>
              <a:endCxn id="60" idx="2"/>
            </p:cNvCxnSpPr>
            <p:nvPr/>
          </p:nvCxnSpPr>
          <p:spPr bwMode="auto">
            <a:xfrm flipV="1">
              <a:off x="10091098" y="1992739"/>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47" name="Straight Connector 46"/>
            <p:cNvCxnSpPr/>
            <p:nvPr/>
          </p:nvCxnSpPr>
          <p:spPr bwMode="auto">
            <a:xfrm flipH="1" flipV="1">
              <a:off x="9834260" y="292500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48" name="Freeform 5"/>
            <p:cNvSpPr>
              <a:spLocks noChangeAspect="1"/>
            </p:cNvSpPr>
            <p:nvPr/>
          </p:nvSpPr>
          <p:spPr bwMode="auto">
            <a:xfrm>
              <a:off x="9123191" y="1175095"/>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5</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Stand-alone LTE R15</a:t>
              </a:r>
            </a:p>
          </p:txBody>
        </p:sp>
        <p:cxnSp>
          <p:nvCxnSpPr>
            <p:cNvPr id="49" name="Straight Connector 48"/>
            <p:cNvCxnSpPr>
              <a:endCxn id="51" idx="2"/>
            </p:cNvCxnSpPr>
            <p:nvPr/>
          </p:nvCxnSpPr>
          <p:spPr bwMode="auto">
            <a:xfrm flipH="1" flipV="1">
              <a:off x="9922284" y="2925002"/>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50" name="Group 49"/>
            <p:cNvGrpSpPr>
              <a:grpSpLocks noChangeAspect="1"/>
            </p:cNvGrpSpPr>
            <p:nvPr/>
          </p:nvGrpSpPr>
          <p:grpSpPr bwMode="auto">
            <a:xfrm>
              <a:off x="9673405" y="2229992"/>
              <a:ext cx="496390" cy="703123"/>
              <a:chOff x="3106" y="2389"/>
              <a:chExt cx="363" cy="520"/>
            </a:xfrm>
          </p:grpSpPr>
          <p:sp>
            <p:nvSpPr>
              <p:cNvPr id="5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5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5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5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5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sp>
        <p:nvSpPr>
          <p:cNvPr id="65" name="TextBox 64"/>
          <p:cNvSpPr txBox="1"/>
          <p:nvPr/>
        </p:nvSpPr>
        <p:spPr>
          <a:xfrm>
            <a:off x="2674308" y="4148024"/>
            <a:ext cx="3099475"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1 - Introduction of e.g. </a:t>
            </a:r>
            <a:r>
              <a:rPr kumimoji="0" lang="en-US" sz="1800" b="0" i="0" u="none" strike="noStrike" kern="0" cap="none" spc="0" normalizeH="0" baseline="0" noProof="0" dirty="0" err="1">
                <a:ln>
                  <a:noFill/>
                </a:ln>
                <a:solidFill>
                  <a:sysClr val="windowText" lastClr="000000"/>
                </a:solidFill>
                <a:effectLst/>
                <a:uLnTx/>
                <a:uFillTx/>
                <a:latin typeface="+mn-lt"/>
              </a:rPr>
              <a:t>NBIoT</a:t>
            </a:r>
            <a:r>
              <a:rPr kumimoji="0" lang="en-US" sz="1800" b="0" i="0" u="none" strike="noStrike" kern="0" cap="none" spc="0" normalizeH="0" baseline="0" noProof="0" dirty="0">
                <a:ln>
                  <a:noFill/>
                </a:ln>
                <a:solidFill>
                  <a:sysClr val="windowText" lastClr="000000"/>
                </a:solidFill>
                <a:effectLst/>
                <a:uLnTx/>
                <a:uFillTx/>
                <a:latin typeface="+mn-lt"/>
              </a:rPr>
              <a:t> support in LTE/EPC</a:t>
            </a:r>
          </a:p>
        </p:txBody>
      </p:sp>
    </p:spTree>
    <p:extLst>
      <p:ext uri="{BB962C8B-B14F-4D97-AF65-F5344CB8AC3E}">
        <p14:creationId xmlns:p14="http://schemas.microsoft.com/office/powerpoint/2010/main" val="4134875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6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MAIN Objectives</a:t>
            </a:r>
          </a:p>
        </p:txBody>
      </p:sp>
      <p:sp>
        <p:nvSpPr>
          <p:cNvPr id="3" name="Rectangle 2"/>
          <p:cNvSpPr/>
          <p:nvPr/>
        </p:nvSpPr>
        <p:spPr>
          <a:xfrm>
            <a:off x="666658" y="1336564"/>
            <a:ext cx="10438663" cy="4154984"/>
          </a:xfrm>
          <a:prstGeom prst="rect">
            <a:avLst/>
          </a:prstGeom>
        </p:spPr>
        <p:txBody>
          <a:bodyPr wrap="square">
            <a:spAutoFit/>
          </a:bodyPr>
          <a:lstStyle/>
          <a:p>
            <a:pPr marL="0" indent="0">
              <a:buNone/>
            </a:pPr>
            <a:r>
              <a:rPr lang="en-US" sz="2400" dirty="0"/>
              <a:t>On completion of this course the participants will be able to:</a:t>
            </a:r>
          </a:p>
          <a:p>
            <a:pPr marL="534988" lvl="2" indent="-176213">
              <a:buClr>
                <a:srgbClr val="00A9D4"/>
              </a:buClr>
              <a:buFont typeface="Arial" charset="0"/>
              <a:buChar char="›"/>
            </a:pPr>
            <a:r>
              <a:rPr lang="en-US" dirty="0"/>
              <a:t>Explain the background and reasons for developing the 5G Core</a:t>
            </a:r>
          </a:p>
          <a:p>
            <a:pPr marL="534988" lvl="2" indent="-176213">
              <a:buClr>
                <a:srgbClr val="00A9D4"/>
              </a:buClr>
              <a:buFont typeface="Arial" charset="0"/>
              <a:buChar char="›"/>
            </a:pPr>
            <a:r>
              <a:rPr lang="en-US" dirty="0"/>
              <a:t>Explain the 5G Core standardization</a:t>
            </a:r>
          </a:p>
          <a:p>
            <a:pPr marL="534988" lvl="2" indent="-176213">
              <a:buClr>
                <a:srgbClr val="00A9D4"/>
              </a:buClr>
              <a:buFont typeface="Arial" charset="0"/>
              <a:buChar char="›"/>
            </a:pPr>
            <a:r>
              <a:rPr lang="en-US" dirty="0"/>
              <a:t>Explain the main additional features of the 5G EPC network</a:t>
            </a:r>
          </a:p>
          <a:p>
            <a:pPr marL="534988" lvl="2" indent="-176213">
              <a:buClr>
                <a:srgbClr val="00A9D4"/>
              </a:buClr>
              <a:buFont typeface="Arial" charset="0"/>
              <a:buChar char="›"/>
            </a:pPr>
            <a:r>
              <a:rPr lang="en-US" dirty="0"/>
              <a:t>Explain the basic conceptual network architecture and technology for the 5G Core</a:t>
            </a:r>
          </a:p>
          <a:p>
            <a:pPr marL="534988" lvl="2" indent="-176213">
              <a:buClr>
                <a:srgbClr val="00A9D4"/>
              </a:buClr>
              <a:buFont typeface="Arial" charset="0"/>
              <a:buChar char="›"/>
            </a:pPr>
            <a:r>
              <a:rPr lang="en-US" dirty="0"/>
              <a:t>Explain the suggested basic network slice types supported in 5G Core</a:t>
            </a:r>
          </a:p>
          <a:p>
            <a:pPr marL="534988" lvl="2" indent="-176213">
              <a:buClr>
                <a:srgbClr val="00A9D4"/>
              </a:buClr>
              <a:buFont typeface="Arial" charset="0"/>
              <a:buChar char="›"/>
            </a:pPr>
            <a:r>
              <a:rPr lang="en-US" dirty="0"/>
              <a:t>Explain the basic concepts for 5G core orchestration and management</a:t>
            </a:r>
          </a:p>
          <a:p>
            <a:pPr marL="534988" lvl="2" indent="-176213">
              <a:buClr>
                <a:srgbClr val="00A9D4"/>
              </a:buClr>
              <a:buFont typeface="Arial" charset="0"/>
              <a:buChar char="›"/>
            </a:pPr>
            <a:r>
              <a:rPr lang="en-US" dirty="0"/>
              <a:t>Explain interoperable communication services support in the 5G Core</a:t>
            </a:r>
          </a:p>
          <a:p>
            <a:pPr marL="534988" lvl="2" indent="-176213">
              <a:buClr>
                <a:srgbClr val="00A9D4"/>
              </a:buClr>
              <a:buFont typeface="Arial" charset="0"/>
              <a:buChar char="›"/>
            </a:pPr>
            <a:r>
              <a:rPr lang="en-US" dirty="0"/>
              <a:t>Describe different 4G to 5G migration scenarios</a:t>
            </a:r>
          </a:p>
        </p:txBody>
      </p:sp>
    </p:spTree>
    <p:extLst>
      <p:ext uri="{BB962C8B-B14F-4D97-AF65-F5344CB8AC3E}">
        <p14:creationId xmlns:p14="http://schemas.microsoft.com/office/powerpoint/2010/main" val="39993169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r>
              <a:rPr lang="en-US" altLang="en-US" dirty="0">
                <a:solidFill>
                  <a:schemeClr val="bg1"/>
                </a:solidFill>
              </a:rPr>
              <a:t>5g Standards plan</a:t>
            </a:r>
            <a:endParaRPr lang="en-US" altLang="en-US"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4" name="Table 93"/>
          <p:cNvGraphicFramePr>
            <a:graphicFrameLocks noGrp="1"/>
          </p:cNvGraphicFramePr>
          <p:nvPr>
            <p:extLst/>
          </p:nvPr>
        </p:nvGraphicFramePr>
        <p:xfrm>
          <a:off x="695325" y="2065334"/>
          <a:ext cx="11493498" cy="285750"/>
        </p:xfrm>
        <a:graphic>
          <a:graphicData uri="http://schemas.openxmlformats.org/drawingml/2006/table">
            <a:tbl>
              <a:tblPr firstRow="1" bandRow="1">
                <a:tableStyleId>{5C22544A-7EE6-4342-B048-85BDC9FD1C3A}</a:tableStyleId>
              </a:tblPr>
              <a:tblGrid>
                <a:gridCol w="1915583">
                  <a:extLst>
                    <a:ext uri="{9D8B030D-6E8A-4147-A177-3AD203B41FA5}">
                      <a16:colId xmlns:a16="http://schemas.microsoft.com/office/drawing/2014/main" val="20000"/>
                    </a:ext>
                  </a:extLst>
                </a:gridCol>
                <a:gridCol w="1915583">
                  <a:extLst>
                    <a:ext uri="{9D8B030D-6E8A-4147-A177-3AD203B41FA5}">
                      <a16:colId xmlns:a16="http://schemas.microsoft.com/office/drawing/2014/main" val="20001"/>
                    </a:ext>
                  </a:extLst>
                </a:gridCol>
                <a:gridCol w="1915583">
                  <a:extLst>
                    <a:ext uri="{9D8B030D-6E8A-4147-A177-3AD203B41FA5}">
                      <a16:colId xmlns:a16="http://schemas.microsoft.com/office/drawing/2014/main" val="20002"/>
                    </a:ext>
                  </a:extLst>
                </a:gridCol>
                <a:gridCol w="1915583">
                  <a:extLst>
                    <a:ext uri="{9D8B030D-6E8A-4147-A177-3AD203B41FA5}">
                      <a16:colId xmlns:a16="http://schemas.microsoft.com/office/drawing/2014/main" val="20003"/>
                    </a:ext>
                  </a:extLst>
                </a:gridCol>
                <a:gridCol w="1915583">
                  <a:extLst>
                    <a:ext uri="{9D8B030D-6E8A-4147-A177-3AD203B41FA5}">
                      <a16:colId xmlns:a16="http://schemas.microsoft.com/office/drawing/2014/main" val="20004"/>
                    </a:ext>
                  </a:extLst>
                </a:gridCol>
                <a:gridCol w="1915583">
                  <a:extLst>
                    <a:ext uri="{9D8B030D-6E8A-4147-A177-3AD203B41FA5}">
                      <a16:colId xmlns:a16="http://schemas.microsoft.com/office/drawing/2014/main" val="20005"/>
                    </a:ext>
                  </a:extLst>
                </a:gridCol>
              </a:tblGrid>
              <a:tr h="285750">
                <a:tc>
                  <a:txBody>
                    <a:bodyPr/>
                    <a:lstStyle/>
                    <a:p>
                      <a:pPr algn="ctr"/>
                      <a:r>
                        <a:rPr lang="en-US" sz="1400" dirty="0"/>
                        <a:t>2015</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16</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17</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18</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19</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20</a:t>
                      </a:r>
                    </a:p>
                  </a:txBody>
                  <a:tcPr marL="91432" marR="91432" marT="36049" marB="360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95" name="Rounded Rectangle 161"/>
          <p:cNvSpPr>
            <a:spLocks noChangeArrowheads="1"/>
          </p:cNvSpPr>
          <p:nvPr/>
        </p:nvSpPr>
        <p:spPr bwMode="auto">
          <a:xfrm>
            <a:off x="1720850" y="2820984"/>
            <a:ext cx="3644900" cy="239712"/>
          </a:xfrm>
          <a:prstGeom prst="roundRect">
            <a:avLst>
              <a:gd name="adj" fmla="val 16667"/>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FFFFFF"/>
                </a:solidFill>
              </a:rPr>
              <a:t>       IMT-2020 Requirements</a:t>
            </a:r>
          </a:p>
        </p:txBody>
      </p:sp>
      <p:sp>
        <p:nvSpPr>
          <p:cNvPr id="96" name="Rounded Rectangle 162"/>
          <p:cNvSpPr>
            <a:spLocks noChangeArrowheads="1"/>
          </p:cNvSpPr>
          <p:nvPr/>
        </p:nvSpPr>
        <p:spPr bwMode="auto">
          <a:xfrm>
            <a:off x="5848350" y="2820984"/>
            <a:ext cx="3560763" cy="234950"/>
          </a:xfrm>
          <a:prstGeom prst="roundRect">
            <a:avLst>
              <a:gd name="adj" fmla="val 16667"/>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FFFFFF"/>
                </a:solidFill>
              </a:rPr>
              <a:t>IMT-2020 Proposals</a:t>
            </a:r>
          </a:p>
        </p:txBody>
      </p:sp>
      <p:sp>
        <p:nvSpPr>
          <p:cNvPr id="97" name="Rounded Rectangle 163"/>
          <p:cNvSpPr>
            <a:spLocks noChangeArrowheads="1"/>
          </p:cNvSpPr>
          <p:nvPr/>
        </p:nvSpPr>
        <p:spPr bwMode="auto">
          <a:xfrm>
            <a:off x="7962900" y="2505071"/>
            <a:ext cx="2706688" cy="238125"/>
          </a:xfrm>
          <a:prstGeom prst="roundRect">
            <a:avLst>
              <a:gd name="adj" fmla="val 16667"/>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FFFFFF"/>
                </a:solidFill>
              </a:rPr>
              <a:t>IMT-2020 Evaluation</a:t>
            </a:r>
          </a:p>
        </p:txBody>
      </p:sp>
      <p:sp>
        <p:nvSpPr>
          <p:cNvPr id="98" name="Diamond 81"/>
          <p:cNvSpPr>
            <a:spLocks noChangeArrowheads="1"/>
          </p:cNvSpPr>
          <p:nvPr/>
        </p:nvSpPr>
        <p:spPr bwMode="auto">
          <a:xfrm>
            <a:off x="1104900" y="2978146"/>
            <a:ext cx="652463" cy="330200"/>
          </a:xfrm>
          <a:prstGeom prst="diamond">
            <a:avLst/>
          </a:prstGeom>
          <a:solidFill>
            <a:srgbClr val="CBCCCA"/>
          </a:solidFill>
          <a:ln w="19050">
            <a:solidFill>
              <a:srgbClr val="FFFFFF"/>
            </a:solidFill>
            <a:round/>
            <a:headEnd/>
            <a:tailEnd/>
          </a:ln>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200"/>
              <a:t>WRC</a:t>
            </a:r>
            <a:endParaRPr lang="en-US" altLang="en-US" sz="1300"/>
          </a:p>
        </p:txBody>
      </p:sp>
      <p:sp>
        <p:nvSpPr>
          <p:cNvPr id="99" name="Diamond 82"/>
          <p:cNvSpPr>
            <a:spLocks noChangeArrowheads="1"/>
          </p:cNvSpPr>
          <p:nvPr/>
        </p:nvSpPr>
        <p:spPr bwMode="auto">
          <a:xfrm>
            <a:off x="8351838" y="2978146"/>
            <a:ext cx="652462" cy="330200"/>
          </a:xfrm>
          <a:prstGeom prst="diamond">
            <a:avLst/>
          </a:prstGeom>
          <a:solidFill>
            <a:srgbClr val="CBCCCA"/>
          </a:solidFill>
          <a:ln w="19050">
            <a:solidFill>
              <a:schemeClr val="bg1"/>
            </a:solidFill>
            <a:round/>
            <a:headEnd/>
            <a:tailEnd/>
          </a:ln>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200"/>
              <a:t>WRC</a:t>
            </a:r>
            <a:endParaRPr lang="en-US" altLang="en-US" sz="1500"/>
          </a:p>
        </p:txBody>
      </p:sp>
      <p:sp>
        <p:nvSpPr>
          <p:cNvPr id="100" name="Rounded Rectangle 161"/>
          <p:cNvSpPr>
            <a:spLocks noChangeArrowheads="1"/>
          </p:cNvSpPr>
          <p:nvPr/>
        </p:nvSpPr>
        <p:spPr bwMode="auto">
          <a:xfrm>
            <a:off x="5414963" y="2824159"/>
            <a:ext cx="384175" cy="239712"/>
          </a:xfrm>
          <a:prstGeom prst="roundRect">
            <a:avLst>
              <a:gd name="adj" fmla="val 16667"/>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FFFFFF"/>
                </a:solidFill>
              </a:rPr>
              <a:t>WS</a:t>
            </a:r>
          </a:p>
        </p:txBody>
      </p:sp>
      <p:sp>
        <p:nvSpPr>
          <p:cNvPr id="101" name="TextBox 5"/>
          <p:cNvSpPr txBox="1">
            <a:spLocks noChangeArrowheads="1"/>
          </p:cNvSpPr>
          <p:nvPr/>
        </p:nvSpPr>
        <p:spPr bwMode="auto">
          <a:xfrm>
            <a:off x="163513" y="2735259"/>
            <a:ext cx="5984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altLang="en-US">
                <a:solidFill>
                  <a:srgbClr val="FFFFFF"/>
                </a:solidFill>
                <a:ea typeface="MS PGothic" panose="020B0600070205080204" pitchFamily="34" charset="-128"/>
              </a:rPr>
              <a:t>ITU</a:t>
            </a:r>
          </a:p>
        </p:txBody>
      </p:sp>
      <p:sp>
        <p:nvSpPr>
          <p:cNvPr id="102" name="Rounded Rectangle 163"/>
          <p:cNvSpPr>
            <a:spLocks noChangeArrowheads="1"/>
          </p:cNvSpPr>
          <p:nvPr/>
        </p:nvSpPr>
        <p:spPr bwMode="auto">
          <a:xfrm>
            <a:off x="10001250" y="2825746"/>
            <a:ext cx="2071688" cy="238125"/>
          </a:xfrm>
          <a:prstGeom prst="roundRect">
            <a:avLst>
              <a:gd name="adj" fmla="val 16667"/>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FFFFFF"/>
                </a:solidFill>
              </a:rPr>
              <a:t>IMT-2020 Specs</a:t>
            </a:r>
          </a:p>
        </p:txBody>
      </p:sp>
      <p:sp>
        <p:nvSpPr>
          <p:cNvPr id="103" name="Chevron 127"/>
          <p:cNvSpPr/>
          <p:nvPr/>
        </p:nvSpPr>
        <p:spPr bwMode="auto">
          <a:xfrm>
            <a:off x="955675" y="3422646"/>
            <a:ext cx="314325" cy="269875"/>
          </a:xfrm>
          <a:prstGeom prst="chevron">
            <a:avLst/>
          </a:prstGeom>
          <a:solidFill>
            <a:srgbClr val="99CCFF"/>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lIns="72000" rIns="72000"/>
          <a:lstStyle/>
          <a:p>
            <a:pPr eaLnBrk="1" hangingPunct="1">
              <a:spcBef>
                <a:spcPct val="50000"/>
              </a:spcBef>
              <a:defRPr/>
            </a:pPr>
            <a:endParaRPr lang="en-US">
              <a:latin typeface="Arial" charset="0"/>
            </a:endParaRPr>
          </a:p>
        </p:txBody>
      </p:sp>
      <p:sp>
        <p:nvSpPr>
          <p:cNvPr id="104" name="Rounded Rectangle 4"/>
          <p:cNvSpPr>
            <a:spLocks noChangeArrowheads="1"/>
          </p:cNvSpPr>
          <p:nvPr/>
        </p:nvSpPr>
        <p:spPr bwMode="auto">
          <a:xfrm>
            <a:off x="3114675" y="3422646"/>
            <a:ext cx="1981200" cy="269875"/>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6" tIns="45711" rIns="71986" bIns="45711" anchor="ctr"/>
          <a:lstStyle/>
          <a:p>
            <a:pPr algn="ctr">
              <a:defRPr/>
            </a:pPr>
            <a:r>
              <a:rPr lang="fi-FI" altLang="en-US" sz="1600" dirty="0">
                <a:ea typeface="ＭＳ Ｐゴシック" pitchFamily="34" charset="-128"/>
              </a:rPr>
              <a:t>Rel-14</a:t>
            </a:r>
            <a:endParaRPr lang="en-US" altLang="en-US" sz="1600" dirty="0">
              <a:ea typeface="ＭＳ Ｐゴシック" pitchFamily="34" charset="-128"/>
            </a:endParaRPr>
          </a:p>
        </p:txBody>
      </p:sp>
      <p:sp>
        <p:nvSpPr>
          <p:cNvPr id="105" name="Rounded Rectangle 4"/>
          <p:cNvSpPr>
            <a:spLocks noChangeArrowheads="1"/>
          </p:cNvSpPr>
          <p:nvPr/>
        </p:nvSpPr>
        <p:spPr bwMode="auto">
          <a:xfrm>
            <a:off x="1117600" y="3422646"/>
            <a:ext cx="1727200" cy="269875"/>
          </a:xfrm>
          <a:prstGeom prst="roundRect">
            <a:avLst>
              <a:gd name="adj" fmla="val 5736"/>
            </a:avLst>
          </a:prstGeom>
          <a:solidFill>
            <a:srgbClr val="99CCFF"/>
          </a:solidFill>
          <a:ln w="9525">
            <a:noFill/>
            <a:round/>
            <a:headEnd/>
            <a:tailEnd/>
          </a:ln>
          <a:effectLst>
            <a:outerShdw blurRad="50800" dist="38100" dir="2700000" algn="tl" rotWithShape="0">
              <a:prstClr val="black">
                <a:alpha val="40000"/>
              </a:prstClr>
            </a:outerShdw>
          </a:effectLst>
          <a:extLst/>
        </p:spPr>
        <p:txBody>
          <a:bodyPr wrap="none" lIns="71986" tIns="45711" rIns="71986" bIns="45711" anchor="ctr"/>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r>
              <a:rPr lang="fi-FI" altLang="en-US" sz="1600" dirty="0"/>
              <a:t>Rel-13</a:t>
            </a:r>
            <a:endParaRPr lang="en-US" altLang="en-US" sz="1600" dirty="0"/>
          </a:p>
        </p:txBody>
      </p:sp>
      <p:sp>
        <p:nvSpPr>
          <p:cNvPr id="106" name="Rounded Rectangle 4"/>
          <p:cNvSpPr>
            <a:spLocks noChangeArrowheads="1"/>
          </p:cNvSpPr>
          <p:nvPr/>
        </p:nvSpPr>
        <p:spPr bwMode="auto">
          <a:xfrm>
            <a:off x="5321300" y="3422646"/>
            <a:ext cx="1979613" cy="269875"/>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6" tIns="45711" rIns="71986" bIns="45711" anchor="ctr"/>
          <a:lstStyle/>
          <a:p>
            <a:pPr algn="ctr">
              <a:defRPr/>
            </a:pPr>
            <a:r>
              <a:rPr lang="fi-FI" altLang="en-US" sz="1600">
                <a:ea typeface="ＭＳ Ｐゴシック" pitchFamily="34" charset="-128"/>
              </a:rPr>
              <a:t>Rel-15</a:t>
            </a:r>
            <a:endParaRPr lang="en-US" altLang="en-US" sz="1600">
              <a:ea typeface="ＭＳ Ｐゴシック" pitchFamily="34" charset="-128"/>
            </a:endParaRPr>
          </a:p>
        </p:txBody>
      </p:sp>
      <p:sp>
        <p:nvSpPr>
          <p:cNvPr id="107" name="Rounded Rectangle 163"/>
          <p:cNvSpPr>
            <a:spLocks noChangeArrowheads="1"/>
          </p:cNvSpPr>
          <p:nvPr/>
        </p:nvSpPr>
        <p:spPr bwMode="auto">
          <a:xfrm>
            <a:off x="3025775" y="3422646"/>
            <a:ext cx="46038"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08" name="Rounded Rectangle 163"/>
          <p:cNvSpPr>
            <a:spLocks noChangeArrowheads="1"/>
          </p:cNvSpPr>
          <p:nvPr/>
        </p:nvSpPr>
        <p:spPr bwMode="auto">
          <a:xfrm>
            <a:off x="2935288" y="3422646"/>
            <a:ext cx="44450"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09" name="Rounded Rectangle 163"/>
          <p:cNvSpPr>
            <a:spLocks noChangeArrowheads="1"/>
          </p:cNvSpPr>
          <p:nvPr/>
        </p:nvSpPr>
        <p:spPr bwMode="auto">
          <a:xfrm>
            <a:off x="5230813" y="3422646"/>
            <a:ext cx="46037"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0" name="Rounded Rectangle 163"/>
          <p:cNvSpPr>
            <a:spLocks noChangeArrowheads="1"/>
          </p:cNvSpPr>
          <p:nvPr/>
        </p:nvSpPr>
        <p:spPr bwMode="auto">
          <a:xfrm>
            <a:off x="5140325" y="3422646"/>
            <a:ext cx="46038"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1" name="Rounded Rectangle 163"/>
          <p:cNvSpPr>
            <a:spLocks noChangeArrowheads="1"/>
          </p:cNvSpPr>
          <p:nvPr/>
        </p:nvSpPr>
        <p:spPr bwMode="auto">
          <a:xfrm>
            <a:off x="7435850" y="3422646"/>
            <a:ext cx="46038"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2" name="Rounded Rectangle 163"/>
          <p:cNvSpPr>
            <a:spLocks noChangeArrowheads="1"/>
          </p:cNvSpPr>
          <p:nvPr/>
        </p:nvSpPr>
        <p:spPr bwMode="auto">
          <a:xfrm>
            <a:off x="7345363" y="3422646"/>
            <a:ext cx="46037"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3" name="Rounded Rectangle 4"/>
          <p:cNvSpPr>
            <a:spLocks noChangeArrowheads="1"/>
          </p:cNvSpPr>
          <p:nvPr/>
        </p:nvSpPr>
        <p:spPr bwMode="auto">
          <a:xfrm>
            <a:off x="7526338" y="3422646"/>
            <a:ext cx="2608262" cy="269875"/>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6" tIns="45711" rIns="71986" bIns="45711" anchor="ctr"/>
          <a:lstStyle/>
          <a:p>
            <a:pPr algn="ctr">
              <a:defRPr/>
            </a:pPr>
            <a:r>
              <a:rPr lang="fi-FI" altLang="en-US" sz="1600" dirty="0">
                <a:ea typeface="ＭＳ Ｐゴシック" pitchFamily="34" charset="-128"/>
              </a:rPr>
              <a:t>Rel-16</a:t>
            </a:r>
            <a:endParaRPr lang="en-US" altLang="en-US" sz="1600" dirty="0">
              <a:ea typeface="ＭＳ Ｐゴシック" pitchFamily="34" charset="-128"/>
            </a:endParaRPr>
          </a:p>
        </p:txBody>
      </p:sp>
      <p:sp>
        <p:nvSpPr>
          <p:cNvPr id="114" name="Rounded Rectangle 163"/>
          <p:cNvSpPr>
            <a:spLocks noChangeArrowheads="1"/>
          </p:cNvSpPr>
          <p:nvPr/>
        </p:nvSpPr>
        <p:spPr bwMode="auto">
          <a:xfrm>
            <a:off x="10244138" y="3422646"/>
            <a:ext cx="44450"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5" name="Rounded Rectangle 163"/>
          <p:cNvSpPr>
            <a:spLocks noChangeArrowheads="1"/>
          </p:cNvSpPr>
          <p:nvPr/>
        </p:nvSpPr>
        <p:spPr bwMode="auto">
          <a:xfrm>
            <a:off x="10153650" y="3422646"/>
            <a:ext cx="44450" cy="269875"/>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2000" rIns="7200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algn="ctr" eaLnBrk="1" hangingPunct="1">
              <a:spcBef>
                <a:spcPct val="50000"/>
              </a:spcBef>
              <a:buClrTx/>
              <a:buFontTx/>
              <a:buNone/>
              <a:defRPr/>
            </a:pPr>
            <a:endParaRPr lang="en-US" altLang="en-US" sz="2000">
              <a:solidFill>
                <a:srgbClr val="FFFFFF"/>
              </a:solidFill>
            </a:endParaRPr>
          </a:p>
        </p:txBody>
      </p:sp>
      <p:sp>
        <p:nvSpPr>
          <p:cNvPr id="116" name="Rounded Rectangle 4"/>
          <p:cNvSpPr>
            <a:spLocks noChangeArrowheads="1"/>
          </p:cNvSpPr>
          <p:nvPr/>
        </p:nvSpPr>
        <p:spPr bwMode="auto">
          <a:xfrm>
            <a:off x="10333038" y="3423720"/>
            <a:ext cx="1855785" cy="232338"/>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6" tIns="45711" rIns="71986" bIns="45711" anchor="ctr"/>
          <a:lstStyle/>
          <a:p>
            <a:pPr algn="ctr">
              <a:defRPr/>
            </a:pPr>
            <a:r>
              <a:rPr lang="fi-FI" altLang="en-US" sz="1600" dirty="0">
                <a:ea typeface="ＭＳ Ｐゴシック" pitchFamily="34" charset="-128"/>
              </a:rPr>
              <a:t>Rel-17, ...</a:t>
            </a:r>
            <a:endParaRPr lang="en-US" altLang="en-US" sz="1600" dirty="0">
              <a:ea typeface="ＭＳ Ｐゴシック" pitchFamily="34" charset="-128"/>
            </a:endParaRPr>
          </a:p>
        </p:txBody>
      </p:sp>
      <p:sp>
        <p:nvSpPr>
          <p:cNvPr id="117" name="Rounded Rectangle 154"/>
          <p:cNvSpPr>
            <a:spLocks noChangeArrowheads="1"/>
          </p:cNvSpPr>
          <p:nvPr/>
        </p:nvSpPr>
        <p:spPr bwMode="auto">
          <a:xfrm>
            <a:off x="1460500" y="3832221"/>
            <a:ext cx="7408863" cy="239713"/>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Study on next generation network (technical realization, self evaluation)</a:t>
            </a:r>
          </a:p>
        </p:txBody>
      </p:sp>
      <p:sp>
        <p:nvSpPr>
          <p:cNvPr id="118" name="Rounded Rectangle 155"/>
          <p:cNvSpPr>
            <a:spLocks noChangeArrowheads="1"/>
          </p:cNvSpPr>
          <p:nvPr/>
        </p:nvSpPr>
        <p:spPr bwMode="auto">
          <a:xfrm>
            <a:off x="4760913" y="4157659"/>
            <a:ext cx="2625725" cy="23812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5G/NR Phase 1</a:t>
            </a:r>
          </a:p>
        </p:txBody>
      </p:sp>
      <p:sp>
        <p:nvSpPr>
          <p:cNvPr id="119" name="Rounded Rectangle 156"/>
          <p:cNvSpPr>
            <a:spLocks noChangeArrowheads="1"/>
          </p:cNvSpPr>
          <p:nvPr/>
        </p:nvSpPr>
        <p:spPr bwMode="auto">
          <a:xfrm>
            <a:off x="7454899" y="4144959"/>
            <a:ext cx="2770189" cy="25082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 5G/NR Phase 2</a:t>
            </a:r>
          </a:p>
        </p:txBody>
      </p:sp>
      <p:sp>
        <p:nvSpPr>
          <p:cNvPr id="120" name="Rounded Rectangle 157"/>
          <p:cNvSpPr>
            <a:spLocks noChangeArrowheads="1"/>
          </p:cNvSpPr>
          <p:nvPr/>
        </p:nvSpPr>
        <p:spPr bwMode="auto">
          <a:xfrm>
            <a:off x="2058988" y="4494209"/>
            <a:ext cx="2628900" cy="23812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LTE evo</a:t>
            </a:r>
          </a:p>
        </p:txBody>
      </p:sp>
      <p:sp>
        <p:nvSpPr>
          <p:cNvPr id="121" name="Rounded Rectangle 158"/>
          <p:cNvSpPr>
            <a:spLocks noChangeArrowheads="1"/>
          </p:cNvSpPr>
          <p:nvPr/>
        </p:nvSpPr>
        <p:spPr bwMode="auto">
          <a:xfrm>
            <a:off x="4760913" y="4494209"/>
            <a:ext cx="2625725" cy="23812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LTE evo</a:t>
            </a:r>
          </a:p>
        </p:txBody>
      </p:sp>
      <p:sp>
        <p:nvSpPr>
          <p:cNvPr id="122" name="Rounded Rectangle 159"/>
          <p:cNvSpPr>
            <a:spLocks noChangeArrowheads="1"/>
          </p:cNvSpPr>
          <p:nvPr/>
        </p:nvSpPr>
        <p:spPr bwMode="auto">
          <a:xfrm>
            <a:off x="7454900" y="4473571"/>
            <a:ext cx="2770188" cy="258763"/>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en-US" sz="1500" b="1">
                <a:solidFill>
                  <a:srgbClr val="58585A"/>
                </a:solidFill>
              </a:rPr>
              <a:t>LTE evo</a:t>
            </a:r>
          </a:p>
        </p:txBody>
      </p:sp>
      <p:cxnSp>
        <p:nvCxnSpPr>
          <p:cNvPr id="123" name="Straight Arrow Connector 160"/>
          <p:cNvCxnSpPr>
            <a:cxnSpLocks noChangeShapeType="1"/>
          </p:cNvCxnSpPr>
          <p:nvPr/>
        </p:nvCxnSpPr>
        <p:spPr bwMode="auto">
          <a:xfrm>
            <a:off x="4410075" y="4071934"/>
            <a:ext cx="261938" cy="152400"/>
          </a:xfrm>
          <a:prstGeom prst="straightConnector1">
            <a:avLst/>
          </a:prstGeom>
          <a:noFill/>
          <a:ln w="19050">
            <a:solidFill>
              <a:schemeClr val="bg1"/>
            </a:solidFill>
            <a:round/>
            <a:headEnd/>
            <a:tailEnd type="triangle" w="sm" len="lg"/>
          </a:ln>
          <a:extLst>
            <a:ext uri="{909E8E84-426E-40DD-AFC4-6F175D3DCCD1}">
              <a14:hiddenFill xmlns:a14="http://schemas.microsoft.com/office/drawing/2010/main">
                <a:noFill/>
              </a14:hiddenFill>
            </a:ext>
          </a:extLst>
        </p:spPr>
      </p:cxnSp>
      <p:sp>
        <p:nvSpPr>
          <p:cNvPr id="124" name="TextBox 87"/>
          <p:cNvSpPr txBox="1">
            <a:spLocks noChangeArrowheads="1"/>
          </p:cNvSpPr>
          <p:nvPr/>
        </p:nvSpPr>
        <p:spPr bwMode="auto">
          <a:xfrm>
            <a:off x="95250" y="4073521"/>
            <a:ext cx="86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a:r>
              <a:rPr lang="en-US" altLang="en-US">
                <a:solidFill>
                  <a:srgbClr val="FFFFFF"/>
                </a:solidFill>
                <a:ea typeface="MS PGothic" panose="020B0600070205080204" pitchFamily="34" charset="-128"/>
              </a:rPr>
              <a:t>3GPP</a:t>
            </a:r>
          </a:p>
        </p:txBody>
      </p:sp>
      <p:sp>
        <p:nvSpPr>
          <p:cNvPr id="125" name="Rounded Rectangle 159"/>
          <p:cNvSpPr>
            <a:spLocks noChangeArrowheads="1"/>
          </p:cNvSpPr>
          <p:nvPr/>
        </p:nvSpPr>
        <p:spPr bwMode="auto">
          <a:xfrm>
            <a:off x="10317885" y="4487374"/>
            <a:ext cx="1824902" cy="219524"/>
          </a:xfrm>
          <a:prstGeom prst="roundRect">
            <a:avLst>
              <a:gd name="adj" fmla="val 16667"/>
            </a:avLst>
          </a:prstGeom>
          <a:gradFill flip="none" rotWithShape="1">
            <a:gsLst>
              <a:gs pos="34000">
                <a:schemeClr val="bg1">
                  <a:alpha val="0"/>
                </a:schemeClr>
              </a:gs>
              <a:gs pos="100000">
                <a:srgbClr val="FFFFFF">
                  <a:shade val="100000"/>
                  <a:satMod val="115000"/>
                </a:srgbClr>
              </a:gs>
            </a:gsLst>
            <a:lin ang="10800000" scaled="1"/>
            <a:tileRect/>
          </a:gradFill>
          <a:ln>
            <a:noFill/>
          </a:ln>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defRPr/>
            </a:pPr>
            <a:endParaRPr lang="en-US" altLang="en-US" sz="1500" b="1" dirty="0">
              <a:solidFill>
                <a:srgbClr val="58585A"/>
              </a:solidFill>
            </a:endParaRPr>
          </a:p>
        </p:txBody>
      </p:sp>
      <p:sp>
        <p:nvSpPr>
          <p:cNvPr id="126" name="Rounded Rectangle 159"/>
          <p:cNvSpPr>
            <a:spLocks noChangeArrowheads="1"/>
          </p:cNvSpPr>
          <p:nvPr/>
        </p:nvSpPr>
        <p:spPr bwMode="auto">
          <a:xfrm>
            <a:off x="10316699" y="4114710"/>
            <a:ext cx="1826088" cy="238163"/>
          </a:xfrm>
          <a:prstGeom prst="roundRect">
            <a:avLst>
              <a:gd name="adj" fmla="val 16667"/>
            </a:avLst>
          </a:prstGeom>
          <a:gradFill flip="none" rotWithShape="1">
            <a:gsLst>
              <a:gs pos="34000">
                <a:schemeClr val="bg1">
                  <a:alpha val="0"/>
                </a:schemeClr>
              </a:gs>
              <a:gs pos="100000">
                <a:srgbClr val="FFFFFF">
                  <a:shade val="100000"/>
                  <a:satMod val="115000"/>
                </a:srgbClr>
              </a:gs>
            </a:gsLst>
            <a:lin ang="10800000" scaled="1"/>
            <a:tileRect/>
          </a:gradFill>
          <a:ln>
            <a:noFill/>
          </a:ln>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defRPr/>
            </a:pPr>
            <a:endParaRPr lang="en-US" altLang="en-US" sz="1500" b="1" dirty="0">
              <a:solidFill>
                <a:srgbClr val="58585A"/>
              </a:solidFill>
            </a:endParaRPr>
          </a:p>
        </p:txBody>
      </p:sp>
      <p:cxnSp>
        <p:nvCxnSpPr>
          <p:cNvPr id="127" name="Straight Connector 126"/>
          <p:cNvCxnSpPr/>
          <p:nvPr/>
        </p:nvCxnSpPr>
        <p:spPr bwMode="auto">
          <a:xfrm flipV="1">
            <a:off x="2611438" y="2084384"/>
            <a:ext cx="0" cy="3005137"/>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sp>
        <p:nvSpPr>
          <p:cNvPr id="128" name="Rounded Rectangle 157"/>
          <p:cNvSpPr>
            <a:spLocks noChangeArrowheads="1"/>
          </p:cNvSpPr>
          <p:nvPr/>
        </p:nvSpPr>
        <p:spPr bwMode="auto">
          <a:xfrm>
            <a:off x="135790" y="4487372"/>
            <a:ext cx="1826615" cy="238163"/>
          </a:xfrm>
          <a:prstGeom prst="roundRect">
            <a:avLst>
              <a:gd name="adj" fmla="val 16667"/>
            </a:avLst>
          </a:prstGeom>
          <a:gradFill flip="none" rotWithShape="1">
            <a:gsLst>
              <a:gs pos="34000">
                <a:schemeClr val="bg1">
                  <a:alpha val="0"/>
                </a:schemeClr>
              </a:gs>
              <a:gs pos="100000">
                <a:srgbClr val="FFFFFF">
                  <a:shade val="100000"/>
                  <a:satMod val="115000"/>
                </a:srgbClr>
              </a:gs>
            </a:gsLst>
            <a:lin ang="0" scaled="0"/>
            <a:tileRect/>
          </a:gradFill>
          <a:ln>
            <a:noFill/>
          </a:ln>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defRPr/>
            </a:pPr>
            <a:endParaRPr lang="en-US" altLang="en-US" sz="1500" b="1" dirty="0">
              <a:solidFill>
                <a:srgbClr val="58585A"/>
              </a:solidFill>
            </a:endParaRPr>
          </a:p>
        </p:txBody>
      </p:sp>
      <p:cxnSp>
        <p:nvCxnSpPr>
          <p:cNvPr id="129" name="Straight Connector 128"/>
          <p:cNvCxnSpPr/>
          <p:nvPr/>
        </p:nvCxnSpPr>
        <p:spPr bwMode="auto">
          <a:xfrm flipV="1">
            <a:off x="4529138" y="2084384"/>
            <a:ext cx="0" cy="3005137"/>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130" name="Straight Connector 129"/>
          <p:cNvCxnSpPr/>
          <p:nvPr/>
        </p:nvCxnSpPr>
        <p:spPr bwMode="auto">
          <a:xfrm flipV="1">
            <a:off x="6443663" y="2089146"/>
            <a:ext cx="0" cy="3005138"/>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131" name="Straight Connector 130"/>
          <p:cNvCxnSpPr/>
          <p:nvPr/>
        </p:nvCxnSpPr>
        <p:spPr bwMode="auto">
          <a:xfrm flipV="1">
            <a:off x="8361363" y="2076446"/>
            <a:ext cx="0" cy="3005138"/>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132" name="Straight Connector 131"/>
          <p:cNvCxnSpPr/>
          <p:nvPr/>
        </p:nvCxnSpPr>
        <p:spPr bwMode="auto">
          <a:xfrm flipV="1">
            <a:off x="10279063" y="2089146"/>
            <a:ext cx="0" cy="3005138"/>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sp>
        <p:nvSpPr>
          <p:cNvPr id="133" name="Rounded Rectangular Callout 23"/>
          <p:cNvSpPr/>
          <p:nvPr/>
        </p:nvSpPr>
        <p:spPr bwMode="auto">
          <a:xfrm>
            <a:off x="4879975" y="5256209"/>
            <a:ext cx="2935288" cy="942975"/>
          </a:xfrm>
          <a:prstGeom prst="wedgeRoundRectCallout">
            <a:avLst>
              <a:gd name="adj1" fmla="val 13906"/>
              <a:gd name="adj2" fmla="val -140743"/>
              <a:gd name="adj3" fmla="val 16667"/>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a:extLst/>
        </p:spPr>
        <p:txBody>
          <a:bodyPr lIns="72000" rIns="72000"/>
          <a:lstStyle/>
          <a:p>
            <a:pPr eaLnBrk="1" hangingPunct="1">
              <a:spcBef>
                <a:spcPct val="50000"/>
              </a:spcBef>
              <a:defRPr/>
            </a:pPr>
            <a:r>
              <a:rPr lang="en-US" sz="1600" b="1" dirty="0">
                <a:solidFill>
                  <a:schemeClr val="accent6">
                    <a:lumMod val="75000"/>
                  </a:schemeClr>
                </a:solidFill>
                <a:latin typeface="Arial" charset="0"/>
                <a:ea typeface="ＭＳ Ｐゴシック" pitchFamily="34" charset="-128"/>
                <a:cs typeface="Arial" charset="0"/>
              </a:rPr>
              <a:t>Phase 1: Rel-15 RAN + Core  targeting first phase of deployments 2020</a:t>
            </a:r>
          </a:p>
        </p:txBody>
      </p:sp>
      <p:sp>
        <p:nvSpPr>
          <p:cNvPr id="134" name="Rounded Rectangular Callout 98"/>
          <p:cNvSpPr/>
          <p:nvPr/>
        </p:nvSpPr>
        <p:spPr bwMode="auto">
          <a:xfrm>
            <a:off x="9170988" y="5265734"/>
            <a:ext cx="2054225" cy="942975"/>
          </a:xfrm>
          <a:prstGeom prst="wedgeRoundRectCallout">
            <a:avLst>
              <a:gd name="adj1" fmla="val -31796"/>
              <a:gd name="adj2" fmla="val -151632"/>
              <a:gd name="adj3" fmla="val 16667"/>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a:extLst/>
        </p:spPr>
        <p:txBody>
          <a:bodyPr lIns="72000" rIns="72000"/>
          <a:lstStyle/>
          <a:p>
            <a:pPr eaLnBrk="1" hangingPunct="1">
              <a:spcBef>
                <a:spcPct val="50000"/>
              </a:spcBef>
              <a:defRPr/>
            </a:pPr>
            <a:r>
              <a:rPr lang="en-US" sz="1600" b="1" dirty="0">
                <a:solidFill>
                  <a:schemeClr val="accent6">
                    <a:lumMod val="75000"/>
                  </a:schemeClr>
                </a:solidFill>
                <a:latin typeface="Arial" charset="0"/>
                <a:ea typeface="ＭＳ Ｐゴシック" pitchFamily="34" charset="-128"/>
                <a:cs typeface="Arial" charset="0"/>
              </a:rPr>
              <a:t>Phase 2: Rel-16 targeting </a:t>
            </a:r>
            <a:r>
              <a:rPr lang="en-GB" sz="1600" b="1" dirty="0">
                <a:solidFill>
                  <a:schemeClr val="accent6">
                    <a:lumMod val="75000"/>
                  </a:schemeClr>
                </a:solidFill>
                <a:latin typeface="Arial" charset="0"/>
                <a:ea typeface="ＭＳ Ｐゴシック" pitchFamily="34" charset="-128"/>
                <a:cs typeface="Arial" charset="0"/>
              </a:rPr>
              <a:t>ITU IMT-2020 submission</a:t>
            </a:r>
            <a:endParaRPr lang="en-US" sz="1600" b="1" dirty="0">
              <a:solidFill>
                <a:schemeClr val="accent6">
                  <a:lumMod val="75000"/>
                </a:schemeClr>
              </a:solidFill>
              <a:latin typeface="Arial" charset="0"/>
              <a:ea typeface="ＭＳ Ｐゴシック" pitchFamily="34" charset="-128"/>
              <a:cs typeface="Arial" charset="0"/>
            </a:endParaRPr>
          </a:p>
        </p:txBody>
      </p:sp>
    </p:spTree>
    <p:extLst>
      <p:ext uri="{BB962C8B-B14F-4D97-AF65-F5344CB8AC3E}">
        <p14:creationId xmlns:p14="http://schemas.microsoft.com/office/powerpoint/2010/main" val="74285336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hanced MBB network slice</a:t>
            </a:r>
          </a:p>
        </p:txBody>
      </p:sp>
      <p:grpSp>
        <p:nvGrpSpPr>
          <p:cNvPr id="4" name="Group 3"/>
          <p:cNvGrpSpPr/>
          <p:nvPr/>
        </p:nvGrpSpPr>
        <p:grpSpPr>
          <a:xfrm>
            <a:off x="9417534" y="1426636"/>
            <a:ext cx="2712720" cy="2508241"/>
            <a:chOff x="9123191" y="1175095"/>
            <a:chExt cx="2712720" cy="2508241"/>
          </a:xfrm>
        </p:grpSpPr>
        <p:grpSp>
          <p:nvGrpSpPr>
            <p:cNvPr id="5" name="Group 261"/>
            <p:cNvGrpSpPr>
              <a:grpSpLocks/>
            </p:cNvGrpSpPr>
            <p:nvPr/>
          </p:nvGrpSpPr>
          <p:grpSpPr bwMode="auto">
            <a:xfrm>
              <a:off x="10552827" y="1310981"/>
              <a:ext cx="496390" cy="689716"/>
              <a:chOff x="239" y="1832"/>
              <a:chExt cx="363" cy="520"/>
            </a:xfrm>
          </p:grpSpPr>
          <p:sp>
            <p:nvSpPr>
              <p:cNvPr id="2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2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2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  CN</a:t>
                </a:r>
              </a:p>
            </p:txBody>
          </p:sp>
          <p:sp>
            <p:nvSpPr>
              <p:cNvPr id="2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2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6" name="Group 9"/>
            <p:cNvGrpSpPr>
              <a:grpSpLocks/>
            </p:cNvGrpSpPr>
            <p:nvPr/>
          </p:nvGrpSpPr>
          <p:grpSpPr bwMode="auto">
            <a:xfrm>
              <a:off x="10198695" y="3190315"/>
              <a:ext cx="239369" cy="360989"/>
              <a:chOff x="416" y="1332"/>
              <a:chExt cx="408" cy="737"/>
            </a:xfrm>
          </p:grpSpPr>
          <p:sp>
            <p:nvSpPr>
              <p:cNvPr id="18"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19" name="Group 11"/>
              <p:cNvGrpSpPr>
                <a:grpSpLocks/>
              </p:cNvGrpSpPr>
              <p:nvPr/>
            </p:nvGrpSpPr>
            <p:grpSpPr bwMode="auto">
              <a:xfrm>
                <a:off x="416" y="1332"/>
                <a:ext cx="408" cy="737"/>
                <a:chOff x="518" y="1338"/>
                <a:chExt cx="357" cy="568"/>
              </a:xfrm>
            </p:grpSpPr>
            <p:sp>
              <p:nvSpPr>
                <p:cNvPr id="20"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2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7" name="Straight Connector 6"/>
            <p:cNvCxnSpPr>
              <a:stCxn id="14" idx="1"/>
              <a:endCxn id="24" idx="2"/>
            </p:cNvCxnSpPr>
            <p:nvPr/>
          </p:nvCxnSpPr>
          <p:spPr bwMode="auto">
            <a:xfrm flipV="1">
              <a:off x="9750734" y="1984781"/>
              <a:ext cx="1048921"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 name="Straight Connector 7"/>
            <p:cNvCxnSpPr>
              <a:stCxn id="14" idx="7"/>
              <a:endCxn id="22" idx="2"/>
            </p:cNvCxnSpPr>
            <p:nvPr/>
          </p:nvCxnSpPr>
          <p:spPr bwMode="auto">
            <a:xfrm flipV="1">
              <a:off x="10091098" y="1992739"/>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9" name="Straight Connector 8"/>
            <p:cNvCxnSpPr/>
            <p:nvPr/>
          </p:nvCxnSpPr>
          <p:spPr bwMode="auto">
            <a:xfrm flipH="1" flipV="1">
              <a:off x="9834260" y="292500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0" name="Freeform 5"/>
            <p:cNvSpPr>
              <a:spLocks noChangeAspect="1"/>
            </p:cNvSpPr>
            <p:nvPr/>
          </p:nvSpPr>
          <p:spPr bwMode="auto">
            <a:xfrm>
              <a:off x="9123191" y="1175095"/>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5</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Stand-alone LTE R15</a:t>
              </a:r>
            </a:p>
          </p:txBody>
        </p:sp>
        <p:cxnSp>
          <p:nvCxnSpPr>
            <p:cNvPr id="11" name="Straight Connector 10"/>
            <p:cNvCxnSpPr>
              <a:endCxn id="13" idx="2"/>
            </p:cNvCxnSpPr>
            <p:nvPr/>
          </p:nvCxnSpPr>
          <p:spPr bwMode="auto">
            <a:xfrm flipH="1" flipV="1">
              <a:off x="9922284" y="2925002"/>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2" name="Group 11"/>
            <p:cNvGrpSpPr>
              <a:grpSpLocks noChangeAspect="1"/>
            </p:cNvGrpSpPr>
            <p:nvPr/>
          </p:nvGrpSpPr>
          <p:grpSpPr bwMode="auto">
            <a:xfrm>
              <a:off x="9673405" y="2229992"/>
              <a:ext cx="496390" cy="703123"/>
              <a:chOff x="3106" y="2389"/>
              <a:chExt cx="363" cy="520"/>
            </a:xfrm>
          </p:grpSpPr>
          <p:sp>
            <p:nvSpPr>
              <p:cNvPr id="1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sp>
        <p:nvSpPr>
          <p:cNvPr id="27" name="Rectangle 26"/>
          <p:cNvSpPr/>
          <p:nvPr/>
        </p:nvSpPr>
        <p:spPr bwMode="auto">
          <a:xfrm>
            <a:off x="9149497" y="1995144"/>
            <a:ext cx="2632080" cy="2253430"/>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mn-lt"/>
            </a:endParaRPr>
          </a:p>
        </p:txBody>
      </p:sp>
      <p:grpSp>
        <p:nvGrpSpPr>
          <p:cNvPr id="28" name="Group 27"/>
          <p:cNvGrpSpPr/>
          <p:nvPr/>
        </p:nvGrpSpPr>
        <p:grpSpPr>
          <a:xfrm>
            <a:off x="524932" y="1148257"/>
            <a:ext cx="1738801" cy="1242472"/>
            <a:chOff x="1336617" y="1847970"/>
            <a:chExt cx="1738801" cy="1242472"/>
          </a:xfrm>
        </p:grpSpPr>
        <p:sp>
          <p:nvSpPr>
            <p:cNvPr id="29" name="Freeform 27"/>
            <p:cNvSpPr/>
            <p:nvPr/>
          </p:nvSpPr>
          <p:spPr>
            <a:xfrm>
              <a:off x="133661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Massive MTC</a:t>
              </a:r>
            </a:p>
          </p:txBody>
        </p:sp>
        <p:sp>
          <p:nvSpPr>
            <p:cNvPr id="30" name="Freeform 6"/>
            <p:cNvSpPr>
              <a:spLocks noEditPoints="1"/>
            </p:cNvSpPr>
            <p:nvPr/>
          </p:nvSpPr>
          <p:spPr bwMode="auto">
            <a:xfrm>
              <a:off x="1837632" y="2019135"/>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31" name="Group 30"/>
          <p:cNvGrpSpPr/>
          <p:nvPr/>
        </p:nvGrpSpPr>
        <p:grpSpPr>
          <a:xfrm>
            <a:off x="524932" y="2515506"/>
            <a:ext cx="1738801" cy="1242472"/>
            <a:chOff x="3998642" y="1847970"/>
            <a:chExt cx="1738801" cy="1242472"/>
          </a:xfrm>
        </p:grpSpPr>
        <p:sp>
          <p:nvSpPr>
            <p:cNvPr id="32" name="Freeform 29"/>
            <p:cNvSpPr/>
            <p:nvPr/>
          </p:nvSpPr>
          <p:spPr>
            <a:xfrm>
              <a:off x="399864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hanced MBB</a:t>
              </a:r>
            </a:p>
          </p:txBody>
        </p:sp>
        <p:sp>
          <p:nvSpPr>
            <p:cNvPr id="33" name="Freeform 6"/>
            <p:cNvSpPr>
              <a:spLocks noEditPoints="1"/>
            </p:cNvSpPr>
            <p:nvPr/>
          </p:nvSpPr>
          <p:spPr bwMode="auto">
            <a:xfrm>
              <a:off x="4618302" y="1967701"/>
              <a:ext cx="460358" cy="75345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34" name="Group 33"/>
          <p:cNvGrpSpPr/>
          <p:nvPr/>
        </p:nvGrpSpPr>
        <p:grpSpPr>
          <a:xfrm>
            <a:off x="505368" y="5244958"/>
            <a:ext cx="1738801" cy="1242472"/>
            <a:chOff x="9322692" y="1847970"/>
            <a:chExt cx="1738801" cy="1242472"/>
          </a:xfrm>
        </p:grpSpPr>
        <p:sp>
          <p:nvSpPr>
            <p:cNvPr id="35" name="Freeform 33"/>
            <p:cNvSpPr/>
            <p:nvPr/>
          </p:nvSpPr>
          <p:spPr>
            <a:xfrm>
              <a:off x="932269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Critical Comm. and MTC</a:t>
              </a:r>
            </a:p>
          </p:txBody>
        </p:sp>
        <p:sp>
          <p:nvSpPr>
            <p:cNvPr id="36" name="Freeform 3"/>
            <p:cNvSpPr>
              <a:spLocks noChangeAspect="1" noEditPoints="1"/>
            </p:cNvSpPr>
            <p:nvPr/>
          </p:nvSpPr>
          <p:spPr bwMode="auto">
            <a:xfrm>
              <a:off x="9920032" y="1982362"/>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37" name="Group 36"/>
          <p:cNvGrpSpPr/>
          <p:nvPr/>
        </p:nvGrpSpPr>
        <p:grpSpPr>
          <a:xfrm>
            <a:off x="505370" y="3877709"/>
            <a:ext cx="1738801" cy="1242472"/>
            <a:chOff x="6660667" y="1847970"/>
            <a:chExt cx="1738801" cy="1242472"/>
          </a:xfrm>
        </p:grpSpPr>
        <p:sp>
          <p:nvSpPr>
            <p:cNvPr id="38" name="Freeform 31"/>
            <p:cNvSpPr/>
            <p:nvPr/>
          </p:nvSpPr>
          <p:spPr>
            <a:xfrm>
              <a:off x="666066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terprise and Industry</a:t>
              </a:r>
            </a:p>
          </p:txBody>
        </p:sp>
        <p:sp>
          <p:nvSpPr>
            <p:cNvPr id="39" name="Freeform 3"/>
            <p:cNvSpPr>
              <a:spLocks noChangeAspect="1" noEditPoints="1"/>
            </p:cNvSpPr>
            <p:nvPr/>
          </p:nvSpPr>
          <p:spPr bwMode="auto">
            <a:xfrm>
              <a:off x="7285202" y="1962739"/>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40" name="Group 261"/>
          <p:cNvGrpSpPr>
            <a:grpSpLocks/>
          </p:cNvGrpSpPr>
          <p:nvPr/>
        </p:nvGrpSpPr>
        <p:grpSpPr bwMode="auto">
          <a:xfrm>
            <a:off x="3235840" y="2092280"/>
            <a:ext cx="496390" cy="689716"/>
            <a:chOff x="239" y="1832"/>
            <a:chExt cx="363" cy="520"/>
          </a:xfrm>
        </p:grpSpPr>
        <p:sp>
          <p:nvSpPr>
            <p:cNvPr id="4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EPC</a:t>
              </a:r>
            </a:p>
          </p:txBody>
        </p:sp>
        <p:sp>
          <p:nvSpPr>
            <p:cNvPr id="4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46" name="Group 9"/>
          <p:cNvGrpSpPr>
            <a:grpSpLocks/>
          </p:cNvGrpSpPr>
          <p:nvPr/>
        </p:nvGrpSpPr>
        <p:grpSpPr bwMode="auto">
          <a:xfrm>
            <a:off x="3749812" y="3971614"/>
            <a:ext cx="239369" cy="360989"/>
            <a:chOff x="416" y="1332"/>
            <a:chExt cx="408" cy="737"/>
          </a:xfrm>
        </p:grpSpPr>
        <p:sp>
          <p:nvSpPr>
            <p:cNvPr id="4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48" name="Group 11"/>
            <p:cNvGrpSpPr>
              <a:grpSpLocks/>
            </p:cNvGrpSpPr>
            <p:nvPr/>
          </p:nvGrpSpPr>
          <p:grpSpPr bwMode="auto">
            <a:xfrm>
              <a:off x="416" y="1332"/>
              <a:ext cx="408" cy="737"/>
              <a:chOff x="518" y="1338"/>
              <a:chExt cx="357" cy="568"/>
            </a:xfrm>
          </p:grpSpPr>
          <p:sp>
            <p:nvSpPr>
              <p:cNvPr id="4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5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51" name="Straight Connector 50"/>
          <p:cNvCxnSpPr>
            <a:stCxn id="58" idx="1"/>
            <a:endCxn id="43" idx="2"/>
          </p:cNvCxnSpPr>
          <p:nvPr/>
        </p:nvCxnSpPr>
        <p:spPr bwMode="auto">
          <a:xfrm flipV="1">
            <a:off x="3301851" y="2766080"/>
            <a:ext cx="180817"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2" name="Straight Connector 51"/>
          <p:cNvCxnSpPr>
            <a:stCxn id="58" idx="7"/>
            <a:endCxn id="41" idx="2"/>
          </p:cNvCxnSpPr>
          <p:nvPr/>
        </p:nvCxnSpPr>
        <p:spPr bwMode="auto">
          <a:xfrm flipH="1" flipV="1">
            <a:off x="3484719" y="2774038"/>
            <a:ext cx="157496"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53" name="Straight Connector 52"/>
          <p:cNvCxnSpPr/>
          <p:nvPr/>
        </p:nvCxnSpPr>
        <p:spPr bwMode="auto">
          <a:xfrm flipH="1" flipV="1">
            <a:off x="3385377" y="3706301"/>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54" name="Freeform 5"/>
          <p:cNvSpPr>
            <a:spLocks noChangeAspect="1"/>
          </p:cNvSpPr>
          <p:nvPr/>
        </p:nvSpPr>
        <p:spPr bwMode="auto">
          <a:xfrm>
            <a:off x="2674308" y="1956394"/>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1</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Existing LTE </a:t>
            </a:r>
          </a:p>
        </p:txBody>
      </p:sp>
      <p:cxnSp>
        <p:nvCxnSpPr>
          <p:cNvPr id="55" name="Straight Connector 54"/>
          <p:cNvCxnSpPr>
            <a:endCxn id="57" idx="2"/>
          </p:cNvCxnSpPr>
          <p:nvPr/>
        </p:nvCxnSpPr>
        <p:spPr bwMode="auto">
          <a:xfrm flipH="1" flipV="1">
            <a:off x="3473401" y="3706301"/>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56" name="Group 55"/>
          <p:cNvGrpSpPr>
            <a:grpSpLocks noChangeAspect="1"/>
          </p:cNvGrpSpPr>
          <p:nvPr/>
        </p:nvGrpSpPr>
        <p:grpSpPr bwMode="auto">
          <a:xfrm>
            <a:off x="3224522" y="3011291"/>
            <a:ext cx="496390" cy="703123"/>
            <a:chOff x="3106" y="2389"/>
            <a:chExt cx="363" cy="520"/>
          </a:xfrm>
        </p:grpSpPr>
        <p:sp>
          <p:nvSpPr>
            <p:cNvPr id="5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5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5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6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6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62" name="Group 261"/>
          <p:cNvGrpSpPr>
            <a:grpSpLocks/>
          </p:cNvGrpSpPr>
          <p:nvPr/>
        </p:nvGrpSpPr>
        <p:grpSpPr bwMode="auto">
          <a:xfrm>
            <a:off x="7320697" y="2093176"/>
            <a:ext cx="496390" cy="689716"/>
            <a:chOff x="239" y="1832"/>
            <a:chExt cx="363" cy="520"/>
          </a:xfrm>
        </p:grpSpPr>
        <p:sp>
          <p:nvSpPr>
            <p:cNvPr id="63"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4"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5"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66"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7"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68" name="Group 67"/>
          <p:cNvGrpSpPr>
            <a:grpSpLocks noChangeAspect="1"/>
          </p:cNvGrpSpPr>
          <p:nvPr/>
        </p:nvGrpSpPr>
        <p:grpSpPr bwMode="auto">
          <a:xfrm>
            <a:off x="7321380" y="3013877"/>
            <a:ext cx="496390" cy="703123"/>
            <a:chOff x="3106" y="2389"/>
            <a:chExt cx="363" cy="520"/>
          </a:xfrm>
        </p:grpSpPr>
        <p:sp>
          <p:nvSpPr>
            <p:cNvPr id="6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7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74" name="Group 9"/>
          <p:cNvGrpSpPr>
            <a:grpSpLocks/>
          </p:cNvGrpSpPr>
          <p:nvPr/>
        </p:nvGrpSpPr>
        <p:grpSpPr bwMode="auto">
          <a:xfrm>
            <a:off x="6966565" y="3972510"/>
            <a:ext cx="239369" cy="360989"/>
            <a:chOff x="416" y="1332"/>
            <a:chExt cx="408" cy="737"/>
          </a:xfrm>
        </p:grpSpPr>
        <p:sp>
          <p:nvSpPr>
            <p:cNvPr id="75"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76" name="Group 11"/>
            <p:cNvGrpSpPr>
              <a:grpSpLocks/>
            </p:cNvGrpSpPr>
            <p:nvPr/>
          </p:nvGrpSpPr>
          <p:grpSpPr bwMode="auto">
            <a:xfrm>
              <a:off x="416" y="1332"/>
              <a:ext cx="408" cy="737"/>
              <a:chOff x="518" y="1338"/>
              <a:chExt cx="357" cy="568"/>
            </a:xfrm>
          </p:grpSpPr>
          <p:sp>
            <p:nvSpPr>
              <p:cNvPr id="77"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78"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79" name="Straight Connector 78"/>
          <p:cNvCxnSpPr>
            <a:stCxn id="94" idx="1"/>
            <a:endCxn id="85" idx="2"/>
          </p:cNvCxnSpPr>
          <p:nvPr/>
        </p:nvCxnSpPr>
        <p:spPr bwMode="auto">
          <a:xfrm flipV="1">
            <a:off x="6518604" y="2759018"/>
            <a:ext cx="167052" cy="33293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0" name="Straight Connector 79"/>
          <p:cNvCxnSpPr>
            <a:stCxn id="94" idx="7"/>
            <a:endCxn id="85" idx="2"/>
          </p:cNvCxnSpPr>
          <p:nvPr/>
        </p:nvCxnSpPr>
        <p:spPr bwMode="auto">
          <a:xfrm flipH="1" flipV="1">
            <a:off x="6685656" y="2759018"/>
            <a:ext cx="173312" cy="33293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81" name="Straight Connector 80"/>
          <p:cNvCxnSpPr/>
          <p:nvPr/>
        </p:nvCxnSpPr>
        <p:spPr bwMode="auto">
          <a:xfrm flipV="1">
            <a:off x="7086249" y="3708888"/>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2" name="Straight Connector 81"/>
          <p:cNvCxnSpPr/>
          <p:nvPr/>
        </p:nvCxnSpPr>
        <p:spPr bwMode="auto">
          <a:xfrm flipH="1" flipV="1">
            <a:off x="6602130" y="3707197"/>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83" name="Freeform 5"/>
          <p:cNvSpPr>
            <a:spLocks noChangeAspect="1"/>
          </p:cNvSpPr>
          <p:nvPr/>
        </p:nvSpPr>
        <p:spPr bwMode="auto">
          <a:xfrm>
            <a:off x="5891061" y="1957290"/>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3</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2000" b="1" i="0" u="none" strike="noStrike" kern="0" cap="none" spc="0" normalizeH="0" baseline="0" noProof="0" dirty="0">
                <a:ln>
                  <a:noFill/>
                </a:ln>
                <a:solidFill>
                  <a:srgbClr val="00B0F0"/>
                </a:solidFill>
                <a:effectLst/>
                <a:uLnTx/>
                <a:uFillTx/>
                <a:latin typeface="+mn-lt"/>
                <a:cs typeface="Arial" charset="0"/>
              </a:rPr>
              <a:t>“</a:t>
            </a:r>
            <a:r>
              <a:rPr kumimoji="0" lang="en-US" altLang="es-ES_tradnl" sz="1600" b="1" i="0" u="none" strike="noStrike" kern="0" cap="none" spc="0" normalizeH="0" baseline="0" noProof="0" dirty="0">
                <a:ln>
                  <a:noFill/>
                </a:ln>
                <a:solidFill>
                  <a:srgbClr val="00B0F0"/>
                </a:solidFill>
                <a:effectLst/>
                <a:uLnTx/>
                <a:uFillTx/>
                <a:latin typeface="+mn-lt"/>
                <a:cs typeface="Arial" charset="0"/>
              </a:rPr>
              <a:t>LTE assisted”, EPC </a:t>
            </a:r>
          </a:p>
        </p:txBody>
      </p:sp>
      <p:grpSp>
        <p:nvGrpSpPr>
          <p:cNvPr id="84" name="Group 261"/>
          <p:cNvGrpSpPr>
            <a:grpSpLocks/>
          </p:cNvGrpSpPr>
          <p:nvPr/>
        </p:nvGrpSpPr>
        <p:grpSpPr bwMode="auto">
          <a:xfrm>
            <a:off x="6436777" y="2077260"/>
            <a:ext cx="496390" cy="689716"/>
            <a:chOff x="239" y="1832"/>
            <a:chExt cx="363" cy="520"/>
          </a:xfrm>
        </p:grpSpPr>
        <p:sp>
          <p:nvSpPr>
            <p:cNvPr id="85"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6"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7"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5G EPC</a:t>
              </a:r>
            </a:p>
          </p:txBody>
        </p:sp>
        <p:sp>
          <p:nvSpPr>
            <p:cNvPr id="88"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9"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cxnSp>
        <p:nvCxnSpPr>
          <p:cNvPr id="90" name="Straight Connector 89"/>
          <p:cNvCxnSpPr>
            <a:endCxn id="93" idx="2"/>
          </p:cNvCxnSpPr>
          <p:nvPr/>
        </p:nvCxnSpPr>
        <p:spPr bwMode="auto">
          <a:xfrm flipH="1" flipV="1">
            <a:off x="6690154" y="3707197"/>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91" name="Straight Connector 90"/>
          <p:cNvCxnSpPr>
            <a:stCxn id="71" idx="1"/>
            <a:endCxn id="95" idx="3"/>
          </p:cNvCxnSpPr>
          <p:nvPr/>
        </p:nvCxnSpPr>
        <p:spPr bwMode="auto">
          <a:xfrm flipH="1" flipV="1">
            <a:off x="6911683" y="3546966"/>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92" name="Group 91"/>
          <p:cNvGrpSpPr>
            <a:grpSpLocks noChangeAspect="1"/>
          </p:cNvGrpSpPr>
          <p:nvPr/>
        </p:nvGrpSpPr>
        <p:grpSpPr bwMode="auto">
          <a:xfrm>
            <a:off x="6441275" y="3012187"/>
            <a:ext cx="496390" cy="703123"/>
            <a:chOff x="3106" y="2389"/>
            <a:chExt cx="363" cy="520"/>
          </a:xfrm>
        </p:grpSpPr>
        <p:sp>
          <p:nvSpPr>
            <p:cNvPr id="9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9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9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9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9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cxnSp>
        <p:nvCxnSpPr>
          <p:cNvPr id="98" name="Straight Connector 97"/>
          <p:cNvCxnSpPr>
            <a:stCxn id="70" idx="0"/>
            <a:endCxn id="85" idx="2"/>
          </p:cNvCxnSpPr>
          <p:nvPr/>
        </p:nvCxnSpPr>
        <p:spPr bwMode="auto">
          <a:xfrm flipH="1" flipV="1">
            <a:off x="6685656" y="2759018"/>
            <a:ext cx="883235" cy="264324"/>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99" name="TextBox 98"/>
          <p:cNvSpPr txBox="1"/>
          <p:nvPr/>
        </p:nvSpPr>
        <p:spPr>
          <a:xfrm rot="958896">
            <a:off x="6925705" y="2733446"/>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latin typeface="+mn-lt"/>
              </a:rPr>
              <a:t>Opt. 3A</a:t>
            </a:r>
          </a:p>
        </p:txBody>
      </p:sp>
      <p:grpSp>
        <p:nvGrpSpPr>
          <p:cNvPr id="100" name="Group 99"/>
          <p:cNvGrpSpPr/>
          <p:nvPr/>
        </p:nvGrpSpPr>
        <p:grpSpPr>
          <a:xfrm>
            <a:off x="9123191" y="1962000"/>
            <a:ext cx="2712720" cy="2508241"/>
            <a:chOff x="9123191" y="1962000"/>
            <a:chExt cx="2712720" cy="2508241"/>
          </a:xfrm>
        </p:grpSpPr>
        <p:grpSp>
          <p:nvGrpSpPr>
            <p:cNvPr id="101" name="Group 261"/>
            <p:cNvGrpSpPr>
              <a:grpSpLocks/>
            </p:cNvGrpSpPr>
            <p:nvPr/>
          </p:nvGrpSpPr>
          <p:grpSpPr bwMode="auto">
            <a:xfrm>
              <a:off x="10552827" y="2097886"/>
              <a:ext cx="496390" cy="689716"/>
              <a:chOff x="239" y="1832"/>
              <a:chExt cx="363" cy="520"/>
            </a:xfrm>
          </p:grpSpPr>
          <p:sp>
            <p:nvSpPr>
              <p:cNvPr id="13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3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3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13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3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102" name="Group 101"/>
            <p:cNvGrpSpPr>
              <a:grpSpLocks noChangeAspect="1"/>
            </p:cNvGrpSpPr>
            <p:nvPr/>
          </p:nvGrpSpPr>
          <p:grpSpPr bwMode="auto">
            <a:xfrm>
              <a:off x="10553510" y="3018587"/>
              <a:ext cx="496390" cy="703123"/>
              <a:chOff x="3106" y="2389"/>
              <a:chExt cx="363" cy="520"/>
            </a:xfrm>
          </p:grpSpPr>
          <p:sp>
            <p:nvSpPr>
              <p:cNvPr id="12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3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3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3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3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103" name="Group 9"/>
            <p:cNvGrpSpPr>
              <a:grpSpLocks/>
            </p:cNvGrpSpPr>
            <p:nvPr/>
          </p:nvGrpSpPr>
          <p:grpSpPr bwMode="auto">
            <a:xfrm>
              <a:off x="10198695" y="3977220"/>
              <a:ext cx="239369" cy="360989"/>
              <a:chOff x="416" y="1332"/>
              <a:chExt cx="408" cy="737"/>
            </a:xfrm>
          </p:grpSpPr>
          <p:sp>
            <p:nvSpPr>
              <p:cNvPr id="125"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126" name="Group 11"/>
              <p:cNvGrpSpPr>
                <a:grpSpLocks/>
              </p:cNvGrpSpPr>
              <p:nvPr/>
            </p:nvGrpSpPr>
            <p:grpSpPr bwMode="auto">
              <a:xfrm>
                <a:off x="416" y="1332"/>
                <a:ext cx="408" cy="737"/>
                <a:chOff x="518" y="1338"/>
                <a:chExt cx="357" cy="568"/>
              </a:xfrm>
            </p:grpSpPr>
            <p:sp>
              <p:nvSpPr>
                <p:cNvPr id="127"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128"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104" name="Straight Connector 103"/>
            <p:cNvCxnSpPr>
              <a:stCxn id="116" idx="1"/>
              <a:endCxn id="134" idx="2"/>
            </p:cNvCxnSpPr>
            <p:nvPr/>
          </p:nvCxnSpPr>
          <p:spPr bwMode="auto">
            <a:xfrm flipV="1">
              <a:off x="9750734" y="2779644"/>
              <a:ext cx="1050972" cy="3170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5" name="Straight Connector 104"/>
            <p:cNvCxnSpPr>
              <a:stCxn id="116" idx="7"/>
              <a:endCxn id="134" idx="2"/>
            </p:cNvCxnSpPr>
            <p:nvPr/>
          </p:nvCxnSpPr>
          <p:spPr bwMode="auto">
            <a:xfrm flipV="1">
              <a:off x="10091098" y="2779644"/>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06" name="Straight Connector 105"/>
            <p:cNvCxnSpPr/>
            <p:nvPr/>
          </p:nvCxnSpPr>
          <p:spPr bwMode="auto">
            <a:xfrm flipV="1">
              <a:off x="10318379" y="3713598"/>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7" name="Straight Connector 106"/>
            <p:cNvCxnSpPr/>
            <p:nvPr/>
          </p:nvCxnSpPr>
          <p:spPr bwMode="auto">
            <a:xfrm flipH="1" flipV="1">
              <a:off x="9834260" y="3711907"/>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08" name="Freeform 5"/>
            <p:cNvSpPr>
              <a:spLocks noChangeAspect="1"/>
            </p:cNvSpPr>
            <p:nvPr/>
          </p:nvSpPr>
          <p:spPr bwMode="auto">
            <a:xfrm>
              <a:off x="9123191" y="1962000"/>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7</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LTE-Assisted”</a:t>
              </a:r>
            </a:p>
          </p:txBody>
        </p:sp>
        <p:grpSp>
          <p:nvGrpSpPr>
            <p:cNvPr id="109" name="Group 261"/>
            <p:cNvGrpSpPr>
              <a:grpSpLocks/>
            </p:cNvGrpSpPr>
            <p:nvPr/>
          </p:nvGrpSpPr>
          <p:grpSpPr bwMode="auto">
            <a:xfrm>
              <a:off x="9668907" y="2081970"/>
              <a:ext cx="496390" cy="689716"/>
              <a:chOff x="239" y="1832"/>
              <a:chExt cx="363" cy="520"/>
            </a:xfrm>
          </p:grpSpPr>
          <p:sp>
            <p:nvSpPr>
              <p:cNvPr id="12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EPC</a:t>
                </a:r>
              </a:p>
            </p:txBody>
          </p:sp>
          <p:sp>
            <p:nvSpPr>
              <p:cNvPr id="12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cxnSp>
          <p:nvCxnSpPr>
            <p:cNvPr id="110" name="Straight Connector 109"/>
            <p:cNvCxnSpPr>
              <a:endCxn id="115" idx="2"/>
            </p:cNvCxnSpPr>
            <p:nvPr/>
          </p:nvCxnSpPr>
          <p:spPr bwMode="auto">
            <a:xfrm flipH="1" flipV="1">
              <a:off x="9922284" y="3711907"/>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11" name="Straight Connector 110"/>
            <p:cNvCxnSpPr>
              <a:stCxn id="131" idx="1"/>
              <a:endCxn id="117" idx="3"/>
            </p:cNvCxnSpPr>
            <p:nvPr/>
          </p:nvCxnSpPr>
          <p:spPr bwMode="auto">
            <a:xfrm flipH="1" flipV="1">
              <a:off x="10143813" y="3551676"/>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12" name="Group 111"/>
            <p:cNvGrpSpPr>
              <a:grpSpLocks noChangeAspect="1"/>
            </p:cNvGrpSpPr>
            <p:nvPr/>
          </p:nvGrpSpPr>
          <p:grpSpPr bwMode="auto">
            <a:xfrm>
              <a:off x="9673405" y="3016897"/>
              <a:ext cx="496390" cy="703123"/>
              <a:chOff x="3106" y="2389"/>
              <a:chExt cx="363" cy="520"/>
            </a:xfrm>
          </p:grpSpPr>
          <p:sp>
            <p:nvSpPr>
              <p:cNvPr id="11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1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cxnSp>
          <p:nvCxnSpPr>
            <p:cNvPr id="113" name="Straight Connector 112"/>
            <p:cNvCxnSpPr>
              <a:stCxn id="130" idx="0"/>
              <a:endCxn id="134" idx="2"/>
            </p:cNvCxnSpPr>
            <p:nvPr/>
          </p:nvCxnSpPr>
          <p:spPr bwMode="auto">
            <a:xfrm flipV="1">
              <a:off x="10801021" y="2779644"/>
              <a:ext cx="685" cy="2484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14" name="TextBox 113"/>
            <p:cNvSpPr txBox="1"/>
            <p:nvPr/>
          </p:nvSpPr>
          <p:spPr>
            <a:xfrm>
              <a:off x="10731338" y="2799174"/>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latin typeface="+mn-lt"/>
                </a:rPr>
                <a:t>Opt. 7A</a:t>
              </a:r>
            </a:p>
          </p:txBody>
        </p:sp>
      </p:grpSp>
      <p:sp>
        <p:nvSpPr>
          <p:cNvPr id="139" name="TextBox 138"/>
          <p:cNvSpPr txBox="1"/>
          <p:nvPr/>
        </p:nvSpPr>
        <p:spPr>
          <a:xfrm>
            <a:off x="5457566" y="5080728"/>
            <a:ext cx="3220913"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1 - Early introduction of NR through Option 3/3a and 5G-enabled EPC</a:t>
            </a:r>
          </a:p>
        </p:txBody>
      </p:sp>
      <p:sp>
        <p:nvSpPr>
          <p:cNvPr id="140" name="TextBox 139"/>
          <p:cNvSpPr txBox="1"/>
          <p:nvPr/>
        </p:nvSpPr>
        <p:spPr>
          <a:xfrm>
            <a:off x="9123191" y="5086389"/>
            <a:ext cx="2925329"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2 - Introduction of 5G Core, supporting Option 5 &amp; 7</a:t>
            </a:r>
          </a:p>
        </p:txBody>
      </p:sp>
      <p:sp>
        <p:nvSpPr>
          <p:cNvPr id="141" name="Rectangle 140"/>
          <p:cNvSpPr/>
          <p:nvPr/>
        </p:nvSpPr>
        <p:spPr bwMode="auto">
          <a:xfrm>
            <a:off x="367769" y="3877709"/>
            <a:ext cx="2013995" cy="2672109"/>
          </a:xfrm>
          <a:prstGeom prst="rect">
            <a:avLst/>
          </a:prstGeom>
          <a:solidFill>
            <a:schemeClr val="bg1">
              <a:alpha val="6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mn-lt"/>
            </a:endParaRPr>
          </a:p>
        </p:txBody>
      </p:sp>
      <p:sp>
        <p:nvSpPr>
          <p:cNvPr id="142" name="Rectangle 141"/>
          <p:cNvSpPr/>
          <p:nvPr/>
        </p:nvSpPr>
        <p:spPr bwMode="auto">
          <a:xfrm>
            <a:off x="325648" y="1085868"/>
            <a:ext cx="2013995" cy="1366757"/>
          </a:xfrm>
          <a:prstGeom prst="rect">
            <a:avLst/>
          </a:prstGeom>
          <a:solidFill>
            <a:schemeClr val="bg1">
              <a:alpha val="6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mn-lt"/>
            </a:endParaRPr>
          </a:p>
        </p:txBody>
      </p:sp>
      <p:sp>
        <p:nvSpPr>
          <p:cNvPr id="143" name="Right Arrow 29"/>
          <p:cNvSpPr/>
          <p:nvPr/>
        </p:nvSpPr>
        <p:spPr bwMode="auto">
          <a:xfrm>
            <a:off x="5393360" y="2771686"/>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sp>
        <p:nvSpPr>
          <p:cNvPr id="144" name="Right Arrow 29"/>
          <p:cNvSpPr/>
          <p:nvPr/>
        </p:nvSpPr>
        <p:spPr bwMode="auto">
          <a:xfrm>
            <a:off x="8597345" y="2769240"/>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spTree>
    <p:extLst>
      <p:ext uri="{BB962C8B-B14F-4D97-AF65-F5344CB8AC3E}">
        <p14:creationId xmlns:p14="http://schemas.microsoft.com/office/powerpoint/2010/main" val="1278616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P spid="140" grpId="0"/>
    </p:bld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amp; C-MTC </a:t>
            </a:r>
            <a:r>
              <a:rPr lang="en-US" dirty="0" err="1"/>
              <a:t>nw</a:t>
            </a:r>
            <a:r>
              <a:rPr lang="en-US" dirty="0"/>
              <a:t> slice</a:t>
            </a:r>
          </a:p>
        </p:txBody>
      </p:sp>
      <p:grpSp>
        <p:nvGrpSpPr>
          <p:cNvPr id="4" name="Group 3"/>
          <p:cNvGrpSpPr/>
          <p:nvPr/>
        </p:nvGrpSpPr>
        <p:grpSpPr>
          <a:xfrm>
            <a:off x="524932" y="1148257"/>
            <a:ext cx="1738801" cy="1242472"/>
            <a:chOff x="1336617" y="1847970"/>
            <a:chExt cx="1738801" cy="1242472"/>
          </a:xfrm>
        </p:grpSpPr>
        <p:sp>
          <p:nvSpPr>
            <p:cNvPr id="5" name="Freeform 27"/>
            <p:cNvSpPr/>
            <p:nvPr/>
          </p:nvSpPr>
          <p:spPr>
            <a:xfrm>
              <a:off x="133661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Massive MTC</a:t>
              </a:r>
            </a:p>
          </p:txBody>
        </p:sp>
        <p:sp>
          <p:nvSpPr>
            <p:cNvPr id="6" name="Freeform 6"/>
            <p:cNvSpPr>
              <a:spLocks noEditPoints="1"/>
            </p:cNvSpPr>
            <p:nvPr/>
          </p:nvSpPr>
          <p:spPr bwMode="auto">
            <a:xfrm>
              <a:off x="1837632" y="2019135"/>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7" name="Group 6"/>
          <p:cNvGrpSpPr/>
          <p:nvPr/>
        </p:nvGrpSpPr>
        <p:grpSpPr>
          <a:xfrm>
            <a:off x="524932" y="2515506"/>
            <a:ext cx="1738801" cy="1242472"/>
            <a:chOff x="3998642" y="1847970"/>
            <a:chExt cx="1738801" cy="1242472"/>
          </a:xfrm>
        </p:grpSpPr>
        <p:sp>
          <p:nvSpPr>
            <p:cNvPr id="8" name="Freeform 29"/>
            <p:cNvSpPr/>
            <p:nvPr/>
          </p:nvSpPr>
          <p:spPr>
            <a:xfrm>
              <a:off x="399864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hanced MBB</a:t>
              </a:r>
            </a:p>
          </p:txBody>
        </p:sp>
        <p:sp>
          <p:nvSpPr>
            <p:cNvPr id="9" name="Freeform 6"/>
            <p:cNvSpPr>
              <a:spLocks noEditPoints="1"/>
            </p:cNvSpPr>
            <p:nvPr/>
          </p:nvSpPr>
          <p:spPr bwMode="auto">
            <a:xfrm>
              <a:off x="4618302" y="1967701"/>
              <a:ext cx="460358" cy="75345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0" name="Group 9"/>
          <p:cNvGrpSpPr/>
          <p:nvPr/>
        </p:nvGrpSpPr>
        <p:grpSpPr>
          <a:xfrm>
            <a:off x="505368" y="5244958"/>
            <a:ext cx="1738801" cy="1242472"/>
            <a:chOff x="9322692" y="1847970"/>
            <a:chExt cx="1738801" cy="1242472"/>
          </a:xfrm>
        </p:grpSpPr>
        <p:sp>
          <p:nvSpPr>
            <p:cNvPr id="11" name="Freeform 33"/>
            <p:cNvSpPr/>
            <p:nvPr/>
          </p:nvSpPr>
          <p:spPr>
            <a:xfrm>
              <a:off x="9322692"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Critical Comm. and MTC</a:t>
              </a:r>
            </a:p>
          </p:txBody>
        </p:sp>
        <p:sp>
          <p:nvSpPr>
            <p:cNvPr id="12" name="Freeform 3"/>
            <p:cNvSpPr>
              <a:spLocks noChangeAspect="1" noEditPoints="1"/>
            </p:cNvSpPr>
            <p:nvPr/>
          </p:nvSpPr>
          <p:spPr bwMode="auto">
            <a:xfrm>
              <a:off x="9920032" y="1982362"/>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3" name="Group 12"/>
          <p:cNvGrpSpPr/>
          <p:nvPr/>
        </p:nvGrpSpPr>
        <p:grpSpPr>
          <a:xfrm>
            <a:off x="505370" y="3877709"/>
            <a:ext cx="1738801" cy="1242472"/>
            <a:chOff x="6660667" y="1847970"/>
            <a:chExt cx="1738801" cy="1242472"/>
          </a:xfrm>
        </p:grpSpPr>
        <p:sp>
          <p:nvSpPr>
            <p:cNvPr id="14" name="Freeform 31"/>
            <p:cNvSpPr/>
            <p:nvPr/>
          </p:nvSpPr>
          <p:spPr>
            <a:xfrm>
              <a:off x="6660667" y="1847970"/>
              <a:ext cx="1738801" cy="1242472"/>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endParaRPr kumimoji="0" lang="en-US" sz="1600" b="0" i="0" u="none" strike="noStrike" kern="0" cap="none" spc="0" normalizeH="0" baseline="0" noProof="0" dirty="0">
                <a:ln>
                  <a:noFill/>
                </a:ln>
                <a:solidFill>
                  <a:prstClr val="white"/>
                </a:solidFill>
                <a:effectLst/>
                <a:uLnTx/>
                <a:uFillTx/>
              </a:endParaRP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600" b="0" i="0" u="none" strike="noStrike" kern="0" cap="none" spc="0" normalizeH="0" baseline="0" noProof="0" dirty="0">
                  <a:ln>
                    <a:noFill/>
                  </a:ln>
                  <a:solidFill>
                    <a:prstClr val="white"/>
                  </a:solidFill>
                  <a:effectLst/>
                  <a:uLnTx/>
                  <a:uFillTx/>
                </a:rPr>
                <a:t>Enterprise and Industry</a:t>
              </a:r>
            </a:p>
          </p:txBody>
        </p:sp>
        <p:sp>
          <p:nvSpPr>
            <p:cNvPr id="15" name="Freeform 3"/>
            <p:cNvSpPr>
              <a:spLocks noChangeAspect="1" noEditPoints="1"/>
            </p:cNvSpPr>
            <p:nvPr/>
          </p:nvSpPr>
          <p:spPr bwMode="auto">
            <a:xfrm>
              <a:off x="7285202" y="1962739"/>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nvGrpSpPr>
          <p:cNvPr id="16" name="Group 261"/>
          <p:cNvGrpSpPr>
            <a:grpSpLocks/>
          </p:cNvGrpSpPr>
          <p:nvPr/>
        </p:nvGrpSpPr>
        <p:grpSpPr bwMode="auto">
          <a:xfrm>
            <a:off x="3235840" y="3392273"/>
            <a:ext cx="496390" cy="689716"/>
            <a:chOff x="239" y="1832"/>
            <a:chExt cx="363" cy="520"/>
          </a:xfrm>
        </p:grpSpPr>
        <p:sp>
          <p:nvSpPr>
            <p:cNvPr id="1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EPC</a:t>
              </a:r>
            </a:p>
          </p:txBody>
        </p:sp>
        <p:sp>
          <p:nvSpPr>
            <p:cNvPr id="2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2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22" name="Group 9"/>
          <p:cNvGrpSpPr>
            <a:grpSpLocks/>
          </p:cNvGrpSpPr>
          <p:nvPr/>
        </p:nvGrpSpPr>
        <p:grpSpPr bwMode="auto">
          <a:xfrm>
            <a:off x="3749812" y="5271607"/>
            <a:ext cx="239369" cy="360989"/>
            <a:chOff x="416" y="1332"/>
            <a:chExt cx="408" cy="737"/>
          </a:xfrm>
        </p:grpSpPr>
        <p:sp>
          <p:nvSpPr>
            <p:cNvPr id="23"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24" name="Group 11"/>
            <p:cNvGrpSpPr>
              <a:grpSpLocks/>
            </p:cNvGrpSpPr>
            <p:nvPr/>
          </p:nvGrpSpPr>
          <p:grpSpPr bwMode="auto">
            <a:xfrm>
              <a:off x="416" y="1332"/>
              <a:ext cx="408" cy="737"/>
              <a:chOff x="518" y="1338"/>
              <a:chExt cx="357" cy="568"/>
            </a:xfrm>
          </p:grpSpPr>
          <p:sp>
            <p:nvSpPr>
              <p:cNvPr id="25"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26"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27" name="Straight Connector 26"/>
          <p:cNvCxnSpPr>
            <a:stCxn id="34" idx="1"/>
            <a:endCxn id="19" idx="2"/>
          </p:cNvCxnSpPr>
          <p:nvPr/>
        </p:nvCxnSpPr>
        <p:spPr bwMode="auto">
          <a:xfrm flipV="1">
            <a:off x="3301851" y="4066073"/>
            <a:ext cx="180817"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8" name="Straight Connector 27"/>
          <p:cNvCxnSpPr>
            <a:stCxn id="34" idx="7"/>
            <a:endCxn id="17" idx="2"/>
          </p:cNvCxnSpPr>
          <p:nvPr/>
        </p:nvCxnSpPr>
        <p:spPr bwMode="auto">
          <a:xfrm flipH="1" flipV="1">
            <a:off x="3484719" y="4074031"/>
            <a:ext cx="157496"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9" name="Straight Connector 28"/>
          <p:cNvCxnSpPr/>
          <p:nvPr/>
        </p:nvCxnSpPr>
        <p:spPr bwMode="auto">
          <a:xfrm flipH="1" flipV="1">
            <a:off x="3385377" y="5006294"/>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30" name="Freeform 5"/>
          <p:cNvSpPr>
            <a:spLocks noChangeAspect="1"/>
          </p:cNvSpPr>
          <p:nvPr/>
        </p:nvSpPr>
        <p:spPr bwMode="auto">
          <a:xfrm>
            <a:off x="2674308" y="3256387"/>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1</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Existing LTE </a:t>
            </a:r>
          </a:p>
        </p:txBody>
      </p:sp>
      <p:cxnSp>
        <p:nvCxnSpPr>
          <p:cNvPr id="31" name="Straight Connector 30"/>
          <p:cNvCxnSpPr>
            <a:endCxn id="33" idx="2"/>
          </p:cNvCxnSpPr>
          <p:nvPr/>
        </p:nvCxnSpPr>
        <p:spPr bwMode="auto">
          <a:xfrm flipH="1" flipV="1">
            <a:off x="3473401" y="5006294"/>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32" name="Group 31"/>
          <p:cNvGrpSpPr>
            <a:grpSpLocks noChangeAspect="1"/>
          </p:cNvGrpSpPr>
          <p:nvPr/>
        </p:nvGrpSpPr>
        <p:grpSpPr bwMode="auto">
          <a:xfrm>
            <a:off x="3224522" y="4311284"/>
            <a:ext cx="496390" cy="703123"/>
            <a:chOff x="3106" y="2389"/>
            <a:chExt cx="363" cy="520"/>
          </a:xfrm>
        </p:grpSpPr>
        <p:sp>
          <p:nvSpPr>
            <p:cNvPr id="3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3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3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38" name="Group 261"/>
          <p:cNvGrpSpPr>
            <a:grpSpLocks/>
          </p:cNvGrpSpPr>
          <p:nvPr/>
        </p:nvGrpSpPr>
        <p:grpSpPr bwMode="auto">
          <a:xfrm>
            <a:off x="7320697" y="1847708"/>
            <a:ext cx="496390" cy="689716"/>
            <a:chOff x="239" y="1832"/>
            <a:chExt cx="363" cy="520"/>
          </a:xfrm>
        </p:grpSpPr>
        <p:sp>
          <p:nvSpPr>
            <p:cNvPr id="3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4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43"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44" name="Group 43"/>
          <p:cNvGrpSpPr>
            <a:grpSpLocks noChangeAspect="1"/>
          </p:cNvGrpSpPr>
          <p:nvPr/>
        </p:nvGrpSpPr>
        <p:grpSpPr bwMode="auto">
          <a:xfrm>
            <a:off x="7321380" y="2768409"/>
            <a:ext cx="496390" cy="703123"/>
            <a:chOff x="3106" y="2389"/>
            <a:chExt cx="363" cy="520"/>
          </a:xfrm>
        </p:grpSpPr>
        <p:sp>
          <p:nvSpPr>
            <p:cNvPr id="4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4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4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4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4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50" name="Group 9"/>
          <p:cNvGrpSpPr>
            <a:grpSpLocks/>
          </p:cNvGrpSpPr>
          <p:nvPr/>
        </p:nvGrpSpPr>
        <p:grpSpPr bwMode="auto">
          <a:xfrm>
            <a:off x="6966565" y="3727042"/>
            <a:ext cx="239369" cy="360989"/>
            <a:chOff x="416" y="1332"/>
            <a:chExt cx="408" cy="737"/>
          </a:xfrm>
        </p:grpSpPr>
        <p:sp>
          <p:nvSpPr>
            <p:cNvPr id="51"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52" name="Group 11"/>
            <p:cNvGrpSpPr>
              <a:grpSpLocks/>
            </p:cNvGrpSpPr>
            <p:nvPr/>
          </p:nvGrpSpPr>
          <p:grpSpPr bwMode="auto">
            <a:xfrm>
              <a:off x="416" y="1332"/>
              <a:ext cx="408" cy="737"/>
              <a:chOff x="518" y="1338"/>
              <a:chExt cx="357" cy="568"/>
            </a:xfrm>
          </p:grpSpPr>
          <p:sp>
            <p:nvSpPr>
              <p:cNvPr id="53"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54"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55" name="Straight Connector 54"/>
          <p:cNvCxnSpPr>
            <a:stCxn id="70" idx="1"/>
            <a:endCxn id="61" idx="2"/>
          </p:cNvCxnSpPr>
          <p:nvPr/>
        </p:nvCxnSpPr>
        <p:spPr bwMode="auto">
          <a:xfrm flipV="1">
            <a:off x="6518604" y="2513550"/>
            <a:ext cx="167052" cy="33293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6" name="Straight Connector 55"/>
          <p:cNvCxnSpPr>
            <a:stCxn id="70" idx="7"/>
            <a:endCxn id="61" idx="2"/>
          </p:cNvCxnSpPr>
          <p:nvPr/>
        </p:nvCxnSpPr>
        <p:spPr bwMode="auto">
          <a:xfrm flipH="1" flipV="1">
            <a:off x="6685656" y="2513550"/>
            <a:ext cx="173312" cy="33293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57" name="Straight Connector 56"/>
          <p:cNvCxnSpPr/>
          <p:nvPr/>
        </p:nvCxnSpPr>
        <p:spPr bwMode="auto">
          <a:xfrm flipV="1">
            <a:off x="7086249" y="3463420"/>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8" name="Straight Connector 57"/>
          <p:cNvCxnSpPr/>
          <p:nvPr/>
        </p:nvCxnSpPr>
        <p:spPr bwMode="auto">
          <a:xfrm flipH="1" flipV="1">
            <a:off x="6602130" y="3461729"/>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59" name="Freeform 5"/>
          <p:cNvSpPr>
            <a:spLocks noChangeAspect="1"/>
          </p:cNvSpPr>
          <p:nvPr/>
        </p:nvSpPr>
        <p:spPr bwMode="auto">
          <a:xfrm>
            <a:off x="5891061" y="1711822"/>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3</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2000" b="1" i="0" u="none" strike="noStrike" kern="0" cap="none" spc="0" normalizeH="0" baseline="0" noProof="0" dirty="0">
                <a:ln>
                  <a:noFill/>
                </a:ln>
                <a:solidFill>
                  <a:srgbClr val="00B0F0"/>
                </a:solidFill>
                <a:effectLst/>
                <a:uLnTx/>
                <a:uFillTx/>
                <a:latin typeface="+mn-lt"/>
                <a:cs typeface="Arial" charset="0"/>
              </a:rPr>
              <a:t>“</a:t>
            </a:r>
            <a:r>
              <a:rPr kumimoji="0" lang="en-US" altLang="es-ES_tradnl" sz="1600" b="1" i="0" u="none" strike="noStrike" kern="0" cap="none" spc="0" normalizeH="0" baseline="0" noProof="0" dirty="0">
                <a:ln>
                  <a:noFill/>
                </a:ln>
                <a:solidFill>
                  <a:srgbClr val="00B0F0"/>
                </a:solidFill>
                <a:effectLst/>
                <a:uLnTx/>
                <a:uFillTx/>
                <a:latin typeface="+mn-lt"/>
                <a:cs typeface="Arial" charset="0"/>
              </a:rPr>
              <a:t>LTE assisted”, EPC </a:t>
            </a:r>
          </a:p>
        </p:txBody>
      </p:sp>
      <p:grpSp>
        <p:nvGrpSpPr>
          <p:cNvPr id="60" name="Group 261"/>
          <p:cNvGrpSpPr>
            <a:grpSpLocks/>
          </p:cNvGrpSpPr>
          <p:nvPr/>
        </p:nvGrpSpPr>
        <p:grpSpPr bwMode="auto">
          <a:xfrm>
            <a:off x="6436777" y="1831792"/>
            <a:ext cx="496390" cy="689716"/>
            <a:chOff x="239" y="1832"/>
            <a:chExt cx="363" cy="520"/>
          </a:xfrm>
        </p:grpSpPr>
        <p:sp>
          <p:nvSpPr>
            <p:cNvPr id="6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5G EPC</a:t>
              </a:r>
            </a:p>
          </p:txBody>
        </p:sp>
        <p:sp>
          <p:nvSpPr>
            <p:cNvPr id="6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6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cxnSp>
        <p:nvCxnSpPr>
          <p:cNvPr id="66" name="Straight Connector 65"/>
          <p:cNvCxnSpPr>
            <a:endCxn id="69" idx="2"/>
          </p:cNvCxnSpPr>
          <p:nvPr/>
        </p:nvCxnSpPr>
        <p:spPr bwMode="auto">
          <a:xfrm flipH="1" flipV="1">
            <a:off x="6690154" y="3461729"/>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7" name="Straight Connector 66"/>
          <p:cNvCxnSpPr>
            <a:stCxn id="47" idx="1"/>
            <a:endCxn id="71" idx="3"/>
          </p:cNvCxnSpPr>
          <p:nvPr/>
        </p:nvCxnSpPr>
        <p:spPr bwMode="auto">
          <a:xfrm flipH="1" flipV="1">
            <a:off x="6911683" y="3301498"/>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68" name="Group 67"/>
          <p:cNvGrpSpPr>
            <a:grpSpLocks noChangeAspect="1"/>
          </p:cNvGrpSpPr>
          <p:nvPr/>
        </p:nvGrpSpPr>
        <p:grpSpPr bwMode="auto">
          <a:xfrm>
            <a:off x="6441275" y="2766719"/>
            <a:ext cx="496390" cy="703123"/>
            <a:chOff x="3106" y="2389"/>
            <a:chExt cx="363" cy="520"/>
          </a:xfrm>
        </p:grpSpPr>
        <p:sp>
          <p:nvSpPr>
            <p:cNvPr id="6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7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7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cxnSp>
        <p:nvCxnSpPr>
          <p:cNvPr id="74" name="Straight Connector 73"/>
          <p:cNvCxnSpPr>
            <a:stCxn id="46" idx="0"/>
            <a:endCxn id="61" idx="2"/>
          </p:cNvCxnSpPr>
          <p:nvPr/>
        </p:nvCxnSpPr>
        <p:spPr bwMode="auto">
          <a:xfrm flipH="1" flipV="1">
            <a:off x="6685656" y="2513550"/>
            <a:ext cx="883235" cy="264324"/>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75" name="TextBox 74"/>
          <p:cNvSpPr txBox="1"/>
          <p:nvPr/>
        </p:nvSpPr>
        <p:spPr>
          <a:xfrm rot="958896">
            <a:off x="6925705" y="2487978"/>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latin typeface="+mn-lt"/>
              </a:rPr>
              <a:t>Opt. 3A</a:t>
            </a:r>
          </a:p>
        </p:txBody>
      </p:sp>
      <p:sp>
        <p:nvSpPr>
          <p:cNvPr id="76" name="TextBox 75"/>
          <p:cNvSpPr txBox="1"/>
          <p:nvPr/>
        </p:nvSpPr>
        <p:spPr>
          <a:xfrm>
            <a:off x="2649302" y="1357718"/>
            <a:ext cx="3220913"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1 </a:t>
            </a:r>
          </a:p>
          <a:p>
            <a:pPr marL="285750" marR="0" lvl="0" indent="-285750" algn="l" defTabSz="91440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sysClr val="windowText" lastClr="000000"/>
                </a:solidFill>
                <a:effectLst/>
                <a:uLnTx/>
                <a:uFillTx/>
                <a:latin typeface="+mn-lt"/>
              </a:rPr>
              <a:t>Early introduction of NR through Option 3/3a and 5G-enabled EPC</a:t>
            </a:r>
          </a:p>
          <a:p>
            <a:pPr marL="285750" lvl="0" indent="-285750" fontAlgn="auto">
              <a:spcBef>
                <a:spcPts val="0"/>
              </a:spcBef>
              <a:spcAft>
                <a:spcPts val="0"/>
              </a:spcAft>
              <a:buFontTx/>
              <a:buChar char="-"/>
              <a:defRPr/>
            </a:pPr>
            <a:r>
              <a:rPr lang="en-US" sz="1800" kern="0" dirty="0">
                <a:solidFill>
                  <a:sysClr val="windowText" lastClr="000000"/>
                </a:solidFill>
                <a:latin typeface="+mn-lt"/>
              </a:rPr>
              <a:t>Or Option 2 NR SA for local coverage</a:t>
            </a:r>
          </a:p>
          <a:p>
            <a:pPr marL="285750" marR="0" lvl="0" indent="-285750" algn="l" defTabSz="914400" eaLnBrk="1" fontAlgn="auto" latinLnBrk="0" hangingPunct="1">
              <a:lnSpc>
                <a:spcPct val="100000"/>
              </a:lnSpc>
              <a:spcBef>
                <a:spcPts val="0"/>
              </a:spcBef>
              <a:spcAft>
                <a:spcPts val="0"/>
              </a:spcAft>
              <a:buClrTx/>
              <a:buSzTx/>
              <a:buFontTx/>
              <a:buChar char="-"/>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sp>
        <p:nvSpPr>
          <p:cNvPr id="77" name="TextBox 76"/>
          <p:cNvSpPr txBox="1"/>
          <p:nvPr/>
        </p:nvSpPr>
        <p:spPr>
          <a:xfrm>
            <a:off x="9089235" y="1524670"/>
            <a:ext cx="3004457" cy="913105"/>
          </a:xfrm>
          <a:prstGeom prst="rect">
            <a:avLst/>
          </a:prstGeom>
          <a:noFill/>
        </p:spPr>
        <p:txBody>
          <a:bodyPr wrap="square"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mn-lt"/>
              </a:rPr>
              <a:t>Step 2 - Introduction of 5G Core for full coverage via adding Option 5, 7</a:t>
            </a:r>
          </a:p>
        </p:txBody>
      </p:sp>
      <p:sp>
        <p:nvSpPr>
          <p:cNvPr id="78" name="Rectangle 77"/>
          <p:cNvSpPr/>
          <p:nvPr/>
        </p:nvSpPr>
        <p:spPr bwMode="auto">
          <a:xfrm>
            <a:off x="408397" y="1112256"/>
            <a:ext cx="2013995" cy="2672109"/>
          </a:xfrm>
          <a:prstGeom prst="rect">
            <a:avLst/>
          </a:prstGeom>
          <a:solidFill>
            <a:schemeClr val="bg1">
              <a:alpha val="6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latin typeface="+mn-lt"/>
            </a:endParaRPr>
          </a:p>
        </p:txBody>
      </p:sp>
      <p:sp>
        <p:nvSpPr>
          <p:cNvPr id="79" name="Right Arrow 29"/>
          <p:cNvSpPr/>
          <p:nvPr/>
        </p:nvSpPr>
        <p:spPr bwMode="auto">
          <a:xfrm>
            <a:off x="5393360" y="3337579"/>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grpSp>
        <p:nvGrpSpPr>
          <p:cNvPr id="80" name="Group 261"/>
          <p:cNvGrpSpPr>
            <a:grpSpLocks/>
          </p:cNvGrpSpPr>
          <p:nvPr/>
        </p:nvGrpSpPr>
        <p:grpSpPr bwMode="auto">
          <a:xfrm>
            <a:off x="7333107" y="4408379"/>
            <a:ext cx="496390" cy="689716"/>
            <a:chOff x="239" y="1832"/>
            <a:chExt cx="363" cy="520"/>
          </a:xfrm>
        </p:grpSpPr>
        <p:sp>
          <p:nvSpPr>
            <p:cNvPr id="8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8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8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86" name="Group 85"/>
          <p:cNvGrpSpPr>
            <a:grpSpLocks noChangeAspect="1"/>
          </p:cNvGrpSpPr>
          <p:nvPr/>
        </p:nvGrpSpPr>
        <p:grpSpPr bwMode="auto">
          <a:xfrm>
            <a:off x="7333790" y="5329080"/>
            <a:ext cx="496390" cy="703123"/>
            <a:chOff x="3106" y="2389"/>
            <a:chExt cx="363" cy="520"/>
          </a:xfrm>
        </p:grpSpPr>
        <p:sp>
          <p:nvSpPr>
            <p:cNvPr id="8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8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8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9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9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92" name="Group 9"/>
          <p:cNvGrpSpPr>
            <a:grpSpLocks/>
          </p:cNvGrpSpPr>
          <p:nvPr/>
        </p:nvGrpSpPr>
        <p:grpSpPr bwMode="auto">
          <a:xfrm>
            <a:off x="7710495" y="6287713"/>
            <a:ext cx="239369" cy="360989"/>
            <a:chOff x="416" y="1332"/>
            <a:chExt cx="408" cy="737"/>
          </a:xfrm>
        </p:grpSpPr>
        <p:sp>
          <p:nvSpPr>
            <p:cNvPr id="93"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94" name="Group 11"/>
            <p:cNvGrpSpPr>
              <a:grpSpLocks/>
            </p:cNvGrpSpPr>
            <p:nvPr/>
          </p:nvGrpSpPr>
          <p:grpSpPr bwMode="auto">
            <a:xfrm>
              <a:off x="416" y="1332"/>
              <a:ext cx="408" cy="737"/>
              <a:chOff x="518" y="1338"/>
              <a:chExt cx="357" cy="568"/>
            </a:xfrm>
          </p:grpSpPr>
          <p:sp>
            <p:nvSpPr>
              <p:cNvPr id="95"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96"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97" name="Straight Connector 96"/>
          <p:cNvCxnSpPr>
            <a:stCxn id="88" idx="1"/>
            <a:endCxn id="83" idx="2"/>
          </p:cNvCxnSpPr>
          <p:nvPr/>
        </p:nvCxnSpPr>
        <p:spPr bwMode="auto">
          <a:xfrm flipV="1">
            <a:off x="7411119" y="5082179"/>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98" name="Straight Connector 97"/>
          <p:cNvCxnSpPr>
            <a:stCxn id="88" idx="7"/>
            <a:endCxn id="81" idx="2"/>
          </p:cNvCxnSpPr>
          <p:nvPr/>
        </p:nvCxnSpPr>
        <p:spPr bwMode="auto">
          <a:xfrm flipH="1" flipV="1">
            <a:off x="7581986" y="5090137"/>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99" name="Straight Connector 98"/>
          <p:cNvCxnSpPr/>
          <p:nvPr/>
        </p:nvCxnSpPr>
        <p:spPr bwMode="auto">
          <a:xfrm flipH="1" flipV="1">
            <a:off x="7523493" y="6024090"/>
            <a:ext cx="209225" cy="31946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0" name="Straight Connector 99"/>
          <p:cNvCxnSpPr/>
          <p:nvPr/>
        </p:nvCxnSpPr>
        <p:spPr bwMode="auto">
          <a:xfrm flipH="1" flipV="1">
            <a:off x="7635257" y="6015977"/>
            <a:ext cx="194923" cy="27173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01" name="Freeform 5"/>
          <p:cNvSpPr>
            <a:spLocks noChangeAspect="1"/>
          </p:cNvSpPr>
          <p:nvPr/>
        </p:nvSpPr>
        <p:spPr bwMode="auto">
          <a:xfrm>
            <a:off x="5903471" y="4272493"/>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2</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Stand-alone NR</a:t>
            </a:r>
          </a:p>
        </p:txBody>
      </p:sp>
      <p:sp>
        <p:nvSpPr>
          <p:cNvPr id="102" name="Right Arrow 29"/>
          <p:cNvSpPr/>
          <p:nvPr/>
        </p:nvSpPr>
        <p:spPr bwMode="auto">
          <a:xfrm>
            <a:off x="5391212" y="4468773"/>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grpSp>
        <p:nvGrpSpPr>
          <p:cNvPr id="103" name="Group 102"/>
          <p:cNvGrpSpPr/>
          <p:nvPr/>
        </p:nvGrpSpPr>
        <p:grpSpPr>
          <a:xfrm>
            <a:off x="9456171" y="2521337"/>
            <a:ext cx="2712720" cy="2508241"/>
            <a:chOff x="9123191" y="1175095"/>
            <a:chExt cx="2712720" cy="2508241"/>
          </a:xfrm>
        </p:grpSpPr>
        <p:grpSp>
          <p:nvGrpSpPr>
            <p:cNvPr id="104" name="Group 261"/>
            <p:cNvGrpSpPr>
              <a:grpSpLocks/>
            </p:cNvGrpSpPr>
            <p:nvPr/>
          </p:nvGrpSpPr>
          <p:grpSpPr bwMode="auto">
            <a:xfrm>
              <a:off x="10552827" y="1310981"/>
              <a:ext cx="496390" cy="689716"/>
              <a:chOff x="239" y="1832"/>
              <a:chExt cx="363" cy="520"/>
            </a:xfrm>
          </p:grpSpPr>
          <p:sp>
            <p:nvSpPr>
              <p:cNvPr id="12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  CN</a:t>
                </a:r>
              </a:p>
            </p:txBody>
          </p:sp>
          <p:sp>
            <p:nvSpPr>
              <p:cNvPr id="12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2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105" name="Group 9"/>
            <p:cNvGrpSpPr>
              <a:grpSpLocks/>
            </p:cNvGrpSpPr>
            <p:nvPr/>
          </p:nvGrpSpPr>
          <p:grpSpPr bwMode="auto">
            <a:xfrm>
              <a:off x="10198695" y="3190315"/>
              <a:ext cx="239369" cy="360989"/>
              <a:chOff x="416" y="1332"/>
              <a:chExt cx="408" cy="737"/>
            </a:xfrm>
          </p:grpSpPr>
          <p:sp>
            <p:nvSpPr>
              <p:cNvPr id="11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118" name="Group 11"/>
              <p:cNvGrpSpPr>
                <a:grpSpLocks/>
              </p:cNvGrpSpPr>
              <p:nvPr/>
            </p:nvGrpSpPr>
            <p:grpSpPr bwMode="auto">
              <a:xfrm>
                <a:off x="416" y="1332"/>
                <a:ext cx="408" cy="737"/>
                <a:chOff x="518" y="1338"/>
                <a:chExt cx="357" cy="568"/>
              </a:xfrm>
            </p:grpSpPr>
            <p:sp>
              <p:nvSpPr>
                <p:cNvPr id="11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12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106" name="Straight Connector 105"/>
            <p:cNvCxnSpPr>
              <a:stCxn id="113" idx="1"/>
              <a:endCxn id="123" idx="2"/>
            </p:cNvCxnSpPr>
            <p:nvPr/>
          </p:nvCxnSpPr>
          <p:spPr bwMode="auto">
            <a:xfrm flipV="1">
              <a:off x="9750734" y="1984781"/>
              <a:ext cx="1048921"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7" name="Straight Connector 106"/>
            <p:cNvCxnSpPr>
              <a:stCxn id="113" idx="7"/>
              <a:endCxn id="121" idx="2"/>
            </p:cNvCxnSpPr>
            <p:nvPr/>
          </p:nvCxnSpPr>
          <p:spPr bwMode="auto">
            <a:xfrm flipV="1">
              <a:off x="10091098" y="1992739"/>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08" name="Straight Connector 107"/>
            <p:cNvCxnSpPr/>
            <p:nvPr/>
          </p:nvCxnSpPr>
          <p:spPr bwMode="auto">
            <a:xfrm flipH="1" flipV="1">
              <a:off x="9834260" y="292500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09" name="Freeform 5"/>
            <p:cNvSpPr>
              <a:spLocks noChangeAspect="1"/>
            </p:cNvSpPr>
            <p:nvPr/>
          </p:nvSpPr>
          <p:spPr bwMode="auto">
            <a:xfrm>
              <a:off x="9123191" y="1175095"/>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5</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Stand-alone LTE R15</a:t>
              </a:r>
            </a:p>
          </p:txBody>
        </p:sp>
        <p:cxnSp>
          <p:nvCxnSpPr>
            <p:cNvPr id="110" name="Straight Connector 109"/>
            <p:cNvCxnSpPr>
              <a:endCxn id="112" idx="2"/>
            </p:cNvCxnSpPr>
            <p:nvPr/>
          </p:nvCxnSpPr>
          <p:spPr bwMode="auto">
            <a:xfrm flipH="1" flipV="1">
              <a:off x="9922284" y="2925002"/>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11" name="Group 110"/>
            <p:cNvGrpSpPr>
              <a:grpSpLocks noChangeAspect="1"/>
            </p:cNvGrpSpPr>
            <p:nvPr/>
          </p:nvGrpSpPr>
          <p:grpSpPr bwMode="auto">
            <a:xfrm>
              <a:off x="9673405" y="2229992"/>
              <a:ext cx="496390" cy="703123"/>
              <a:chOff x="3106" y="2389"/>
              <a:chExt cx="363" cy="520"/>
            </a:xfrm>
          </p:grpSpPr>
          <p:sp>
            <p:nvSpPr>
              <p:cNvPr id="11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1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1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sp>
        <p:nvSpPr>
          <p:cNvPr id="126" name="Rectangle 125"/>
          <p:cNvSpPr/>
          <p:nvPr/>
        </p:nvSpPr>
        <p:spPr bwMode="auto">
          <a:xfrm>
            <a:off x="9188134" y="3089845"/>
            <a:ext cx="2632080" cy="2253430"/>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mn-lt"/>
            </a:endParaRPr>
          </a:p>
        </p:txBody>
      </p:sp>
      <p:grpSp>
        <p:nvGrpSpPr>
          <p:cNvPr id="127" name="Group 126"/>
          <p:cNvGrpSpPr/>
          <p:nvPr/>
        </p:nvGrpSpPr>
        <p:grpSpPr>
          <a:xfrm>
            <a:off x="9161828" y="3056701"/>
            <a:ext cx="2712720" cy="2508241"/>
            <a:chOff x="9123191" y="1962000"/>
            <a:chExt cx="2712720" cy="2508241"/>
          </a:xfrm>
        </p:grpSpPr>
        <p:grpSp>
          <p:nvGrpSpPr>
            <p:cNvPr id="128" name="Group 261"/>
            <p:cNvGrpSpPr>
              <a:grpSpLocks/>
            </p:cNvGrpSpPr>
            <p:nvPr/>
          </p:nvGrpSpPr>
          <p:grpSpPr bwMode="auto">
            <a:xfrm>
              <a:off x="10552827" y="2097886"/>
              <a:ext cx="496390" cy="689716"/>
              <a:chOff x="239" y="1832"/>
              <a:chExt cx="363" cy="520"/>
            </a:xfrm>
          </p:grpSpPr>
          <p:sp>
            <p:nvSpPr>
              <p:cNvPr id="161"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62"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63"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164"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65"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129" name="Group 128"/>
            <p:cNvGrpSpPr>
              <a:grpSpLocks noChangeAspect="1"/>
            </p:cNvGrpSpPr>
            <p:nvPr/>
          </p:nvGrpSpPr>
          <p:grpSpPr bwMode="auto">
            <a:xfrm>
              <a:off x="10553510" y="3018587"/>
              <a:ext cx="496390" cy="703123"/>
              <a:chOff x="3106" y="2389"/>
              <a:chExt cx="363" cy="520"/>
            </a:xfrm>
          </p:grpSpPr>
          <p:sp>
            <p:nvSpPr>
              <p:cNvPr id="15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5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5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5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6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130" name="Group 9"/>
            <p:cNvGrpSpPr>
              <a:grpSpLocks/>
            </p:cNvGrpSpPr>
            <p:nvPr/>
          </p:nvGrpSpPr>
          <p:grpSpPr bwMode="auto">
            <a:xfrm>
              <a:off x="10198695" y="3977220"/>
              <a:ext cx="239369" cy="360989"/>
              <a:chOff x="416" y="1332"/>
              <a:chExt cx="408" cy="737"/>
            </a:xfrm>
          </p:grpSpPr>
          <p:sp>
            <p:nvSpPr>
              <p:cNvPr id="152"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153" name="Group 11"/>
              <p:cNvGrpSpPr>
                <a:grpSpLocks/>
              </p:cNvGrpSpPr>
              <p:nvPr/>
            </p:nvGrpSpPr>
            <p:grpSpPr bwMode="auto">
              <a:xfrm>
                <a:off x="416" y="1332"/>
                <a:ext cx="408" cy="737"/>
                <a:chOff x="518" y="1338"/>
                <a:chExt cx="357" cy="568"/>
              </a:xfrm>
            </p:grpSpPr>
            <p:sp>
              <p:nvSpPr>
                <p:cNvPr id="154"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155"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131" name="Straight Connector 130"/>
            <p:cNvCxnSpPr>
              <a:stCxn id="143" idx="1"/>
              <a:endCxn id="161" idx="2"/>
            </p:cNvCxnSpPr>
            <p:nvPr/>
          </p:nvCxnSpPr>
          <p:spPr bwMode="auto">
            <a:xfrm flipV="1">
              <a:off x="9750734" y="2779644"/>
              <a:ext cx="1050972" cy="3170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32" name="Straight Connector 131"/>
            <p:cNvCxnSpPr>
              <a:stCxn id="143" idx="7"/>
              <a:endCxn id="161" idx="2"/>
            </p:cNvCxnSpPr>
            <p:nvPr/>
          </p:nvCxnSpPr>
          <p:spPr bwMode="auto">
            <a:xfrm flipV="1">
              <a:off x="10091098" y="2779644"/>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33" name="Straight Connector 132"/>
            <p:cNvCxnSpPr/>
            <p:nvPr/>
          </p:nvCxnSpPr>
          <p:spPr bwMode="auto">
            <a:xfrm flipV="1">
              <a:off x="10318379" y="3713598"/>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34" name="Straight Connector 133"/>
            <p:cNvCxnSpPr/>
            <p:nvPr/>
          </p:nvCxnSpPr>
          <p:spPr bwMode="auto">
            <a:xfrm flipH="1" flipV="1">
              <a:off x="9834260" y="3711907"/>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35" name="Freeform 5"/>
            <p:cNvSpPr>
              <a:spLocks noChangeAspect="1"/>
            </p:cNvSpPr>
            <p:nvPr/>
          </p:nvSpPr>
          <p:spPr bwMode="auto">
            <a:xfrm>
              <a:off x="9123191" y="1962000"/>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7</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LTE-Assisted”</a:t>
              </a:r>
            </a:p>
          </p:txBody>
        </p:sp>
        <p:grpSp>
          <p:nvGrpSpPr>
            <p:cNvPr id="136" name="Group 261"/>
            <p:cNvGrpSpPr>
              <a:grpSpLocks/>
            </p:cNvGrpSpPr>
            <p:nvPr/>
          </p:nvGrpSpPr>
          <p:grpSpPr bwMode="auto">
            <a:xfrm>
              <a:off x="9668907" y="2081970"/>
              <a:ext cx="496390" cy="689716"/>
              <a:chOff x="239" y="1832"/>
              <a:chExt cx="363" cy="520"/>
            </a:xfrm>
          </p:grpSpPr>
          <p:sp>
            <p:nvSpPr>
              <p:cNvPr id="147"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48"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49"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EPC</a:t>
                </a:r>
              </a:p>
            </p:txBody>
          </p:sp>
          <p:sp>
            <p:nvSpPr>
              <p:cNvPr id="150"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51"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cxnSp>
          <p:nvCxnSpPr>
            <p:cNvPr id="137" name="Straight Connector 136"/>
            <p:cNvCxnSpPr>
              <a:endCxn id="142" idx="2"/>
            </p:cNvCxnSpPr>
            <p:nvPr/>
          </p:nvCxnSpPr>
          <p:spPr bwMode="auto">
            <a:xfrm flipH="1" flipV="1">
              <a:off x="9922284" y="3711907"/>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38" name="Straight Connector 137"/>
            <p:cNvCxnSpPr>
              <a:stCxn id="158" idx="1"/>
              <a:endCxn id="144" idx="3"/>
            </p:cNvCxnSpPr>
            <p:nvPr/>
          </p:nvCxnSpPr>
          <p:spPr bwMode="auto">
            <a:xfrm flipH="1" flipV="1">
              <a:off x="10143813" y="3551676"/>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39" name="Group 138"/>
            <p:cNvGrpSpPr>
              <a:grpSpLocks noChangeAspect="1"/>
            </p:cNvGrpSpPr>
            <p:nvPr/>
          </p:nvGrpSpPr>
          <p:grpSpPr bwMode="auto">
            <a:xfrm>
              <a:off x="9673405" y="3016897"/>
              <a:ext cx="496390" cy="703123"/>
              <a:chOff x="3106" y="2389"/>
              <a:chExt cx="363" cy="520"/>
            </a:xfrm>
          </p:grpSpPr>
          <p:sp>
            <p:nvSpPr>
              <p:cNvPr id="14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4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4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4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4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cxnSp>
          <p:nvCxnSpPr>
            <p:cNvPr id="140" name="Straight Connector 139"/>
            <p:cNvCxnSpPr>
              <a:stCxn id="157" idx="0"/>
              <a:endCxn id="161" idx="2"/>
            </p:cNvCxnSpPr>
            <p:nvPr/>
          </p:nvCxnSpPr>
          <p:spPr bwMode="auto">
            <a:xfrm flipV="1">
              <a:off x="10801021" y="2779644"/>
              <a:ext cx="685" cy="2484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41" name="TextBox 140"/>
            <p:cNvSpPr txBox="1"/>
            <p:nvPr/>
          </p:nvSpPr>
          <p:spPr>
            <a:xfrm>
              <a:off x="10731338" y="2799174"/>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latin typeface="+mn-lt"/>
                </a:rPr>
                <a:t>Opt. 7A</a:t>
              </a:r>
            </a:p>
          </p:txBody>
        </p:sp>
      </p:grpSp>
      <p:grpSp>
        <p:nvGrpSpPr>
          <p:cNvPr id="166" name="Group 165"/>
          <p:cNvGrpSpPr/>
          <p:nvPr/>
        </p:nvGrpSpPr>
        <p:grpSpPr>
          <a:xfrm>
            <a:off x="8930310" y="3666721"/>
            <a:ext cx="2712720" cy="2508241"/>
            <a:chOff x="9108165" y="3484740"/>
            <a:chExt cx="2712720" cy="2508241"/>
          </a:xfrm>
        </p:grpSpPr>
        <p:sp>
          <p:nvSpPr>
            <p:cNvPr id="167" name="Rectangle 166"/>
            <p:cNvSpPr/>
            <p:nvPr/>
          </p:nvSpPr>
          <p:spPr bwMode="auto">
            <a:xfrm>
              <a:off x="9149497" y="3514850"/>
              <a:ext cx="2632080" cy="2253430"/>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mn-lt"/>
              </a:endParaRPr>
            </a:p>
          </p:txBody>
        </p:sp>
        <p:grpSp>
          <p:nvGrpSpPr>
            <p:cNvPr id="168" name="Group 261"/>
            <p:cNvGrpSpPr>
              <a:grpSpLocks/>
            </p:cNvGrpSpPr>
            <p:nvPr/>
          </p:nvGrpSpPr>
          <p:grpSpPr bwMode="auto">
            <a:xfrm>
              <a:off x="10537801" y="3620626"/>
              <a:ext cx="496390" cy="689716"/>
              <a:chOff x="239" y="1832"/>
              <a:chExt cx="363" cy="520"/>
            </a:xfrm>
          </p:grpSpPr>
          <p:sp>
            <p:nvSpPr>
              <p:cNvPr id="185"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86"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87"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latin typeface="+mn-lt"/>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mn-lt"/>
                    <a:ea typeface="ＭＳ Ｐゴシック" pitchFamily="34" charset="-128"/>
                    <a:cs typeface="Arial" charset="0"/>
                  </a:rPr>
                  <a:t>GC</a:t>
                </a:r>
              </a:p>
            </p:txBody>
          </p:sp>
          <p:sp>
            <p:nvSpPr>
              <p:cNvPr id="188"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400" b="0" i="0" u="none" strike="noStrike" kern="0" cap="none" spc="0" normalizeH="0" baseline="0" noProof="0" dirty="0">
                  <a:ln>
                    <a:noFill/>
                  </a:ln>
                  <a:solidFill>
                    <a:srgbClr val="58585A"/>
                  </a:solidFill>
                  <a:effectLst/>
                  <a:uLnTx/>
                  <a:uFillTx/>
                  <a:latin typeface="+mn-lt"/>
                  <a:cs typeface="Arial" charset="0"/>
                </a:endParaRPr>
              </a:p>
            </p:txBody>
          </p:sp>
          <p:sp>
            <p:nvSpPr>
              <p:cNvPr id="189"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8585A"/>
                  </a:solidFill>
                  <a:effectLst/>
                  <a:uLnTx/>
                  <a:uFillTx/>
                  <a:latin typeface="+mn-lt"/>
                </a:endParaRPr>
              </a:p>
            </p:txBody>
          </p:sp>
        </p:grpSp>
        <p:grpSp>
          <p:nvGrpSpPr>
            <p:cNvPr id="169" name="Group 168"/>
            <p:cNvGrpSpPr>
              <a:grpSpLocks noChangeAspect="1"/>
            </p:cNvGrpSpPr>
            <p:nvPr/>
          </p:nvGrpSpPr>
          <p:grpSpPr bwMode="auto">
            <a:xfrm>
              <a:off x="10538484" y="4541327"/>
              <a:ext cx="496390" cy="703123"/>
              <a:chOff x="3106" y="2389"/>
              <a:chExt cx="363" cy="520"/>
            </a:xfrm>
          </p:grpSpPr>
          <p:sp>
            <p:nvSpPr>
              <p:cNvPr id="180"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81"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82"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mn-lt"/>
                  <a:ea typeface="Segoe UI" panose="020B0502040204020203" pitchFamily="34" charset="0"/>
                  <a:cs typeface="Segoe UI" panose="020B0502040204020203" pitchFamily="34" charset="0"/>
                </a:endParaRPr>
              </a:p>
            </p:txBody>
          </p:sp>
          <p:sp>
            <p:nvSpPr>
              <p:cNvPr id="183"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altLang="en-US" sz="1000" b="0" i="0" u="none" strike="noStrike" kern="0" cap="none" spc="0" normalizeH="0" baseline="0" noProof="0" dirty="0">
                  <a:ln>
                    <a:noFill/>
                  </a:ln>
                  <a:solidFill>
                    <a:srgbClr val="58585A"/>
                  </a:solidFill>
                  <a:effectLst/>
                  <a:uLnTx/>
                  <a:uFillTx/>
                  <a:latin typeface="+mn-lt"/>
                </a:endParaRPr>
              </a:p>
            </p:txBody>
          </p:sp>
          <p:sp>
            <p:nvSpPr>
              <p:cNvPr id="184"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latin typeface="+mn-lt"/>
                </a:endParaRPr>
              </a:p>
            </p:txBody>
          </p:sp>
        </p:grpSp>
        <p:grpSp>
          <p:nvGrpSpPr>
            <p:cNvPr id="170" name="Group 9"/>
            <p:cNvGrpSpPr>
              <a:grpSpLocks/>
            </p:cNvGrpSpPr>
            <p:nvPr/>
          </p:nvGrpSpPr>
          <p:grpSpPr bwMode="auto">
            <a:xfrm>
              <a:off x="10915189" y="5499960"/>
              <a:ext cx="239369" cy="360989"/>
              <a:chOff x="416" y="1332"/>
              <a:chExt cx="408" cy="737"/>
            </a:xfrm>
          </p:grpSpPr>
          <p:sp>
            <p:nvSpPr>
              <p:cNvPr id="176"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mn-lt"/>
                  <a:cs typeface="Arial" charset="0"/>
                </a:endParaRPr>
              </a:p>
            </p:txBody>
          </p:sp>
          <p:grpSp>
            <p:nvGrpSpPr>
              <p:cNvPr id="177" name="Group 11"/>
              <p:cNvGrpSpPr>
                <a:grpSpLocks/>
              </p:cNvGrpSpPr>
              <p:nvPr/>
            </p:nvGrpSpPr>
            <p:grpSpPr bwMode="auto">
              <a:xfrm>
                <a:off x="416" y="1332"/>
                <a:ext cx="408" cy="737"/>
                <a:chOff x="518" y="1338"/>
                <a:chExt cx="357" cy="568"/>
              </a:xfrm>
            </p:grpSpPr>
            <p:sp>
              <p:nvSpPr>
                <p:cNvPr id="178"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en-US" altLang="es-ES_tradnl" sz="2400" b="0" i="0" u="none" strike="noStrike" kern="0" cap="none" spc="0" normalizeH="0" baseline="0" noProof="0" dirty="0">
                      <a:ln>
                        <a:noFill/>
                      </a:ln>
                      <a:solidFill>
                        <a:schemeClr val="tx1"/>
                      </a:solidFill>
                      <a:effectLst/>
                      <a:uLnTx/>
                      <a:uFillTx/>
                      <a:latin typeface="+mn-lt"/>
                      <a:cs typeface="Arial" charset="0"/>
                    </a:rPr>
                  </a:br>
                  <a:endParaRPr kumimoji="0" lang="en-US" altLang="es-ES_tradnl" sz="2400" b="0" i="0" u="none" strike="noStrike" kern="0" cap="none" spc="0" normalizeH="0" baseline="0" noProof="0" dirty="0">
                    <a:ln>
                      <a:noFill/>
                    </a:ln>
                    <a:solidFill>
                      <a:schemeClr val="tx1"/>
                    </a:solidFill>
                    <a:effectLst/>
                    <a:uLnTx/>
                    <a:uFillTx/>
                    <a:latin typeface="+mn-lt"/>
                    <a:cs typeface="Arial" charset="0"/>
                  </a:endParaRPr>
                </a:p>
              </p:txBody>
            </p:sp>
            <p:sp>
              <p:nvSpPr>
                <p:cNvPr id="179"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ndParaRPr>
                </a:p>
              </p:txBody>
            </p:sp>
          </p:grpSp>
        </p:grpSp>
        <p:cxnSp>
          <p:nvCxnSpPr>
            <p:cNvPr id="171" name="Straight Connector 170"/>
            <p:cNvCxnSpPr>
              <a:stCxn id="181" idx="1"/>
              <a:endCxn id="187" idx="2"/>
            </p:cNvCxnSpPr>
            <p:nvPr/>
          </p:nvCxnSpPr>
          <p:spPr bwMode="auto">
            <a:xfrm flipV="1">
              <a:off x="10615813" y="4294426"/>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72" name="Straight Connector 171"/>
            <p:cNvCxnSpPr>
              <a:stCxn id="181" idx="7"/>
              <a:endCxn id="185" idx="2"/>
            </p:cNvCxnSpPr>
            <p:nvPr/>
          </p:nvCxnSpPr>
          <p:spPr bwMode="auto">
            <a:xfrm flipH="1" flipV="1">
              <a:off x="10786680" y="4302384"/>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73" name="Straight Connector 172"/>
            <p:cNvCxnSpPr/>
            <p:nvPr/>
          </p:nvCxnSpPr>
          <p:spPr bwMode="auto">
            <a:xfrm flipH="1" flipV="1">
              <a:off x="10728187" y="5236337"/>
              <a:ext cx="209225" cy="31946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74" name="Straight Connector 173"/>
            <p:cNvCxnSpPr/>
            <p:nvPr/>
          </p:nvCxnSpPr>
          <p:spPr bwMode="auto">
            <a:xfrm flipH="1" flipV="1">
              <a:off x="10839951" y="5228224"/>
              <a:ext cx="194923" cy="27173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175" name="Freeform 5"/>
            <p:cNvSpPr>
              <a:spLocks noChangeAspect="1"/>
            </p:cNvSpPr>
            <p:nvPr/>
          </p:nvSpPr>
          <p:spPr bwMode="auto">
            <a:xfrm>
              <a:off x="9108165" y="3484740"/>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mn-lt"/>
                  <a:cs typeface="Arial" charset="0"/>
                </a:rPr>
                <a:t>Option 2</a:t>
              </a:r>
              <a:br>
                <a:rPr kumimoji="0" lang="en-US" altLang="es-ES_tradnl" sz="2000" b="1" i="0" u="none" strike="noStrike" kern="0" cap="none" spc="0" normalizeH="0" baseline="0" noProof="0" dirty="0">
                  <a:ln>
                    <a:noFill/>
                  </a:ln>
                  <a:solidFill>
                    <a:srgbClr val="00B0F0"/>
                  </a:solidFill>
                  <a:effectLst/>
                  <a:uLnTx/>
                  <a:uFillTx/>
                  <a:latin typeface="+mn-lt"/>
                  <a:cs typeface="Arial" charset="0"/>
                </a:rPr>
              </a:br>
              <a:r>
                <a:rPr kumimoji="0" lang="en-US" altLang="es-ES_tradnl" sz="1600" b="1" i="0" u="none" strike="noStrike" kern="0" cap="none" spc="0" normalizeH="0" baseline="0" noProof="0" dirty="0">
                  <a:ln>
                    <a:noFill/>
                  </a:ln>
                  <a:solidFill>
                    <a:srgbClr val="00B0F0"/>
                  </a:solidFill>
                  <a:effectLst/>
                  <a:uLnTx/>
                  <a:uFillTx/>
                  <a:latin typeface="+mn-lt"/>
                  <a:cs typeface="Arial" charset="0"/>
                </a:rPr>
                <a:t>Stand-alone NR</a:t>
              </a:r>
            </a:p>
          </p:txBody>
        </p:sp>
      </p:grpSp>
      <p:sp>
        <p:nvSpPr>
          <p:cNvPr id="190" name="Right Arrow 29"/>
          <p:cNvSpPr/>
          <p:nvPr/>
        </p:nvSpPr>
        <p:spPr bwMode="auto">
          <a:xfrm>
            <a:off x="8635989" y="3965710"/>
            <a:ext cx="542095" cy="696912"/>
          </a:xfrm>
          <a:prstGeom prst="rightArrow">
            <a:avLst/>
          </a:prstGeom>
          <a:solidFill>
            <a:schemeClr val="accent3">
              <a:lumMod val="75000"/>
            </a:schemeClr>
          </a:solidFill>
          <a:ln w="12700" cap="flat" cmpd="sng" algn="ctr">
            <a:noFill/>
            <a:prstDash val="solid"/>
            <a:round/>
            <a:headEnd type="none" w="med" len="med"/>
            <a:tailEnd type="none" w="med" len="med"/>
          </a:ln>
          <a:effectLst/>
        </p:spPr>
        <p:txBody>
          <a:bodyPr wrap="none" lIns="72000" rIns="72000"/>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Arial" pitchFamily="34" charset="0"/>
            </a:endParaRPr>
          </a:p>
        </p:txBody>
      </p:sp>
    </p:spTree>
    <p:extLst>
      <p:ext uri="{BB962C8B-B14F-4D97-AF65-F5344CB8AC3E}">
        <p14:creationId xmlns:p14="http://schemas.microsoft.com/office/powerpoint/2010/main" val="725841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PTION 1,2,3x Deployment</a:t>
            </a:r>
            <a:br>
              <a:rPr lang="en-US" dirty="0"/>
            </a:br>
            <a:r>
              <a:rPr lang="en-US" sz="2700" dirty="0">
                <a:latin typeface="+mn-lt"/>
              </a:rPr>
              <a:t>Example of usage of connectivity options in a network</a:t>
            </a:r>
          </a:p>
        </p:txBody>
      </p:sp>
      <p:sp>
        <p:nvSpPr>
          <p:cNvPr id="4" name="Oval 3"/>
          <p:cNvSpPr/>
          <p:nvPr/>
        </p:nvSpPr>
        <p:spPr bwMode="auto">
          <a:xfrm>
            <a:off x="3069574" y="5491485"/>
            <a:ext cx="3985728"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 name="Group 4"/>
          <p:cNvGrpSpPr>
            <a:grpSpLocks noChangeAspect="1"/>
          </p:cNvGrpSpPr>
          <p:nvPr/>
        </p:nvGrpSpPr>
        <p:grpSpPr>
          <a:xfrm>
            <a:off x="4176616" y="2130869"/>
            <a:ext cx="646942" cy="924748"/>
            <a:chOff x="3099589" y="1743113"/>
            <a:chExt cx="698686" cy="998710"/>
          </a:xfrm>
        </p:grpSpPr>
        <p:sp>
          <p:nvSpPr>
            <p:cNvPr id="6"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PC</a:t>
              </a:r>
            </a:p>
          </p:txBody>
        </p:sp>
      </p:grpSp>
      <p:grpSp>
        <p:nvGrpSpPr>
          <p:cNvPr id="8" name="Group 7"/>
          <p:cNvGrpSpPr>
            <a:grpSpLocks noChangeAspect="1"/>
          </p:cNvGrpSpPr>
          <p:nvPr/>
        </p:nvGrpSpPr>
        <p:grpSpPr>
          <a:xfrm>
            <a:off x="5366261" y="2130869"/>
            <a:ext cx="646942" cy="924748"/>
            <a:chOff x="3099589" y="1743113"/>
            <a:chExt cx="698686" cy="998710"/>
          </a:xfrm>
        </p:grpSpPr>
        <p:sp>
          <p:nvSpPr>
            <p:cNvPr id="9"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10"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b="1" kern="0" dirty="0">
                  <a:latin typeface="Segoe UI" panose="020B0502040204020203" pitchFamily="34" charset="0"/>
                  <a:ea typeface="Segoe UI" panose="020B0502040204020203" pitchFamily="34" charset="0"/>
                  <a:cs typeface="Segoe UI" panose="020B0502040204020203" pitchFamily="34" charset="0"/>
                </a:rPr>
                <a:t>5</a:t>
              </a:r>
              <a:r>
                <a:rPr kumimoji="0" lang="en-US" altLang="en-US" sz="14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GCN</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 name="Oval 10"/>
          <p:cNvSpPr/>
          <p:nvPr/>
        </p:nvSpPr>
        <p:spPr bwMode="auto">
          <a:xfrm>
            <a:off x="1134836" y="5864210"/>
            <a:ext cx="5952747" cy="410943"/>
          </a:xfrm>
          <a:prstGeom prst="ellipse">
            <a:avLst/>
          </a:prstGeom>
          <a:solidFill>
            <a:srgbClr val="89BA17">
              <a:alpha val="20000"/>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2" name="Oval 11"/>
          <p:cNvSpPr/>
          <p:nvPr/>
        </p:nvSpPr>
        <p:spPr bwMode="auto">
          <a:xfrm>
            <a:off x="4634979" y="5494407"/>
            <a:ext cx="2428436"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p:cNvSpPr/>
          <p:nvPr/>
        </p:nvSpPr>
        <p:spPr bwMode="auto">
          <a:xfrm>
            <a:off x="5968093" y="5535905"/>
            <a:ext cx="1087237" cy="204618"/>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Freeform 3"/>
          <p:cNvSpPr>
            <a:spLocks noChangeAspect="1" noEditPoints="1"/>
          </p:cNvSpPr>
          <p:nvPr/>
        </p:nvSpPr>
        <p:spPr bwMode="auto">
          <a:xfrm>
            <a:off x="7119835" y="4907680"/>
            <a:ext cx="469249" cy="522414"/>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tx2">
              <a:lumMod val="90000"/>
              <a:lumOff val="10000"/>
            </a:schemeClr>
          </a:solidFill>
          <a:ln>
            <a:noFill/>
          </a:ln>
          <a:extLst/>
        </p:spPr>
        <p:txBody>
          <a:bodyPr/>
          <a:lstStyle/>
          <a:p>
            <a:pPr>
              <a:spcBef>
                <a:spcPct val="50000"/>
              </a:spcBef>
            </a:pPr>
            <a:endParaRPr lang="en-US" sz="1400">
              <a:solidFill>
                <a:srgbClr val="58585A"/>
              </a:solidFill>
              <a:cs typeface="+mn-cs"/>
            </a:endParaRPr>
          </a:p>
        </p:txBody>
      </p:sp>
      <p:sp>
        <p:nvSpPr>
          <p:cNvPr id="15" name="TextBox 14"/>
          <p:cNvSpPr txBox="1"/>
          <p:nvPr/>
        </p:nvSpPr>
        <p:spPr>
          <a:xfrm>
            <a:off x="7055330" y="5439603"/>
            <a:ext cx="5189241" cy="400110"/>
          </a:xfrm>
          <a:prstGeom prst="rect">
            <a:avLst/>
          </a:prstGeom>
          <a:noFill/>
        </p:spPr>
        <p:txBody>
          <a:bodyPr wrap="none" rtlCol="0">
            <a:spAutoFit/>
          </a:bodyPr>
          <a:lstStyle/>
          <a:p>
            <a:r>
              <a:rPr lang="en-US" dirty="0"/>
              <a:t>NR </a:t>
            </a:r>
            <a:r>
              <a:rPr lang="en-US" sz="1400" dirty="0"/>
              <a:t>(unstable DL+UL, stable </a:t>
            </a:r>
            <a:r>
              <a:rPr lang="en-US" sz="1400" dirty="0" err="1"/>
              <a:t>DL+unstable</a:t>
            </a:r>
            <a:r>
              <a:rPr lang="en-US" sz="1400" dirty="0"/>
              <a:t> UL, stable DL+UL) </a:t>
            </a:r>
            <a:endParaRPr lang="en-US" dirty="0"/>
          </a:p>
        </p:txBody>
      </p:sp>
      <p:sp>
        <p:nvSpPr>
          <p:cNvPr id="16" name="TextBox 15"/>
          <p:cNvSpPr txBox="1"/>
          <p:nvPr/>
        </p:nvSpPr>
        <p:spPr>
          <a:xfrm>
            <a:off x="7063415" y="5879144"/>
            <a:ext cx="636906" cy="400110"/>
          </a:xfrm>
          <a:prstGeom prst="rect">
            <a:avLst/>
          </a:prstGeom>
          <a:noFill/>
        </p:spPr>
        <p:txBody>
          <a:bodyPr wrap="none" rtlCol="0">
            <a:spAutoFit/>
          </a:bodyPr>
          <a:lstStyle/>
          <a:p>
            <a:r>
              <a:rPr lang="en-US" dirty="0"/>
              <a:t>LTE</a:t>
            </a:r>
          </a:p>
        </p:txBody>
      </p:sp>
      <p:sp>
        <p:nvSpPr>
          <p:cNvPr id="17" name="Freeform 73"/>
          <p:cNvSpPr>
            <a:spLocks noChangeAspect="1" noEditPoints="1"/>
          </p:cNvSpPr>
          <p:nvPr/>
        </p:nvSpPr>
        <p:spPr bwMode="auto">
          <a:xfrm>
            <a:off x="6480741" y="4910083"/>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8" name="Freeform 73"/>
          <p:cNvSpPr>
            <a:spLocks noChangeAspect="1" noEditPoints="1"/>
          </p:cNvSpPr>
          <p:nvPr/>
        </p:nvSpPr>
        <p:spPr bwMode="auto">
          <a:xfrm>
            <a:off x="4829199" y="5004017"/>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9" name="Freeform 73"/>
          <p:cNvSpPr>
            <a:spLocks noChangeAspect="1" noEditPoints="1"/>
          </p:cNvSpPr>
          <p:nvPr/>
        </p:nvSpPr>
        <p:spPr bwMode="auto">
          <a:xfrm>
            <a:off x="2413022" y="5045166"/>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cxnSp>
        <p:nvCxnSpPr>
          <p:cNvPr id="20" name="Straight Arrow Connector 19"/>
          <p:cNvCxnSpPr/>
          <p:nvPr/>
        </p:nvCxnSpPr>
        <p:spPr bwMode="auto">
          <a:xfrm>
            <a:off x="6115691" y="5243003"/>
            <a:ext cx="881102" cy="0"/>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1" name="Straight Arrow Connector 20"/>
          <p:cNvCxnSpPr/>
          <p:nvPr/>
        </p:nvCxnSpPr>
        <p:spPr bwMode="auto">
          <a:xfrm>
            <a:off x="3069574" y="5303642"/>
            <a:ext cx="3924498" cy="26503"/>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2" name="Straight Arrow Connector 21"/>
          <p:cNvCxnSpPr/>
          <p:nvPr/>
        </p:nvCxnSpPr>
        <p:spPr bwMode="auto">
          <a:xfrm>
            <a:off x="1240899" y="5373603"/>
            <a:ext cx="5750449" cy="39458"/>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grpSp>
        <p:nvGrpSpPr>
          <p:cNvPr id="23" name="Group 22"/>
          <p:cNvGrpSpPr>
            <a:grpSpLocks noChangeAspect="1"/>
          </p:cNvGrpSpPr>
          <p:nvPr/>
        </p:nvGrpSpPr>
        <p:grpSpPr>
          <a:xfrm>
            <a:off x="4176616" y="3291008"/>
            <a:ext cx="646942" cy="924748"/>
            <a:chOff x="3099589" y="1743113"/>
            <a:chExt cx="698686" cy="998710"/>
          </a:xfrm>
        </p:grpSpPr>
        <p:sp>
          <p:nvSpPr>
            <p:cNvPr id="24"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5"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TE</a:t>
              </a:r>
            </a:p>
          </p:txBody>
        </p:sp>
      </p:grpSp>
      <p:grpSp>
        <p:nvGrpSpPr>
          <p:cNvPr id="26" name="Group 25"/>
          <p:cNvGrpSpPr>
            <a:grpSpLocks noChangeAspect="1"/>
          </p:cNvGrpSpPr>
          <p:nvPr/>
        </p:nvGrpSpPr>
        <p:grpSpPr>
          <a:xfrm>
            <a:off x="5366261" y="3291008"/>
            <a:ext cx="646942" cy="924748"/>
            <a:chOff x="3099589" y="1743113"/>
            <a:chExt cx="698686" cy="998710"/>
          </a:xfrm>
        </p:grpSpPr>
        <p:sp>
          <p:nvSpPr>
            <p:cNvPr id="27"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8"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9" name="Freeform: Shape 28"/>
          <p:cNvSpPr/>
          <p:nvPr/>
        </p:nvSpPr>
        <p:spPr bwMode="auto">
          <a:xfrm>
            <a:off x="5972466" y="1682703"/>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0" name="Freeform: Shape 29"/>
          <p:cNvSpPr/>
          <p:nvPr/>
        </p:nvSpPr>
        <p:spPr bwMode="auto">
          <a:xfrm>
            <a:off x="5971150" y="3558661"/>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1" name="Freeform: Shape 30"/>
          <p:cNvSpPr/>
          <p:nvPr/>
        </p:nvSpPr>
        <p:spPr bwMode="auto">
          <a:xfrm>
            <a:off x="5856835" y="1682703"/>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2" name="Freeform: Shape 31"/>
          <p:cNvSpPr/>
          <p:nvPr/>
        </p:nvSpPr>
        <p:spPr bwMode="auto">
          <a:xfrm>
            <a:off x="5855519" y="3558661"/>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3" name="TextBox 32"/>
          <p:cNvSpPr txBox="1"/>
          <p:nvPr/>
        </p:nvSpPr>
        <p:spPr>
          <a:xfrm>
            <a:off x="6637526" y="4829223"/>
            <a:ext cx="327334" cy="400110"/>
          </a:xfrm>
          <a:prstGeom prst="rect">
            <a:avLst/>
          </a:prstGeom>
          <a:noFill/>
        </p:spPr>
        <p:txBody>
          <a:bodyPr wrap="none" rtlCol="0">
            <a:spAutoFit/>
          </a:bodyPr>
          <a:lstStyle/>
          <a:p>
            <a:r>
              <a:rPr lang="en-US" dirty="0"/>
              <a:t>2</a:t>
            </a:r>
          </a:p>
        </p:txBody>
      </p:sp>
      <p:sp>
        <p:nvSpPr>
          <p:cNvPr id="34" name="TextBox 33"/>
          <p:cNvSpPr txBox="1"/>
          <p:nvPr/>
        </p:nvSpPr>
        <p:spPr>
          <a:xfrm flipH="1">
            <a:off x="5015568" y="4925726"/>
            <a:ext cx="505759" cy="400110"/>
          </a:xfrm>
          <a:prstGeom prst="rect">
            <a:avLst/>
          </a:prstGeom>
          <a:noFill/>
        </p:spPr>
        <p:txBody>
          <a:bodyPr wrap="square" rtlCol="0">
            <a:spAutoFit/>
          </a:bodyPr>
          <a:lstStyle/>
          <a:p>
            <a:r>
              <a:rPr lang="en-US" dirty="0"/>
              <a:t>3x</a:t>
            </a:r>
          </a:p>
        </p:txBody>
      </p:sp>
      <p:sp>
        <p:nvSpPr>
          <p:cNvPr id="35" name="TextBox 34"/>
          <p:cNvSpPr txBox="1"/>
          <p:nvPr/>
        </p:nvSpPr>
        <p:spPr>
          <a:xfrm>
            <a:off x="2565925" y="4951764"/>
            <a:ext cx="327334" cy="400110"/>
          </a:xfrm>
          <a:prstGeom prst="rect">
            <a:avLst/>
          </a:prstGeom>
          <a:noFill/>
        </p:spPr>
        <p:txBody>
          <a:bodyPr wrap="none" rtlCol="0">
            <a:spAutoFit/>
          </a:bodyPr>
          <a:lstStyle/>
          <a:p>
            <a:r>
              <a:rPr lang="en-US" dirty="0"/>
              <a:t>1</a:t>
            </a:r>
          </a:p>
        </p:txBody>
      </p:sp>
      <p:sp>
        <p:nvSpPr>
          <p:cNvPr id="36" name="Freeform: Shape 35"/>
          <p:cNvSpPr/>
          <p:nvPr/>
        </p:nvSpPr>
        <p:spPr bwMode="auto">
          <a:xfrm>
            <a:off x="4751215" y="1794159"/>
            <a:ext cx="814091" cy="1828341"/>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0 w 372136"/>
              <a:gd name="connsiteY0" fmla="*/ 0 h 2081575"/>
              <a:gd name="connsiteX1" fmla="*/ 372136 w 372136"/>
              <a:gd name="connsiteY1" fmla="*/ 2081575 h 2081575"/>
              <a:gd name="connsiteX0" fmla="*/ 0 w 372136"/>
              <a:gd name="connsiteY0" fmla="*/ 0 h 2081575"/>
              <a:gd name="connsiteX1" fmla="*/ 372136 w 372136"/>
              <a:gd name="connsiteY1" fmla="*/ 2081575 h 2081575"/>
              <a:gd name="connsiteX0" fmla="*/ 0 w 372136"/>
              <a:gd name="connsiteY0" fmla="*/ 0 h 2081575"/>
              <a:gd name="connsiteX1" fmla="*/ 372136 w 372136"/>
              <a:gd name="connsiteY1" fmla="*/ 2081575 h 2081575"/>
              <a:gd name="connsiteX0" fmla="*/ 0 w 372136"/>
              <a:gd name="connsiteY0" fmla="*/ 0 h 2081575"/>
              <a:gd name="connsiteX1" fmla="*/ 155146 w 372136"/>
              <a:gd name="connsiteY1" fmla="*/ 1141871 h 2081575"/>
              <a:gd name="connsiteX2" fmla="*/ 372136 w 372136"/>
              <a:gd name="connsiteY2" fmla="*/ 2081575 h 2081575"/>
              <a:gd name="connsiteX0" fmla="*/ 0 w 372136"/>
              <a:gd name="connsiteY0" fmla="*/ 0 h 2081575"/>
              <a:gd name="connsiteX1" fmla="*/ 42850 w 372136"/>
              <a:gd name="connsiteY1" fmla="*/ 1437094 h 2081575"/>
              <a:gd name="connsiteX2" fmla="*/ 372136 w 372136"/>
              <a:gd name="connsiteY2" fmla="*/ 2081575 h 2081575"/>
              <a:gd name="connsiteX0" fmla="*/ 0 w 372136"/>
              <a:gd name="connsiteY0" fmla="*/ 0 h 2081575"/>
              <a:gd name="connsiteX1" fmla="*/ 42850 w 372136"/>
              <a:gd name="connsiteY1" fmla="*/ 1437094 h 2081575"/>
              <a:gd name="connsiteX2" fmla="*/ 372136 w 372136"/>
              <a:gd name="connsiteY2" fmla="*/ 2081575 h 2081575"/>
            </a:gdLst>
            <a:ahLst/>
            <a:cxnLst>
              <a:cxn ang="0">
                <a:pos x="connsiteX0" y="connsiteY0"/>
              </a:cxn>
              <a:cxn ang="0">
                <a:pos x="connsiteX1" y="connsiteY1"/>
              </a:cxn>
              <a:cxn ang="0">
                <a:pos x="connsiteX2" y="connsiteY2"/>
              </a:cxn>
            </a:cxnLst>
            <a:rect l="l" t="t" r="r" b="b"/>
            <a:pathLst>
              <a:path w="372136" h="2081575">
                <a:moveTo>
                  <a:pt x="0" y="0"/>
                </a:moveTo>
                <a:lnTo>
                  <a:pt x="42850" y="1437094"/>
                </a:lnTo>
                <a:cubicBezTo>
                  <a:pt x="180192" y="1657218"/>
                  <a:pt x="248091" y="1387717"/>
                  <a:pt x="372136" y="2081575"/>
                </a:cubicBez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7" name="Freeform: Shape 36"/>
          <p:cNvSpPr/>
          <p:nvPr/>
        </p:nvSpPr>
        <p:spPr bwMode="auto">
          <a:xfrm>
            <a:off x="5210693" y="3642821"/>
            <a:ext cx="357067" cy="1348251"/>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Lst>
            <a:ahLst/>
            <a:cxnLst>
              <a:cxn ang="0">
                <a:pos x="connsiteX0" y="connsiteY0"/>
              </a:cxn>
              <a:cxn ang="0">
                <a:pos x="connsiteX1" y="connsiteY1"/>
              </a:cxn>
              <a:cxn ang="0">
                <a:pos x="connsiteX2" y="connsiteY2"/>
              </a:cxn>
            </a:cxnLst>
            <a:rect l="l" t="t" r="r" b="b"/>
            <a:pathLst>
              <a:path w="163222" h="1534991">
                <a:moveTo>
                  <a:pt x="0" y="1534991"/>
                </a:moveTo>
                <a:cubicBezTo>
                  <a:pt x="61974" y="1317342"/>
                  <a:pt x="101903" y="1350548"/>
                  <a:pt x="157915" y="896892"/>
                </a:cubicBezTo>
                <a:cubicBezTo>
                  <a:pt x="168339" y="489914"/>
                  <a:pt x="159777" y="491061"/>
                  <a:pt x="162100"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8" name="Freeform: Shape 37"/>
          <p:cNvSpPr/>
          <p:nvPr/>
        </p:nvSpPr>
        <p:spPr bwMode="auto">
          <a:xfrm>
            <a:off x="4589863" y="1766863"/>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9" name="Freeform: Shape 38"/>
          <p:cNvSpPr/>
          <p:nvPr/>
        </p:nvSpPr>
        <p:spPr bwMode="auto">
          <a:xfrm>
            <a:off x="4588547" y="3642821"/>
            <a:ext cx="288146" cy="130730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Lst>
            <a:ahLst/>
            <a:cxnLst>
              <a:cxn ang="0">
                <a:pos x="connsiteX0" y="connsiteY0"/>
              </a:cxn>
              <a:cxn ang="0">
                <a:pos x="connsiteX1" y="connsiteY1"/>
              </a:cxn>
              <a:cxn ang="0">
                <a:pos x="connsiteX2" y="connsiteY2"/>
              </a:cxn>
            </a:cxnLst>
            <a:rect l="l" t="t" r="r" b="b"/>
            <a:pathLst>
              <a:path w="131717" h="1488375">
                <a:moveTo>
                  <a:pt x="131717" y="1488375"/>
                </a:moveTo>
                <a:cubicBezTo>
                  <a:pt x="50202" y="1317340"/>
                  <a:pt x="97733" y="1385195"/>
                  <a:pt x="46325" y="1098885"/>
                </a:cubicBezTo>
                <a:cubicBezTo>
                  <a:pt x="601" y="831749"/>
                  <a:pt x="-1722" y="491061"/>
                  <a:pt x="601"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0" name="Freeform: Shape 39"/>
          <p:cNvSpPr/>
          <p:nvPr/>
        </p:nvSpPr>
        <p:spPr bwMode="auto">
          <a:xfrm>
            <a:off x="4699991" y="3713334"/>
            <a:ext cx="853941" cy="123906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 name="connsiteX0" fmla="*/ 0 w 158816"/>
              <a:gd name="connsiteY0" fmla="*/ 1628219 h 1628219"/>
              <a:gd name="connsiteX1" fmla="*/ 157915 w 158816"/>
              <a:gd name="connsiteY1" fmla="*/ 990120 h 1628219"/>
              <a:gd name="connsiteX2" fmla="*/ 87237 w 158816"/>
              <a:gd name="connsiteY2" fmla="*/ 0 h 1628219"/>
              <a:gd name="connsiteX0" fmla="*/ 296550 w 383787"/>
              <a:gd name="connsiteY0" fmla="*/ 1628219 h 1628219"/>
              <a:gd name="connsiteX1" fmla="*/ 5282 w 383787"/>
              <a:gd name="connsiteY1" fmla="*/ 399674 h 1628219"/>
              <a:gd name="connsiteX2" fmla="*/ 383787 w 383787"/>
              <a:gd name="connsiteY2" fmla="*/ 0 h 1628219"/>
              <a:gd name="connsiteX0" fmla="*/ 101248 w 388122"/>
              <a:gd name="connsiteY0" fmla="*/ 1519452 h 1519452"/>
              <a:gd name="connsiteX1" fmla="*/ 9617 w 388122"/>
              <a:gd name="connsiteY1" fmla="*/ 399674 h 1519452"/>
              <a:gd name="connsiteX2" fmla="*/ 388122 w 388122"/>
              <a:gd name="connsiteY2" fmla="*/ 0 h 1519452"/>
              <a:gd name="connsiteX0" fmla="*/ 131346 w 387026"/>
              <a:gd name="connsiteY0" fmla="*/ 1410685 h 1410685"/>
              <a:gd name="connsiteX1" fmla="*/ 8521 w 387026"/>
              <a:gd name="connsiteY1" fmla="*/ 399674 h 1410685"/>
              <a:gd name="connsiteX2" fmla="*/ 387026 w 387026"/>
              <a:gd name="connsiteY2" fmla="*/ 0 h 1410685"/>
              <a:gd name="connsiteX0" fmla="*/ 134673 w 390353"/>
              <a:gd name="connsiteY0" fmla="*/ 1410685 h 1410685"/>
              <a:gd name="connsiteX1" fmla="*/ 11848 w 390353"/>
              <a:gd name="connsiteY1" fmla="*/ 399674 h 1410685"/>
              <a:gd name="connsiteX2" fmla="*/ 390353 w 390353"/>
              <a:gd name="connsiteY2" fmla="*/ 0 h 1410685"/>
            </a:gdLst>
            <a:ahLst/>
            <a:cxnLst>
              <a:cxn ang="0">
                <a:pos x="connsiteX0" y="connsiteY0"/>
              </a:cxn>
              <a:cxn ang="0">
                <a:pos x="connsiteX1" y="connsiteY1"/>
              </a:cxn>
              <a:cxn ang="0">
                <a:pos x="connsiteX2" y="connsiteY2"/>
              </a:cxn>
            </a:cxnLst>
            <a:rect l="l" t="t" r="r" b="b"/>
            <a:pathLst>
              <a:path w="390353" h="1410685">
                <a:moveTo>
                  <a:pt x="134673" y="1410685"/>
                </a:moveTo>
                <a:cubicBezTo>
                  <a:pt x="115544" y="1161959"/>
                  <a:pt x="-44164" y="853330"/>
                  <a:pt x="11848" y="399674"/>
                </a:cubicBezTo>
                <a:cubicBezTo>
                  <a:pt x="22272" y="-7304"/>
                  <a:pt x="388030" y="491061"/>
                  <a:pt x="390353"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1" name="Freeform: Shape 40"/>
          <p:cNvSpPr/>
          <p:nvPr/>
        </p:nvSpPr>
        <p:spPr bwMode="auto">
          <a:xfrm>
            <a:off x="4309970" y="1684727"/>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2" name="Freeform: Shape 41"/>
          <p:cNvSpPr/>
          <p:nvPr/>
        </p:nvSpPr>
        <p:spPr bwMode="auto">
          <a:xfrm>
            <a:off x="2805822" y="3560685"/>
            <a:ext cx="1504145" cy="15214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592 w 655411"/>
              <a:gd name="connsiteY0" fmla="*/ 1768062 h 1768062"/>
              <a:gd name="connsiteX1" fmla="*/ 643883 w 655411"/>
              <a:gd name="connsiteY1" fmla="*/ 1098885 h 1768062"/>
              <a:gd name="connsiteX2" fmla="*/ 598159 w 655411"/>
              <a:gd name="connsiteY2" fmla="*/ 0 h 1768062"/>
              <a:gd name="connsiteX0" fmla="*/ 6400 w 598967"/>
              <a:gd name="connsiteY0" fmla="*/ 1768062 h 1768062"/>
              <a:gd name="connsiteX1" fmla="*/ 532395 w 598967"/>
              <a:gd name="connsiteY1" fmla="*/ 1114422 h 1768062"/>
              <a:gd name="connsiteX2" fmla="*/ 598967 w 598967"/>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8525 w 687572"/>
              <a:gd name="connsiteY0" fmla="*/ 1732164 h 1732164"/>
              <a:gd name="connsiteX1" fmla="*/ 621000 w 687572"/>
              <a:gd name="connsiteY1" fmla="*/ 1114422 h 1732164"/>
              <a:gd name="connsiteX2" fmla="*/ 687572 w 687572"/>
              <a:gd name="connsiteY2" fmla="*/ 0 h 1732164"/>
            </a:gdLst>
            <a:ahLst/>
            <a:cxnLst>
              <a:cxn ang="0">
                <a:pos x="connsiteX0" y="connsiteY0"/>
              </a:cxn>
              <a:cxn ang="0">
                <a:pos x="connsiteX1" y="connsiteY1"/>
              </a:cxn>
              <a:cxn ang="0">
                <a:pos x="connsiteX2" y="connsiteY2"/>
              </a:cxn>
            </a:cxnLst>
            <a:rect l="l" t="t" r="r" b="b"/>
            <a:pathLst>
              <a:path w="687572" h="1732164">
                <a:moveTo>
                  <a:pt x="8525" y="1732164"/>
                </a:moveTo>
                <a:cubicBezTo>
                  <a:pt x="-72990" y="1561129"/>
                  <a:pt x="452693" y="1583615"/>
                  <a:pt x="621000" y="1114422"/>
                </a:cubicBezTo>
                <a:cubicBezTo>
                  <a:pt x="650140" y="598676"/>
                  <a:pt x="685249" y="491061"/>
                  <a:pt x="687572"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3" name="Freeform: Shape 42"/>
          <p:cNvSpPr/>
          <p:nvPr/>
        </p:nvSpPr>
        <p:spPr bwMode="auto">
          <a:xfrm>
            <a:off x="4194339" y="1684727"/>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4" name="Freeform: Shape 43"/>
          <p:cNvSpPr/>
          <p:nvPr/>
        </p:nvSpPr>
        <p:spPr bwMode="auto">
          <a:xfrm>
            <a:off x="2710130" y="3560685"/>
            <a:ext cx="1484208" cy="145743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158 w 728969"/>
              <a:gd name="connsiteY0" fmla="*/ 1659295 h 1659295"/>
              <a:gd name="connsiteX1" fmla="*/ 718313 w 728969"/>
              <a:gd name="connsiteY1" fmla="*/ 1098885 h 1659295"/>
              <a:gd name="connsiteX2" fmla="*/ 672589 w 728969"/>
              <a:gd name="connsiteY2" fmla="*/ 0 h 1659295"/>
              <a:gd name="connsiteX0" fmla="*/ 6250 w 673681"/>
              <a:gd name="connsiteY0" fmla="*/ 1659295 h 1659295"/>
              <a:gd name="connsiteX1" fmla="*/ 550962 w 673681"/>
              <a:gd name="connsiteY1" fmla="*/ 1098885 h 1659295"/>
              <a:gd name="connsiteX2" fmla="*/ 673681 w 673681"/>
              <a:gd name="connsiteY2" fmla="*/ 0 h 1659295"/>
              <a:gd name="connsiteX0" fmla="*/ 11028 w 678459"/>
              <a:gd name="connsiteY0" fmla="*/ 1659295 h 1659295"/>
              <a:gd name="connsiteX1" fmla="*/ 555740 w 678459"/>
              <a:gd name="connsiteY1" fmla="*/ 1098885 h 1659295"/>
              <a:gd name="connsiteX2" fmla="*/ 678459 w 678459"/>
              <a:gd name="connsiteY2" fmla="*/ 0 h 1659295"/>
              <a:gd name="connsiteX0" fmla="*/ 11028 w 678459"/>
              <a:gd name="connsiteY0" fmla="*/ 1659295 h 1659295"/>
              <a:gd name="connsiteX1" fmla="*/ 555740 w 678459"/>
              <a:gd name="connsiteY1" fmla="*/ 1098885 h 1659295"/>
              <a:gd name="connsiteX2" fmla="*/ 678459 w 678459"/>
              <a:gd name="connsiteY2" fmla="*/ 0 h 1659295"/>
            </a:gdLst>
            <a:ahLst/>
            <a:cxnLst>
              <a:cxn ang="0">
                <a:pos x="connsiteX0" y="connsiteY0"/>
              </a:cxn>
              <a:cxn ang="0">
                <a:pos x="connsiteX1" y="connsiteY1"/>
              </a:cxn>
              <a:cxn ang="0">
                <a:pos x="connsiteX2" y="connsiteY2"/>
              </a:cxn>
            </a:cxnLst>
            <a:rect l="l" t="t" r="r" b="b"/>
            <a:pathLst>
              <a:path w="678459" h="1659295">
                <a:moveTo>
                  <a:pt x="11028" y="1659295"/>
                </a:moveTo>
                <a:cubicBezTo>
                  <a:pt x="-70487" y="1488260"/>
                  <a:pt x="318807" y="1319469"/>
                  <a:pt x="555740" y="1098885"/>
                </a:cubicBezTo>
                <a:cubicBezTo>
                  <a:pt x="647266" y="645291"/>
                  <a:pt x="676136" y="491061"/>
                  <a:pt x="678459"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5" name="Content Placeholder 4"/>
          <p:cNvSpPr txBox="1">
            <a:spLocks/>
          </p:cNvSpPr>
          <p:nvPr/>
        </p:nvSpPr>
        <p:spPr bwMode="auto">
          <a:xfrm>
            <a:off x="7509753" y="1771802"/>
            <a:ext cx="4395428" cy="2654106"/>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lnSpc>
                <a:spcPct val="90000"/>
              </a:lnSpc>
            </a:pPr>
            <a:r>
              <a:rPr lang="en-US" altLang="sv-SE" sz="1800" kern="0"/>
              <a:t>UE connectivity option depends on radio coverage at any given time</a:t>
            </a:r>
          </a:p>
          <a:p>
            <a:r>
              <a:rPr lang="en-US" altLang="sv-SE" sz="1800" kern="0"/>
              <a:t>Selected connectivity option depends on UE and network capabilities</a:t>
            </a:r>
            <a:endParaRPr lang="en-US" altLang="sv-SE" sz="1400" kern="0" dirty="0"/>
          </a:p>
        </p:txBody>
      </p:sp>
    </p:spTree>
    <p:extLst>
      <p:ext uri="{BB962C8B-B14F-4D97-AF65-F5344CB8AC3E}">
        <p14:creationId xmlns:p14="http://schemas.microsoft.com/office/powerpoint/2010/main" val="2355454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9" grpId="0" animBg="1"/>
      <p:bldP spid="30" grpId="0" animBg="1"/>
      <p:bldP spid="31" grpId="0" animBg="1"/>
      <p:bldP spid="32" grpId="0" animBg="1"/>
      <p:bldP spid="33" grpId="0"/>
      <p:bldP spid="34" grpId="0"/>
      <p:bldP spid="35" grpId="0"/>
      <p:bldP spid="36" grpId="0" animBg="1"/>
      <p:bldP spid="37" grpId="0" animBg="1"/>
      <p:bldP spid="38" grpId="0" animBg="1"/>
      <p:bldP spid="39" grpId="0" animBg="1"/>
      <p:bldP spid="40" grpId="0" animBg="1"/>
      <p:bldP spid="41" grpId="0" animBg="1"/>
      <p:bldP spid="42" grpId="0" animBg="1"/>
      <p:bldP spid="43" grpId="0" animBg="1"/>
      <p:bldP spid="44" grpId="0" animBg="1"/>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ption 1,2,5 deployment</a:t>
            </a:r>
            <a:br>
              <a:rPr lang="en-US" dirty="0"/>
            </a:br>
            <a:r>
              <a:rPr lang="en-US" sz="2700" dirty="0">
                <a:latin typeface="+mn-lt"/>
              </a:rPr>
              <a:t>Example of usage of connectivity options in a network</a:t>
            </a:r>
          </a:p>
        </p:txBody>
      </p:sp>
      <p:sp>
        <p:nvSpPr>
          <p:cNvPr id="4" name="Oval 3"/>
          <p:cNvSpPr/>
          <p:nvPr/>
        </p:nvSpPr>
        <p:spPr bwMode="auto">
          <a:xfrm>
            <a:off x="3189494" y="5551450"/>
            <a:ext cx="3985728"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 name="Group 4"/>
          <p:cNvGrpSpPr>
            <a:grpSpLocks noChangeAspect="1"/>
          </p:cNvGrpSpPr>
          <p:nvPr/>
        </p:nvGrpSpPr>
        <p:grpSpPr>
          <a:xfrm>
            <a:off x="4296536" y="2190834"/>
            <a:ext cx="646942" cy="924748"/>
            <a:chOff x="3099589" y="1743113"/>
            <a:chExt cx="698686" cy="998710"/>
          </a:xfrm>
        </p:grpSpPr>
        <p:sp>
          <p:nvSpPr>
            <p:cNvPr id="6"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PC</a:t>
              </a:r>
            </a:p>
          </p:txBody>
        </p:sp>
      </p:grpSp>
      <p:grpSp>
        <p:nvGrpSpPr>
          <p:cNvPr id="8" name="Group 7"/>
          <p:cNvGrpSpPr>
            <a:grpSpLocks noChangeAspect="1"/>
          </p:cNvGrpSpPr>
          <p:nvPr/>
        </p:nvGrpSpPr>
        <p:grpSpPr>
          <a:xfrm>
            <a:off x="5486181" y="2190834"/>
            <a:ext cx="646942" cy="924748"/>
            <a:chOff x="3099589" y="1743113"/>
            <a:chExt cx="698686" cy="998710"/>
          </a:xfrm>
        </p:grpSpPr>
        <p:sp>
          <p:nvSpPr>
            <p:cNvPr id="9"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10"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b="1" kern="0" dirty="0">
                  <a:latin typeface="Segoe UI" panose="020B0502040204020203" pitchFamily="34" charset="0"/>
                  <a:ea typeface="Segoe UI" panose="020B0502040204020203" pitchFamily="34" charset="0"/>
                  <a:cs typeface="Segoe UI" panose="020B0502040204020203" pitchFamily="34" charset="0"/>
                </a:rPr>
                <a:t>5</a:t>
              </a:r>
              <a:r>
                <a:rPr kumimoji="0" lang="en-US" altLang="en-US" sz="14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GCN</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 name="Oval 10"/>
          <p:cNvSpPr/>
          <p:nvPr/>
        </p:nvSpPr>
        <p:spPr bwMode="auto">
          <a:xfrm>
            <a:off x="1254756" y="5924175"/>
            <a:ext cx="5952747" cy="410943"/>
          </a:xfrm>
          <a:prstGeom prst="ellipse">
            <a:avLst/>
          </a:prstGeom>
          <a:solidFill>
            <a:srgbClr val="89BA17">
              <a:alpha val="20000"/>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2" name="Oval 11"/>
          <p:cNvSpPr/>
          <p:nvPr/>
        </p:nvSpPr>
        <p:spPr bwMode="auto">
          <a:xfrm>
            <a:off x="4754899" y="5554372"/>
            <a:ext cx="2428436"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p:cNvSpPr/>
          <p:nvPr/>
        </p:nvSpPr>
        <p:spPr bwMode="auto">
          <a:xfrm>
            <a:off x="6088013" y="5595870"/>
            <a:ext cx="1087237" cy="204618"/>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Freeform 3"/>
          <p:cNvSpPr>
            <a:spLocks noChangeAspect="1" noEditPoints="1"/>
          </p:cNvSpPr>
          <p:nvPr/>
        </p:nvSpPr>
        <p:spPr bwMode="auto">
          <a:xfrm>
            <a:off x="7239755" y="4967645"/>
            <a:ext cx="469249" cy="522414"/>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tx2">
              <a:lumMod val="90000"/>
              <a:lumOff val="10000"/>
            </a:schemeClr>
          </a:solidFill>
          <a:ln>
            <a:noFill/>
          </a:ln>
          <a:extLst/>
        </p:spPr>
        <p:txBody>
          <a:bodyPr/>
          <a:lstStyle/>
          <a:p>
            <a:pPr>
              <a:spcBef>
                <a:spcPct val="50000"/>
              </a:spcBef>
            </a:pPr>
            <a:endParaRPr lang="en-US" sz="1400">
              <a:solidFill>
                <a:srgbClr val="58585A"/>
              </a:solidFill>
              <a:cs typeface="+mn-cs"/>
            </a:endParaRPr>
          </a:p>
        </p:txBody>
      </p:sp>
      <p:sp>
        <p:nvSpPr>
          <p:cNvPr id="15" name="TextBox 14"/>
          <p:cNvSpPr txBox="1"/>
          <p:nvPr/>
        </p:nvSpPr>
        <p:spPr>
          <a:xfrm>
            <a:off x="7175250" y="5499568"/>
            <a:ext cx="5368777" cy="400110"/>
          </a:xfrm>
          <a:prstGeom prst="rect">
            <a:avLst/>
          </a:prstGeom>
          <a:noFill/>
        </p:spPr>
        <p:txBody>
          <a:bodyPr wrap="none" rtlCol="0">
            <a:spAutoFit/>
          </a:bodyPr>
          <a:lstStyle/>
          <a:p>
            <a:r>
              <a:rPr lang="en-US" dirty="0"/>
              <a:t>NR </a:t>
            </a:r>
            <a:r>
              <a:rPr lang="en-US" sz="1400" dirty="0"/>
              <a:t>(unstable DL+UL, stable </a:t>
            </a:r>
            <a:r>
              <a:rPr lang="en-US" sz="1400" dirty="0" err="1"/>
              <a:t>DL+unstable</a:t>
            </a:r>
            <a:r>
              <a:rPr lang="en-US" sz="1400" dirty="0"/>
              <a:t> UL, stable DL+UL) </a:t>
            </a:r>
            <a:endParaRPr lang="en-US" dirty="0"/>
          </a:p>
        </p:txBody>
      </p:sp>
      <p:sp>
        <p:nvSpPr>
          <p:cNvPr id="16" name="TextBox 15"/>
          <p:cNvSpPr txBox="1"/>
          <p:nvPr/>
        </p:nvSpPr>
        <p:spPr>
          <a:xfrm>
            <a:off x="7183335" y="5939109"/>
            <a:ext cx="636906" cy="400110"/>
          </a:xfrm>
          <a:prstGeom prst="rect">
            <a:avLst/>
          </a:prstGeom>
          <a:noFill/>
        </p:spPr>
        <p:txBody>
          <a:bodyPr wrap="none" rtlCol="0">
            <a:spAutoFit/>
          </a:bodyPr>
          <a:lstStyle/>
          <a:p>
            <a:r>
              <a:rPr lang="en-US" dirty="0"/>
              <a:t>LTE</a:t>
            </a:r>
          </a:p>
        </p:txBody>
      </p:sp>
      <p:sp>
        <p:nvSpPr>
          <p:cNvPr id="17" name="Freeform 73"/>
          <p:cNvSpPr>
            <a:spLocks noChangeAspect="1" noEditPoints="1"/>
          </p:cNvSpPr>
          <p:nvPr/>
        </p:nvSpPr>
        <p:spPr bwMode="auto">
          <a:xfrm>
            <a:off x="6600661" y="4937392"/>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8" name="Freeform 73"/>
          <p:cNvSpPr>
            <a:spLocks noChangeAspect="1" noEditPoints="1"/>
          </p:cNvSpPr>
          <p:nvPr/>
        </p:nvSpPr>
        <p:spPr bwMode="auto">
          <a:xfrm>
            <a:off x="2098477" y="5063982"/>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9" name="Freeform 73"/>
          <p:cNvSpPr>
            <a:spLocks noChangeAspect="1" noEditPoints="1"/>
          </p:cNvSpPr>
          <p:nvPr/>
        </p:nvSpPr>
        <p:spPr bwMode="auto">
          <a:xfrm>
            <a:off x="571174" y="5094849"/>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cxnSp>
        <p:nvCxnSpPr>
          <p:cNvPr id="20" name="Straight Arrow Connector 19"/>
          <p:cNvCxnSpPr/>
          <p:nvPr/>
        </p:nvCxnSpPr>
        <p:spPr bwMode="auto">
          <a:xfrm>
            <a:off x="6235611" y="5270312"/>
            <a:ext cx="881102" cy="0"/>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1" name="Straight Arrow Connector 20"/>
          <p:cNvCxnSpPr/>
          <p:nvPr/>
        </p:nvCxnSpPr>
        <p:spPr bwMode="auto">
          <a:xfrm flipV="1">
            <a:off x="1254756" y="5390110"/>
            <a:ext cx="5859236" cy="11447"/>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2" name="Straight Arrow Connector 21"/>
          <p:cNvCxnSpPr/>
          <p:nvPr/>
        </p:nvCxnSpPr>
        <p:spPr bwMode="auto">
          <a:xfrm>
            <a:off x="226056" y="5473027"/>
            <a:ext cx="6885212" cy="0"/>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grpSp>
        <p:nvGrpSpPr>
          <p:cNvPr id="23" name="Group 22"/>
          <p:cNvGrpSpPr>
            <a:grpSpLocks noChangeAspect="1"/>
          </p:cNvGrpSpPr>
          <p:nvPr/>
        </p:nvGrpSpPr>
        <p:grpSpPr>
          <a:xfrm>
            <a:off x="4296536" y="3350973"/>
            <a:ext cx="646942" cy="924748"/>
            <a:chOff x="3099589" y="1743113"/>
            <a:chExt cx="698686" cy="998710"/>
          </a:xfrm>
        </p:grpSpPr>
        <p:sp>
          <p:nvSpPr>
            <p:cNvPr id="24"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5"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TE</a:t>
              </a:r>
            </a:p>
          </p:txBody>
        </p:sp>
      </p:grpSp>
      <p:grpSp>
        <p:nvGrpSpPr>
          <p:cNvPr id="26" name="Group 25"/>
          <p:cNvGrpSpPr>
            <a:grpSpLocks noChangeAspect="1"/>
          </p:cNvGrpSpPr>
          <p:nvPr/>
        </p:nvGrpSpPr>
        <p:grpSpPr>
          <a:xfrm>
            <a:off x="5486181" y="3350973"/>
            <a:ext cx="646942" cy="924748"/>
            <a:chOff x="3099589" y="1743113"/>
            <a:chExt cx="698686" cy="998710"/>
          </a:xfrm>
        </p:grpSpPr>
        <p:sp>
          <p:nvSpPr>
            <p:cNvPr id="27"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8"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9" name="Freeform: Shape 28"/>
          <p:cNvSpPr/>
          <p:nvPr/>
        </p:nvSpPr>
        <p:spPr bwMode="auto">
          <a:xfrm>
            <a:off x="6092386" y="1742668"/>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0" name="Freeform: Shape 29"/>
          <p:cNvSpPr/>
          <p:nvPr/>
        </p:nvSpPr>
        <p:spPr bwMode="auto">
          <a:xfrm>
            <a:off x="6091070" y="3618626"/>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1" name="Freeform: Shape 30"/>
          <p:cNvSpPr/>
          <p:nvPr/>
        </p:nvSpPr>
        <p:spPr bwMode="auto">
          <a:xfrm>
            <a:off x="5976755" y="1742668"/>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2" name="Freeform: Shape 31"/>
          <p:cNvSpPr/>
          <p:nvPr/>
        </p:nvSpPr>
        <p:spPr bwMode="auto">
          <a:xfrm>
            <a:off x="5975439" y="3618626"/>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3" name="TextBox 32"/>
          <p:cNvSpPr txBox="1"/>
          <p:nvPr/>
        </p:nvSpPr>
        <p:spPr>
          <a:xfrm>
            <a:off x="6757446" y="4856532"/>
            <a:ext cx="327334" cy="400110"/>
          </a:xfrm>
          <a:prstGeom prst="rect">
            <a:avLst/>
          </a:prstGeom>
          <a:noFill/>
        </p:spPr>
        <p:txBody>
          <a:bodyPr wrap="none" rtlCol="0">
            <a:spAutoFit/>
          </a:bodyPr>
          <a:lstStyle/>
          <a:p>
            <a:r>
              <a:rPr lang="en-US" dirty="0"/>
              <a:t>2</a:t>
            </a:r>
          </a:p>
        </p:txBody>
      </p:sp>
      <p:sp>
        <p:nvSpPr>
          <p:cNvPr id="34" name="TextBox 33"/>
          <p:cNvSpPr txBox="1"/>
          <p:nvPr/>
        </p:nvSpPr>
        <p:spPr>
          <a:xfrm flipH="1">
            <a:off x="2284846" y="4985691"/>
            <a:ext cx="505759" cy="400110"/>
          </a:xfrm>
          <a:prstGeom prst="rect">
            <a:avLst/>
          </a:prstGeom>
          <a:noFill/>
        </p:spPr>
        <p:txBody>
          <a:bodyPr wrap="square" rtlCol="0">
            <a:spAutoFit/>
          </a:bodyPr>
          <a:lstStyle/>
          <a:p>
            <a:r>
              <a:rPr lang="en-US" dirty="0"/>
              <a:t>5</a:t>
            </a:r>
          </a:p>
        </p:txBody>
      </p:sp>
      <p:sp>
        <p:nvSpPr>
          <p:cNvPr id="35" name="TextBox 34"/>
          <p:cNvSpPr txBox="1"/>
          <p:nvPr/>
        </p:nvSpPr>
        <p:spPr>
          <a:xfrm>
            <a:off x="724077" y="5001447"/>
            <a:ext cx="327334" cy="400110"/>
          </a:xfrm>
          <a:prstGeom prst="rect">
            <a:avLst/>
          </a:prstGeom>
          <a:noFill/>
        </p:spPr>
        <p:txBody>
          <a:bodyPr wrap="none" rtlCol="0">
            <a:spAutoFit/>
          </a:bodyPr>
          <a:lstStyle/>
          <a:p>
            <a:r>
              <a:rPr lang="en-US" dirty="0"/>
              <a:t>1</a:t>
            </a:r>
          </a:p>
        </p:txBody>
      </p:sp>
      <p:sp>
        <p:nvSpPr>
          <p:cNvPr id="36" name="Freeform: Shape 35"/>
          <p:cNvSpPr/>
          <p:nvPr/>
        </p:nvSpPr>
        <p:spPr bwMode="auto">
          <a:xfrm>
            <a:off x="2520096" y="3647782"/>
            <a:ext cx="2147276" cy="1528039"/>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 name="connsiteX0" fmla="*/ 0 w 562551"/>
              <a:gd name="connsiteY0" fmla="*/ 1590762 h 1590762"/>
              <a:gd name="connsiteX1" fmla="*/ 557244 w 562551"/>
              <a:gd name="connsiteY1" fmla="*/ 896892 h 1590762"/>
              <a:gd name="connsiteX2" fmla="*/ 561429 w 562551"/>
              <a:gd name="connsiteY2" fmla="*/ 0 h 1590762"/>
              <a:gd name="connsiteX0" fmla="*/ 0 w 562551"/>
              <a:gd name="connsiteY0" fmla="*/ 1590762 h 1590762"/>
              <a:gd name="connsiteX1" fmla="*/ 557244 w 562551"/>
              <a:gd name="connsiteY1" fmla="*/ 896892 h 1590762"/>
              <a:gd name="connsiteX2" fmla="*/ 561429 w 562551"/>
              <a:gd name="connsiteY2" fmla="*/ 0 h 1590762"/>
              <a:gd name="connsiteX0" fmla="*/ 0 w 574853"/>
              <a:gd name="connsiteY0" fmla="*/ 1590762 h 1590762"/>
              <a:gd name="connsiteX1" fmla="*/ 572172 w 574853"/>
              <a:gd name="connsiteY1" fmla="*/ 590153 h 1590762"/>
              <a:gd name="connsiteX2" fmla="*/ 561429 w 574853"/>
              <a:gd name="connsiteY2" fmla="*/ 0 h 1590762"/>
              <a:gd name="connsiteX0" fmla="*/ 0 w 573832"/>
              <a:gd name="connsiteY0" fmla="*/ 1637237 h 1637237"/>
              <a:gd name="connsiteX1" fmla="*/ 572172 w 573832"/>
              <a:gd name="connsiteY1" fmla="*/ 636628 h 1637237"/>
              <a:gd name="connsiteX2" fmla="*/ 542769 w 573832"/>
              <a:gd name="connsiteY2" fmla="*/ 0 h 1637237"/>
              <a:gd name="connsiteX0" fmla="*/ 0 w 542769"/>
              <a:gd name="connsiteY0" fmla="*/ 1637237 h 1637237"/>
              <a:gd name="connsiteX1" fmla="*/ 504995 w 542769"/>
              <a:gd name="connsiteY1" fmla="*/ 831825 h 1637237"/>
              <a:gd name="connsiteX2" fmla="*/ 542769 w 542769"/>
              <a:gd name="connsiteY2" fmla="*/ 0 h 1637237"/>
              <a:gd name="connsiteX0" fmla="*/ 0 w 1050328"/>
              <a:gd name="connsiteY0" fmla="*/ 1711597 h 1711597"/>
              <a:gd name="connsiteX1" fmla="*/ 1012554 w 1050328"/>
              <a:gd name="connsiteY1" fmla="*/ 831825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757466 w 1050328"/>
              <a:gd name="connsiteY1" fmla="*/ 1225416 h 1711597"/>
              <a:gd name="connsiteX2" fmla="*/ 1050328 w 1050328"/>
              <a:gd name="connsiteY2" fmla="*/ 0 h 1711597"/>
              <a:gd name="connsiteX0" fmla="*/ 0 w 1050328"/>
              <a:gd name="connsiteY0" fmla="*/ 1711597 h 1711597"/>
              <a:gd name="connsiteX1" fmla="*/ 757466 w 1050328"/>
              <a:gd name="connsiteY1" fmla="*/ 1225416 h 1711597"/>
              <a:gd name="connsiteX2" fmla="*/ 1050328 w 1050328"/>
              <a:gd name="connsiteY2" fmla="*/ 0 h 1711597"/>
            </a:gdLst>
            <a:ahLst/>
            <a:cxnLst>
              <a:cxn ang="0">
                <a:pos x="connsiteX0" y="connsiteY0"/>
              </a:cxn>
              <a:cxn ang="0">
                <a:pos x="connsiteX1" y="connsiteY1"/>
              </a:cxn>
              <a:cxn ang="0">
                <a:pos x="connsiteX2" y="connsiteY2"/>
              </a:cxn>
            </a:cxnLst>
            <a:rect l="l" t="t" r="r" b="b"/>
            <a:pathLst>
              <a:path w="1050328" h="1711597">
                <a:moveTo>
                  <a:pt x="0" y="1711597"/>
                </a:moveTo>
                <a:cubicBezTo>
                  <a:pt x="88098" y="1568308"/>
                  <a:pt x="615617" y="1576826"/>
                  <a:pt x="757466" y="1225416"/>
                </a:cubicBezTo>
                <a:cubicBezTo>
                  <a:pt x="903696" y="903989"/>
                  <a:pt x="1048005" y="491061"/>
                  <a:pt x="1050328"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7" name="Freeform: Shape 36"/>
          <p:cNvSpPr/>
          <p:nvPr/>
        </p:nvSpPr>
        <p:spPr bwMode="auto">
          <a:xfrm>
            <a:off x="2515115" y="3612981"/>
            <a:ext cx="2091132" cy="1481868"/>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0352 w 309928"/>
              <a:gd name="connsiteY0" fmla="*/ 1553441 h 1553441"/>
              <a:gd name="connsiteX1" fmla="*/ 305629 w 309928"/>
              <a:gd name="connsiteY1" fmla="*/ 1098885 h 1553441"/>
              <a:gd name="connsiteX2" fmla="*/ 259905 w 309928"/>
              <a:gd name="connsiteY2" fmla="*/ 0 h 1553441"/>
              <a:gd name="connsiteX0" fmla="*/ 0 w 302363"/>
              <a:gd name="connsiteY0" fmla="*/ 1553441 h 1553441"/>
              <a:gd name="connsiteX1" fmla="*/ 295277 w 302363"/>
              <a:gd name="connsiteY1" fmla="*/ 1098885 h 1553441"/>
              <a:gd name="connsiteX2" fmla="*/ 249553 w 302363"/>
              <a:gd name="connsiteY2" fmla="*/ 0 h 1553441"/>
              <a:gd name="connsiteX0" fmla="*/ 0 w 302274"/>
              <a:gd name="connsiteY0" fmla="*/ 1553441 h 1553441"/>
              <a:gd name="connsiteX1" fmla="*/ 295277 w 302274"/>
              <a:gd name="connsiteY1" fmla="*/ 1098885 h 1553441"/>
              <a:gd name="connsiteX2" fmla="*/ 249553 w 302274"/>
              <a:gd name="connsiteY2" fmla="*/ 0 h 1553441"/>
              <a:gd name="connsiteX0" fmla="*/ 0 w 255174"/>
              <a:gd name="connsiteY0" fmla="*/ 1553441 h 1553441"/>
              <a:gd name="connsiteX1" fmla="*/ 246760 w 255174"/>
              <a:gd name="connsiteY1" fmla="*/ 996639 h 1553441"/>
              <a:gd name="connsiteX2" fmla="*/ 249553 w 255174"/>
              <a:gd name="connsiteY2" fmla="*/ 0 h 1553441"/>
              <a:gd name="connsiteX0" fmla="*/ 0 w 249553"/>
              <a:gd name="connsiteY0" fmla="*/ 1553441 h 1553441"/>
              <a:gd name="connsiteX1" fmla="*/ 246760 w 249553"/>
              <a:gd name="connsiteY1" fmla="*/ 996639 h 1553441"/>
              <a:gd name="connsiteX2" fmla="*/ 249553 w 249553"/>
              <a:gd name="connsiteY2" fmla="*/ 0 h 1553441"/>
              <a:gd name="connsiteX0" fmla="*/ 0 w 249553"/>
              <a:gd name="connsiteY0" fmla="*/ 1553441 h 1553441"/>
              <a:gd name="connsiteX1" fmla="*/ 246760 w 249553"/>
              <a:gd name="connsiteY1" fmla="*/ 996639 h 1553441"/>
              <a:gd name="connsiteX2" fmla="*/ 249553 w 249553"/>
              <a:gd name="connsiteY2" fmla="*/ 0 h 1553441"/>
              <a:gd name="connsiteX0" fmla="*/ 0 w 615294"/>
              <a:gd name="connsiteY0" fmla="*/ 1609212 h 1609212"/>
              <a:gd name="connsiteX1" fmla="*/ 246760 w 615294"/>
              <a:gd name="connsiteY1" fmla="*/ 1052410 h 1609212"/>
              <a:gd name="connsiteX2" fmla="*/ 615294 w 615294"/>
              <a:gd name="connsiteY2" fmla="*/ 0 h 1609212"/>
              <a:gd name="connsiteX0" fmla="*/ 0 w 1022088"/>
              <a:gd name="connsiteY0" fmla="*/ 1646392 h 1646392"/>
              <a:gd name="connsiteX1" fmla="*/ 653554 w 1022088"/>
              <a:gd name="connsiteY1" fmla="*/ 1052410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726120 w 1022088"/>
              <a:gd name="connsiteY1" fmla="*/ 1224253 h 1646392"/>
              <a:gd name="connsiteX2" fmla="*/ 1022088 w 1022088"/>
              <a:gd name="connsiteY2" fmla="*/ 0 h 1646392"/>
            </a:gdLst>
            <a:ahLst/>
            <a:cxnLst>
              <a:cxn ang="0">
                <a:pos x="connsiteX0" y="connsiteY0"/>
              </a:cxn>
              <a:cxn ang="0">
                <a:pos x="connsiteX1" y="connsiteY1"/>
              </a:cxn>
              <a:cxn ang="0">
                <a:pos x="connsiteX2" y="connsiteY2"/>
              </a:cxn>
            </a:cxnLst>
            <a:rect l="l" t="t" r="r" b="b"/>
            <a:pathLst>
              <a:path w="1022088" h="1646392">
                <a:moveTo>
                  <a:pt x="0" y="1646392"/>
                </a:moveTo>
                <a:cubicBezTo>
                  <a:pt x="101356" y="1475357"/>
                  <a:pt x="449107" y="1557040"/>
                  <a:pt x="726120" y="1224253"/>
                </a:cubicBezTo>
                <a:cubicBezTo>
                  <a:pt x="844607" y="1003591"/>
                  <a:pt x="1019765" y="491061"/>
                  <a:pt x="1022088"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8" name="Freeform: Shape 37"/>
          <p:cNvSpPr/>
          <p:nvPr/>
        </p:nvSpPr>
        <p:spPr bwMode="auto">
          <a:xfrm>
            <a:off x="4429890" y="1744692"/>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9" name="Freeform: Shape 38"/>
          <p:cNvSpPr/>
          <p:nvPr/>
        </p:nvSpPr>
        <p:spPr bwMode="auto">
          <a:xfrm>
            <a:off x="796558" y="3620650"/>
            <a:ext cx="3633329" cy="1488780"/>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592 w 655411"/>
              <a:gd name="connsiteY0" fmla="*/ 1768062 h 1768062"/>
              <a:gd name="connsiteX1" fmla="*/ 643883 w 655411"/>
              <a:gd name="connsiteY1" fmla="*/ 1098885 h 1768062"/>
              <a:gd name="connsiteX2" fmla="*/ 598159 w 655411"/>
              <a:gd name="connsiteY2" fmla="*/ 0 h 1768062"/>
              <a:gd name="connsiteX0" fmla="*/ 6400 w 598967"/>
              <a:gd name="connsiteY0" fmla="*/ 1768062 h 1768062"/>
              <a:gd name="connsiteX1" fmla="*/ 532395 w 598967"/>
              <a:gd name="connsiteY1" fmla="*/ 1114422 h 1768062"/>
              <a:gd name="connsiteX2" fmla="*/ 598967 w 598967"/>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8525 w 687572"/>
              <a:gd name="connsiteY0" fmla="*/ 1732164 h 1732164"/>
              <a:gd name="connsiteX1" fmla="*/ 621000 w 687572"/>
              <a:gd name="connsiteY1" fmla="*/ 1114422 h 1732164"/>
              <a:gd name="connsiteX2" fmla="*/ 687572 w 687572"/>
              <a:gd name="connsiteY2" fmla="*/ 0 h 1732164"/>
              <a:gd name="connsiteX0" fmla="*/ 3195 w 1660038"/>
              <a:gd name="connsiteY0" fmla="*/ 1694984 h 1694984"/>
              <a:gd name="connsiteX1" fmla="*/ 1593466 w 1660038"/>
              <a:gd name="connsiteY1" fmla="*/ 1114422 h 1694984"/>
              <a:gd name="connsiteX2" fmla="*/ 1660038 w 1660038"/>
              <a:gd name="connsiteY2" fmla="*/ 0 h 1694984"/>
              <a:gd name="connsiteX0" fmla="*/ 3720 w 1660563"/>
              <a:gd name="connsiteY0" fmla="*/ 1694984 h 1694984"/>
              <a:gd name="connsiteX1" fmla="*/ 1373800 w 1660563"/>
              <a:gd name="connsiteY1" fmla="*/ 1216668 h 1694984"/>
              <a:gd name="connsiteX2" fmla="*/ 1660563 w 1660563"/>
              <a:gd name="connsiteY2" fmla="*/ 0 h 1694984"/>
              <a:gd name="connsiteX0" fmla="*/ 4018 w 1660861"/>
              <a:gd name="connsiteY0" fmla="*/ 1694984 h 1694984"/>
              <a:gd name="connsiteX1" fmla="*/ 1374098 w 1660861"/>
              <a:gd name="connsiteY1" fmla="*/ 1216668 h 1694984"/>
              <a:gd name="connsiteX2" fmla="*/ 1660861 w 1660861"/>
              <a:gd name="connsiteY2" fmla="*/ 0 h 1694984"/>
              <a:gd name="connsiteX0" fmla="*/ 4018 w 1660861"/>
              <a:gd name="connsiteY0" fmla="*/ 1694984 h 1694984"/>
              <a:gd name="connsiteX1" fmla="*/ 1374098 w 1660861"/>
              <a:gd name="connsiteY1" fmla="*/ 1216668 h 1694984"/>
              <a:gd name="connsiteX2" fmla="*/ 1660861 w 1660861"/>
              <a:gd name="connsiteY2" fmla="*/ 0 h 1694984"/>
            </a:gdLst>
            <a:ahLst/>
            <a:cxnLst>
              <a:cxn ang="0">
                <a:pos x="connsiteX0" y="connsiteY0"/>
              </a:cxn>
              <a:cxn ang="0">
                <a:pos x="connsiteX1" y="connsiteY1"/>
              </a:cxn>
              <a:cxn ang="0">
                <a:pos x="connsiteX2" y="connsiteY2"/>
              </a:cxn>
            </a:cxnLst>
            <a:rect l="l" t="t" r="r" b="b"/>
            <a:pathLst>
              <a:path w="1660861" h="1694984">
                <a:moveTo>
                  <a:pt x="4018" y="1694984"/>
                </a:moveTo>
                <a:cubicBezTo>
                  <a:pt x="-77497" y="1523949"/>
                  <a:pt x="1105026" y="1453484"/>
                  <a:pt x="1374098" y="1216668"/>
                </a:cubicBezTo>
                <a:cubicBezTo>
                  <a:pt x="1511467" y="1137792"/>
                  <a:pt x="1658538" y="491061"/>
                  <a:pt x="166086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0" name="Freeform: Shape 39"/>
          <p:cNvSpPr/>
          <p:nvPr/>
        </p:nvSpPr>
        <p:spPr bwMode="auto">
          <a:xfrm>
            <a:off x="4314259" y="1744692"/>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1" name="Freeform: Shape 40"/>
          <p:cNvSpPr/>
          <p:nvPr/>
        </p:nvSpPr>
        <p:spPr bwMode="auto">
          <a:xfrm>
            <a:off x="682734" y="3620651"/>
            <a:ext cx="3631524" cy="1457434"/>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158 w 728969"/>
              <a:gd name="connsiteY0" fmla="*/ 1659295 h 1659295"/>
              <a:gd name="connsiteX1" fmla="*/ 718313 w 728969"/>
              <a:gd name="connsiteY1" fmla="*/ 1098885 h 1659295"/>
              <a:gd name="connsiteX2" fmla="*/ 672589 w 728969"/>
              <a:gd name="connsiteY2" fmla="*/ 0 h 1659295"/>
              <a:gd name="connsiteX0" fmla="*/ 6250 w 673681"/>
              <a:gd name="connsiteY0" fmla="*/ 1659295 h 1659295"/>
              <a:gd name="connsiteX1" fmla="*/ 550962 w 673681"/>
              <a:gd name="connsiteY1" fmla="*/ 1098885 h 1659295"/>
              <a:gd name="connsiteX2" fmla="*/ 673681 w 673681"/>
              <a:gd name="connsiteY2" fmla="*/ 0 h 1659295"/>
              <a:gd name="connsiteX0" fmla="*/ 11028 w 678459"/>
              <a:gd name="connsiteY0" fmla="*/ 1659295 h 1659295"/>
              <a:gd name="connsiteX1" fmla="*/ 555740 w 678459"/>
              <a:gd name="connsiteY1" fmla="*/ 1098885 h 1659295"/>
              <a:gd name="connsiteX2" fmla="*/ 678459 w 678459"/>
              <a:gd name="connsiteY2" fmla="*/ 0 h 1659295"/>
              <a:gd name="connsiteX0" fmla="*/ 11028 w 678459"/>
              <a:gd name="connsiteY0" fmla="*/ 1659295 h 1659295"/>
              <a:gd name="connsiteX1" fmla="*/ 555740 w 678459"/>
              <a:gd name="connsiteY1" fmla="*/ 1098885 h 1659295"/>
              <a:gd name="connsiteX2" fmla="*/ 678459 w 678459"/>
              <a:gd name="connsiteY2" fmla="*/ 0 h 1659295"/>
              <a:gd name="connsiteX0" fmla="*/ 3593 w 1611500"/>
              <a:gd name="connsiteY0" fmla="*/ 1631411 h 1631411"/>
              <a:gd name="connsiteX1" fmla="*/ 1488781 w 1611500"/>
              <a:gd name="connsiteY1" fmla="*/ 1098885 h 1631411"/>
              <a:gd name="connsiteX2" fmla="*/ 1611500 w 1611500"/>
              <a:gd name="connsiteY2" fmla="*/ 0 h 1631411"/>
              <a:gd name="connsiteX0" fmla="*/ 3472 w 1659896"/>
              <a:gd name="connsiteY0" fmla="*/ 1659296 h 1659296"/>
              <a:gd name="connsiteX1" fmla="*/ 1537177 w 1659896"/>
              <a:gd name="connsiteY1" fmla="*/ 1098885 h 1659296"/>
              <a:gd name="connsiteX2" fmla="*/ 1659896 w 1659896"/>
              <a:gd name="connsiteY2" fmla="*/ 0 h 1659296"/>
              <a:gd name="connsiteX0" fmla="*/ 3613 w 1660037"/>
              <a:gd name="connsiteY0" fmla="*/ 1659296 h 1659296"/>
              <a:gd name="connsiteX1" fmla="*/ 1481337 w 1660037"/>
              <a:gd name="connsiteY1" fmla="*/ 1043114 h 1659296"/>
              <a:gd name="connsiteX2" fmla="*/ 1660037 w 1660037"/>
              <a:gd name="connsiteY2" fmla="*/ 0 h 1659296"/>
            </a:gdLst>
            <a:ahLst/>
            <a:cxnLst>
              <a:cxn ang="0">
                <a:pos x="connsiteX0" y="connsiteY0"/>
              </a:cxn>
              <a:cxn ang="0">
                <a:pos x="connsiteX1" y="connsiteY1"/>
              </a:cxn>
              <a:cxn ang="0">
                <a:pos x="connsiteX2" y="connsiteY2"/>
              </a:cxn>
            </a:cxnLst>
            <a:rect l="l" t="t" r="r" b="b"/>
            <a:pathLst>
              <a:path w="1660037" h="1659296">
                <a:moveTo>
                  <a:pt x="3613" y="1659296"/>
                </a:moveTo>
                <a:cubicBezTo>
                  <a:pt x="-77902" y="1488261"/>
                  <a:pt x="1244404" y="1263698"/>
                  <a:pt x="1481337" y="1043114"/>
                </a:cubicBezTo>
                <a:cubicBezTo>
                  <a:pt x="1572863" y="589520"/>
                  <a:pt x="1657714" y="491061"/>
                  <a:pt x="1660037"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2" name="Oval 41"/>
          <p:cNvSpPr/>
          <p:nvPr/>
        </p:nvSpPr>
        <p:spPr bwMode="auto">
          <a:xfrm>
            <a:off x="38277" y="5939109"/>
            <a:ext cx="1216480" cy="410943"/>
          </a:xfrm>
          <a:prstGeom prst="ellipse">
            <a:avLst/>
          </a:prstGeom>
          <a:solidFill>
            <a:srgbClr val="89BA17">
              <a:alpha val="20000"/>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43" name="Freeform: Shape 42"/>
          <p:cNvSpPr/>
          <p:nvPr/>
        </p:nvSpPr>
        <p:spPr bwMode="auto">
          <a:xfrm>
            <a:off x="4686466" y="1729066"/>
            <a:ext cx="874132" cy="1910501"/>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351110 w 351110"/>
              <a:gd name="connsiteY0" fmla="*/ 0 h 2175115"/>
              <a:gd name="connsiteX1" fmla="*/ 0 w 351110"/>
              <a:gd name="connsiteY1" fmla="*/ 2175115 h 2175115"/>
              <a:gd name="connsiteX0" fmla="*/ 351110 w 351110"/>
              <a:gd name="connsiteY0" fmla="*/ 0 h 2175115"/>
              <a:gd name="connsiteX1" fmla="*/ 133053 w 351110"/>
              <a:gd name="connsiteY1" fmla="*/ 1235150 h 2175115"/>
              <a:gd name="connsiteX2" fmla="*/ 0 w 351110"/>
              <a:gd name="connsiteY2" fmla="*/ 2175115 h 2175115"/>
              <a:gd name="connsiteX0" fmla="*/ 351110 w 363409"/>
              <a:gd name="connsiteY0" fmla="*/ 0 h 2175115"/>
              <a:gd name="connsiteX1" fmla="*/ 312788 w 363409"/>
              <a:gd name="connsiteY1" fmla="*/ 1578697 h 2175115"/>
              <a:gd name="connsiteX2" fmla="*/ 0 w 363409"/>
              <a:gd name="connsiteY2" fmla="*/ 2175115 h 2175115"/>
              <a:gd name="connsiteX0" fmla="*/ 351110 w 351110"/>
              <a:gd name="connsiteY0" fmla="*/ 0 h 2175115"/>
              <a:gd name="connsiteX1" fmla="*/ 312788 w 351110"/>
              <a:gd name="connsiteY1" fmla="*/ 1578697 h 2175115"/>
              <a:gd name="connsiteX2" fmla="*/ 0 w 351110"/>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Lst>
            <a:ahLst/>
            <a:cxnLst>
              <a:cxn ang="0">
                <a:pos x="connsiteX0" y="connsiteY0"/>
              </a:cxn>
              <a:cxn ang="0">
                <a:pos x="connsiteX1" y="connsiteY1"/>
              </a:cxn>
              <a:cxn ang="0">
                <a:pos x="connsiteX2" y="connsiteY2"/>
              </a:cxn>
            </a:cxnLst>
            <a:rect l="l" t="t" r="r" b="b"/>
            <a:pathLst>
              <a:path w="354587" h="2175115">
                <a:moveTo>
                  <a:pt x="351110" y="0"/>
                </a:moveTo>
                <a:lnTo>
                  <a:pt x="354587" y="1443360"/>
                </a:lnTo>
                <a:cubicBezTo>
                  <a:pt x="277265" y="1776498"/>
                  <a:pt x="111463" y="1543772"/>
                  <a:pt x="0" y="2175115"/>
                </a:cubicBez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dirty="0"/>
          </a:p>
        </p:txBody>
      </p:sp>
      <p:sp>
        <p:nvSpPr>
          <p:cNvPr id="44" name="Freeform: Shape 43"/>
          <p:cNvSpPr/>
          <p:nvPr/>
        </p:nvSpPr>
        <p:spPr bwMode="auto">
          <a:xfrm>
            <a:off x="4596713" y="1729066"/>
            <a:ext cx="865140" cy="1919645"/>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338571 w 338571"/>
              <a:gd name="connsiteY0" fmla="*/ 0 h 2185525"/>
              <a:gd name="connsiteX1" fmla="*/ 0 w 338571"/>
              <a:gd name="connsiteY1" fmla="*/ 2185525 h 2185525"/>
              <a:gd name="connsiteX0" fmla="*/ 338571 w 338571"/>
              <a:gd name="connsiteY0" fmla="*/ 0 h 2185525"/>
              <a:gd name="connsiteX1" fmla="*/ 0 w 338571"/>
              <a:gd name="connsiteY1" fmla="*/ 2185525 h 2185525"/>
              <a:gd name="connsiteX0" fmla="*/ 338571 w 338571"/>
              <a:gd name="connsiteY0" fmla="*/ 0 h 2185525"/>
              <a:gd name="connsiteX1" fmla="*/ 166356 w 338571"/>
              <a:gd name="connsiteY1" fmla="*/ 1255971 h 2185525"/>
              <a:gd name="connsiteX2" fmla="*/ 0 w 338571"/>
              <a:gd name="connsiteY2" fmla="*/ 2185525 h 2185525"/>
              <a:gd name="connsiteX0" fmla="*/ 338571 w 347155"/>
              <a:gd name="connsiteY0" fmla="*/ 0 h 2185525"/>
              <a:gd name="connsiteX1" fmla="*/ 304292 w 347155"/>
              <a:gd name="connsiteY1" fmla="*/ 1641159 h 2185525"/>
              <a:gd name="connsiteX2" fmla="*/ 0 w 347155"/>
              <a:gd name="connsiteY2" fmla="*/ 2185525 h 2185525"/>
              <a:gd name="connsiteX0" fmla="*/ 338571 w 338571"/>
              <a:gd name="connsiteY0" fmla="*/ 0 h 2185525"/>
              <a:gd name="connsiteX1" fmla="*/ 304292 w 338571"/>
              <a:gd name="connsiteY1" fmla="*/ 1641159 h 2185525"/>
              <a:gd name="connsiteX2" fmla="*/ 0 w 338571"/>
              <a:gd name="connsiteY2" fmla="*/ 2185525 h 2185525"/>
              <a:gd name="connsiteX0" fmla="*/ 338571 w 338571"/>
              <a:gd name="connsiteY0" fmla="*/ 0 h 2185525"/>
              <a:gd name="connsiteX1" fmla="*/ 333551 w 338571"/>
              <a:gd name="connsiteY1" fmla="*/ 1401718 h 2185525"/>
              <a:gd name="connsiteX2" fmla="*/ 0 w 338571"/>
              <a:gd name="connsiteY2" fmla="*/ 2185525 h 2185525"/>
            </a:gdLst>
            <a:ahLst/>
            <a:cxnLst>
              <a:cxn ang="0">
                <a:pos x="connsiteX0" y="connsiteY0"/>
              </a:cxn>
              <a:cxn ang="0">
                <a:pos x="connsiteX1" y="connsiteY1"/>
              </a:cxn>
              <a:cxn ang="0">
                <a:pos x="connsiteX2" y="connsiteY2"/>
              </a:cxn>
            </a:cxnLst>
            <a:rect l="l" t="t" r="r" b="b"/>
            <a:pathLst>
              <a:path w="338571" h="2185525">
                <a:moveTo>
                  <a:pt x="338571" y="0"/>
                </a:moveTo>
                <a:cubicBezTo>
                  <a:pt x="336898" y="467239"/>
                  <a:pt x="335224" y="934479"/>
                  <a:pt x="333551" y="1401718"/>
                </a:cubicBezTo>
                <a:cubicBezTo>
                  <a:pt x="256367" y="1724444"/>
                  <a:pt x="111463" y="1460488"/>
                  <a:pt x="0" y="2185525"/>
                </a:cubicBez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5" name="Content Placeholder 4"/>
          <p:cNvSpPr txBox="1">
            <a:spLocks/>
          </p:cNvSpPr>
          <p:nvPr/>
        </p:nvSpPr>
        <p:spPr bwMode="auto">
          <a:xfrm>
            <a:off x="7629673" y="1771802"/>
            <a:ext cx="4395428" cy="2654106"/>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lnSpc>
                <a:spcPct val="90000"/>
              </a:lnSpc>
            </a:pPr>
            <a:r>
              <a:rPr lang="en-US" altLang="sv-SE" sz="1800" kern="0"/>
              <a:t>UE connectivity option depends on radio coverage at any given time</a:t>
            </a:r>
          </a:p>
          <a:p>
            <a:r>
              <a:rPr lang="en-US" altLang="sv-SE" sz="1800" kern="0"/>
              <a:t>Selected connectivity option depends on UE and network capabilities</a:t>
            </a:r>
            <a:endParaRPr lang="en-US" altLang="sv-SE" sz="1400" kern="0" dirty="0"/>
          </a:p>
        </p:txBody>
      </p:sp>
    </p:spTree>
    <p:extLst>
      <p:ext uri="{BB962C8B-B14F-4D97-AF65-F5344CB8AC3E}">
        <p14:creationId xmlns:p14="http://schemas.microsoft.com/office/powerpoint/2010/main" val="307470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9" grpId="0" animBg="1"/>
      <p:bldP spid="30" grpId="0" animBg="1"/>
      <p:bldP spid="31" grpId="0" animBg="1"/>
      <p:bldP spid="32" grpId="0" animBg="1"/>
      <p:bldP spid="33" grpId="0"/>
      <p:bldP spid="34" grpId="0"/>
      <p:bldP spid="35" grpId="0"/>
      <p:bldP spid="36" grpId="0" animBg="1"/>
      <p:bldP spid="37" grpId="0" animBg="1"/>
      <p:bldP spid="38" grpId="0" animBg="1"/>
      <p:bldP spid="39" grpId="0" animBg="1"/>
      <p:bldP spid="40" grpId="0" animBg="1"/>
      <p:bldP spid="41" grpId="0" animBg="1"/>
      <p:bldP spid="43" grpId="0" animBg="1"/>
      <p:bldP spid="44" grpId="0" animBg="1"/>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8585A"/>
                </a:solidFill>
              </a:rPr>
              <a:t>option 1,2,5,7x deployment</a:t>
            </a:r>
            <a:br>
              <a:rPr lang="en-US" dirty="0">
                <a:solidFill>
                  <a:srgbClr val="58585A"/>
                </a:solidFill>
              </a:rPr>
            </a:br>
            <a:r>
              <a:rPr lang="en-US" sz="2700" dirty="0">
                <a:solidFill>
                  <a:srgbClr val="58585A"/>
                </a:solidFill>
                <a:latin typeface="Arial"/>
              </a:rPr>
              <a:t>Example of usage of connectivity options in a network</a:t>
            </a:r>
            <a:endParaRPr lang="en-US" dirty="0"/>
          </a:p>
        </p:txBody>
      </p:sp>
      <p:sp>
        <p:nvSpPr>
          <p:cNvPr id="4" name="Oval 3"/>
          <p:cNvSpPr/>
          <p:nvPr/>
        </p:nvSpPr>
        <p:spPr bwMode="auto">
          <a:xfrm>
            <a:off x="3174504" y="5521464"/>
            <a:ext cx="3985728"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 name="Group 4"/>
          <p:cNvGrpSpPr>
            <a:grpSpLocks noChangeAspect="1"/>
          </p:cNvGrpSpPr>
          <p:nvPr/>
        </p:nvGrpSpPr>
        <p:grpSpPr>
          <a:xfrm>
            <a:off x="4281546" y="2160848"/>
            <a:ext cx="646942" cy="924748"/>
            <a:chOff x="3099589" y="1743113"/>
            <a:chExt cx="698686" cy="998710"/>
          </a:xfrm>
        </p:grpSpPr>
        <p:sp>
          <p:nvSpPr>
            <p:cNvPr id="6"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PC</a:t>
              </a:r>
            </a:p>
          </p:txBody>
        </p:sp>
      </p:grpSp>
      <p:grpSp>
        <p:nvGrpSpPr>
          <p:cNvPr id="8" name="Group 7"/>
          <p:cNvGrpSpPr>
            <a:grpSpLocks noChangeAspect="1"/>
          </p:cNvGrpSpPr>
          <p:nvPr/>
        </p:nvGrpSpPr>
        <p:grpSpPr>
          <a:xfrm>
            <a:off x="5471191" y="2160848"/>
            <a:ext cx="646942" cy="924748"/>
            <a:chOff x="3099589" y="1743113"/>
            <a:chExt cx="698686" cy="998710"/>
          </a:xfrm>
        </p:grpSpPr>
        <p:sp>
          <p:nvSpPr>
            <p:cNvPr id="9"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10"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400" b="1" kern="0" dirty="0">
                  <a:latin typeface="Segoe UI" panose="020B0502040204020203" pitchFamily="34" charset="0"/>
                  <a:ea typeface="Segoe UI" panose="020B0502040204020203" pitchFamily="34" charset="0"/>
                  <a:cs typeface="Segoe UI" panose="020B0502040204020203" pitchFamily="34" charset="0"/>
                </a:rPr>
                <a:t>5</a:t>
              </a:r>
              <a:r>
                <a:rPr kumimoji="0" lang="en-US" altLang="en-US" sz="14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GCN</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 name="Oval 10"/>
          <p:cNvSpPr/>
          <p:nvPr/>
        </p:nvSpPr>
        <p:spPr bwMode="auto">
          <a:xfrm>
            <a:off x="1239766" y="5894189"/>
            <a:ext cx="5952747" cy="410943"/>
          </a:xfrm>
          <a:prstGeom prst="ellipse">
            <a:avLst/>
          </a:prstGeom>
          <a:solidFill>
            <a:srgbClr val="89BA17">
              <a:alpha val="20000"/>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2" name="Oval 11"/>
          <p:cNvSpPr/>
          <p:nvPr/>
        </p:nvSpPr>
        <p:spPr bwMode="auto">
          <a:xfrm>
            <a:off x="4739909" y="5524386"/>
            <a:ext cx="2428436" cy="282649"/>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p:cNvSpPr/>
          <p:nvPr/>
        </p:nvSpPr>
        <p:spPr bwMode="auto">
          <a:xfrm>
            <a:off x="6073023" y="5565884"/>
            <a:ext cx="1087237" cy="204618"/>
          </a:xfrm>
          <a:prstGeom prst="ellipse">
            <a:avLst/>
          </a:prstGeom>
          <a:solidFill>
            <a:srgbClr val="FFFF00">
              <a:alpha val="30196"/>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Freeform 3"/>
          <p:cNvSpPr>
            <a:spLocks noChangeAspect="1" noEditPoints="1"/>
          </p:cNvSpPr>
          <p:nvPr/>
        </p:nvSpPr>
        <p:spPr bwMode="auto">
          <a:xfrm>
            <a:off x="7224765" y="4937659"/>
            <a:ext cx="469249" cy="522414"/>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tx2">
              <a:lumMod val="90000"/>
              <a:lumOff val="10000"/>
            </a:schemeClr>
          </a:solidFill>
          <a:ln>
            <a:noFill/>
          </a:ln>
          <a:extLst/>
        </p:spPr>
        <p:txBody>
          <a:bodyPr/>
          <a:lstStyle/>
          <a:p>
            <a:pPr>
              <a:spcBef>
                <a:spcPct val="50000"/>
              </a:spcBef>
            </a:pPr>
            <a:endParaRPr lang="en-US" sz="1400">
              <a:solidFill>
                <a:srgbClr val="58585A"/>
              </a:solidFill>
              <a:cs typeface="+mn-cs"/>
            </a:endParaRPr>
          </a:p>
        </p:txBody>
      </p:sp>
      <p:sp>
        <p:nvSpPr>
          <p:cNvPr id="15" name="TextBox 14"/>
          <p:cNvSpPr txBox="1"/>
          <p:nvPr/>
        </p:nvSpPr>
        <p:spPr>
          <a:xfrm>
            <a:off x="7160260" y="5469582"/>
            <a:ext cx="5368777" cy="400110"/>
          </a:xfrm>
          <a:prstGeom prst="rect">
            <a:avLst/>
          </a:prstGeom>
          <a:noFill/>
        </p:spPr>
        <p:txBody>
          <a:bodyPr wrap="none" rtlCol="0">
            <a:spAutoFit/>
          </a:bodyPr>
          <a:lstStyle/>
          <a:p>
            <a:r>
              <a:rPr lang="en-US" dirty="0"/>
              <a:t>NR </a:t>
            </a:r>
            <a:r>
              <a:rPr lang="en-US" sz="1400" dirty="0"/>
              <a:t>(unstable DL+UL, stable </a:t>
            </a:r>
            <a:r>
              <a:rPr lang="en-US" sz="1400" dirty="0" err="1"/>
              <a:t>DL+unstable</a:t>
            </a:r>
            <a:r>
              <a:rPr lang="en-US" sz="1400" dirty="0"/>
              <a:t> UL, stable DL+UL) </a:t>
            </a:r>
            <a:endParaRPr lang="en-US" dirty="0"/>
          </a:p>
        </p:txBody>
      </p:sp>
      <p:sp>
        <p:nvSpPr>
          <p:cNvPr id="16" name="TextBox 15"/>
          <p:cNvSpPr txBox="1"/>
          <p:nvPr/>
        </p:nvSpPr>
        <p:spPr>
          <a:xfrm>
            <a:off x="7168345" y="5909123"/>
            <a:ext cx="636906" cy="400110"/>
          </a:xfrm>
          <a:prstGeom prst="rect">
            <a:avLst/>
          </a:prstGeom>
          <a:noFill/>
        </p:spPr>
        <p:txBody>
          <a:bodyPr wrap="none" rtlCol="0">
            <a:spAutoFit/>
          </a:bodyPr>
          <a:lstStyle/>
          <a:p>
            <a:r>
              <a:rPr lang="en-US" dirty="0"/>
              <a:t>LTE</a:t>
            </a:r>
          </a:p>
        </p:txBody>
      </p:sp>
      <p:sp>
        <p:nvSpPr>
          <p:cNvPr id="17" name="Freeform 73"/>
          <p:cNvSpPr>
            <a:spLocks noChangeAspect="1" noEditPoints="1"/>
          </p:cNvSpPr>
          <p:nvPr/>
        </p:nvSpPr>
        <p:spPr bwMode="auto">
          <a:xfrm>
            <a:off x="6585671" y="4907406"/>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8" name="Freeform 73"/>
          <p:cNvSpPr>
            <a:spLocks noChangeAspect="1" noEditPoints="1"/>
          </p:cNvSpPr>
          <p:nvPr/>
        </p:nvSpPr>
        <p:spPr bwMode="auto">
          <a:xfrm>
            <a:off x="2083487" y="5033996"/>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19" name="Freeform 73"/>
          <p:cNvSpPr>
            <a:spLocks noChangeAspect="1" noEditPoints="1"/>
          </p:cNvSpPr>
          <p:nvPr/>
        </p:nvSpPr>
        <p:spPr bwMode="auto">
          <a:xfrm>
            <a:off x="556184" y="5064863"/>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cxnSp>
        <p:nvCxnSpPr>
          <p:cNvPr id="20" name="Straight Arrow Connector 19"/>
          <p:cNvCxnSpPr/>
          <p:nvPr/>
        </p:nvCxnSpPr>
        <p:spPr bwMode="auto">
          <a:xfrm>
            <a:off x="6220621" y="5240326"/>
            <a:ext cx="881102" cy="0"/>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1" name="Straight Arrow Connector 20"/>
          <p:cNvCxnSpPr/>
          <p:nvPr/>
        </p:nvCxnSpPr>
        <p:spPr bwMode="auto">
          <a:xfrm flipV="1">
            <a:off x="1239766" y="5360124"/>
            <a:ext cx="5859236" cy="11447"/>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cxnSp>
        <p:nvCxnSpPr>
          <p:cNvPr id="22" name="Straight Arrow Connector 21"/>
          <p:cNvCxnSpPr/>
          <p:nvPr/>
        </p:nvCxnSpPr>
        <p:spPr bwMode="auto">
          <a:xfrm>
            <a:off x="211066" y="5443041"/>
            <a:ext cx="6885212" cy="0"/>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grpSp>
        <p:nvGrpSpPr>
          <p:cNvPr id="23" name="Group 22"/>
          <p:cNvGrpSpPr>
            <a:grpSpLocks noChangeAspect="1"/>
          </p:cNvGrpSpPr>
          <p:nvPr/>
        </p:nvGrpSpPr>
        <p:grpSpPr>
          <a:xfrm>
            <a:off x="4281546" y="3320987"/>
            <a:ext cx="646942" cy="924748"/>
            <a:chOff x="3099589" y="1743113"/>
            <a:chExt cx="698686" cy="998710"/>
          </a:xfrm>
        </p:grpSpPr>
        <p:sp>
          <p:nvSpPr>
            <p:cNvPr id="24"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25"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TE</a:t>
              </a:r>
            </a:p>
          </p:txBody>
        </p:sp>
      </p:grpSp>
      <p:grpSp>
        <p:nvGrpSpPr>
          <p:cNvPr id="26" name="Group 25"/>
          <p:cNvGrpSpPr>
            <a:grpSpLocks noChangeAspect="1"/>
          </p:cNvGrpSpPr>
          <p:nvPr/>
        </p:nvGrpSpPr>
        <p:grpSpPr>
          <a:xfrm>
            <a:off x="5471191" y="3320987"/>
            <a:ext cx="646942" cy="924748"/>
            <a:chOff x="3099589" y="1743113"/>
            <a:chExt cx="698686" cy="998710"/>
          </a:xfrm>
        </p:grpSpPr>
        <p:sp>
          <p:nvSpPr>
            <p:cNvPr id="27" name="Freeform 10"/>
            <p:cNvSpPr>
              <a:spLocks noChangeAspect="1" noEditPoints="1"/>
            </p:cNvSpPr>
            <p:nvPr/>
          </p:nvSpPr>
          <p:spPr bwMode="auto">
            <a:xfrm>
              <a:off x="3099589" y="1743113"/>
              <a:ext cx="698686" cy="99871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8" name="Text Box 174"/>
            <p:cNvSpPr txBox="1">
              <a:spLocks noChangeAspect="1" noChangeArrowheads="1"/>
            </p:cNvSpPr>
            <p:nvPr/>
          </p:nvSpPr>
          <p:spPr bwMode="auto">
            <a:xfrm>
              <a:off x="3099589" y="2309689"/>
              <a:ext cx="629395" cy="43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1200" b="1" i="0" u="none" strike="noStrike" kern="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9" name="Freeform: Shape 28"/>
          <p:cNvSpPr/>
          <p:nvPr/>
        </p:nvSpPr>
        <p:spPr bwMode="auto">
          <a:xfrm>
            <a:off x="6077396" y="1712682"/>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0" name="Freeform: Shape 29"/>
          <p:cNvSpPr/>
          <p:nvPr/>
        </p:nvSpPr>
        <p:spPr bwMode="auto">
          <a:xfrm>
            <a:off x="6076080" y="3588640"/>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1" name="Freeform: Shape 30"/>
          <p:cNvSpPr/>
          <p:nvPr/>
        </p:nvSpPr>
        <p:spPr bwMode="auto">
          <a:xfrm>
            <a:off x="5961765" y="1712682"/>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2" name="Freeform: Shape 31"/>
          <p:cNvSpPr/>
          <p:nvPr/>
        </p:nvSpPr>
        <p:spPr bwMode="auto">
          <a:xfrm>
            <a:off x="5960449" y="3588640"/>
            <a:ext cx="656635" cy="1334603"/>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Lst>
            <a:ahLst/>
            <a:cxnLst>
              <a:cxn ang="0">
                <a:pos x="connsiteX0" y="connsiteY0"/>
              </a:cxn>
              <a:cxn ang="0">
                <a:pos x="connsiteX1" y="connsiteY1"/>
              </a:cxn>
              <a:cxn ang="0">
                <a:pos x="connsiteX2" y="connsiteY2"/>
              </a:cxn>
            </a:cxnLst>
            <a:rect l="l" t="t" r="r" b="b"/>
            <a:pathLst>
              <a:path w="300160" h="1519452">
                <a:moveTo>
                  <a:pt x="300160" y="1519452"/>
                </a:moveTo>
                <a:cubicBezTo>
                  <a:pt x="218645" y="1348417"/>
                  <a:pt x="164995" y="1397160"/>
                  <a:pt x="46325" y="1098885"/>
                </a:cubicBezTo>
                <a:cubicBezTo>
                  <a:pt x="601" y="831749"/>
                  <a:pt x="-1722" y="491061"/>
                  <a:pt x="601"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3" name="TextBox 32"/>
          <p:cNvSpPr txBox="1"/>
          <p:nvPr/>
        </p:nvSpPr>
        <p:spPr>
          <a:xfrm>
            <a:off x="6742456" y="4826546"/>
            <a:ext cx="327334" cy="400110"/>
          </a:xfrm>
          <a:prstGeom prst="rect">
            <a:avLst/>
          </a:prstGeom>
          <a:noFill/>
        </p:spPr>
        <p:txBody>
          <a:bodyPr wrap="none" rtlCol="0">
            <a:spAutoFit/>
          </a:bodyPr>
          <a:lstStyle/>
          <a:p>
            <a:r>
              <a:rPr lang="en-US" dirty="0"/>
              <a:t>2</a:t>
            </a:r>
          </a:p>
        </p:txBody>
      </p:sp>
      <p:sp>
        <p:nvSpPr>
          <p:cNvPr id="34" name="TextBox 33"/>
          <p:cNvSpPr txBox="1"/>
          <p:nvPr/>
        </p:nvSpPr>
        <p:spPr>
          <a:xfrm flipH="1">
            <a:off x="2269856" y="4955705"/>
            <a:ext cx="505759" cy="400110"/>
          </a:xfrm>
          <a:prstGeom prst="rect">
            <a:avLst/>
          </a:prstGeom>
          <a:noFill/>
        </p:spPr>
        <p:txBody>
          <a:bodyPr wrap="square" rtlCol="0">
            <a:spAutoFit/>
          </a:bodyPr>
          <a:lstStyle/>
          <a:p>
            <a:r>
              <a:rPr lang="en-US" dirty="0"/>
              <a:t>5</a:t>
            </a:r>
          </a:p>
        </p:txBody>
      </p:sp>
      <p:sp>
        <p:nvSpPr>
          <p:cNvPr id="35" name="TextBox 34"/>
          <p:cNvSpPr txBox="1"/>
          <p:nvPr/>
        </p:nvSpPr>
        <p:spPr>
          <a:xfrm>
            <a:off x="709087" y="4971461"/>
            <a:ext cx="327334" cy="400110"/>
          </a:xfrm>
          <a:prstGeom prst="rect">
            <a:avLst/>
          </a:prstGeom>
          <a:noFill/>
        </p:spPr>
        <p:txBody>
          <a:bodyPr wrap="none" rtlCol="0">
            <a:spAutoFit/>
          </a:bodyPr>
          <a:lstStyle/>
          <a:p>
            <a:r>
              <a:rPr lang="en-US" dirty="0"/>
              <a:t>1</a:t>
            </a:r>
          </a:p>
        </p:txBody>
      </p:sp>
      <p:sp>
        <p:nvSpPr>
          <p:cNvPr id="36" name="Freeform: Shape 35"/>
          <p:cNvSpPr/>
          <p:nvPr/>
        </p:nvSpPr>
        <p:spPr bwMode="auto">
          <a:xfrm>
            <a:off x="2505106" y="3617796"/>
            <a:ext cx="2147276" cy="1528039"/>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 name="connsiteX0" fmla="*/ 0 w 562551"/>
              <a:gd name="connsiteY0" fmla="*/ 1590762 h 1590762"/>
              <a:gd name="connsiteX1" fmla="*/ 557244 w 562551"/>
              <a:gd name="connsiteY1" fmla="*/ 896892 h 1590762"/>
              <a:gd name="connsiteX2" fmla="*/ 561429 w 562551"/>
              <a:gd name="connsiteY2" fmla="*/ 0 h 1590762"/>
              <a:gd name="connsiteX0" fmla="*/ 0 w 562551"/>
              <a:gd name="connsiteY0" fmla="*/ 1590762 h 1590762"/>
              <a:gd name="connsiteX1" fmla="*/ 557244 w 562551"/>
              <a:gd name="connsiteY1" fmla="*/ 896892 h 1590762"/>
              <a:gd name="connsiteX2" fmla="*/ 561429 w 562551"/>
              <a:gd name="connsiteY2" fmla="*/ 0 h 1590762"/>
              <a:gd name="connsiteX0" fmla="*/ 0 w 574853"/>
              <a:gd name="connsiteY0" fmla="*/ 1590762 h 1590762"/>
              <a:gd name="connsiteX1" fmla="*/ 572172 w 574853"/>
              <a:gd name="connsiteY1" fmla="*/ 590153 h 1590762"/>
              <a:gd name="connsiteX2" fmla="*/ 561429 w 574853"/>
              <a:gd name="connsiteY2" fmla="*/ 0 h 1590762"/>
              <a:gd name="connsiteX0" fmla="*/ 0 w 573832"/>
              <a:gd name="connsiteY0" fmla="*/ 1637237 h 1637237"/>
              <a:gd name="connsiteX1" fmla="*/ 572172 w 573832"/>
              <a:gd name="connsiteY1" fmla="*/ 636628 h 1637237"/>
              <a:gd name="connsiteX2" fmla="*/ 542769 w 573832"/>
              <a:gd name="connsiteY2" fmla="*/ 0 h 1637237"/>
              <a:gd name="connsiteX0" fmla="*/ 0 w 542769"/>
              <a:gd name="connsiteY0" fmla="*/ 1637237 h 1637237"/>
              <a:gd name="connsiteX1" fmla="*/ 504995 w 542769"/>
              <a:gd name="connsiteY1" fmla="*/ 831825 h 1637237"/>
              <a:gd name="connsiteX2" fmla="*/ 542769 w 542769"/>
              <a:gd name="connsiteY2" fmla="*/ 0 h 1637237"/>
              <a:gd name="connsiteX0" fmla="*/ 0 w 1050328"/>
              <a:gd name="connsiteY0" fmla="*/ 1711597 h 1711597"/>
              <a:gd name="connsiteX1" fmla="*/ 1012554 w 1050328"/>
              <a:gd name="connsiteY1" fmla="*/ 831825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900593 w 1050328"/>
              <a:gd name="connsiteY1" fmla="*/ 989840 h 1711597"/>
              <a:gd name="connsiteX2" fmla="*/ 1050328 w 1050328"/>
              <a:gd name="connsiteY2" fmla="*/ 0 h 1711597"/>
              <a:gd name="connsiteX0" fmla="*/ 0 w 1050328"/>
              <a:gd name="connsiteY0" fmla="*/ 1711597 h 1711597"/>
              <a:gd name="connsiteX1" fmla="*/ 757466 w 1050328"/>
              <a:gd name="connsiteY1" fmla="*/ 1225416 h 1711597"/>
              <a:gd name="connsiteX2" fmla="*/ 1050328 w 1050328"/>
              <a:gd name="connsiteY2" fmla="*/ 0 h 1711597"/>
              <a:gd name="connsiteX0" fmla="*/ 0 w 1050328"/>
              <a:gd name="connsiteY0" fmla="*/ 1711597 h 1711597"/>
              <a:gd name="connsiteX1" fmla="*/ 757466 w 1050328"/>
              <a:gd name="connsiteY1" fmla="*/ 1225416 h 1711597"/>
              <a:gd name="connsiteX2" fmla="*/ 1050328 w 1050328"/>
              <a:gd name="connsiteY2" fmla="*/ 0 h 1711597"/>
            </a:gdLst>
            <a:ahLst/>
            <a:cxnLst>
              <a:cxn ang="0">
                <a:pos x="connsiteX0" y="connsiteY0"/>
              </a:cxn>
              <a:cxn ang="0">
                <a:pos x="connsiteX1" y="connsiteY1"/>
              </a:cxn>
              <a:cxn ang="0">
                <a:pos x="connsiteX2" y="connsiteY2"/>
              </a:cxn>
            </a:cxnLst>
            <a:rect l="l" t="t" r="r" b="b"/>
            <a:pathLst>
              <a:path w="1050328" h="1711597">
                <a:moveTo>
                  <a:pt x="0" y="1711597"/>
                </a:moveTo>
                <a:cubicBezTo>
                  <a:pt x="88098" y="1568308"/>
                  <a:pt x="615617" y="1576826"/>
                  <a:pt x="757466" y="1225416"/>
                </a:cubicBezTo>
                <a:cubicBezTo>
                  <a:pt x="903696" y="903989"/>
                  <a:pt x="1048005" y="491061"/>
                  <a:pt x="1050328"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7" name="Freeform: Shape 36"/>
          <p:cNvSpPr/>
          <p:nvPr/>
        </p:nvSpPr>
        <p:spPr bwMode="auto">
          <a:xfrm>
            <a:off x="2500125" y="3582995"/>
            <a:ext cx="2091132" cy="1481868"/>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0352 w 309928"/>
              <a:gd name="connsiteY0" fmla="*/ 1553441 h 1553441"/>
              <a:gd name="connsiteX1" fmla="*/ 305629 w 309928"/>
              <a:gd name="connsiteY1" fmla="*/ 1098885 h 1553441"/>
              <a:gd name="connsiteX2" fmla="*/ 259905 w 309928"/>
              <a:gd name="connsiteY2" fmla="*/ 0 h 1553441"/>
              <a:gd name="connsiteX0" fmla="*/ 0 w 302363"/>
              <a:gd name="connsiteY0" fmla="*/ 1553441 h 1553441"/>
              <a:gd name="connsiteX1" fmla="*/ 295277 w 302363"/>
              <a:gd name="connsiteY1" fmla="*/ 1098885 h 1553441"/>
              <a:gd name="connsiteX2" fmla="*/ 249553 w 302363"/>
              <a:gd name="connsiteY2" fmla="*/ 0 h 1553441"/>
              <a:gd name="connsiteX0" fmla="*/ 0 w 302274"/>
              <a:gd name="connsiteY0" fmla="*/ 1553441 h 1553441"/>
              <a:gd name="connsiteX1" fmla="*/ 295277 w 302274"/>
              <a:gd name="connsiteY1" fmla="*/ 1098885 h 1553441"/>
              <a:gd name="connsiteX2" fmla="*/ 249553 w 302274"/>
              <a:gd name="connsiteY2" fmla="*/ 0 h 1553441"/>
              <a:gd name="connsiteX0" fmla="*/ 0 w 255174"/>
              <a:gd name="connsiteY0" fmla="*/ 1553441 h 1553441"/>
              <a:gd name="connsiteX1" fmla="*/ 246760 w 255174"/>
              <a:gd name="connsiteY1" fmla="*/ 996639 h 1553441"/>
              <a:gd name="connsiteX2" fmla="*/ 249553 w 255174"/>
              <a:gd name="connsiteY2" fmla="*/ 0 h 1553441"/>
              <a:gd name="connsiteX0" fmla="*/ 0 w 249553"/>
              <a:gd name="connsiteY0" fmla="*/ 1553441 h 1553441"/>
              <a:gd name="connsiteX1" fmla="*/ 246760 w 249553"/>
              <a:gd name="connsiteY1" fmla="*/ 996639 h 1553441"/>
              <a:gd name="connsiteX2" fmla="*/ 249553 w 249553"/>
              <a:gd name="connsiteY2" fmla="*/ 0 h 1553441"/>
              <a:gd name="connsiteX0" fmla="*/ 0 w 249553"/>
              <a:gd name="connsiteY0" fmla="*/ 1553441 h 1553441"/>
              <a:gd name="connsiteX1" fmla="*/ 246760 w 249553"/>
              <a:gd name="connsiteY1" fmla="*/ 996639 h 1553441"/>
              <a:gd name="connsiteX2" fmla="*/ 249553 w 249553"/>
              <a:gd name="connsiteY2" fmla="*/ 0 h 1553441"/>
              <a:gd name="connsiteX0" fmla="*/ 0 w 615294"/>
              <a:gd name="connsiteY0" fmla="*/ 1609212 h 1609212"/>
              <a:gd name="connsiteX1" fmla="*/ 246760 w 615294"/>
              <a:gd name="connsiteY1" fmla="*/ 1052410 h 1609212"/>
              <a:gd name="connsiteX2" fmla="*/ 615294 w 615294"/>
              <a:gd name="connsiteY2" fmla="*/ 0 h 1609212"/>
              <a:gd name="connsiteX0" fmla="*/ 0 w 1022088"/>
              <a:gd name="connsiteY0" fmla="*/ 1646392 h 1646392"/>
              <a:gd name="connsiteX1" fmla="*/ 653554 w 1022088"/>
              <a:gd name="connsiteY1" fmla="*/ 1052410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806568 w 1022088"/>
              <a:gd name="connsiteY1" fmla="*/ 1061705 h 1646392"/>
              <a:gd name="connsiteX2" fmla="*/ 1022088 w 1022088"/>
              <a:gd name="connsiteY2" fmla="*/ 0 h 1646392"/>
              <a:gd name="connsiteX0" fmla="*/ 0 w 1022088"/>
              <a:gd name="connsiteY0" fmla="*/ 1646392 h 1646392"/>
              <a:gd name="connsiteX1" fmla="*/ 726120 w 1022088"/>
              <a:gd name="connsiteY1" fmla="*/ 1224253 h 1646392"/>
              <a:gd name="connsiteX2" fmla="*/ 1022088 w 1022088"/>
              <a:gd name="connsiteY2" fmla="*/ 0 h 1646392"/>
            </a:gdLst>
            <a:ahLst/>
            <a:cxnLst>
              <a:cxn ang="0">
                <a:pos x="connsiteX0" y="connsiteY0"/>
              </a:cxn>
              <a:cxn ang="0">
                <a:pos x="connsiteX1" y="connsiteY1"/>
              </a:cxn>
              <a:cxn ang="0">
                <a:pos x="connsiteX2" y="connsiteY2"/>
              </a:cxn>
            </a:cxnLst>
            <a:rect l="l" t="t" r="r" b="b"/>
            <a:pathLst>
              <a:path w="1022088" h="1646392">
                <a:moveTo>
                  <a:pt x="0" y="1646392"/>
                </a:moveTo>
                <a:cubicBezTo>
                  <a:pt x="101356" y="1475357"/>
                  <a:pt x="449107" y="1557040"/>
                  <a:pt x="726120" y="1224253"/>
                </a:cubicBezTo>
                <a:cubicBezTo>
                  <a:pt x="844607" y="1003591"/>
                  <a:pt x="1019765" y="491061"/>
                  <a:pt x="1022088"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8" name="Freeform: Shape 37"/>
          <p:cNvSpPr/>
          <p:nvPr/>
        </p:nvSpPr>
        <p:spPr bwMode="auto">
          <a:xfrm>
            <a:off x="4414900" y="1714706"/>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39" name="Freeform: Shape 38"/>
          <p:cNvSpPr/>
          <p:nvPr/>
        </p:nvSpPr>
        <p:spPr bwMode="auto">
          <a:xfrm>
            <a:off x="781568" y="3590664"/>
            <a:ext cx="3633329" cy="1488780"/>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592 w 655411"/>
              <a:gd name="connsiteY0" fmla="*/ 1768062 h 1768062"/>
              <a:gd name="connsiteX1" fmla="*/ 643883 w 655411"/>
              <a:gd name="connsiteY1" fmla="*/ 1098885 h 1768062"/>
              <a:gd name="connsiteX2" fmla="*/ 598159 w 655411"/>
              <a:gd name="connsiteY2" fmla="*/ 0 h 1768062"/>
              <a:gd name="connsiteX0" fmla="*/ 6400 w 598967"/>
              <a:gd name="connsiteY0" fmla="*/ 1768062 h 1768062"/>
              <a:gd name="connsiteX1" fmla="*/ 532395 w 598967"/>
              <a:gd name="connsiteY1" fmla="*/ 1114422 h 1768062"/>
              <a:gd name="connsiteX2" fmla="*/ 598967 w 598967"/>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9988 w 602555"/>
              <a:gd name="connsiteY0" fmla="*/ 1768062 h 1768062"/>
              <a:gd name="connsiteX1" fmla="*/ 535983 w 602555"/>
              <a:gd name="connsiteY1" fmla="*/ 1114422 h 1768062"/>
              <a:gd name="connsiteX2" fmla="*/ 602555 w 602555"/>
              <a:gd name="connsiteY2" fmla="*/ 0 h 1768062"/>
              <a:gd name="connsiteX0" fmla="*/ 8525 w 687572"/>
              <a:gd name="connsiteY0" fmla="*/ 1732164 h 1732164"/>
              <a:gd name="connsiteX1" fmla="*/ 621000 w 687572"/>
              <a:gd name="connsiteY1" fmla="*/ 1114422 h 1732164"/>
              <a:gd name="connsiteX2" fmla="*/ 687572 w 687572"/>
              <a:gd name="connsiteY2" fmla="*/ 0 h 1732164"/>
              <a:gd name="connsiteX0" fmla="*/ 3195 w 1660038"/>
              <a:gd name="connsiteY0" fmla="*/ 1694984 h 1694984"/>
              <a:gd name="connsiteX1" fmla="*/ 1593466 w 1660038"/>
              <a:gd name="connsiteY1" fmla="*/ 1114422 h 1694984"/>
              <a:gd name="connsiteX2" fmla="*/ 1660038 w 1660038"/>
              <a:gd name="connsiteY2" fmla="*/ 0 h 1694984"/>
              <a:gd name="connsiteX0" fmla="*/ 3720 w 1660563"/>
              <a:gd name="connsiteY0" fmla="*/ 1694984 h 1694984"/>
              <a:gd name="connsiteX1" fmla="*/ 1373800 w 1660563"/>
              <a:gd name="connsiteY1" fmla="*/ 1216668 h 1694984"/>
              <a:gd name="connsiteX2" fmla="*/ 1660563 w 1660563"/>
              <a:gd name="connsiteY2" fmla="*/ 0 h 1694984"/>
              <a:gd name="connsiteX0" fmla="*/ 4018 w 1660861"/>
              <a:gd name="connsiteY0" fmla="*/ 1694984 h 1694984"/>
              <a:gd name="connsiteX1" fmla="*/ 1374098 w 1660861"/>
              <a:gd name="connsiteY1" fmla="*/ 1216668 h 1694984"/>
              <a:gd name="connsiteX2" fmla="*/ 1660861 w 1660861"/>
              <a:gd name="connsiteY2" fmla="*/ 0 h 1694984"/>
              <a:gd name="connsiteX0" fmla="*/ 4018 w 1660861"/>
              <a:gd name="connsiteY0" fmla="*/ 1694984 h 1694984"/>
              <a:gd name="connsiteX1" fmla="*/ 1374098 w 1660861"/>
              <a:gd name="connsiteY1" fmla="*/ 1216668 h 1694984"/>
              <a:gd name="connsiteX2" fmla="*/ 1660861 w 1660861"/>
              <a:gd name="connsiteY2" fmla="*/ 0 h 1694984"/>
            </a:gdLst>
            <a:ahLst/>
            <a:cxnLst>
              <a:cxn ang="0">
                <a:pos x="connsiteX0" y="connsiteY0"/>
              </a:cxn>
              <a:cxn ang="0">
                <a:pos x="connsiteX1" y="connsiteY1"/>
              </a:cxn>
              <a:cxn ang="0">
                <a:pos x="connsiteX2" y="connsiteY2"/>
              </a:cxn>
            </a:cxnLst>
            <a:rect l="l" t="t" r="r" b="b"/>
            <a:pathLst>
              <a:path w="1660861" h="1694984">
                <a:moveTo>
                  <a:pt x="4018" y="1694984"/>
                </a:moveTo>
                <a:cubicBezTo>
                  <a:pt x="-77497" y="1523949"/>
                  <a:pt x="1105026" y="1453484"/>
                  <a:pt x="1374098" y="1216668"/>
                </a:cubicBezTo>
                <a:cubicBezTo>
                  <a:pt x="1511467" y="1137792"/>
                  <a:pt x="1658538" y="491061"/>
                  <a:pt x="166086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0" name="Freeform: Shape 39"/>
          <p:cNvSpPr/>
          <p:nvPr/>
        </p:nvSpPr>
        <p:spPr bwMode="auto">
          <a:xfrm>
            <a:off x="4299269" y="1714706"/>
            <a:ext cx="45719" cy="185563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Lst>
            <a:ahLst/>
            <a:cxnLst>
              <a:cxn ang="0">
                <a:pos x="connsiteX0" y="connsiteY0"/>
              </a:cxn>
              <a:cxn ang="0">
                <a:pos x="connsiteX1" y="connsiteY1"/>
              </a:cxn>
            </a:cxnLst>
            <a:rect l="l" t="t" r="r" b="b"/>
            <a:pathLst>
              <a:path w="20899" h="2112652">
                <a:moveTo>
                  <a:pt x="20899" y="0"/>
                </a:moveTo>
                <a:lnTo>
                  <a:pt x="0" y="2112652"/>
                </a:ln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1" name="Freeform: Shape 40"/>
          <p:cNvSpPr/>
          <p:nvPr/>
        </p:nvSpPr>
        <p:spPr bwMode="auto">
          <a:xfrm>
            <a:off x="667744" y="3590665"/>
            <a:ext cx="3631524" cy="1457434"/>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5158 w 728969"/>
              <a:gd name="connsiteY0" fmla="*/ 1659295 h 1659295"/>
              <a:gd name="connsiteX1" fmla="*/ 718313 w 728969"/>
              <a:gd name="connsiteY1" fmla="*/ 1098885 h 1659295"/>
              <a:gd name="connsiteX2" fmla="*/ 672589 w 728969"/>
              <a:gd name="connsiteY2" fmla="*/ 0 h 1659295"/>
              <a:gd name="connsiteX0" fmla="*/ 6250 w 673681"/>
              <a:gd name="connsiteY0" fmla="*/ 1659295 h 1659295"/>
              <a:gd name="connsiteX1" fmla="*/ 550962 w 673681"/>
              <a:gd name="connsiteY1" fmla="*/ 1098885 h 1659295"/>
              <a:gd name="connsiteX2" fmla="*/ 673681 w 673681"/>
              <a:gd name="connsiteY2" fmla="*/ 0 h 1659295"/>
              <a:gd name="connsiteX0" fmla="*/ 11028 w 678459"/>
              <a:gd name="connsiteY0" fmla="*/ 1659295 h 1659295"/>
              <a:gd name="connsiteX1" fmla="*/ 555740 w 678459"/>
              <a:gd name="connsiteY1" fmla="*/ 1098885 h 1659295"/>
              <a:gd name="connsiteX2" fmla="*/ 678459 w 678459"/>
              <a:gd name="connsiteY2" fmla="*/ 0 h 1659295"/>
              <a:gd name="connsiteX0" fmla="*/ 11028 w 678459"/>
              <a:gd name="connsiteY0" fmla="*/ 1659295 h 1659295"/>
              <a:gd name="connsiteX1" fmla="*/ 555740 w 678459"/>
              <a:gd name="connsiteY1" fmla="*/ 1098885 h 1659295"/>
              <a:gd name="connsiteX2" fmla="*/ 678459 w 678459"/>
              <a:gd name="connsiteY2" fmla="*/ 0 h 1659295"/>
              <a:gd name="connsiteX0" fmla="*/ 3593 w 1611500"/>
              <a:gd name="connsiteY0" fmla="*/ 1631411 h 1631411"/>
              <a:gd name="connsiteX1" fmla="*/ 1488781 w 1611500"/>
              <a:gd name="connsiteY1" fmla="*/ 1098885 h 1631411"/>
              <a:gd name="connsiteX2" fmla="*/ 1611500 w 1611500"/>
              <a:gd name="connsiteY2" fmla="*/ 0 h 1631411"/>
              <a:gd name="connsiteX0" fmla="*/ 3472 w 1659896"/>
              <a:gd name="connsiteY0" fmla="*/ 1659296 h 1659296"/>
              <a:gd name="connsiteX1" fmla="*/ 1537177 w 1659896"/>
              <a:gd name="connsiteY1" fmla="*/ 1098885 h 1659296"/>
              <a:gd name="connsiteX2" fmla="*/ 1659896 w 1659896"/>
              <a:gd name="connsiteY2" fmla="*/ 0 h 1659296"/>
              <a:gd name="connsiteX0" fmla="*/ 3613 w 1660037"/>
              <a:gd name="connsiteY0" fmla="*/ 1659296 h 1659296"/>
              <a:gd name="connsiteX1" fmla="*/ 1481337 w 1660037"/>
              <a:gd name="connsiteY1" fmla="*/ 1043114 h 1659296"/>
              <a:gd name="connsiteX2" fmla="*/ 1660037 w 1660037"/>
              <a:gd name="connsiteY2" fmla="*/ 0 h 1659296"/>
            </a:gdLst>
            <a:ahLst/>
            <a:cxnLst>
              <a:cxn ang="0">
                <a:pos x="connsiteX0" y="connsiteY0"/>
              </a:cxn>
              <a:cxn ang="0">
                <a:pos x="connsiteX1" y="connsiteY1"/>
              </a:cxn>
              <a:cxn ang="0">
                <a:pos x="connsiteX2" y="connsiteY2"/>
              </a:cxn>
            </a:cxnLst>
            <a:rect l="l" t="t" r="r" b="b"/>
            <a:pathLst>
              <a:path w="1660037" h="1659296">
                <a:moveTo>
                  <a:pt x="3613" y="1659296"/>
                </a:moveTo>
                <a:cubicBezTo>
                  <a:pt x="-77902" y="1488261"/>
                  <a:pt x="1244404" y="1263698"/>
                  <a:pt x="1481337" y="1043114"/>
                </a:cubicBezTo>
                <a:cubicBezTo>
                  <a:pt x="1572863" y="589520"/>
                  <a:pt x="1657714" y="491061"/>
                  <a:pt x="1660037" y="0"/>
                </a:cubicBez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2" name="Freeform 73"/>
          <p:cNvSpPr>
            <a:spLocks noChangeAspect="1" noEditPoints="1"/>
          </p:cNvSpPr>
          <p:nvPr/>
        </p:nvSpPr>
        <p:spPr bwMode="auto">
          <a:xfrm>
            <a:off x="4589808" y="4965962"/>
            <a:ext cx="186372" cy="29642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58585A"/>
          </a:solidFill>
          <a:ln w="9525">
            <a:solidFill>
              <a:srgbClr val="000000"/>
            </a:solidFill>
            <a:round/>
            <a:headEnd/>
            <a:tailEnd/>
          </a:ln>
          <a:extLst/>
        </p:spPr>
        <p:txBody>
          <a:bodyPr/>
          <a:lstStyle>
            <a:defPPr>
              <a:defRPr lang="en-US"/>
            </a:defPPr>
            <a:lvl1pPr algn="ctr" rtl="0" fontAlgn="base">
              <a:spcBef>
                <a:spcPct val="0"/>
              </a:spcBef>
              <a:spcAft>
                <a:spcPct val="0"/>
              </a:spcAft>
              <a:defRPr sz="2000" kern="1200">
                <a:solidFill>
                  <a:schemeClr val="tx1"/>
                </a:solidFill>
                <a:latin typeface="Arial" charset="0"/>
                <a:ea typeface="ＭＳ Ｐゴシック" pitchFamily="34" charset="-128"/>
                <a:cs typeface="+mn-cs"/>
              </a:defRPr>
            </a:lvl1pPr>
            <a:lvl2pPr marL="457200" algn="ctr" rtl="0" fontAlgn="base">
              <a:spcBef>
                <a:spcPct val="0"/>
              </a:spcBef>
              <a:spcAft>
                <a:spcPct val="0"/>
              </a:spcAft>
              <a:defRPr sz="2000" kern="1200">
                <a:solidFill>
                  <a:schemeClr val="tx1"/>
                </a:solidFill>
                <a:latin typeface="Arial" charset="0"/>
                <a:ea typeface="ＭＳ Ｐゴシック" pitchFamily="34" charset="-128"/>
                <a:cs typeface="+mn-cs"/>
              </a:defRPr>
            </a:lvl2pPr>
            <a:lvl3pPr marL="914400" algn="ctr" rtl="0" fontAlgn="base">
              <a:spcBef>
                <a:spcPct val="0"/>
              </a:spcBef>
              <a:spcAft>
                <a:spcPct val="0"/>
              </a:spcAft>
              <a:defRPr sz="2000" kern="1200">
                <a:solidFill>
                  <a:schemeClr val="tx1"/>
                </a:solidFill>
                <a:latin typeface="Arial" charset="0"/>
                <a:ea typeface="ＭＳ Ｐゴシック" pitchFamily="34" charset="-128"/>
                <a:cs typeface="+mn-cs"/>
              </a:defRPr>
            </a:lvl3pPr>
            <a:lvl4pPr marL="1371600" algn="ctr" rtl="0" fontAlgn="base">
              <a:spcBef>
                <a:spcPct val="0"/>
              </a:spcBef>
              <a:spcAft>
                <a:spcPct val="0"/>
              </a:spcAft>
              <a:defRPr sz="2000" kern="1200">
                <a:solidFill>
                  <a:schemeClr val="tx1"/>
                </a:solidFill>
                <a:latin typeface="Arial" charset="0"/>
                <a:ea typeface="ＭＳ Ｐゴシック" pitchFamily="34" charset="-128"/>
                <a:cs typeface="+mn-cs"/>
              </a:defRPr>
            </a:lvl4pPr>
            <a:lvl5pPr marL="1828800" algn="ctr" rtl="0" fontAlgn="base">
              <a:spcBef>
                <a:spcPct val="0"/>
              </a:spcBef>
              <a:spcAft>
                <a:spcPct val="0"/>
              </a:spcAft>
              <a:defRPr sz="2000" kern="1200">
                <a:solidFill>
                  <a:schemeClr val="tx1"/>
                </a:solidFill>
                <a:latin typeface="Arial" charset="0"/>
                <a:ea typeface="ＭＳ Ｐゴシック" pitchFamily="34" charset="-128"/>
                <a:cs typeface="+mn-cs"/>
              </a:defRPr>
            </a:lvl5pPr>
            <a:lvl6pPr marL="2286000" algn="l" defTabSz="914400" rtl="0" eaLnBrk="1" latinLnBrk="0" hangingPunct="1">
              <a:defRPr sz="2000" kern="1200">
                <a:solidFill>
                  <a:schemeClr val="tx1"/>
                </a:solidFill>
                <a:latin typeface="Arial" charset="0"/>
                <a:ea typeface="ＭＳ Ｐゴシック" pitchFamily="34" charset="-128"/>
                <a:cs typeface="+mn-cs"/>
              </a:defRPr>
            </a:lvl6pPr>
            <a:lvl7pPr marL="2743200" algn="l" defTabSz="914400" rtl="0" eaLnBrk="1" latinLnBrk="0" hangingPunct="1">
              <a:defRPr sz="2000" kern="1200">
                <a:solidFill>
                  <a:schemeClr val="tx1"/>
                </a:solidFill>
                <a:latin typeface="Arial" charset="0"/>
                <a:ea typeface="ＭＳ Ｐゴシック" pitchFamily="34" charset="-128"/>
                <a:cs typeface="+mn-cs"/>
              </a:defRPr>
            </a:lvl7pPr>
            <a:lvl8pPr marL="3200400" algn="l" defTabSz="914400" rtl="0" eaLnBrk="1" latinLnBrk="0" hangingPunct="1">
              <a:defRPr sz="2000" kern="1200">
                <a:solidFill>
                  <a:schemeClr val="tx1"/>
                </a:solidFill>
                <a:latin typeface="Arial" charset="0"/>
                <a:ea typeface="ＭＳ Ｐゴシック" pitchFamily="34" charset="-128"/>
                <a:cs typeface="+mn-cs"/>
              </a:defRPr>
            </a:lvl8pPr>
            <a:lvl9pPr marL="3657600" algn="l" defTabSz="914400" rtl="0" eaLnBrk="1" latinLnBrk="0" hangingPunct="1">
              <a:defRPr sz="2000" kern="1200">
                <a:solidFill>
                  <a:schemeClr val="tx1"/>
                </a:solidFill>
                <a:latin typeface="Arial" charset="0"/>
                <a:ea typeface="ＭＳ Ｐゴシック" pitchFamily="34" charset="-128"/>
                <a:cs typeface="+mn-cs"/>
              </a:defRPr>
            </a:lvl9pPr>
          </a:lstStyle>
          <a:p>
            <a:endParaRPr lang="en-US">
              <a:solidFill>
                <a:srgbClr val="FF0000"/>
              </a:solidFill>
            </a:endParaRPr>
          </a:p>
        </p:txBody>
      </p:sp>
      <p:sp>
        <p:nvSpPr>
          <p:cNvPr id="43" name="TextBox 42"/>
          <p:cNvSpPr txBox="1"/>
          <p:nvPr/>
        </p:nvSpPr>
        <p:spPr>
          <a:xfrm flipH="1">
            <a:off x="4768013" y="4887671"/>
            <a:ext cx="505759" cy="400110"/>
          </a:xfrm>
          <a:prstGeom prst="rect">
            <a:avLst/>
          </a:prstGeom>
          <a:noFill/>
        </p:spPr>
        <p:txBody>
          <a:bodyPr wrap="square" rtlCol="0">
            <a:spAutoFit/>
          </a:bodyPr>
          <a:lstStyle/>
          <a:p>
            <a:r>
              <a:rPr lang="en-US" dirty="0"/>
              <a:t>7x</a:t>
            </a:r>
          </a:p>
        </p:txBody>
      </p:sp>
      <p:cxnSp>
        <p:nvCxnSpPr>
          <p:cNvPr id="44" name="Straight Arrow Connector 43"/>
          <p:cNvCxnSpPr/>
          <p:nvPr/>
        </p:nvCxnSpPr>
        <p:spPr bwMode="auto">
          <a:xfrm flipV="1">
            <a:off x="3174504" y="5302918"/>
            <a:ext cx="3916336" cy="13814"/>
          </a:xfrm>
          <a:prstGeom prst="straightConnector1">
            <a:avLst/>
          </a:prstGeom>
          <a:solidFill>
            <a:schemeClr val="accent1"/>
          </a:solidFill>
          <a:ln w="12700" cap="flat" cmpd="sng" algn="ctr">
            <a:solidFill>
              <a:schemeClr val="tx1"/>
            </a:solidFill>
            <a:prstDash val="solid"/>
            <a:round/>
            <a:headEnd type="triangle" w="med" len="med"/>
            <a:tailEnd type="triangle" w="med" len="med"/>
          </a:ln>
          <a:effectLst/>
        </p:spPr>
      </p:cxnSp>
      <p:sp>
        <p:nvSpPr>
          <p:cNvPr id="45" name="Freeform: Shape 44"/>
          <p:cNvSpPr/>
          <p:nvPr/>
        </p:nvSpPr>
        <p:spPr bwMode="auto">
          <a:xfrm>
            <a:off x="4918282" y="1709963"/>
            <a:ext cx="932686" cy="1910501"/>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426348 w 426348"/>
              <a:gd name="connsiteY0" fmla="*/ 0 h 2175115"/>
              <a:gd name="connsiteX1" fmla="*/ 0 w 426348"/>
              <a:gd name="connsiteY1" fmla="*/ 2175115 h 2175115"/>
              <a:gd name="connsiteX0" fmla="*/ 426348 w 426348"/>
              <a:gd name="connsiteY0" fmla="*/ 0 h 2175115"/>
              <a:gd name="connsiteX1" fmla="*/ 190626 w 426348"/>
              <a:gd name="connsiteY1" fmla="*/ 1201939 h 2175115"/>
              <a:gd name="connsiteX2" fmla="*/ 0 w 426348"/>
              <a:gd name="connsiteY2" fmla="*/ 2175115 h 2175115"/>
              <a:gd name="connsiteX0" fmla="*/ 426348 w 426348"/>
              <a:gd name="connsiteY0" fmla="*/ 0 h 2175115"/>
              <a:gd name="connsiteX1" fmla="*/ 190626 w 426348"/>
              <a:gd name="connsiteY1" fmla="*/ 1201939 h 2175115"/>
              <a:gd name="connsiteX2" fmla="*/ 0 w 426348"/>
              <a:gd name="connsiteY2" fmla="*/ 2175115 h 2175115"/>
              <a:gd name="connsiteX0" fmla="*/ 426348 w 426348"/>
              <a:gd name="connsiteY0" fmla="*/ 0 h 2175115"/>
              <a:gd name="connsiteX1" fmla="*/ 391261 w 426348"/>
              <a:gd name="connsiteY1" fmla="*/ 1472612 h 2175115"/>
              <a:gd name="connsiteX2" fmla="*/ 0 w 426348"/>
              <a:gd name="connsiteY2" fmla="*/ 2175115 h 2175115"/>
              <a:gd name="connsiteX0" fmla="*/ 426348 w 426348"/>
              <a:gd name="connsiteY0" fmla="*/ 0 h 2175115"/>
              <a:gd name="connsiteX1" fmla="*/ 391261 w 426348"/>
              <a:gd name="connsiteY1" fmla="*/ 1472612 h 2175115"/>
              <a:gd name="connsiteX2" fmla="*/ 0 w 426348"/>
              <a:gd name="connsiteY2" fmla="*/ 2175115 h 2175115"/>
            </a:gdLst>
            <a:ahLst/>
            <a:cxnLst>
              <a:cxn ang="0">
                <a:pos x="connsiteX0" y="connsiteY0"/>
              </a:cxn>
              <a:cxn ang="0">
                <a:pos x="connsiteX1" y="connsiteY1"/>
              </a:cxn>
              <a:cxn ang="0">
                <a:pos x="connsiteX2" y="connsiteY2"/>
              </a:cxn>
            </a:cxnLst>
            <a:rect l="l" t="t" r="r" b="b"/>
            <a:pathLst>
              <a:path w="426348" h="2175115">
                <a:moveTo>
                  <a:pt x="426348" y="0"/>
                </a:moveTo>
                <a:lnTo>
                  <a:pt x="391261" y="1472612"/>
                </a:lnTo>
                <a:cubicBezTo>
                  <a:pt x="306525" y="1963886"/>
                  <a:pt x="199241" y="1647877"/>
                  <a:pt x="0" y="2175115"/>
                </a:cubicBez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6" name="Freeform: Shape 45"/>
          <p:cNvSpPr/>
          <p:nvPr/>
        </p:nvSpPr>
        <p:spPr bwMode="auto">
          <a:xfrm>
            <a:off x="4817999" y="1709963"/>
            <a:ext cx="941830" cy="1919645"/>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430528 w 430528"/>
              <a:gd name="connsiteY0" fmla="*/ 0 h 2185525"/>
              <a:gd name="connsiteX1" fmla="*/ 0 w 430528"/>
              <a:gd name="connsiteY1" fmla="*/ 2185525 h 2185525"/>
              <a:gd name="connsiteX0" fmla="*/ 430528 w 430528"/>
              <a:gd name="connsiteY0" fmla="*/ 0 h 2185525"/>
              <a:gd name="connsiteX1" fmla="*/ 165409 w 430528"/>
              <a:gd name="connsiteY1" fmla="*/ 1264402 h 2185525"/>
              <a:gd name="connsiteX2" fmla="*/ 0 w 430528"/>
              <a:gd name="connsiteY2" fmla="*/ 2185525 h 2185525"/>
              <a:gd name="connsiteX0" fmla="*/ 430528 w 448404"/>
              <a:gd name="connsiteY0" fmla="*/ 0 h 2185525"/>
              <a:gd name="connsiteX1" fmla="*/ 386943 w 448404"/>
              <a:gd name="connsiteY1" fmla="*/ 1472612 h 2185525"/>
              <a:gd name="connsiteX2" fmla="*/ 0 w 448404"/>
              <a:gd name="connsiteY2" fmla="*/ 2185525 h 2185525"/>
              <a:gd name="connsiteX0" fmla="*/ 430528 w 430528"/>
              <a:gd name="connsiteY0" fmla="*/ 0 h 2185525"/>
              <a:gd name="connsiteX1" fmla="*/ 386943 w 430528"/>
              <a:gd name="connsiteY1" fmla="*/ 1472612 h 2185525"/>
              <a:gd name="connsiteX2" fmla="*/ 0 w 430528"/>
              <a:gd name="connsiteY2" fmla="*/ 2185525 h 2185525"/>
              <a:gd name="connsiteX0" fmla="*/ 430528 w 430528"/>
              <a:gd name="connsiteY0" fmla="*/ 0 h 2185525"/>
              <a:gd name="connsiteX1" fmla="*/ 386943 w 430528"/>
              <a:gd name="connsiteY1" fmla="*/ 1472612 h 2185525"/>
              <a:gd name="connsiteX2" fmla="*/ 0 w 430528"/>
              <a:gd name="connsiteY2" fmla="*/ 2185525 h 2185525"/>
              <a:gd name="connsiteX0" fmla="*/ 430528 w 430528"/>
              <a:gd name="connsiteY0" fmla="*/ 0 h 2185525"/>
              <a:gd name="connsiteX1" fmla="*/ 416202 w 430528"/>
              <a:gd name="connsiteY1" fmla="*/ 1472612 h 2185525"/>
              <a:gd name="connsiteX2" fmla="*/ 0 w 430528"/>
              <a:gd name="connsiteY2" fmla="*/ 2185525 h 2185525"/>
            </a:gdLst>
            <a:ahLst/>
            <a:cxnLst>
              <a:cxn ang="0">
                <a:pos x="connsiteX0" y="connsiteY0"/>
              </a:cxn>
              <a:cxn ang="0">
                <a:pos x="connsiteX1" y="connsiteY1"/>
              </a:cxn>
              <a:cxn ang="0">
                <a:pos x="connsiteX2" y="connsiteY2"/>
              </a:cxn>
            </a:cxnLst>
            <a:rect l="l" t="t" r="r" b="b"/>
            <a:pathLst>
              <a:path w="430528" h="2185525">
                <a:moveTo>
                  <a:pt x="430528" y="0"/>
                </a:moveTo>
                <a:lnTo>
                  <a:pt x="416202" y="1472612"/>
                </a:lnTo>
                <a:cubicBezTo>
                  <a:pt x="264726" y="1807729"/>
                  <a:pt x="157442" y="1679108"/>
                  <a:pt x="0" y="2185525"/>
                </a:cubicBez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7" name="Freeform: Shape 46"/>
          <p:cNvSpPr/>
          <p:nvPr/>
        </p:nvSpPr>
        <p:spPr bwMode="auto">
          <a:xfrm>
            <a:off x="4663602" y="3590664"/>
            <a:ext cx="254028" cy="133910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 name="connsiteX0" fmla="*/ 0 w 117243"/>
              <a:gd name="connsiteY0" fmla="*/ 1524581 h 1524581"/>
              <a:gd name="connsiteX1" fmla="*/ 111936 w 117243"/>
              <a:gd name="connsiteY1" fmla="*/ 896892 h 1524581"/>
              <a:gd name="connsiteX2" fmla="*/ 116121 w 117243"/>
              <a:gd name="connsiteY2" fmla="*/ 0 h 1524581"/>
              <a:gd name="connsiteX0" fmla="*/ 0 w 116121"/>
              <a:gd name="connsiteY0" fmla="*/ 1524581 h 1524581"/>
              <a:gd name="connsiteX1" fmla="*/ 65957 w 116121"/>
              <a:gd name="connsiteY1" fmla="*/ 813608 h 1524581"/>
              <a:gd name="connsiteX2" fmla="*/ 116121 w 116121"/>
              <a:gd name="connsiteY2" fmla="*/ 0 h 1524581"/>
              <a:gd name="connsiteX0" fmla="*/ 0 w 116121"/>
              <a:gd name="connsiteY0" fmla="*/ 1524581 h 1524581"/>
              <a:gd name="connsiteX1" fmla="*/ 65957 w 116121"/>
              <a:gd name="connsiteY1" fmla="*/ 813608 h 1524581"/>
              <a:gd name="connsiteX2" fmla="*/ 116121 w 116121"/>
              <a:gd name="connsiteY2" fmla="*/ 0 h 1524581"/>
            </a:gdLst>
            <a:ahLst/>
            <a:cxnLst>
              <a:cxn ang="0">
                <a:pos x="connsiteX0" y="connsiteY0"/>
              </a:cxn>
              <a:cxn ang="0">
                <a:pos x="connsiteX1" y="connsiteY1"/>
              </a:cxn>
              <a:cxn ang="0">
                <a:pos x="connsiteX2" y="connsiteY2"/>
              </a:cxn>
            </a:cxnLst>
            <a:rect l="l" t="t" r="r" b="b"/>
            <a:pathLst>
              <a:path w="116121" h="1524581">
                <a:moveTo>
                  <a:pt x="0" y="1524581"/>
                </a:moveTo>
                <a:cubicBezTo>
                  <a:pt x="61974" y="1306932"/>
                  <a:pt x="9945" y="1267264"/>
                  <a:pt x="65957" y="813608"/>
                </a:cubicBezTo>
                <a:cubicBezTo>
                  <a:pt x="97280" y="417040"/>
                  <a:pt x="113798" y="491061"/>
                  <a:pt x="116121"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8" name="Freeform: Shape 47"/>
          <p:cNvSpPr/>
          <p:nvPr/>
        </p:nvSpPr>
        <p:spPr bwMode="auto">
          <a:xfrm flipH="1">
            <a:off x="4800008" y="3642622"/>
            <a:ext cx="887946" cy="1247558"/>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1489 w 217367"/>
              <a:gd name="connsiteY0" fmla="*/ 1488377 h 1488377"/>
              <a:gd name="connsiteX1" fmla="*/ 194359 w 217367"/>
              <a:gd name="connsiteY1" fmla="*/ 1098885 h 1488377"/>
              <a:gd name="connsiteX2" fmla="*/ 148635 w 217367"/>
              <a:gd name="connsiteY2" fmla="*/ 0 h 1488377"/>
              <a:gd name="connsiteX0" fmla="*/ 13002 w 171807"/>
              <a:gd name="connsiteY0" fmla="*/ 1488377 h 1488377"/>
              <a:gd name="connsiteX1" fmla="*/ 145963 w 171807"/>
              <a:gd name="connsiteY1" fmla="*/ 896892 h 1488377"/>
              <a:gd name="connsiteX2" fmla="*/ 150148 w 171807"/>
              <a:gd name="connsiteY2" fmla="*/ 0 h 1488377"/>
              <a:gd name="connsiteX0" fmla="*/ 22853 w 159999"/>
              <a:gd name="connsiteY0" fmla="*/ 1488377 h 1488377"/>
              <a:gd name="connsiteX1" fmla="*/ 155814 w 159999"/>
              <a:gd name="connsiteY1" fmla="*/ 896892 h 1488377"/>
              <a:gd name="connsiteX2" fmla="*/ 159999 w 159999"/>
              <a:gd name="connsiteY2" fmla="*/ 0 h 1488377"/>
              <a:gd name="connsiteX0" fmla="*/ 22853 w 161121"/>
              <a:gd name="connsiteY0" fmla="*/ 1488377 h 1488377"/>
              <a:gd name="connsiteX1" fmla="*/ 155814 w 161121"/>
              <a:gd name="connsiteY1" fmla="*/ 896892 h 1488377"/>
              <a:gd name="connsiteX2" fmla="*/ 159999 w 161121"/>
              <a:gd name="connsiteY2" fmla="*/ 0 h 1488377"/>
              <a:gd name="connsiteX0" fmla="*/ 20559 w 183781"/>
              <a:gd name="connsiteY0" fmla="*/ 1534991 h 1534991"/>
              <a:gd name="connsiteX1" fmla="*/ 178474 w 183781"/>
              <a:gd name="connsiteY1" fmla="*/ 896892 h 1534991"/>
              <a:gd name="connsiteX2" fmla="*/ 182659 w 183781"/>
              <a:gd name="connsiteY2" fmla="*/ 0 h 1534991"/>
              <a:gd name="connsiteX0" fmla="*/ 0 w 163222"/>
              <a:gd name="connsiteY0" fmla="*/ 1534991 h 1534991"/>
              <a:gd name="connsiteX1" fmla="*/ 157915 w 163222"/>
              <a:gd name="connsiteY1" fmla="*/ 896892 h 1534991"/>
              <a:gd name="connsiteX2" fmla="*/ 162100 w 163222"/>
              <a:gd name="connsiteY2" fmla="*/ 0 h 1534991"/>
              <a:gd name="connsiteX0" fmla="*/ 0 w 158816"/>
              <a:gd name="connsiteY0" fmla="*/ 1628219 h 1628219"/>
              <a:gd name="connsiteX1" fmla="*/ 157915 w 158816"/>
              <a:gd name="connsiteY1" fmla="*/ 990120 h 1628219"/>
              <a:gd name="connsiteX2" fmla="*/ 87237 w 158816"/>
              <a:gd name="connsiteY2" fmla="*/ 0 h 1628219"/>
              <a:gd name="connsiteX0" fmla="*/ 296550 w 383787"/>
              <a:gd name="connsiteY0" fmla="*/ 1628219 h 1628219"/>
              <a:gd name="connsiteX1" fmla="*/ 5282 w 383787"/>
              <a:gd name="connsiteY1" fmla="*/ 399674 h 1628219"/>
              <a:gd name="connsiteX2" fmla="*/ 383787 w 383787"/>
              <a:gd name="connsiteY2" fmla="*/ 0 h 1628219"/>
              <a:gd name="connsiteX0" fmla="*/ 101248 w 388122"/>
              <a:gd name="connsiteY0" fmla="*/ 1519452 h 1519452"/>
              <a:gd name="connsiteX1" fmla="*/ 9617 w 388122"/>
              <a:gd name="connsiteY1" fmla="*/ 399674 h 1519452"/>
              <a:gd name="connsiteX2" fmla="*/ 388122 w 388122"/>
              <a:gd name="connsiteY2" fmla="*/ 0 h 1519452"/>
              <a:gd name="connsiteX0" fmla="*/ 131346 w 387026"/>
              <a:gd name="connsiteY0" fmla="*/ 1410685 h 1410685"/>
              <a:gd name="connsiteX1" fmla="*/ 8521 w 387026"/>
              <a:gd name="connsiteY1" fmla="*/ 399674 h 1410685"/>
              <a:gd name="connsiteX2" fmla="*/ 387026 w 387026"/>
              <a:gd name="connsiteY2" fmla="*/ 0 h 1410685"/>
              <a:gd name="connsiteX0" fmla="*/ 134673 w 390353"/>
              <a:gd name="connsiteY0" fmla="*/ 1410685 h 1410685"/>
              <a:gd name="connsiteX1" fmla="*/ 11848 w 390353"/>
              <a:gd name="connsiteY1" fmla="*/ 399674 h 1410685"/>
              <a:gd name="connsiteX2" fmla="*/ 390353 w 390353"/>
              <a:gd name="connsiteY2" fmla="*/ 0 h 1410685"/>
              <a:gd name="connsiteX0" fmla="*/ 217604 w 386774"/>
              <a:gd name="connsiteY0" fmla="*/ 1503636 h 1503636"/>
              <a:gd name="connsiteX1" fmla="*/ 8269 w 386774"/>
              <a:gd name="connsiteY1" fmla="*/ 399674 h 1503636"/>
              <a:gd name="connsiteX2" fmla="*/ 386774 w 386774"/>
              <a:gd name="connsiteY2" fmla="*/ 0 h 1503636"/>
              <a:gd name="connsiteX0" fmla="*/ 218198 w 387368"/>
              <a:gd name="connsiteY0" fmla="*/ 1503636 h 1503636"/>
              <a:gd name="connsiteX1" fmla="*/ 8863 w 387368"/>
              <a:gd name="connsiteY1" fmla="*/ 399674 h 1503636"/>
              <a:gd name="connsiteX2" fmla="*/ 387368 w 387368"/>
              <a:gd name="connsiteY2" fmla="*/ 0 h 1503636"/>
              <a:gd name="connsiteX0" fmla="*/ 441881 w 441881"/>
              <a:gd name="connsiteY0" fmla="*/ 1420352 h 1420352"/>
              <a:gd name="connsiteX1" fmla="*/ 4780 w 441881"/>
              <a:gd name="connsiteY1" fmla="*/ 399674 h 1420352"/>
              <a:gd name="connsiteX2" fmla="*/ 383285 w 441881"/>
              <a:gd name="connsiteY2" fmla="*/ 0 h 1420352"/>
              <a:gd name="connsiteX0" fmla="*/ 442354 w 442354"/>
              <a:gd name="connsiteY0" fmla="*/ 1420352 h 1420352"/>
              <a:gd name="connsiteX1" fmla="*/ 5253 w 442354"/>
              <a:gd name="connsiteY1" fmla="*/ 399674 h 1420352"/>
              <a:gd name="connsiteX2" fmla="*/ 383758 w 442354"/>
              <a:gd name="connsiteY2" fmla="*/ 0 h 1420352"/>
            </a:gdLst>
            <a:ahLst/>
            <a:cxnLst>
              <a:cxn ang="0">
                <a:pos x="connsiteX0" y="connsiteY0"/>
              </a:cxn>
              <a:cxn ang="0">
                <a:pos x="connsiteX1" y="connsiteY1"/>
              </a:cxn>
              <a:cxn ang="0">
                <a:pos x="connsiteX2" y="connsiteY2"/>
              </a:cxn>
            </a:cxnLst>
            <a:rect l="l" t="t" r="r" b="b"/>
            <a:pathLst>
              <a:path w="442354" h="1420352">
                <a:moveTo>
                  <a:pt x="442354" y="1420352"/>
                </a:moveTo>
                <a:cubicBezTo>
                  <a:pt x="357708" y="1250448"/>
                  <a:pt x="-50759" y="853330"/>
                  <a:pt x="5253" y="399674"/>
                </a:cubicBezTo>
                <a:cubicBezTo>
                  <a:pt x="15677" y="-7304"/>
                  <a:pt x="381435" y="491061"/>
                  <a:pt x="383758" y="0"/>
                </a:cubicBezTo>
              </a:path>
            </a:pathLst>
          </a:custGeom>
          <a:noFill/>
          <a:ln w="38100" cap="flat" cmpd="sng" algn="ctr">
            <a:solidFill>
              <a:schemeClr val="tx2">
                <a:lumMod val="75000"/>
                <a:lumOff val="25000"/>
              </a:schemeClr>
            </a:solidFill>
            <a:prstDash val="solid"/>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49" name="Freeform: Shape 48"/>
          <p:cNvSpPr/>
          <p:nvPr/>
        </p:nvSpPr>
        <p:spPr bwMode="auto">
          <a:xfrm>
            <a:off x="4581490" y="3578894"/>
            <a:ext cx="260175" cy="1250157"/>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229894 w 229894"/>
              <a:gd name="connsiteY0" fmla="*/ 1369078 h 1369078"/>
              <a:gd name="connsiteX1" fmla="*/ 0 w 229894"/>
              <a:gd name="connsiteY1" fmla="*/ 0 h 1369078"/>
              <a:gd name="connsiteX0" fmla="*/ 229894 w 229894"/>
              <a:gd name="connsiteY0" fmla="*/ 1369078 h 1369078"/>
              <a:gd name="connsiteX1" fmla="*/ 120034 w 229894"/>
              <a:gd name="connsiteY1" fmla="*/ 670898 h 1369078"/>
              <a:gd name="connsiteX2" fmla="*/ 0 w 229894"/>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4546 w 244546"/>
              <a:gd name="connsiteY0" fmla="*/ 1369078 h 1369078"/>
              <a:gd name="connsiteX1" fmla="*/ 0 w 244546"/>
              <a:gd name="connsiteY1" fmla="*/ 855973 h 1369078"/>
              <a:gd name="connsiteX2" fmla="*/ 14652 w 244546"/>
              <a:gd name="connsiteY2" fmla="*/ 0 h 1369078"/>
              <a:gd name="connsiteX0" fmla="*/ 248568 w 248568"/>
              <a:gd name="connsiteY0" fmla="*/ 1369078 h 1369078"/>
              <a:gd name="connsiteX1" fmla="*/ 4022 w 248568"/>
              <a:gd name="connsiteY1" fmla="*/ 855973 h 1369078"/>
              <a:gd name="connsiteX2" fmla="*/ 18674 w 248568"/>
              <a:gd name="connsiteY2" fmla="*/ 0 h 1369078"/>
              <a:gd name="connsiteX0" fmla="*/ 254125 w 254125"/>
              <a:gd name="connsiteY0" fmla="*/ 1369078 h 1369078"/>
              <a:gd name="connsiteX1" fmla="*/ 9579 w 254125"/>
              <a:gd name="connsiteY1" fmla="*/ 855973 h 1369078"/>
              <a:gd name="connsiteX2" fmla="*/ 24231 w 254125"/>
              <a:gd name="connsiteY2" fmla="*/ 0 h 1369078"/>
              <a:gd name="connsiteX0" fmla="*/ 299559 w 299559"/>
              <a:gd name="connsiteY0" fmla="*/ 1519452 h 1519452"/>
              <a:gd name="connsiteX1" fmla="*/ 55013 w 299559"/>
              <a:gd name="connsiteY1" fmla="*/ 1006347 h 1519452"/>
              <a:gd name="connsiteX2" fmla="*/ 0 w 299559"/>
              <a:gd name="connsiteY2" fmla="*/ 0 h 1519452"/>
              <a:gd name="connsiteX0" fmla="*/ 299838 w 299838"/>
              <a:gd name="connsiteY0" fmla="*/ 1519452 h 1519452"/>
              <a:gd name="connsiteX1" fmla="*/ 55292 w 299838"/>
              <a:gd name="connsiteY1" fmla="*/ 1006347 h 1519452"/>
              <a:gd name="connsiteX2" fmla="*/ 279 w 299838"/>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300160 w 300160"/>
              <a:gd name="connsiteY0" fmla="*/ 1519452 h 1519452"/>
              <a:gd name="connsiteX1" fmla="*/ 46325 w 300160"/>
              <a:gd name="connsiteY1" fmla="*/ 1098885 h 1519452"/>
              <a:gd name="connsiteX2" fmla="*/ 601 w 300160"/>
              <a:gd name="connsiteY2" fmla="*/ 0 h 1519452"/>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31717 w 131717"/>
              <a:gd name="connsiteY0" fmla="*/ 1488375 h 1488375"/>
              <a:gd name="connsiteX1" fmla="*/ 46325 w 131717"/>
              <a:gd name="connsiteY1" fmla="*/ 1098885 h 1488375"/>
              <a:gd name="connsiteX2" fmla="*/ 601 w 131717"/>
              <a:gd name="connsiteY2" fmla="*/ 0 h 1488375"/>
              <a:gd name="connsiteX0" fmla="*/ 15383 w 160445"/>
              <a:gd name="connsiteY0" fmla="*/ 1460490 h 1460490"/>
              <a:gd name="connsiteX1" fmla="*/ 153914 w 160445"/>
              <a:gd name="connsiteY1" fmla="*/ 1098885 h 1460490"/>
              <a:gd name="connsiteX2" fmla="*/ 108190 w 160445"/>
              <a:gd name="connsiteY2" fmla="*/ 0 h 1460490"/>
              <a:gd name="connsiteX0" fmla="*/ 0 w 92807"/>
              <a:gd name="connsiteY0" fmla="*/ 1460490 h 1460490"/>
              <a:gd name="connsiteX1" fmla="*/ 92807 w 92807"/>
              <a:gd name="connsiteY1" fmla="*/ 0 h 1460490"/>
              <a:gd name="connsiteX0" fmla="*/ 0 w 118931"/>
              <a:gd name="connsiteY0" fmla="*/ 1423310 h 1423310"/>
              <a:gd name="connsiteX1" fmla="*/ 118931 w 118931"/>
              <a:gd name="connsiteY1" fmla="*/ 0 h 1423310"/>
            </a:gdLst>
            <a:ahLst/>
            <a:cxnLst>
              <a:cxn ang="0">
                <a:pos x="connsiteX0" y="connsiteY0"/>
              </a:cxn>
              <a:cxn ang="0">
                <a:pos x="connsiteX1" y="connsiteY1"/>
              </a:cxn>
            </a:cxnLst>
            <a:rect l="l" t="t" r="r" b="b"/>
            <a:pathLst>
              <a:path w="118931" h="1423310">
                <a:moveTo>
                  <a:pt x="0" y="1423310"/>
                </a:moveTo>
                <a:lnTo>
                  <a:pt x="118931" y="0"/>
                </a:lnTo>
              </a:path>
            </a:pathLst>
          </a:custGeom>
          <a:noFill/>
          <a:ln w="38100" cap="flat" cmpd="sng" algn="ctr">
            <a:solidFill>
              <a:srgbClr val="FF0000"/>
            </a:solidFill>
            <a:prstDash val="dash"/>
            <a:round/>
            <a:headEnd type="triangl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50" name="Oval 49"/>
          <p:cNvSpPr/>
          <p:nvPr/>
        </p:nvSpPr>
        <p:spPr bwMode="auto">
          <a:xfrm>
            <a:off x="23287" y="5909123"/>
            <a:ext cx="1216480" cy="410943"/>
          </a:xfrm>
          <a:prstGeom prst="ellipse">
            <a:avLst/>
          </a:prstGeom>
          <a:solidFill>
            <a:srgbClr val="89BA17">
              <a:alpha val="20000"/>
            </a:srgb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51" name="Freeform: Shape 50"/>
          <p:cNvSpPr/>
          <p:nvPr/>
        </p:nvSpPr>
        <p:spPr bwMode="auto">
          <a:xfrm>
            <a:off x="4671476" y="1699080"/>
            <a:ext cx="874132" cy="1910501"/>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351110 w 351110"/>
              <a:gd name="connsiteY0" fmla="*/ 0 h 2175115"/>
              <a:gd name="connsiteX1" fmla="*/ 0 w 351110"/>
              <a:gd name="connsiteY1" fmla="*/ 2175115 h 2175115"/>
              <a:gd name="connsiteX0" fmla="*/ 351110 w 351110"/>
              <a:gd name="connsiteY0" fmla="*/ 0 h 2175115"/>
              <a:gd name="connsiteX1" fmla="*/ 133053 w 351110"/>
              <a:gd name="connsiteY1" fmla="*/ 1235150 h 2175115"/>
              <a:gd name="connsiteX2" fmla="*/ 0 w 351110"/>
              <a:gd name="connsiteY2" fmla="*/ 2175115 h 2175115"/>
              <a:gd name="connsiteX0" fmla="*/ 351110 w 363409"/>
              <a:gd name="connsiteY0" fmla="*/ 0 h 2175115"/>
              <a:gd name="connsiteX1" fmla="*/ 312788 w 363409"/>
              <a:gd name="connsiteY1" fmla="*/ 1578697 h 2175115"/>
              <a:gd name="connsiteX2" fmla="*/ 0 w 363409"/>
              <a:gd name="connsiteY2" fmla="*/ 2175115 h 2175115"/>
              <a:gd name="connsiteX0" fmla="*/ 351110 w 351110"/>
              <a:gd name="connsiteY0" fmla="*/ 0 h 2175115"/>
              <a:gd name="connsiteX1" fmla="*/ 312788 w 351110"/>
              <a:gd name="connsiteY1" fmla="*/ 1578697 h 2175115"/>
              <a:gd name="connsiteX2" fmla="*/ 0 w 351110"/>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 name="connsiteX0" fmla="*/ 351110 w 354587"/>
              <a:gd name="connsiteY0" fmla="*/ 0 h 2175115"/>
              <a:gd name="connsiteX1" fmla="*/ 354587 w 354587"/>
              <a:gd name="connsiteY1" fmla="*/ 1443360 h 2175115"/>
              <a:gd name="connsiteX2" fmla="*/ 0 w 354587"/>
              <a:gd name="connsiteY2" fmla="*/ 2175115 h 2175115"/>
            </a:gdLst>
            <a:ahLst/>
            <a:cxnLst>
              <a:cxn ang="0">
                <a:pos x="connsiteX0" y="connsiteY0"/>
              </a:cxn>
              <a:cxn ang="0">
                <a:pos x="connsiteX1" y="connsiteY1"/>
              </a:cxn>
              <a:cxn ang="0">
                <a:pos x="connsiteX2" y="connsiteY2"/>
              </a:cxn>
            </a:cxnLst>
            <a:rect l="l" t="t" r="r" b="b"/>
            <a:pathLst>
              <a:path w="354587" h="2175115">
                <a:moveTo>
                  <a:pt x="351110" y="0"/>
                </a:moveTo>
                <a:lnTo>
                  <a:pt x="354587" y="1443360"/>
                </a:lnTo>
                <a:cubicBezTo>
                  <a:pt x="277265" y="1776498"/>
                  <a:pt x="111463" y="1543772"/>
                  <a:pt x="0" y="2175115"/>
                </a:cubicBezTo>
              </a:path>
            </a:pathLst>
          </a:custGeom>
          <a:noFill/>
          <a:ln w="38100" cap="flat" cmpd="sng" algn="ctr">
            <a:solidFill>
              <a:schemeClr val="tx2">
                <a:lumMod val="75000"/>
                <a:lumOff val="25000"/>
              </a:schemeClr>
            </a:solidFill>
            <a:prstDash val="solid"/>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dirty="0"/>
          </a:p>
        </p:txBody>
      </p:sp>
      <p:sp>
        <p:nvSpPr>
          <p:cNvPr id="52" name="Freeform: Shape 51"/>
          <p:cNvSpPr/>
          <p:nvPr/>
        </p:nvSpPr>
        <p:spPr bwMode="auto">
          <a:xfrm>
            <a:off x="4581723" y="1699080"/>
            <a:ext cx="865140" cy="1919645"/>
          </a:xfrm>
          <a:custGeom>
            <a:avLst/>
            <a:gdLst>
              <a:gd name="connsiteX0" fmla="*/ 311084 w 380267"/>
              <a:gd name="connsiteY0" fmla="*/ 0 h 2092751"/>
              <a:gd name="connsiteX1" fmla="*/ 377072 w 380267"/>
              <a:gd name="connsiteY1" fmla="*/ 603316 h 2092751"/>
              <a:gd name="connsiteX2" fmla="*/ 348791 w 380267"/>
              <a:gd name="connsiteY2" fmla="*/ 1150071 h 2092751"/>
              <a:gd name="connsiteX3" fmla="*/ 169682 w 380267"/>
              <a:gd name="connsiteY3" fmla="*/ 1838227 h 2092751"/>
              <a:gd name="connsiteX4" fmla="*/ 0 w 380267"/>
              <a:gd name="connsiteY4" fmla="*/ 2092751 h 2092751"/>
              <a:gd name="connsiteX0" fmla="*/ 248869 w 384854"/>
              <a:gd name="connsiteY0" fmla="*/ 0 h 2360878"/>
              <a:gd name="connsiteX1" fmla="*/ 377072 w 384854"/>
              <a:gd name="connsiteY1" fmla="*/ 871443 h 2360878"/>
              <a:gd name="connsiteX2" fmla="*/ 348791 w 384854"/>
              <a:gd name="connsiteY2" fmla="*/ 1418198 h 2360878"/>
              <a:gd name="connsiteX3" fmla="*/ 169682 w 384854"/>
              <a:gd name="connsiteY3" fmla="*/ 2106354 h 2360878"/>
              <a:gd name="connsiteX4" fmla="*/ 0 w 384854"/>
              <a:gd name="connsiteY4" fmla="*/ 2360878 h 2360878"/>
              <a:gd name="connsiteX0" fmla="*/ 248869 w 349445"/>
              <a:gd name="connsiteY0" fmla="*/ 0 h 2360878"/>
              <a:gd name="connsiteX1" fmla="*/ 103328 w 349445"/>
              <a:gd name="connsiteY1" fmla="*/ 620075 h 2360878"/>
              <a:gd name="connsiteX2" fmla="*/ 348791 w 349445"/>
              <a:gd name="connsiteY2" fmla="*/ 1418198 h 2360878"/>
              <a:gd name="connsiteX3" fmla="*/ 169682 w 349445"/>
              <a:gd name="connsiteY3" fmla="*/ 2106354 h 2360878"/>
              <a:gd name="connsiteX4" fmla="*/ 0 w 349445"/>
              <a:gd name="connsiteY4" fmla="*/ 2360878 h 2360878"/>
              <a:gd name="connsiteX0" fmla="*/ 146567 w 474291"/>
              <a:gd name="connsiteY0" fmla="*/ 0 h 2193299"/>
              <a:gd name="connsiteX1" fmla="*/ 1026 w 474291"/>
              <a:gd name="connsiteY1" fmla="*/ 620075 h 2193299"/>
              <a:gd name="connsiteX2" fmla="*/ 246489 w 474291"/>
              <a:gd name="connsiteY2" fmla="*/ 1418198 h 2193299"/>
              <a:gd name="connsiteX3" fmla="*/ 67380 w 474291"/>
              <a:gd name="connsiteY3" fmla="*/ 2106354 h 2193299"/>
              <a:gd name="connsiteX4" fmla="*/ 470072 w 474291"/>
              <a:gd name="connsiteY4" fmla="*/ 2193299 h 2193299"/>
              <a:gd name="connsiteX0" fmla="*/ 146567 w 470072"/>
              <a:gd name="connsiteY0" fmla="*/ 0 h 2193299"/>
              <a:gd name="connsiteX1" fmla="*/ 1026 w 470072"/>
              <a:gd name="connsiteY1" fmla="*/ 620075 h 2193299"/>
              <a:gd name="connsiteX2" fmla="*/ 246489 w 470072"/>
              <a:gd name="connsiteY2" fmla="*/ 1418198 h 2193299"/>
              <a:gd name="connsiteX3" fmla="*/ 470072 w 470072"/>
              <a:gd name="connsiteY3" fmla="*/ 2193299 h 2193299"/>
              <a:gd name="connsiteX0" fmla="*/ 41294 w 476785"/>
              <a:gd name="connsiteY0" fmla="*/ 0 h 2226814"/>
              <a:gd name="connsiteX1" fmla="*/ 7739 w 476785"/>
              <a:gd name="connsiteY1" fmla="*/ 653590 h 2226814"/>
              <a:gd name="connsiteX2" fmla="*/ 253202 w 476785"/>
              <a:gd name="connsiteY2" fmla="*/ 1451713 h 2226814"/>
              <a:gd name="connsiteX3" fmla="*/ 476785 w 476785"/>
              <a:gd name="connsiteY3" fmla="*/ 2226814 h 2226814"/>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41294 w 551442"/>
              <a:gd name="connsiteY0" fmla="*/ 0 h 2075992"/>
              <a:gd name="connsiteX1" fmla="*/ 7739 w 551442"/>
              <a:gd name="connsiteY1" fmla="*/ 653590 h 2075992"/>
              <a:gd name="connsiteX2" fmla="*/ 253202 w 551442"/>
              <a:gd name="connsiteY2" fmla="*/ 1451713 h 2075992"/>
              <a:gd name="connsiteX3" fmla="*/ 551442 w 551442"/>
              <a:gd name="connsiteY3" fmla="*/ 2075992 h 2075992"/>
              <a:gd name="connsiteX0" fmla="*/ 60184 w 570332"/>
              <a:gd name="connsiteY0" fmla="*/ 0 h 2075992"/>
              <a:gd name="connsiteX1" fmla="*/ 26629 w 570332"/>
              <a:gd name="connsiteY1" fmla="*/ 653590 h 2075992"/>
              <a:gd name="connsiteX2" fmla="*/ 570332 w 570332"/>
              <a:gd name="connsiteY2" fmla="*/ 2075992 h 2075992"/>
              <a:gd name="connsiteX0" fmla="*/ 71080 w 581228"/>
              <a:gd name="connsiteY0" fmla="*/ 0 h 2075992"/>
              <a:gd name="connsiteX1" fmla="*/ 25081 w 581228"/>
              <a:gd name="connsiteY1" fmla="*/ 1122813 h 2075992"/>
              <a:gd name="connsiteX2" fmla="*/ 581228 w 581228"/>
              <a:gd name="connsiteY2" fmla="*/ 2075992 h 2075992"/>
              <a:gd name="connsiteX0" fmla="*/ 1372254 w 1372780"/>
              <a:gd name="connsiteY0" fmla="*/ 0 h 1757592"/>
              <a:gd name="connsiteX1" fmla="*/ 19749 w 1372780"/>
              <a:gd name="connsiteY1" fmla="*/ 804413 h 1757592"/>
              <a:gd name="connsiteX2" fmla="*/ 575896 w 1372780"/>
              <a:gd name="connsiteY2" fmla="*/ 1757592 h 1757592"/>
              <a:gd name="connsiteX0" fmla="*/ 1372254 w 1372254"/>
              <a:gd name="connsiteY0" fmla="*/ 0 h 1757592"/>
              <a:gd name="connsiteX1" fmla="*/ 19749 w 1372254"/>
              <a:gd name="connsiteY1" fmla="*/ 804413 h 1757592"/>
              <a:gd name="connsiteX2" fmla="*/ 575896 w 1372254"/>
              <a:gd name="connsiteY2" fmla="*/ 1757592 h 1757592"/>
              <a:gd name="connsiteX0" fmla="*/ 1382316 w 1382316"/>
              <a:gd name="connsiteY0" fmla="*/ 0 h 1757592"/>
              <a:gd name="connsiteX1" fmla="*/ 215211 w 1382316"/>
              <a:gd name="connsiteY1" fmla="*/ 621307 h 1757592"/>
              <a:gd name="connsiteX2" fmla="*/ 29811 w 1382316"/>
              <a:gd name="connsiteY2" fmla="*/ 804413 h 1757592"/>
              <a:gd name="connsiteX3" fmla="*/ 585958 w 1382316"/>
              <a:gd name="connsiteY3" fmla="*/ 1757592 h 1757592"/>
              <a:gd name="connsiteX0" fmla="*/ 1390378 w 1390378"/>
              <a:gd name="connsiteY0" fmla="*/ 0 h 1757592"/>
              <a:gd name="connsiteX1" fmla="*/ 198388 w 1390378"/>
              <a:gd name="connsiteY1" fmla="*/ 118569 h 1757592"/>
              <a:gd name="connsiteX2" fmla="*/ 37873 w 1390378"/>
              <a:gd name="connsiteY2" fmla="*/ 804413 h 1757592"/>
              <a:gd name="connsiteX3" fmla="*/ 594020 w 1390378"/>
              <a:gd name="connsiteY3" fmla="*/ 1757592 h 1757592"/>
              <a:gd name="connsiteX0" fmla="*/ 1514808 w 1514808"/>
              <a:gd name="connsiteY0" fmla="*/ 0 h 1807866"/>
              <a:gd name="connsiteX1" fmla="*/ 198388 w 1514808"/>
              <a:gd name="connsiteY1" fmla="*/ 168843 h 1807866"/>
              <a:gd name="connsiteX2" fmla="*/ 37873 w 1514808"/>
              <a:gd name="connsiteY2" fmla="*/ 854687 h 1807866"/>
              <a:gd name="connsiteX3" fmla="*/ 594020 w 1514808"/>
              <a:gd name="connsiteY3" fmla="*/ 1807866 h 1807866"/>
              <a:gd name="connsiteX0" fmla="*/ 1564537 w 1564537"/>
              <a:gd name="connsiteY0" fmla="*/ 0 h 2143026"/>
              <a:gd name="connsiteX1" fmla="*/ 248117 w 1564537"/>
              <a:gd name="connsiteY1" fmla="*/ 168843 h 2143026"/>
              <a:gd name="connsiteX2" fmla="*/ 87602 w 1564537"/>
              <a:gd name="connsiteY2" fmla="*/ 854687 h 2143026"/>
              <a:gd name="connsiteX3" fmla="*/ 1315666 w 1564537"/>
              <a:gd name="connsiteY3" fmla="*/ 2143026 h 2143026"/>
              <a:gd name="connsiteX0" fmla="*/ 1557168 w 1557168"/>
              <a:gd name="connsiteY0" fmla="*/ 0 h 2042478"/>
              <a:gd name="connsiteX1" fmla="*/ 240748 w 1557168"/>
              <a:gd name="connsiteY1" fmla="*/ 168843 h 2042478"/>
              <a:gd name="connsiteX2" fmla="*/ 80233 w 1557168"/>
              <a:gd name="connsiteY2" fmla="*/ 854687 h 2042478"/>
              <a:gd name="connsiteX3" fmla="*/ 1208754 w 1557168"/>
              <a:gd name="connsiteY3" fmla="*/ 2042478 h 2042478"/>
              <a:gd name="connsiteX0" fmla="*/ 3701922 w 3701921"/>
              <a:gd name="connsiteY0" fmla="*/ 0 h 2794341"/>
              <a:gd name="connsiteX1" fmla="*/ 360861 w 3701921"/>
              <a:gd name="connsiteY1" fmla="*/ 920706 h 2794341"/>
              <a:gd name="connsiteX2" fmla="*/ 200346 w 3701921"/>
              <a:gd name="connsiteY2" fmla="*/ 1606550 h 2794341"/>
              <a:gd name="connsiteX3" fmla="*/ 1328867 w 3701921"/>
              <a:gd name="connsiteY3" fmla="*/ 2794341 h 2794341"/>
              <a:gd name="connsiteX0" fmla="*/ 3508068 w 3587621"/>
              <a:gd name="connsiteY0" fmla="*/ 0 h 2794341"/>
              <a:gd name="connsiteX1" fmla="*/ 3323064 w 3587621"/>
              <a:gd name="connsiteY1" fmla="*/ 1853018 h 2794341"/>
              <a:gd name="connsiteX2" fmla="*/ 6492 w 3587621"/>
              <a:gd name="connsiteY2" fmla="*/ 1606550 h 2794341"/>
              <a:gd name="connsiteX3" fmla="*/ 1135013 w 3587621"/>
              <a:gd name="connsiteY3" fmla="*/ 2794341 h 2794341"/>
              <a:gd name="connsiteX0" fmla="*/ 3508088 w 3659023"/>
              <a:gd name="connsiteY0" fmla="*/ 0 h 2794341"/>
              <a:gd name="connsiteX1" fmla="*/ 3567342 w 3659023"/>
              <a:gd name="connsiteY1" fmla="*/ 1393799 h 2794341"/>
              <a:gd name="connsiteX2" fmla="*/ 3323084 w 3659023"/>
              <a:gd name="connsiteY2" fmla="*/ 1853018 h 2794341"/>
              <a:gd name="connsiteX3" fmla="*/ 6512 w 3659023"/>
              <a:gd name="connsiteY3" fmla="*/ 1606550 h 2794341"/>
              <a:gd name="connsiteX4" fmla="*/ 1135033 w 3659023"/>
              <a:gd name="connsiteY4" fmla="*/ 2794341 h 2794341"/>
              <a:gd name="connsiteX0" fmla="*/ 3501576 w 3807686"/>
              <a:gd name="connsiteY0" fmla="*/ 0 h 2794341"/>
              <a:gd name="connsiteX1" fmla="*/ 3560830 w 3807686"/>
              <a:gd name="connsiteY1" fmla="*/ 1393799 h 2794341"/>
              <a:gd name="connsiteX2" fmla="*/ 0 w 3807686"/>
              <a:gd name="connsiteY2" fmla="*/ 1606550 h 2794341"/>
              <a:gd name="connsiteX3" fmla="*/ 1128521 w 3807686"/>
              <a:gd name="connsiteY3" fmla="*/ 2794341 h 2794341"/>
              <a:gd name="connsiteX0" fmla="*/ 3501576 w 3501576"/>
              <a:gd name="connsiteY0" fmla="*/ 0 h 2794341"/>
              <a:gd name="connsiteX1" fmla="*/ 0 w 3501576"/>
              <a:gd name="connsiteY1" fmla="*/ 1606550 h 2794341"/>
              <a:gd name="connsiteX2" fmla="*/ 1128521 w 3501576"/>
              <a:gd name="connsiteY2" fmla="*/ 2794341 h 2794341"/>
              <a:gd name="connsiteX0" fmla="*/ 2373055 w 2373055"/>
              <a:gd name="connsiteY0" fmla="*/ 0 h 2794341"/>
              <a:gd name="connsiteX1" fmla="*/ 0 w 2373055"/>
              <a:gd name="connsiteY1" fmla="*/ 2794341 h 2794341"/>
              <a:gd name="connsiteX0" fmla="*/ 110221 w 110221"/>
              <a:gd name="connsiteY0" fmla="*/ 0 h 1751758"/>
              <a:gd name="connsiteX1" fmla="*/ 0 w 110221"/>
              <a:gd name="connsiteY1" fmla="*/ 1751758 h 1751758"/>
              <a:gd name="connsiteX0" fmla="*/ 20899 w 20899"/>
              <a:gd name="connsiteY0" fmla="*/ 0 h 2112652"/>
              <a:gd name="connsiteX1" fmla="*/ 0 w 20899"/>
              <a:gd name="connsiteY1" fmla="*/ 2112652 h 2112652"/>
              <a:gd name="connsiteX0" fmla="*/ 338571 w 338571"/>
              <a:gd name="connsiteY0" fmla="*/ 0 h 2185525"/>
              <a:gd name="connsiteX1" fmla="*/ 0 w 338571"/>
              <a:gd name="connsiteY1" fmla="*/ 2185525 h 2185525"/>
              <a:gd name="connsiteX0" fmla="*/ 338571 w 338571"/>
              <a:gd name="connsiteY0" fmla="*/ 0 h 2185525"/>
              <a:gd name="connsiteX1" fmla="*/ 0 w 338571"/>
              <a:gd name="connsiteY1" fmla="*/ 2185525 h 2185525"/>
              <a:gd name="connsiteX0" fmla="*/ 338571 w 338571"/>
              <a:gd name="connsiteY0" fmla="*/ 0 h 2185525"/>
              <a:gd name="connsiteX1" fmla="*/ 166356 w 338571"/>
              <a:gd name="connsiteY1" fmla="*/ 1255971 h 2185525"/>
              <a:gd name="connsiteX2" fmla="*/ 0 w 338571"/>
              <a:gd name="connsiteY2" fmla="*/ 2185525 h 2185525"/>
              <a:gd name="connsiteX0" fmla="*/ 338571 w 347155"/>
              <a:gd name="connsiteY0" fmla="*/ 0 h 2185525"/>
              <a:gd name="connsiteX1" fmla="*/ 304292 w 347155"/>
              <a:gd name="connsiteY1" fmla="*/ 1641159 h 2185525"/>
              <a:gd name="connsiteX2" fmla="*/ 0 w 347155"/>
              <a:gd name="connsiteY2" fmla="*/ 2185525 h 2185525"/>
              <a:gd name="connsiteX0" fmla="*/ 338571 w 338571"/>
              <a:gd name="connsiteY0" fmla="*/ 0 h 2185525"/>
              <a:gd name="connsiteX1" fmla="*/ 304292 w 338571"/>
              <a:gd name="connsiteY1" fmla="*/ 1641159 h 2185525"/>
              <a:gd name="connsiteX2" fmla="*/ 0 w 338571"/>
              <a:gd name="connsiteY2" fmla="*/ 2185525 h 2185525"/>
              <a:gd name="connsiteX0" fmla="*/ 338571 w 338571"/>
              <a:gd name="connsiteY0" fmla="*/ 0 h 2185525"/>
              <a:gd name="connsiteX1" fmla="*/ 333551 w 338571"/>
              <a:gd name="connsiteY1" fmla="*/ 1401718 h 2185525"/>
              <a:gd name="connsiteX2" fmla="*/ 0 w 338571"/>
              <a:gd name="connsiteY2" fmla="*/ 2185525 h 2185525"/>
            </a:gdLst>
            <a:ahLst/>
            <a:cxnLst>
              <a:cxn ang="0">
                <a:pos x="connsiteX0" y="connsiteY0"/>
              </a:cxn>
              <a:cxn ang="0">
                <a:pos x="connsiteX1" y="connsiteY1"/>
              </a:cxn>
              <a:cxn ang="0">
                <a:pos x="connsiteX2" y="connsiteY2"/>
              </a:cxn>
            </a:cxnLst>
            <a:rect l="l" t="t" r="r" b="b"/>
            <a:pathLst>
              <a:path w="338571" h="2185525">
                <a:moveTo>
                  <a:pt x="338571" y="0"/>
                </a:moveTo>
                <a:cubicBezTo>
                  <a:pt x="336898" y="467239"/>
                  <a:pt x="335224" y="934479"/>
                  <a:pt x="333551" y="1401718"/>
                </a:cubicBezTo>
                <a:cubicBezTo>
                  <a:pt x="256367" y="1724444"/>
                  <a:pt x="111463" y="1460488"/>
                  <a:pt x="0" y="2185525"/>
                </a:cubicBezTo>
              </a:path>
            </a:pathLst>
          </a:custGeom>
          <a:noFill/>
          <a:ln w="38100" cap="flat" cmpd="sng" algn="ctr">
            <a:solidFill>
              <a:srgbClr val="FF0000"/>
            </a:solidFill>
            <a:prstDash val="dash"/>
            <a:round/>
            <a:headEnd type="triangle" w="med" len="med"/>
            <a:tailEnd type="oval"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endParaRPr lang="sv-SE"/>
          </a:p>
        </p:txBody>
      </p:sp>
      <p:sp>
        <p:nvSpPr>
          <p:cNvPr id="53" name="Content Placeholder 4"/>
          <p:cNvSpPr txBox="1">
            <a:spLocks/>
          </p:cNvSpPr>
          <p:nvPr/>
        </p:nvSpPr>
        <p:spPr bwMode="auto">
          <a:xfrm>
            <a:off x="7614683" y="1771802"/>
            <a:ext cx="4395428" cy="2654106"/>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lnSpc>
                <a:spcPct val="90000"/>
              </a:lnSpc>
            </a:pPr>
            <a:r>
              <a:rPr lang="en-US" altLang="sv-SE" sz="1800" kern="0"/>
              <a:t>UE connectivity option depends on radio coverage at any given time</a:t>
            </a:r>
          </a:p>
          <a:p>
            <a:r>
              <a:rPr lang="en-US" altLang="sv-SE" sz="1800" kern="0"/>
              <a:t>Selected connectivity option depends on UE and network capabilities</a:t>
            </a:r>
            <a:endParaRPr lang="en-US" altLang="sv-SE" sz="1400" kern="0" dirty="0"/>
          </a:p>
        </p:txBody>
      </p:sp>
    </p:spTree>
    <p:extLst>
      <p:ext uri="{BB962C8B-B14F-4D97-AF65-F5344CB8AC3E}">
        <p14:creationId xmlns:p14="http://schemas.microsoft.com/office/powerpoint/2010/main" val="700507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9" grpId="0" animBg="1"/>
      <p:bldP spid="30" grpId="0" animBg="1"/>
      <p:bldP spid="31" grpId="0" animBg="1"/>
      <p:bldP spid="32" grpId="0" animBg="1"/>
      <p:bldP spid="33" grpId="0"/>
      <p:bldP spid="34" grpId="0"/>
      <p:bldP spid="35" grpId="0"/>
      <p:bldP spid="36" grpId="0" animBg="1"/>
      <p:bldP spid="37" grpId="0" animBg="1"/>
      <p:bldP spid="38" grpId="0" animBg="1"/>
      <p:bldP spid="39" grpId="0" animBg="1"/>
      <p:bldP spid="40" grpId="0" animBg="1"/>
      <p:bldP spid="41" grpId="0" animBg="1"/>
      <p:bldP spid="42" grpId="0" animBg="1"/>
      <p:bldP spid="43" grpId="0"/>
      <p:bldP spid="45" grpId="0" animBg="1"/>
      <p:bldP spid="46" grpId="0" animBg="1"/>
      <p:bldP spid="47" grpId="0" animBg="1"/>
      <p:bldP spid="48" grpId="0" animBg="1"/>
      <p:bldP spid="49" grpId="0" animBg="1"/>
      <p:bldP spid="51" grpId="0" animBg="1"/>
      <p:bldP spid="52" grpId="0" animBg="1"/>
    </p:bld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4" name="Content Placeholder 1"/>
          <p:cNvSpPr txBox="1">
            <a:spLocks/>
          </p:cNvSpPr>
          <p:nvPr/>
        </p:nvSpPr>
        <p:spPr bwMode="auto">
          <a:xfrm>
            <a:off x="529168"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a:t>4G to 5G Migration &amp; Interworking is a broad topic still under development in standardization</a:t>
            </a:r>
          </a:p>
          <a:p>
            <a:r>
              <a:rPr lang="en-US" kern="0"/>
              <a:t>Several alternatives exist for </a:t>
            </a:r>
          </a:p>
          <a:p>
            <a:pPr lvl="1"/>
            <a:r>
              <a:rPr lang="en-US" kern="0"/>
              <a:t>Migration to 5G</a:t>
            </a:r>
          </a:p>
          <a:p>
            <a:pPr lvl="1"/>
            <a:r>
              <a:rPr lang="en-US" kern="0"/>
              <a:t>4G/5G interworking at RAN and CN level</a:t>
            </a:r>
          </a:p>
          <a:p>
            <a:pPr lvl="1"/>
            <a:r>
              <a:rPr lang="en-US" kern="0"/>
              <a:t>Connectivity options for UE-to-network</a:t>
            </a:r>
          </a:p>
          <a:p>
            <a:r>
              <a:rPr lang="en-US" kern="0"/>
              <a:t>It is foreseen a down-selection of alternatives is necessary, but is dependent on an e2e view including Core, RAN and terminals</a:t>
            </a:r>
            <a:endParaRPr lang="en-US" kern="0" dirty="0"/>
          </a:p>
        </p:txBody>
      </p:sp>
    </p:spTree>
    <p:extLst>
      <p:ext uri="{BB962C8B-B14F-4D97-AF65-F5344CB8AC3E}">
        <p14:creationId xmlns:p14="http://schemas.microsoft.com/office/powerpoint/2010/main" val="2482831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latin typeface="Ericsson Capital TT" panose="02000503000000020004" pitchFamily="2" charset="0"/>
              </a:rPr>
              <a:t>3GPP 5G Core Time plan</a:t>
            </a:r>
            <a:br>
              <a:rPr lang="en-US" altLang="en-US" dirty="0">
                <a:latin typeface="Ericsson Capital TT" panose="02000503000000020004" pitchFamily="2" charset="0"/>
              </a:rPr>
            </a:br>
            <a:r>
              <a:rPr lang="en-US" altLang="en-US" sz="2400" dirty="0">
                <a:latin typeface="+mn-lt"/>
              </a:rPr>
              <a:t>Indicative</a:t>
            </a:r>
            <a:endParaRPr lang="en-US" sz="2400" dirty="0">
              <a:latin typeface="+mn-lt"/>
            </a:endParaRPr>
          </a:p>
        </p:txBody>
      </p:sp>
      <p:cxnSp>
        <p:nvCxnSpPr>
          <p:cNvPr id="35" name="Straight Connector 251"/>
          <p:cNvCxnSpPr>
            <a:cxnSpLocks noChangeShapeType="1"/>
          </p:cNvCxnSpPr>
          <p:nvPr/>
        </p:nvCxnSpPr>
        <p:spPr bwMode="auto">
          <a:xfrm flipH="1">
            <a:off x="11328400" y="1635125"/>
            <a:ext cx="33338" cy="44069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36" name="Straight Connector 35"/>
          <p:cNvCxnSpPr/>
          <p:nvPr/>
        </p:nvCxnSpPr>
        <p:spPr bwMode="auto">
          <a:xfrm>
            <a:off x="1247775"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37" name="Straight Connector 36"/>
          <p:cNvCxnSpPr/>
          <p:nvPr/>
        </p:nvCxnSpPr>
        <p:spPr bwMode="auto">
          <a:xfrm>
            <a:off x="2163763"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38" name="Straight Connector 37"/>
          <p:cNvCxnSpPr/>
          <p:nvPr/>
        </p:nvCxnSpPr>
        <p:spPr bwMode="auto">
          <a:xfrm>
            <a:off x="3079750"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39" name="Straight Connector 240"/>
          <p:cNvCxnSpPr>
            <a:cxnSpLocks noChangeShapeType="1"/>
          </p:cNvCxnSpPr>
          <p:nvPr/>
        </p:nvCxnSpPr>
        <p:spPr bwMode="auto">
          <a:xfrm>
            <a:off x="3995738" y="1646238"/>
            <a:ext cx="0" cy="44069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0" name="Straight Connector 39"/>
          <p:cNvCxnSpPr/>
          <p:nvPr/>
        </p:nvCxnSpPr>
        <p:spPr bwMode="auto">
          <a:xfrm>
            <a:off x="4911725"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1" name="Straight Connector 40"/>
          <p:cNvCxnSpPr/>
          <p:nvPr/>
        </p:nvCxnSpPr>
        <p:spPr bwMode="auto">
          <a:xfrm>
            <a:off x="5827713"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2" name="Straight Connector 41"/>
          <p:cNvCxnSpPr/>
          <p:nvPr/>
        </p:nvCxnSpPr>
        <p:spPr bwMode="auto">
          <a:xfrm>
            <a:off x="6743700"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3" name="Straight Connector 246"/>
          <p:cNvCxnSpPr>
            <a:cxnSpLocks noChangeShapeType="1"/>
          </p:cNvCxnSpPr>
          <p:nvPr/>
        </p:nvCxnSpPr>
        <p:spPr bwMode="auto">
          <a:xfrm>
            <a:off x="7659688" y="1646238"/>
            <a:ext cx="4762" cy="44069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4" name="Straight Connector 43"/>
          <p:cNvCxnSpPr/>
          <p:nvPr/>
        </p:nvCxnSpPr>
        <p:spPr bwMode="auto">
          <a:xfrm>
            <a:off x="8580438"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5" name="Straight Connector 44"/>
          <p:cNvCxnSpPr/>
          <p:nvPr/>
        </p:nvCxnSpPr>
        <p:spPr bwMode="auto">
          <a:xfrm>
            <a:off x="9496425"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6" name="Straight Connector 45"/>
          <p:cNvCxnSpPr/>
          <p:nvPr/>
        </p:nvCxnSpPr>
        <p:spPr bwMode="auto">
          <a:xfrm>
            <a:off x="10412413"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7" name="Straight Connector 234"/>
          <p:cNvCxnSpPr>
            <a:cxnSpLocks noChangeShapeType="1"/>
          </p:cNvCxnSpPr>
          <p:nvPr/>
        </p:nvCxnSpPr>
        <p:spPr bwMode="auto">
          <a:xfrm flipH="1">
            <a:off x="330200" y="1646238"/>
            <a:ext cx="1588" cy="44069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8" name="Straight Connector 47"/>
          <p:cNvCxnSpPr/>
          <p:nvPr/>
        </p:nvCxnSpPr>
        <p:spPr bwMode="auto">
          <a:xfrm>
            <a:off x="12623800" y="1843088"/>
            <a:ext cx="0" cy="421005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49" name="Straight Connector 301"/>
          <p:cNvCxnSpPr>
            <a:cxnSpLocks noChangeShapeType="1"/>
          </p:cNvCxnSpPr>
          <p:nvPr/>
        </p:nvCxnSpPr>
        <p:spPr bwMode="auto">
          <a:xfrm flipH="1">
            <a:off x="13157200" y="1635125"/>
            <a:ext cx="9525" cy="4418013"/>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50" name="TextBox 307"/>
          <p:cNvSpPr txBox="1">
            <a:spLocks noChangeArrowheads="1"/>
          </p:cNvSpPr>
          <p:nvPr/>
        </p:nvSpPr>
        <p:spPr bwMode="auto">
          <a:xfrm>
            <a:off x="1109663" y="1384300"/>
            <a:ext cx="21796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r>
              <a:rPr lang="fi-FI" altLang="en-US" sz="2000">
                <a:solidFill>
                  <a:srgbClr val="58585A"/>
                </a:solidFill>
                <a:ea typeface="MS PGothic" panose="020B0600070205080204" pitchFamily="34" charset="-128"/>
              </a:rPr>
              <a:t>2016</a:t>
            </a:r>
          </a:p>
        </p:txBody>
      </p:sp>
      <p:sp>
        <p:nvSpPr>
          <p:cNvPr id="51" name="TextBox 308"/>
          <p:cNvSpPr txBox="1">
            <a:spLocks noChangeArrowheads="1"/>
          </p:cNvSpPr>
          <p:nvPr/>
        </p:nvSpPr>
        <p:spPr bwMode="auto">
          <a:xfrm>
            <a:off x="4746625" y="1384300"/>
            <a:ext cx="21796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r>
              <a:rPr lang="fi-FI" altLang="en-US" sz="2000">
                <a:solidFill>
                  <a:srgbClr val="58585A"/>
                </a:solidFill>
                <a:ea typeface="MS PGothic" panose="020B0600070205080204" pitchFamily="34" charset="-128"/>
              </a:rPr>
              <a:t>2017</a:t>
            </a:r>
          </a:p>
        </p:txBody>
      </p:sp>
      <p:sp>
        <p:nvSpPr>
          <p:cNvPr id="52" name="TextBox 309"/>
          <p:cNvSpPr txBox="1">
            <a:spLocks noChangeArrowheads="1"/>
          </p:cNvSpPr>
          <p:nvPr/>
        </p:nvSpPr>
        <p:spPr bwMode="auto">
          <a:xfrm>
            <a:off x="8394700" y="1384300"/>
            <a:ext cx="21796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0"/>
              </a:spcBef>
              <a:buClrTx/>
              <a:buFontTx/>
              <a:buNone/>
            </a:pPr>
            <a:r>
              <a:rPr lang="fi-FI" altLang="en-US" sz="2000">
                <a:solidFill>
                  <a:srgbClr val="58585A"/>
                </a:solidFill>
                <a:ea typeface="MS PGothic" panose="020B0600070205080204" pitchFamily="34" charset="-128"/>
              </a:rPr>
              <a:t>2018</a:t>
            </a:r>
          </a:p>
        </p:txBody>
      </p:sp>
      <p:sp>
        <p:nvSpPr>
          <p:cNvPr id="53" name="TextBox 31811"/>
          <p:cNvSpPr txBox="1">
            <a:spLocks noChangeArrowheads="1"/>
          </p:cNvSpPr>
          <p:nvPr/>
        </p:nvSpPr>
        <p:spPr bwMode="auto">
          <a:xfrm>
            <a:off x="4963180" y="5937250"/>
            <a:ext cx="150653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eaLnBrk="1" hangingPunct="1">
              <a:spcBef>
                <a:spcPct val="0"/>
              </a:spcBef>
              <a:buClrTx/>
              <a:buFontTx/>
              <a:buNone/>
            </a:pPr>
            <a:r>
              <a:rPr lang="en-US" altLang="en-US" sz="1800" dirty="0">
                <a:solidFill>
                  <a:srgbClr val="E32119"/>
                </a:solidFill>
                <a:ea typeface="MS PGothic" panose="020B0600070205080204" pitchFamily="34" charset="-128"/>
              </a:rPr>
              <a:t>We are </a:t>
            </a:r>
            <a:br>
              <a:rPr lang="en-US" altLang="en-US" sz="1800" dirty="0">
                <a:solidFill>
                  <a:srgbClr val="E32119"/>
                </a:solidFill>
                <a:ea typeface="MS PGothic" panose="020B0600070205080204" pitchFamily="34" charset="-128"/>
              </a:rPr>
            </a:br>
            <a:r>
              <a:rPr lang="en-US" altLang="en-US" sz="1800" dirty="0">
                <a:solidFill>
                  <a:srgbClr val="E32119"/>
                </a:solidFill>
                <a:ea typeface="MS PGothic" panose="020B0600070205080204" pitchFamily="34" charset="-128"/>
              </a:rPr>
              <a:t>here </a:t>
            </a:r>
            <a:r>
              <a:rPr lang="en-US" altLang="en-US" sz="1800" dirty="0">
                <a:solidFill>
                  <a:srgbClr val="E32119"/>
                </a:solidFill>
                <a:ea typeface="MS PGothic" panose="020B0600070205080204" pitchFamily="34" charset="-128"/>
                <a:sym typeface="Wingdings" panose="05000000000000000000" pitchFamily="2" charset="2"/>
              </a:rPr>
              <a:t></a:t>
            </a:r>
            <a:endParaRPr lang="en-US" altLang="en-US" sz="1800" dirty="0">
              <a:solidFill>
                <a:srgbClr val="E32119"/>
              </a:solidFill>
              <a:ea typeface="MS PGothic" panose="020B0600070205080204" pitchFamily="34" charset="-128"/>
            </a:endParaRPr>
          </a:p>
        </p:txBody>
      </p:sp>
      <p:sp>
        <p:nvSpPr>
          <p:cNvPr id="54" name="Rounded Rectangle 105"/>
          <p:cNvSpPr>
            <a:spLocks noChangeArrowheads="1"/>
          </p:cNvSpPr>
          <p:nvPr/>
        </p:nvSpPr>
        <p:spPr bwMode="auto">
          <a:xfrm>
            <a:off x="54496" y="4249738"/>
            <a:ext cx="3850754" cy="504825"/>
          </a:xfrm>
          <a:prstGeom prst="roundRect">
            <a:avLst>
              <a:gd name="adj" fmla="val 16667"/>
            </a:avLst>
          </a:prstGeom>
          <a:solidFill>
            <a:srgbClr val="89BA17"/>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72000" tIns="0" rIns="7200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r>
              <a:rPr lang="sv-SE" altLang="en-US" sz="1800" b="1">
                <a:solidFill>
                  <a:srgbClr val="FFFFFF"/>
                </a:solidFill>
                <a:ea typeface="MS PGothic" panose="020B0600070205080204" pitchFamily="34" charset="-128"/>
              </a:rPr>
              <a:t>REL-14 study: NextGen system</a:t>
            </a:r>
            <a:endParaRPr lang="en-US" altLang="en-US" sz="2000" b="1">
              <a:solidFill>
                <a:srgbClr val="FFFFFF"/>
              </a:solidFill>
              <a:ea typeface="MS PGothic" panose="020B0600070205080204" pitchFamily="34" charset="-128"/>
            </a:endParaRPr>
          </a:p>
        </p:txBody>
      </p:sp>
      <p:sp>
        <p:nvSpPr>
          <p:cNvPr id="55" name="Rounded Rectangle 106"/>
          <p:cNvSpPr>
            <a:spLocks noChangeArrowheads="1"/>
          </p:cNvSpPr>
          <p:nvPr/>
        </p:nvSpPr>
        <p:spPr bwMode="auto">
          <a:xfrm>
            <a:off x="4119563" y="3533775"/>
            <a:ext cx="5376862" cy="512763"/>
          </a:xfrm>
          <a:prstGeom prst="roundRect">
            <a:avLst>
              <a:gd name="adj" fmla="val 16667"/>
            </a:avLst>
          </a:prstGeom>
          <a:solidFill>
            <a:srgbClr val="F08A00"/>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72000" tIns="0" rIns="7200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r>
              <a:rPr lang="sv-SE" altLang="en-US" sz="1800" b="1" dirty="0">
                <a:solidFill>
                  <a:srgbClr val="FFFFFF"/>
                </a:solidFill>
                <a:ea typeface="MS PGothic" panose="020B0600070205080204" pitchFamily="34" charset="-128"/>
              </a:rPr>
              <a:t>REL-15 (5G </a:t>
            </a:r>
            <a:r>
              <a:rPr lang="sv-SE" altLang="en-US" sz="1800" b="1" dirty="0" err="1">
                <a:solidFill>
                  <a:srgbClr val="FFFFFF"/>
                </a:solidFill>
                <a:ea typeface="MS PGothic" panose="020B0600070205080204" pitchFamily="34" charset="-128"/>
              </a:rPr>
              <a:t>phase</a:t>
            </a:r>
            <a:r>
              <a:rPr lang="sv-SE" altLang="en-US" sz="1800" b="1" dirty="0">
                <a:solidFill>
                  <a:srgbClr val="FFFFFF"/>
                </a:solidFill>
                <a:ea typeface="MS PGothic" panose="020B0600070205080204" pitchFamily="34" charset="-128"/>
              </a:rPr>
              <a:t> 1) normative</a:t>
            </a:r>
            <a:endParaRPr lang="en-US" altLang="en-US" sz="2000" b="1" dirty="0">
              <a:solidFill>
                <a:srgbClr val="FFFFFF"/>
              </a:solidFill>
              <a:ea typeface="MS PGothic" panose="020B0600070205080204" pitchFamily="34" charset="-128"/>
            </a:endParaRPr>
          </a:p>
        </p:txBody>
      </p:sp>
      <p:sp>
        <p:nvSpPr>
          <p:cNvPr id="56" name="Rounded Rectangular Callout 73"/>
          <p:cNvSpPr>
            <a:spLocks noChangeArrowheads="1"/>
          </p:cNvSpPr>
          <p:nvPr/>
        </p:nvSpPr>
        <p:spPr bwMode="auto">
          <a:xfrm>
            <a:off x="4441825" y="2117725"/>
            <a:ext cx="1927225" cy="749300"/>
          </a:xfrm>
          <a:prstGeom prst="wedgeRoundRectCallout">
            <a:avLst>
              <a:gd name="adj1" fmla="val -59199"/>
              <a:gd name="adj2" fmla="val 146103"/>
              <a:gd name="adj3" fmla="val 16667"/>
            </a:avLst>
          </a:prstGeom>
          <a:solidFill>
            <a:srgbClr val="FEE9D1"/>
          </a:solidFill>
          <a:ln w="12700" algn="ctr">
            <a:solidFill>
              <a:schemeClr val="tx1"/>
            </a:solidFill>
            <a:round/>
            <a:headEnd/>
            <a:tailEnd/>
          </a:ln>
          <a:extLst/>
        </p:spPr>
        <p:txBody>
          <a:bodyPr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defRPr/>
            </a:pPr>
            <a:r>
              <a:rPr lang="en-US" altLang="sv-SE" sz="1600" b="1" dirty="0">
                <a:solidFill>
                  <a:schemeClr val="accent6">
                    <a:lumMod val="75000"/>
                  </a:schemeClr>
                </a:solidFill>
                <a:ea typeface="MS PGothic" pitchFamily="34" charset="-128"/>
                <a:cs typeface="Arial" charset="0"/>
              </a:rPr>
              <a:t>Q1-17: Start of normative work</a:t>
            </a:r>
            <a:endParaRPr lang="en-US" altLang="sv-SE" sz="1600" dirty="0">
              <a:solidFill>
                <a:schemeClr val="accent6">
                  <a:lumMod val="75000"/>
                </a:schemeClr>
              </a:solidFill>
              <a:ea typeface="MS PGothic" pitchFamily="34" charset="-128"/>
              <a:cs typeface="Arial" charset="0"/>
            </a:endParaRPr>
          </a:p>
        </p:txBody>
      </p:sp>
      <p:sp>
        <p:nvSpPr>
          <p:cNvPr id="57" name="Rounded Rectangular Callout 73"/>
          <p:cNvSpPr>
            <a:spLocks noChangeArrowheads="1"/>
          </p:cNvSpPr>
          <p:nvPr/>
        </p:nvSpPr>
        <p:spPr bwMode="auto">
          <a:xfrm>
            <a:off x="6502400" y="2413000"/>
            <a:ext cx="2460625" cy="749300"/>
          </a:xfrm>
          <a:prstGeom prst="wedgeRoundRectCallout">
            <a:avLst>
              <a:gd name="adj1" fmla="val -37759"/>
              <a:gd name="adj2" fmla="val 114268"/>
              <a:gd name="adj3" fmla="val 16667"/>
            </a:avLst>
          </a:prstGeom>
          <a:solidFill>
            <a:srgbClr val="FEE9D1"/>
          </a:solidFill>
          <a:ln w="12700" algn="ctr">
            <a:solidFill>
              <a:schemeClr val="tx1"/>
            </a:solidFill>
            <a:round/>
            <a:headEnd/>
            <a:tailEnd/>
          </a:ln>
          <a:extLst/>
        </p:spPr>
        <p:txBody>
          <a:bodyPr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defRPr/>
            </a:pPr>
            <a:r>
              <a:rPr lang="en-US" altLang="sv-SE" sz="1600" b="1" dirty="0">
                <a:solidFill>
                  <a:schemeClr val="accent6">
                    <a:lumMod val="75000"/>
                  </a:schemeClr>
                </a:solidFill>
                <a:ea typeface="MS PGothic" pitchFamily="34" charset="-128"/>
                <a:cs typeface="Arial" charset="0"/>
              </a:rPr>
              <a:t>Q4-17: Functional architecture completed</a:t>
            </a:r>
            <a:endParaRPr lang="en-US" altLang="sv-SE" sz="1600" dirty="0">
              <a:solidFill>
                <a:schemeClr val="accent6">
                  <a:lumMod val="75000"/>
                </a:schemeClr>
              </a:solidFill>
              <a:ea typeface="MS PGothic" pitchFamily="34" charset="-128"/>
              <a:cs typeface="Arial" charset="0"/>
            </a:endParaRPr>
          </a:p>
        </p:txBody>
      </p:sp>
      <p:sp>
        <p:nvSpPr>
          <p:cNvPr id="58" name="Rounded Rectangular Callout 73"/>
          <p:cNvSpPr>
            <a:spLocks noChangeArrowheads="1"/>
          </p:cNvSpPr>
          <p:nvPr/>
        </p:nvSpPr>
        <p:spPr bwMode="auto">
          <a:xfrm>
            <a:off x="9182100" y="2413000"/>
            <a:ext cx="1909763" cy="908050"/>
          </a:xfrm>
          <a:prstGeom prst="wedgeRoundRectCallout">
            <a:avLst>
              <a:gd name="adj1" fmla="val -44224"/>
              <a:gd name="adj2" fmla="val 88126"/>
              <a:gd name="adj3" fmla="val 16667"/>
            </a:avLst>
          </a:prstGeom>
          <a:solidFill>
            <a:srgbClr val="FEE9D1"/>
          </a:solidFill>
          <a:ln w="12700" algn="ctr">
            <a:solidFill>
              <a:schemeClr val="tx1"/>
            </a:solidFill>
            <a:round/>
            <a:headEnd/>
            <a:tailEnd/>
          </a:ln>
          <a:extLst/>
        </p:spPr>
        <p:txBody>
          <a:bodyPr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defRPr/>
            </a:pPr>
            <a:r>
              <a:rPr lang="en-US" altLang="sv-SE" sz="1600" b="1" dirty="0">
                <a:solidFill>
                  <a:schemeClr val="accent6">
                    <a:lumMod val="75000"/>
                  </a:schemeClr>
                </a:solidFill>
                <a:ea typeface="MS PGothic" pitchFamily="34" charset="-128"/>
                <a:cs typeface="Arial" charset="0"/>
              </a:rPr>
              <a:t>Mid-18: Stage 3 (protocols </a:t>
            </a:r>
            <a:r>
              <a:rPr lang="en-US" altLang="sv-SE" sz="1600" b="1" dirty="0" err="1">
                <a:solidFill>
                  <a:schemeClr val="accent6">
                    <a:lumMod val="75000"/>
                  </a:schemeClr>
                </a:solidFill>
                <a:ea typeface="MS PGothic" pitchFamily="34" charset="-128"/>
                <a:cs typeface="Arial" charset="0"/>
              </a:rPr>
              <a:t>etc</a:t>
            </a:r>
            <a:r>
              <a:rPr lang="en-US" altLang="sv-SE" sz="1600" b="1" dirty="0">
                <a:solidFill>
                  <a:schemeClr val="accent6">
                    <a:lumMod val="75000"/>
                  </a:schemeClr>
                </a:solidFill>
                <a:ea typeface="MS PGothic" pitchFamily="34" charset="-128"/>
                <a:cs typeface="Arial" charset="0"/>
              </a:rPr>
              <a:t>) completed</a:t>
            </a:r>
            <a:endParaRPr lang="en-US" altLang="sv-SE" sz="1600" dirty="0">
              <a:solidFill>
                <a:schemeClr val="accent6">
                  <a:lumMod val="75000"/>
                </a:schemeClr>
              </a:solidFill>
              <a:ea typeface="MS PGothic" pitchFamily="34" charset="-128"/>
              <a:cs typeface="Arial" charset="0"/>
            </a:endParaRPr>
          </a:p>
        </p:txBody>
      </p:sp>
      <p:sp>
        <p:nvSpPr>
          <p:cNvPr id="59" name="Rounded Rectangle 105"/>
          <p:cNvSpPr>
            <a:spLocks noChangeArrowheads="1"/>
          </p:cNvSpPr>
          <p:nvPr/>
        </p:nvSpPr>
        <p:spPr bwMode="auto">
          <a:xfrm>
            <a:off x="4795838" y="4249738"/>
            <a:ext cx="3914775" cy="504825"/>
          </a:xfrm>
          <a:prstGeom prst="roundRect">
            <a:avLst>
              <a:gd name="adj" fmla="val 16667"/>
            </a:avLst>
          </a:prstGeom>
          <a:solidFill>
            <a:srgbClr val="89BA17"/>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72000" tIns="0" rIns="7200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r>
              <a:rPr lang="sv-SE" altLang="en-US" sz="1800" b="1" dirty="0">
                <a:solidFill>
                  <a:srgbClr val="FFFFFF"/>
                </a:solidFill>
                <a:ea typeface="MS PGothic" panose="020B0600070205080204" pitchFamily="34" charset="-128"/>
              </a:rPr>
              <a:t>REL-15 </a:t>
            </a:r>
            <a:r>
              <a:rPr lang="sv-SE" altLang="en-US" sz="1800" b="1" dirty="0" err="1">
                <a:solidFill>
                  <a:srgbClr val="FFFFFF"/>
                </a:solidFill>
                <a:ea typeface="MS PGothic" panose="020B0600070205080204" pitchFamily="34" charset="-128"/>
              </a:rPr>
              <a:t>study</a:t>
            </a:r>
            <a:r>
              <a:rPr lang="sv-SE" altLang="en-US" sz="1800" b="1" dirty="0">
                <a:solidFill>
                  <a:srgbClr val="FFFFFF"/>
                </a:solidFill>
                <a:ea typeface="MS PGothic" panose="020B0600070205080204" pitchFamily="34" charset="-128"/>
              </a:rPr>
              <a:t>: 5G/</a:t>
            </a:r>
            <a:r>
              <a:rPr lang="sv-SE" altLang="en-US" sz="1800" b="1" dirty="0" err="1">
                <a:solidFill>
                  <a:srgbClr val="FFFFFF"/>
                </a:solidFill>
                <a:ea typeface="MS PGothic" panose="020B0600070205080204" pitchFamily="34" charset="-128"/>
              </a:rPr>
              <a:t>NextGen</a:t>
            </a:r>
            <a:r>
              <a:rPr lang="sv-SE" altLang="en-US" sz="1800" b="1" dirty="0">
                <a:solidFill>
                  <a:srgbClr val="FFFFFF"/>
                </a:solidFill>
                <a:ea typeface="MS PGothic" panose="020B0600070205080204" pitchFamily="34" charset="-128"/>
              </a:rPr>
              <a:t> system</a:t>
            </a:r>
            <a:endParaRPr lang="en-US" altLang="en-US" sz="2000" b="1" dirty="0">
              <a:solidFill>
                <a:srgbClr val="FFFFFF"/>
              </a:solidFill>
              <a:ea typeface="MS PGothic" panose="020B0600070205080204" pitchFamily="34" charset="-128"/>
            </a:endParaRPr>
          </a:p>
        </p:txBody>
      </p:sp>
      <p:sp>
        <p:nvSpPr>
          <p:cNvPr id="60" name="Rounded Rectangle 107"/>
          <p:cNvSpPr>
            <a:spLocks noChangeArrowheads="1"/>
          </p:cNvSpPr>
          <p:nvPr/>
        </p:nvSpPr>
        <p:spPr bwMode="auto">
          <a:xfrm>
            <a:off x="8710613" y="4918074"/>
            <a:ext cx="3379788" cy="581025"/>
          </a:xfrm>
          <a:prstGeom prst="roundRect">
            <a:avLst>
              <a:gd name="adj" fmla="val 16667"/>
            </a:avLst>
          </a:prstGeom>
          <a:solidFill>
            <a:srgbClr val="00B0F0"/>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72000" tIns="0" rIns="7200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defRPr>
            </a:lvl9pPr>
          </a:lstStyle>
          <a:p>
            <a:pPr algn="ctr" eaLnBrk="1" hangingPunct="1">
              <a:spcBef>
                <a:spcPct val="50000"/>
              </a:spcBef>
              <a:buClrTx/>
              <a:buFontTx/>
              <a:buNone/>
            </a:pPr>
            <a:r>
              <a:rPr lang="sv-SE" altLang="en-US" sz="1800" b="1">
                <a:solidFill>
                  <a:srgbClr val="FFFFFF"/>
                </a:solidFill>
                <a:ea typeface="MS PGothic" panose="020B0600070205080204" pitchFamily="34" charset="-128"/>
              </a:rPr>
              <a:t>REL-16 (phase 2) </a:t>
            </a:r>
            <a:br>
              <a:rPr lang="sv-SE" altLang="en-US" sz="1800" b="1">
                <a:solidFill>
                  <a:srgbClr val="FFFFFF"/>
                </a:solidFill>
                <a:ea typeface="MS PGothic" panose="020B0600070205080204" pitchFamily="34" charset="-128"/>
              </a:rPr>
            </a:br>
            <a:r>
              <a:rPr lang="sv-SE" altLang="en-US" sz="1800" b="1">
                <a:solidFill>
                  <a:srgbClr val="FFFFFF"/>
                </a:solidFill>
                <a:ea typeface="MS PGothic" panose="020B0600070205080204" pitchFamily="34" charset="-128"/>
              </a:rPr>
              <a:t>normative</a:t>
            </a:r>
            <a:endParaRPr lang="en-US" altLang="en-US" sz="2000" b="1">
              <a:solidFill>
                <a:srgbClr val="FFFFFF"/>
              </a:solidFill>
              <a:ea typeface="MS PGothic" panose="020B0600070205080204" pitchFamily="34" charset="-128"/>
            </a:endParaRPr>
          </a:p>
        </p:txBody>
      </p:sp>
      <p:cxnSp>
        <p:nvCxnSpPr>
          <p:cNvPr id="61" name="Straight Connector 31810"/>
          <p:cNvCxnSpPr>
            <a:cxnSpLocks noChangeShapeType="1"/>
          </p:cNvCxnSpPr>
          <p:nvPr/>
        </p:nvCxnSpPr>
        <p:spPr bwMode="auto">
          <a:xfrm>
            <a:off x="5839480" y="1916113"/>
            <a:ext cx="0" cy="4667250"/>
          </a:xfrm>
          <a:prstGeom prst="line">
            <a:avLst/>
          </a:prstGeom>
          <a:noFill/>
          <a:ln w="25400" algn="ctr">
            <a:solidFill>
              <a:srgbClr val="FF0000"/>
            </a:solidFill>
            <a:round/>
            <a:headEnd/>
            <a:tailEnd/>
          </a:ln>
          <a:extLst>
            <a:ext uri="{909E8E84-426E-40DD-AFC4-6F175D3DCCD1}">
              <a14:hiddenFill xmlns:a14="http://schemas.microsoft.com/office/drawing/2010/main">
                <a:noFill/>
              </a14:hiddenFill>
            </a:ext>
          </a:extLst>
        </p:spPr>
      </p:cxnSp>
      <p:sp>
        <p:nvSpPr>
          <p:cNvPr id="62" name="Rounded Rectangular Callout 73"/>
          <p:cNvSpPr>
            <a:spLocks noChangeArrowheads="1"/>
          </p:cNvSpPr>
          <p:nvPr/>
        </p:nvSpPr>
        <p:spPr bwMode="auto">
          <a:xfrm>
            <a:off x="169863" y="2276475"/>
            <a:ext cx="2614612" cy="963613"/>
          </a:xfrm>
          <a:prstGeom prst="wedgeRoundRectCallout">
            <a:avLst>
              <a:gd name="adj1" fmla="val 85348"/>
              <a:gd name="adj2" fmla="val 171551"/>
              <a:gd name="adj3" fmla="val 16667"/>
            </a:avLst>
          </a:prstGeom>
          <a:solidFill>
            <a:srgbClr val="FEE9D1"/>
          </a:solidFill>
          <a:ln w="12700" algn="ctr">
            <a:solidFill>
              <a:schemeClr val="tx1"/>
            </a:solidFill>
            <a:round/>
            <a:headEnd/>
            <a:tailEnd/>
          </a:ln>
          <a:extLst/>
        </p:spPr>
        <p:txBody>
          <a:bodyPr lIns="72000" rIns="72000"/>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50000"/>
              </a:spcBef>
              <a:buClrTx/>
              <a:buFontTx/>
              <a:buNone/>
              <a:defRPr/>
            </a:pPr>
            <a:r>
              <a:rPr lang="en-US" altLang="sv-SE" sz="1600" b="1" dirty="0">
                <a:solidFill>
                  <a:schemeClr val="accent6">
                    <a:lumMod val="75000"/>
                  </a:schemeClr>
                </a:solidFill>
                <a:ea typeface="MS PGothic" pitchFamily="34" charset="-128"/>
                <a:cs typeface="Arial" charset="0"/>
              </a:rPr>
              <a:t>Q4-16: Conclusions on </a:t>
            </a:r>
            <a:r>
              <a:rPr lang="en-US" altLang="sv-SE" sz="1600" b="1" dirty="0" err="1">
                <a:solidFill>
                  <a:schemeClr val="accent6">
                    <a:lumMod val="75000"/>
                  </a:schemeClr>
                </a:solidFill>
                <a:ea typeface="MS PGothic" pitchFamily="34" charset="-128"/>
                <a:cs typeface="Arial" charset="0"/>
              </a:rPr>
              <a:t>NextGen</a:t>
            </a:r>
            <a:r>
              <a:rPr lang="en-US" altLang="sv-SE" sz="1600" b="1" dirty="0">
                <a:solidFill>
                  <a:schemeClr val="accent6">
                    <a:lumMod val="75000"/>
                  </a:schemeClr>
                </a:solidFill>
                <a:ea typeface="MS PGothic" pitchFamily="34" charset="-128"/>
                <a:cs typeface="Arial" charset="0"/>
              </a:rPr>
              <a:t> architecture way forward</a:t>
            </a:r>
            <a:endParaRPr lang="en-US" altLang="sv-SE" sz="1600" dirty="0">
              <a:solidFill>
                <a:schemeClr val="accent6">
                  <a:lumMod val="75000"/>
                </a:schemeClr>
              </a:solidFill>
              <a:ea typeface="MS PGothic" pitchFamily="34" charset="-128"/>
              <a:cs typeface="Arial" charset="0"/>
            </a:endParaRPr>
          </a:p>
        </p:txBody>
      </p:sp>
      <p:sp>
        <p:nvSpPr>
          <p:cNvPr id="63" name="Arrow: Notched Right 1"/>
          <p:cNvSpPr>
            <a:spLocks noChangeArrowheads="1"/>
          </p:cNvSpPr>
          <p:nvPr/>
        </p:nvSpPr>
        <p:spPr bwMode="auto">
          <a:xfrm rot="18981162" flipV="1">
            <a:off x="3721100" y="3948113"/>
            <a:ext cx="547688" cy="227012"/>
          </a:xfrm>
          <a:prstGeom prst="notchedRightArrow">
            <a:avLst>
              <a:gd name="adj1" fmla="val 50000"/>
              <a:gd name="adj2" fmla="val 50151"/>
            </a:avLst>
          </a:prstGeom>
          <a:solidFill>
            <a:schemeClr val="tx1"/>
          </a:solidFill>
          <a:ln w="12700" algn="ctr">
            <a:solidFill>
              <a:schemeClr val="tx1"/>
            </a:solidFill>
            <a:round/>
            <a:headEnd/>
            <a:tailEnd/>
          </a:ln>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1" hangingPunct="1">
              <a:spcBef>
                <a:spcPct val="50000"/>
              </a:spcBef>
            </a:pPr>
            <a:endParaRPr lang="en-US" altLang="en-US"/>
          </a:p>
        </p:txBody>
      </p:sp>
      <p:sp>
        <p:nvSpPr>
          <p:cNvPr id="64" name="Arrow: Notched Right 54"/>
          <p:cNvSpPr>
            <a:spLocks noChangeArrowheads="1"/>
          </p:cNvSpPr>
          <p:nvPr/>
        </p:nvSpPr>
        <p:spPr bwMode="auto">
          <a:xfrm rot="2694684" flipV="1">
            <a:off x="8334375" y="4760913"/>
            <a:ext cx="547688" cy="227012"/>
          </a:xfrm>
          <a:prstGeom prst="notchedRightArrow">
            <a:avLst>
              <a:gd name="adj1" fmla="val 50000"/>
              <a:gd name="adj2" fmla="val 50151"/>
            </a:avLst>
          </a:prstGeom>
          <a:solidFill>
            <a:schemeClr val="tx1"/>
          </a:solidFill>
          <a:ln w="12700" algn="ctr">
            <a:solidFill>
              <a:schemeClr val="tx1"/>
            </a:solidFill>
            <a:round/>
            <a:headEnd/>
            <a:tailEnd/>
          </a:ln>
        </p:spPr>
        <p:txBody>
          <a:bodyPr wrap="none" lIns="72000" rIns="72000"/>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1" hangingPunct="1">
              <a:spcBef>
                <a:spcPct val="50000"/>
              </a:spcBef>
            </a:pPr>
            <a:endParaRPr lang="en-US" altLang="en-US"/>
          </a:p>
        </p:txBody>
      </p:sp>
    </p:spTree>
    <p:extLst>
      <p:ext uri="{BB962C8B-B14F-4D97-AF65-F5344CB8AC3E}">
        <p14:creationId xmlns:p14="http://schemas.microsoft.com/office/powerpoint/2010/main" val="3125516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sp>
        <p:nvSpPr>
          <p:cNvPr id="7171" name="Title 3"/>
          <p:cNvSpPr>
            <a:spLocks noGrp="1"/>
          </p:cNvSpPr>
          <p:nvPr>
            <p:ph type="title"/>
          </p:nvPr>
        </p:nvSpPr>
        <p:spPr>
          <a:xfrm>
            <a:off x="525463" y="239713"/>
            <a:ext cx="10636250" cy="1085850"/>
          </a:xfrm>
          <a:noFill/>
        </p:spPr>
        <p:txBody>
          <a:bodyPr>
            <a:normAutofit/>
          </a:bodyPr>
          <a:lstStyle/>
          <a:p>
            <a:r>
              <a:rPr lang="en-US" dirty="0">
                <a:solidFill>
                  <a:srgbClr val="FFFFFF"/>
                </a:solidFill>
              </a:rPr>
              <a:t>REL-15 TIMING &amp; OPTIONS</a:t>
            </a:r>
            <a:endParaRPr lang="en-US" altLang="en-US"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369902" y="2939406"/>
            <a:ext cx="6434039" cy="1507850"/>
          </a:xfrm>
          <a:prstGeom prst="rect">
            <a:avLst/>
          </a:prstGeom>
          <a:solidFill>
            <a:srgbClr val="9E9F9E"/>
          </a:solidFill>
          <a:ln w="12700" cap="flat" cmpd="sng" algn="ctr">
            <a:solidFill>
              <a:schemeClr val="tx1"/>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9E9F9E"/>
              </a:solidFill>
              <a:effectLst/>
              <a:uLnTx/>
              <a:uFillTx/>
            </a:endParaRPr>
          </a:p>
        </p:txBody>
      </p:sp>
      <p:graphicFrame>
        <p:nvGraphicFramePr>
          <p:cNvPr id="6" name="Table 5"/>
          <p:cNvGraphicFramePr>
            <a:graphicFrameLocks noGrp="1"/>
          </p:cNvGraphicFramePr>
          <p:nvPr>
            <p:extLst>
              <p:ext uri="{D42A27DB-BD31-4B8C-83A1-F6EECF244321}">
                <p14:modId xmlns:p14="http://schemas.microsoft.com/office/powerpoint/2010/main" val="1869687412"/>
              </p:ext>
            </p:extLst>
          </p:nvPr>
        </p:nvGraphicFramePr>
        <p:xfrm>
          <a:off x="62502" y="1954641"/>
          <a:ext cx="11491452" cy="285342"/>
        </p:xfrm>
        <a:graphic>
          <a:graphicData uri="http://schemas.openxmlformats.org/drawingml/2006/table">
            <a:tbl>
              <a:tblPr firstRow="1" bandRow="1">
                <a:tableStyleId>{5C22544A-7EE6-4342-B048-85BDC9FD1C3A}</a:tableStyleId>
              </a:tblPr>
              <a:tblGrid>
                <a:gridCol w="1915242">
                  <a:extLst>
                    <a:ext uri="{9D8B030D-6E8A-4147-A177-3AD203B41FA5}">
                      <a16:colId xmlns:a16="http://schemas.microsoft.com/office/drawing/2014/main" val="20000"/>
                    </a:ext>
                  </a:extLst>
                </a:gridCol>
                <a:gridCol w="1915242">
                  <a:extLst>
                    <a:ext uri="{9D8B030D-6E8A-4147-A177-3AD203B41FA5}">
                      <a16:colId xmlns:a16="http://schemas.microsoft.com/office/drawing/2014/main" val="20001"/>
                    </a:ext>
                  </a:extLst>
                </a:gridCol>
                <a:gridCol w="1915242">
                  <a:extLst>
                    <a:ext uri="{9D8B030D-6E8A-4147-A177-3AD203B41FA5}">
                      <a16:colId xmlns:a16="http://schemas.microsoft.com/office/drawing/2014/main" val="20002"/>
                    </a:ext>
                  </a:extLst>
                </a:gridCol>
                <a:gridCol w="1915242">
                  <a:extLst>
                    <a:ext uri="{9D8B030D-6E8A-4147-A177-3AD203B41FA5}">
                      <a16:colId xmlns:a16="http://schemas.microsoft.com/office/drawing/2014/main" val="20003"/>
                    </a:ext>
                  </a:extLst>
                </a:gridCol>
                <a:gridCol w="1915242">
                  <a:extLst>
                    <a:ext uri="{9D8B030D-6E8A-4147-A177-3AD203B41FA5}">
                      <a16:colId xmlns:a16="http://schemas.microsoft.com/office/drawing/2014/main" val="20004"/>
                    </a:ext>
                  </a:extLst>
                </a:gridCol>
                <a:gridCol w="1915242">
                  <a:extLst>
                    <a:ext uri="{9D8B030D-6E8A-4147-A177-3AD203B41FA5}">
                      <a16:colId xmlns:a16="http://schemas.microsoft.com/office/drawing/2014/main" val="20005"/>
                    </a:ext>
                  </a:extLst>
                </a:gridCol>
              </a:tblGrid>
              <a:tr h="285286">
                <a:tc>
                  <a:txBody>
                    <a:bodyPr/>
                    <a:lstStyle/>
                    <a:p>
                      <a:pPr algn="ctr"/>
                      <a:r>
                        <a:rPr lang="en-US" sz="1400"/>
                        <a:t>2015</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6</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7</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8</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a:t>2019</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a:r>
                        <a:rPr lang="en-US" sz="1400" dirty="0"/>
                        <a:t>2020</a:t>
                      </a:r>
                    </a:p>
                  </a:txBody>
                  <a:tcPr marL="91416" marR="91416" marT="35991" marB="3599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7" name="Chevron 127"/>
          <p:cNvSpPr/>
          <p:nvPr/>
        </p:nvSpPr>
        <p:spPr bwMode="auto">
          <a:xfrm>
            <a:off x="369902" y="2445320"/>
            <a:ext cx="314953" cy="269960"/>
          </a:xfrm>
          <a:prstGeom prst="chevron">
            <a:avLst/>
          </a:prstGeom>
          <a:solidFill>
            <a:srgbClr val="99CCFF"/>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ysClr val="windowText" lastClr="000000"/>
              </a:solidFill>
              <a:effectLst/>
              <a:uLnTx/>
              <a:uFillTx/>
            </a:endParaRPr>
          </a:p>
        </p:txBody>
      </p:sp>
      <p:sp>
        <p:nvSpPr>
          <p:cNvPr id="8" name="Rounded Rectangle 4"/>
          <p:cNvSpPr>
            <a:spLocks noChangeArrowheads="1"/>
          </p:cNvSpPr>
          <p:nvPr/>
        </p:nvSpPr>
        <p:spPr bwMode="auto">
          <a:xfrm>
            <a:off x="2529578" y="2445320"/>
            <a:ext cx="1979704"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4</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9" name="Rounded Rectangle 4"/>
          <p:cNvSpPr>
            <a:spLocks noChangeArrowheads="1"/>
          </p:cNvSpPr>
          <p:nvPr/>
        </p:nvSpPr>
        <p:spPr bwMode="auto">
          <a:xfrm>
            <a:off x="531738" y="2445320"/>
            <a:ext cx="1727881" cy="269960"/>
          </a:xfrm>
          <a:prstGeom prst="roundRect">
            <a:avLst>
              <a:gd name="adj" fmla="val 5736"/>
            </a:avLst>
          </a:prstGeom>
          <a:solidFill>
            <a:srgbClr val="99CCFF"/>
          </a:solidFill>
          <a:ln w="9525">
            <a:noFill/>
            <a:round/>
            <a:headEnd/>
            <a:tailEnd/>
          </a:ln>
          <a:effectLst>
            <a:outerShdw blurRad="50800" dist="38100" dir="2700000" algn="tl" rotWithShape="0">
              <a:prstClr val="black">
                <a:alpha val="40000"/>
              </a:prstClr>
            </a:outerShdw>
          </a:effectLst>
          <a:extLst/>
        </p:spPr>
        <p:txBody>
          <a:bodyPr wrap="none" lIns="71967" tIns="45699" rIns="71967" bIns="45699" anchor="ctr" anchorCtr="0"/>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fi-FI" altLang="en-US" sz="1600" b="0" i="0" u="none" strike="noStrike" kern="0" cap="none" spc="0" normalizeH="0" baseline="0" noProof="0">
                <a:ln>
                  <a:noFill/>
                </a:ln>
                <a:solidFill>
                  <a:schemeClr val="tx1"/>
                </a:solidFill>
                <a:effectLst/>
                <a:uLnTx/>
                <a:uFillTx/>
                <a:latin typeface="Arial" charset="0"/>
                <a:ea typeface="ＭＳ Ｐゴシック" pitchFamily="34" charset="-128"/>
              </a:rPr>
              <a:t>Rel-13</a:t>
            </a:r>
            <a:endParaRPr kumimoji="0" lang="en-US" altLang="en-US" sz="16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10" name="Rounded Rectangle 4"/>
          <p:cNvSpPr>
            <a:spLocks noChangeArrowheads="1"/>
          </p:cNvSpPr>
          <p:nvPr/>
        </p:nvSpPr>
        <p:spPr bwMode="auto">
          <a:xfrm>
            <a:off x="4734250" y="2445320"/>
            <a:ext cx="1979704"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5</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11" name="Rounded Rectangle 163"/>
          <p:cNvSpPr>
            <a:spLocks noChangeArrowheads="1"/>
          </p:cNvSpPr>
          <p:nvPr/>
        </p:nvSpPr>
        <p:spPr bwMode="auto">
          <a:xfrm>
            <a:off x="2439594"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2" name="Rounded Rectangle 163"/>
          <p:cNvSpPr>
            <a:spLocks noChangeArrowheads="1"/>
          </p:cNvSpPr>
          <p:nvPr/>
        </p:nvSpPr>
        <p:spPr bwMode="auto">
          <a:xfrm>
            <a:off x="2348894"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3" name="Rounded Rectangle 163"/>
          <p:cNvSpPr>
            <a:spLocks noChangeArrowheads="1"/>
          </p:cNvSpPr>
          <p:nvPr/>
        </p:nvSpPr>
        <p:spPr bwMode="auto">
          <a:xfrm>
            <a:off x="4644979"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4" name="Rounded Rectangle 163"/>
          <p:cNvSpPr>
            <a:spLocks noChangeArrowheads="1"/>
          </p:cNvSpPr>
          <p:nvPr/>
        </p:nvSpPr>
        <p:spPr bwMode="auto">
          <a:xfrm>
            <a:off x="4554278"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5" name="Rounded Rectangle 163"/>
          <p:cNvSpPr>
            <a:spLocks noChangeArrowheads="1"/>
          </p:cNvSpPr>
          <p:nvPr/>
        </p:nvSpPr>
        <p:spPr bwMode="auto">
          <a:xfrm>
            <a:off x="6848935" y="2445324"/>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6" name="Rounded Rectangle 163"/>
          <p:cNvSpPr>
            <a:spLocks noChangeArrowheads="1"/>
          </p:cNvSpPr>
          <p:nvPr/>
        </p:nvSpPr>
        <p:spPr bwMode="auto">
          <a:xfrm>
            <a:off x="6758234"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7" name="Rounded Rectangle 4"/>
          <p:cNvSpPr>
            <a:spLocks noChangeArrowheads="1"/>
          </p:cNvSpPr>
          <p:nvPr/>
        </p:nvSpPr>
        <p:spPr bwMode="auto">
          <a:xfrm>
            <a:off x="6938919" y="2445320"/>
            <a:ext cx="2607990"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6</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18" name="Rounded Rectangle 163"/>
          <p:cNvSpPr>
            <a:spLocks noChangeArrowheads="1"/>
          </p:cNvSpPr>
          <p:nvPr/>
        </p:nvSpPr>
        <p:spPr bwMode="auto">
          <a:xfrm>
            <a:off x="9655892" y="2445325"/>
            <a:ext cx="45707" cy="269959"/>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19" name="Rounded Rectangle 163"/>
          <p:cNvSpPr>
            <a:spLocks noChangeArrowheads="1"/>
          </p:cNvSpPr>
          <p:nvPr/>
        </p:nvSpPr>
        <p:spPr bwMode="auto">
          <a:xfrm>
            <a:off x="9565191" y="2445320"/>
            <a:ext cx="45707" cy="269960"/>
          </a:xfrm>
          <a:prstGeom prst="roundRect">
            <a:avLst>
              <a:gd name="adj" fmla="val 41139"/>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81" rIns="71981"/>
          <a:lstStyle>
            <a:lvl1pPr eaLnBrk="0" hangingPunct="0">
              <a:spcBef>
                <a:spcPct val="20000"/>
              </a:spcBef>
              <a:buClr>
                <a:srgbClr val="00A9D4"/>
              </a:buClr>
              <a:buFont typeface="Arial" charset="0"/>
              <a:buChar char="›"/>
              <a:defRPr sz="2400">
                <a:solidFill>
                  <a:schemeClr val="tx1"/>
                </a:solidFill>
                <a:latin typeface="Arial" charset="0"/>
                <a:ea typeface="ＭＳ Ｐゴシック" pitchFamily="34" charset="-128"/>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ea typeface="ＭＳ Ｐゴシック" pitchFamily="34" charset="-128"/>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en-US" sz="1999" b="0" i="0" u="none" strike="noStrike" kern="0" cap="none" spc="0" normalizeH="0" baseline="0" noProof="0">
              <a:ln>
                <a:noFill/>
              </a:ln>
              <a:solidFill>
                <a:srgbClr val="FFFFFF"/>
              </a:solidFill>
              <a:effectLst/>
              <a:uLnTx/>
              <a:uFillTx/>
              <a:latin typeface="Arial" charset="0"/>
              <a:ea typeface="ＭＳ Ｐゴシック" pitchFamily="34" charset="-128"/>
            </a:endParaRPr>
          </a:p>
        </p:txBody>
      </p:sp>
      <p:sp>
        <p:nvSpPr>
          <p:cNvPr id="20" name="Rounded Rectangle 4"/>
          <p:cNvSpPr>
            <a:spLocks noChangeArrowheads="1"/>
          </p:cNvSpPr>
          <p:nvPr/>
        </p:nvSpPr>
        <p:spPr bwMode="auto">
          <a:xfrm>
            <a:off x="9745878" y="2445320"/>
            <a:ext cx="1934815" cy="269960"/>
          </a:xfrm>
          <a:prstGeom prst="roundRect">
            <a:avLst>
              <a:gd name="adj" fmla="val 5736"/>
            </a:avLst>
          </a:prstGeom>
          <a:solidFill>
            <a:srgbClr val="99CCFF"/>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wrap="none" lIns="71967" tIns="45699" rIns="71967" bIns="45699"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altLang="en-US" sz="1600" b="0" i="0" u="none" strike="noStrike" kern="0" cap="none" spc="0" normalizeH="0" baseline="0" noProof="0">
                <a:ln>
                  <a:noFill/>
                </a:ln>
                <a:solidFill>
                  <a:sysClr val="windowText" lastClr="000000"/>
                </a:solidFill>
                <a:effectLst/>
                <a:uLnTx/>
                <a:uFillTx/>
                <a:ea typeface="ＭＳ Ｐゴシック" pitchFamily="34" charset="-128"/>
              </a:rPr>
              <a:t>Rel-17, ...</a:t>
            </a:r>
            <a:endParaRPr kumimoji="0" lang="en-US" altLang="en-US" sz="1600" b="0" i="0" u="none" strike="noStrike" kern="0" cap="none" spc="0" normalizeH="0" baseline="0" noProof="0">
              <a:ln>
                <a:noFill/>
              </a:ln>
              <a:solidFill>
                <a:sysClr val="windowText" lastClr="000000"/>
              </a:solidFill>
              <a:effectLst/>
              <a:uLnTx/>
              <a:uFillTx/>
              <a:ea typeface="ＭＳ Ｐゴシック" pitchFamily="34" charset="-128"/>
            </a:endParaRPr>
          </a:p>
        </p:txBody>
      </p:sp>
      <p:sp>
        <p:nvSpPr>
          <p:cNvPr id="21" name="Rounded Rectangle 155"/>
          <p:cNvSpPr>
            <a:spLocks noChangeArrowheads="1"/>
          </p:cNvSpPr>
          <p:nvPr/>
        </p:nvSpPr>
        <p:spPr bwMode="auto">
          <a:xfrm>
            <a:off x="1818164" y="4072543"/>
            <a:ext cx="2519624"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RAN Study (RAN)</a:t>
            </a:r>
          </a:p>
        </p:txBody>
      </p:sp>
      <p:sp>
        <p:nvSpPr>
          <p:cNvPr id="22" name="Rounded Rectangle 156"/>
          <p:cNvSpPr>
            <a:spLocks noChangeArrowheads="1"/>
          </p:cNvSpPr>
          <p:nvPr/>
        </p:nvSpPr>
        <p:spPr bwMode="auto">
          <a:xfrm>
            <a:off x="4409780" y="4072543"/>
            <a:ext cx="2159677"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WID</a:t>
            </a:r>
          </a:p>
        </p:txBody>
      </p:sp>
      <p:cxnSp>
        <p:nvCxnSpPr>
          <p:cNvPr id="23" name="Straight Connector 22"/>
          <p:cNvCxnSpPr/>
          <p:nvPr/>
        </p:nvCxnSpPr>
        <p:spPr bwMode="auto">
          <a:xfrm flipV="1">
            <a:off x="1979180" y="1972904"/>
            <a:ext cx="0" cy="3676176"/>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24" name="Straight Connector 23"/>
          <p:cNvCxnSpPr/>
          <p:nvPr/>
        </p:nvCxnSpPr>
        <p:spPr bwMode="auto">
          <a:xfrm flipV="1">
            <a:off x="3896530" y="1972904"/>
            <a:ext cx="0" cy="3679118"/>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25" name="Straight Connector 24"/>
          <p:cNvCxnSpPr/>
          <p:nvPr/>
        </p:nvCxnSpPr>
        <p:spPr bwMode="auto">
          <a:xfrm flipV="1">
            <a:off x="5809198" y="1977884"/>
            <a:ext cx="0" cy="3754772"/>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26" name="Straight Connector 25"/>
          <p:cNvCxnSpPr/>
          <p:nvPr/>
        </p:nvCxnSpPr>
        <p:spPr bwMode="auto">
          <a:xfrm flipV="1">
            <a:off x="7726399" y="1965188"/>
            <a:ext cx="0" cy="3767469"/>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cxnSp>
        <p:nvCxnSpPr>
          <p:cNvPr id="27" name="Straight Connector 26"/>
          <p:cNvCxnSpPr/>
          <p:nvPr/>
        </p:nvCxnSpPr>
        <p:spPr bwMode="auto">
          <a:xfrm flipV="1">
            <a:off x="9643601" y="1977884"/>
            <a:ext cx="1" cy="3754773"/>
          </a:xfrm>
          <a:prstGeom prst="line">
            <a:avLst/>
          </a:prstGeom>
          <a:solidFill>
            <a:schemeClr val="accent1"/>
          </a:solidFill>
          <a:ln w="3175" cap="flat" cmpd="sng" algn="ctr">
            <a:solidFill>
              <a:schemeClr val="bg1">
                <a:lumMod val="75000"/>
              </a:schemeClr>
            </a:solidFill>
            <a:prstDash val="dash"/>
            <a:round/>
            <a:headEnd type="none" w="med" len="med"/>
            <a:tailEnd type="none" w="med" len="med"/>
          </a:ln>
          <a:effectLst/>
        </p:spPr>
      </p:cxnSp>
      <p:sp>
        <p:nvSpPr>
          <p:cNvPr id="28" name="Rounded Rectangle 155"/>
          <p:cNvSpPr>
            <a:spLocks noChangeArrowheads="1"/>
          </p:cNvSpPr>
          <p:nvPr/>
        </p:nvSpPr>
        <p:spPr bwMode="auto">
          <a:xfrm>
            <a:off x="1242251" y="3470124"/>
            <a:ext cx="2626496"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Architecture Study (SA2)</a:t>
            </a:r>
          </a:p>
        </p:txBody>
      </p:sp>
      <p:sp>
        <p:nvSpPr>
          <p:cNvPr id="29" name="Rounded Rectangle 156"/>
          <p:cNvSpPr>
            <a:spLocks noChangeArrowheads="1"/>
          </p:cNvSpPr>
          <p:nvPr/>
        </p:nvSpPr>
        <p:spPr bwMode="auto">
          <a:xfrm>
            <a:off x="3936987" y="3470124"/>
            <a:ext cx="1872062"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a:ln>
                  <a:noFill/>
                </a:ln>
                <a:solidFill>
                  <a:srgbClr val="58585A"/>
                </a:solidFill>
                <a:effectLst/>
                <a:uLnTx/>
                <a:uFillTx/>
              </a:rPr>
              <a:t>WID</a:t>
            </a:r>
          </a:p>
        </p:txBody>
      </p:sp>
      <p:sp>
        <p:nvSpPr>
          <p:cNvPr id="30" name="Rounded Rectangle 155"/>
          <p:cNvSpPr>
            <a:spLocks noChangeArrowheads="1"/>
          </p:cNvSpPr>
          <p:nvPr/>
        </p:nvSpPr>
        <p:spPr bwMode="auto">
          <a:xfrm>
            <a:off x="738326" y="3155374"/>
            <a:ext cx="2626496" cy="238101"/>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Requirement Study (SA1)</a:t>
            </a:r>
          </a:p>
        </p:txBody>
      </p:sp>
      <p:sp>
        <p:nvSpPr>
          <p:cNvPr id="31" name="Rounded Rectangle 156"/>
          <p:cNvSpPr>
            <a:spLocks noChangeArrowheads="1"/>
          </p:cNvSpPr>
          <p:nvPr/>
        </p:nvSpPr>
        <p:spPr bwMode="auto">
          <a:xfrm>
            <a:off x="3451151" y="3155375"/>
            <a:ext cx="1162678" cy="223145"/>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1981" rIns="71981"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a:ln>
                  <a:noFill/>
                </a:ln>
                <a:solidFill>
                  <a:srgbClr val="58585A"/>
                </a:solidFill>
                <a:effectLst/>
                <a:uLnTx/>
                <a:uFillTx/>
              </a:rPr>
              <a:t>WID</a:t>
            </a:r>
          </a:p>
        </p:txBody>
      </p:sp>
      <p:sp>
        <p:nvSpPr>
          <p:cNvPr id="32" name="Isosceles Triangle 4"/>
          <p:cNvSpPr/>
          <p:nvPr/>
        </p:nvSpPr>
        <p:spPr bwMode="auto">
          <a:xfrm>
            <a:off x="5694480" y="5060065"/>
            <a:ext cx="256348" cy="215360"/>
          </a:xfrm>
          <a:prstGeom prst="triangle">
            <a:avLst/>
          </a:prstGeom>
          <a:solidFill>
            <a:srgbClr val="FF3300"/>
          </a:solidFill>
          <a:ln w="19050" cap="flat" cmpd="sng" algn="ctr">
            <a:solidFill>
              <a:srgbClr val="FF0000"/>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sp>
        <p:nvSpPr>
          <p:cNvPr id="33" name="Isosceles Triangle 54"/>
          <p:cNvSpPr/>
          <p:nvPr/>
        </p:nvSpPr>
        <p:spPr bwMode="auto">
          <a:xfrm>
            <a:off x="6674858" y="5060065"/>
            <a:ext cx="256348" cy="215360"/>
          </a:xfrm>
          <a:prstGeom prst="triangle">
            <a:avLst/>
          </a:prstGeom>
          <a:solidFill>
            <a:srgbClr val="FF3300"/>
          </a:solidFill>
          <a:ln w="19050" cap="flat" cmpd="sng" algn="ctr">
            <a:solidFill>
              <a:srgbClr val="FF0000"/>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sp>
        <p:nvSpPr>
          <p:cNvPr id="34" name="TextBox 33"/>
          <p:cNvSpPr txBox="1"/>
          <p:nvPr/>
        </p:nvSpPr>
        <p:spPr>
          <a:xfrm>
            <a:off x="5307760" y="5275425"/>
            <a:ext cx="102075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Option 3</a:t>
            </a:r>
          </a:p>
        </p:txBody>
      </p:sp>
      <p:sp>
        <p:nvSpPr>
          <p:cNvPr id="35" name="TextBox 34"/>
          <p:cNvSpPr txBox="1"/>
          <p:nvPr/>
        </p:nvSpPr>
        <p:spPr>
          <a:xfrm>
            <a:off x="6182530" y="5275425"/>
            <a:ext cx="1258679"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FFFFFF"/>
                </a:solidFill>
              </a:rPr>
              <a:t>Option 2, 5, 7</a:t>
            </a:r>
            <a:endParaRPr kumimoji="0" lang="en-US" sz="1400" b="0" i="0" u="none" strike="noStrike" kern="0" cap="none" spc="0" normalizeH="0" baseline="0" noProof="0" dirty="0">
              <a:ln>
                <a:noFill/>
              </a:ln>
              <a:solidFill>
                <a:srgbClr val="FFFFFF"/>
              </a:solidFill>
              <a:effectLst/>
              <a:uLnTx/>
              <a:uFillTx/>
            </a:endParaRPr>
          </a:p>
        </p:txBody>
      </p:sp>
      <p:sp>
        <p:nvSpPr>
          <p:cNvPr id="36" name="Rounded Rectangle 156"/>
          <p:cNvSpPr>
            <a:spLocks noChangeArrowheads="1"/>
          </p:cNvSpPr>
          <p:nvPr/>
        </p:nvSpPr>
        <p:spPr bwMode="auto">
          <a:xfrm>
            <a:off x="4409780" y="3774328"/>
            <a:ext cx="2159677" cy="232112"/>
          </a:xfrm>
          <a:prstGeom prst="roundRect">
            <a:avLst>
              <a:gd name="adj" fmla="val 16667"/>
            </a:avLst>
          </a:prstGeom>
          <a:solidFill>
            <a:schemeClr val="bg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53986" rIns="53986" anchor="ctr"/>
          <a:lstStyle/>
          <a:p>
            <a:pPr algn="ctr" defTabSz="685800" fontAlgn="auto">
              <a:spcBef>
                <a:spcPts val="0"/>
              </a:spcBef>
              <a:spcAft>
                <a:spcPts val="0"/>
              </a:spcAft>
              <a:defRPr/>
            </a:pPr>
            <a:r>
              <a:rPr lang="en-US" sz="1500" b="1" kern="0" dirty="0">
                <a:solidFill>
                  <a:srgbClr val="58585A"/>
                </a:solidFill>
              </a:rPr>
              <a:t>CT WIDs</a:t>
            </a:r>
          </a:p>
        </p:txBody>
      </p:sp>
      <p:grpSp>
        <p:nvGrpSpPr>
          <p:cNvPr id="37" name="Group 36"/>
          <p:cNvGrpSpPr/>
          <p:nvPr/>
        </p:nvGrpSpPr>
        <p:grpSpPr>
          <a:xfrm>
            <a:off x="5647569" y="4515130"/>
            <a:ext cx="2085680" cy="473800"/>
            <a:chOff x="6137908" y="4515413"/>
            <a:chExt cx="2036004" cy="473923"/>
          </a:xfrm>
        </p:grpSpPr>
        <p:sp>
          <p:nvSpPr>
            <p:cNvPr id="38" name="TextBox 37"/>
            <p:cNvSpPr txBox="1"/>
            <p:nvPr/>
          </p:nvSpPr>
          <p:spPr>
            <a:xfrm>
              <a:off x="6137908" y="4712265"/>
              <a:ext cx="2036004" cy="27707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rPr>
                <a:t>5G Ph1 Acceleration- NSA</a:t>
              </a:r>
            </a:p>
          </p:txBody>
        </p:sp>
        <p:sp>
          <p:nvSpPr>
            <p:cNvPr id="39" name="Left Arrow 18"/>
            <p:cNvSpPr/>
            <p:nvPr/>
          </p:nvSpPr>
          <p:spPr bwMode="auto">
            <a:xfrm>
              <a:off x="6298606" y="4515413"/>
              <a:ext cx="991267" cy="196874"/>
            </a:xfrm>
            <a:prstGeom prst="leftArrow">
              <a:avLst/>
            </a:prstGeom>
            <a:solidFill>
              <a:srgbClr val="F3B329"/>
            </a:solidFill>
            <a:ln w="12700" cap="flat" cmpd="sng" algn="ctr">
              <a:solidFill>
                <a:schemeClr val="tx1"/>
              </a:solidFill>
              <a:prstDash val="solid"/>
              <a:round/>
              <a:headEnd type="none" w="med" len="med"/>
              <a:tailEnd type="none" w="med" len="med"/>
            </a:ln>
            <a:effectLst/>
          </p:spPr>
          <p:txBody>
            <a:bodyPr vert="horz" wrap="none" lIns="71981" tIns="45708" rIns="71981" bIns="45708" numCol="1" rtlCol="0"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endParaRPr>
            </a:p>
          </p:txBody>
        </p:sp>
      </p:grpSp>
      <p:sp>
        <p:nvSpPr>
          <p:cNvPr id="40" name="Rounded Rectangle 102"/>
          <p:cNvSpPr/>
          <p:nvPr/>
        </p:nvSpPr>
        <p:spPr bwMode="auto">
          <a:xfrm>
            <a:off x="6857943" y="3587448"/>
            <a:ext cx="2331568" cy="633435"/>
          </a:xfrm>
          <a:prstGeom prst="roundRect">
            <a:avLst>
              <a:gd name="adj" fmla="val 11475"/>
            </a:avLst>
          </a:prstGeom>
          <a:solidFill>
            <a:srgbClr val="C3C5D9">
              <a:alpha val="61961"/>
            </a:srgbClr>
          </a:solidFill>
          <a:ln w="25400" cap="flat" cmpd="sng" algn="ctr">
            <a:solidFill>
              <a:srgbClr val="FFFFFF"/>
            </a:solidFill>
            <a:prstDash val="dash"/>
            <a:round/>
            <a:headEnd type="none" w="med" len="med"/>
            <a:tailEnd type="none" w="med" len="med"/>
          </a:ln>
          <a:effectLst/>
        </p:spPr>
        <p:txBody>
          <a:bodyPr vert="horz" wrap="none" lIns="71981" tIns="45708" rIns="71981" bIns="45708"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2"/>
                </a:solidFill>
                <a:effectLst/>
                <a:uLnTx/>
                <a:uFillTx/>
              </a:rPr>
              <a:t>Early </a:t>
            </a:r>
            <a:br>
              <a:rPr kumimoji="0" lang="en-US" sz="1799" b="0" i="0" u="none" strike="noStrike" kern="0" cap="none" spc="0" normalizeH="0" baseline="0" noProof="0">
                <a:ln>
                  <a:noFill/>
                </a:ln>
                <a:solidFill>
                  <a:schemeClr val="tx2"/>
                </a:solidFill>
                <a:effectLst/>
                <a:uLnTx/>
                <a:uFillTx/>
              </a:rPr>
            </a:br>
            <a:r>
              <a:rPr kumimoji="0" lang="en-US" sz="1799" b="0" i="0" u="none" strike="noStrike" kern="0" cap="none" spc="0" normalizeH="0" baseline="0" noProof="0">
                <a:ln>
                  <a:noFill/>
                </a:ln>
                <a:solidFill>
                  <a:schemeClr val="tx2"/>
                </a:solidFill>
                <a:effectLst/>
                <a:uLnTx/>
                <a:uFillTx/>
              </a:rPr>
              <a:t>deployments </a:t>
            </a:r>
          </a:p>
        </p:txBody>
      </p:sp>
      <p:grpSp>
        <p:nvGrpSpPr>
          <p:cNvPr id="41" name="Group 40"/>
          <p:cNvGrpSpPr/>
          <p:nvPr/>
        </p:nvGrpSpPr>
        <p:grpSpPr>
          <a:xfrm>
            <a:off x="8854604" y="3587448"/>
            <a:ext cx="3189910" cy="633435"/>
            <a:chOff x="7736035" y="2162850"/>
            <a:chExt cx="3693965" cy="633600"/>
          </a:xfrm>
        </p:grpSpPr>
        <p:sp>
          <p:nvSpPr>
            <p:cNvPr id="42" name="Rounded Rectangle 104"/>
            <p:cNvSpPr/>
            <p:nvPr/>
          </p:nvSpPr>
          <p:spPr bwMode="auto">
            <a:xfrm>
              <a:off x="7736035" y="2162850"/>
              <a:ext cx="3693965" cy="633600"/>
            </a:xfrm>
            <a:prstGeom prst="roundRect">
              <a:avLst>
                <a:gd name="adj" fmla="val 11475"/>
              </a:avLst>
            </a:prstGeom>
            <a:solidFill>
              <a:srgbClr val="C3C5D9"/>
            </a:solidFill>
            <a:ln w="25400" cap="flat" cmpd="sng" algn="ctr">
              <a:solidFill>
                <a:srgbClr val="FFFFFF"/>
              </a:solidFill>
              <a:prstDash val="solid"/>
              <a:round/>
              <a:headEnd type="none" w="med" len="med"/>
              <a:tailEnd type="none" w="med" len="med"/>
            </a:ln>
            <a:effectLst/>
          </p:spPr>
          <p:txBody>
            <a:bodyPr vert="horz" wrap="none" lIns="71981" tIns="45708" rIns="71981" bIns="45708" numCol="1" rtlCol="0"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schemeClr val="tx2"/>
                  </a:solidFill>
                  <a:effectLst/>
                  <a:uLnTx/>
                  <a:uFillTx/>
                </a:rPr>
                <a:t>Commercial </a:t>
              </a:r>
              <a:br>
                <a:rPr kumimoji="0" lang="en-US" sz="1799" b="0" i="0" u="none" strike="noStrike" kern="0" cap="none" spc="0" normalizeH="0" baseline="0" noProof="0">
                  <a:ln>
                    <a:noFill/>
                  </a:ln>
                  <a:solidFill>
                    <a:schemeClr val="tx2"/>
                  </a:solidFill>
                  <a:effectLst/>
                  <a:uLnTx/>
                  <a:uFillTx/>
                </a:rPr>
              </a:br>
              <a:r>
                <a:rPr kumimoji="0" lang="en-US" sz="1799" b="0" i="0" u="none" strike="noStrike" kern="0" cap="none" spc="0" normalizeH="0" baseline="0" noProof="0">
                  <a:ln>
                    <a:noFill/>
                  </a:ln>
                  <a:solidFill>
                    <a:schemeClr val="tx2"/>
                  </a:solidFill>
                  <a:effectLst/>
                  <a:uLnTx/>
                  <a:uFillTx/>
                </a:rPr>
                <a:t>5G with NR (Ph1)</a:t>
              </a:r>
            </a:p>
          </p:txBody>
        </p:sp>
        <p:sp>
          <p:nvSpPr>
            <p:cNvPr id="43" name="Freeform 3"/>
            <p:cNvSpPr>
              <a:spLocks noChangeAspect="1" noEditPoints="1"/>
            </p:cNvSpPr>
            <p:nvPr/>
          </p:nvSpPr>
          <p:spPr bwMode="auto">
            <a:xfrm>
              <a:off x="10849749" y="2260503"/>
              <a:ext cx="409057" cy="426924"/>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00285F"/>
            </a:solidFill>
            <a:ln>
              <a:noFill/>
            </a:ln>
            <a:ex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chemeClr val="tx2"/>
                </a:solidFill>
                <a:effectLst/>
                <a:uLnTx/>
                <a:uFillTx/>
              </a:endParaRPr>
            </a:p>
          </p:txBody>
        </p:sp>
      </p:grpSp>
      <p:sp>
        <p:nvSpPr>
          <p:cNvPr id="44" name="Rectangle 43"/>
          <p:cNvSpPr/>
          <p:nvPr/>
        </p:nvSpPr>
        <p:spPr>
          <a:xfrm>
            <a:off x="6894642" y="5807290"/>
            <a:ext cx="4597277" cy="979755"/>
          </a:xfrm>
          <a:prstGeom prst="rect">
            <a:avLst/>
          </a:prstGeom>
        </p:spPr>
        <p:txBody>
          <a:bodyPr wrap="square">
            <a:spAutoFit/>
          </a:bodyPr>
          <a:lstStyle/>
          <a:p>
            <a:pPr marL="285750" marR="0" lvl="1" indent="-285750" defTabSz="914400" eaLnBrk="1" fontAlgn="auto" latinLnBrk="0" hangingPunct="1">
              <a:lnSpc>
                <a:spcPct val="100000"/>
              </a:lnSpc>
              <a:spcBef>
                <a:spcPts val="240"/>
              </a:spcBef>
              <a:spcAft>
                <a:spcPts val="0"/>
              </a:spcAft>
              <a:buClr>
                <a:schemeClr val="bg1"/>
              </a:buClr>
              <a:buSzTx/>
              <a:buFont typeface="Arial" charset="0"/>
              <a:buChar char="•"/>
              <a:tabLst/>
              <a:defRPr/>
            </a:pPr>
            <a:r>
              <a:rPr kumimoji="0" lang="en-US" sz="1400" b="0" i="0" u="none" strike="noStrike" kern="0" cap="none" spc="0" normalizeH="0" baseline="0" noProof="0" dirty="0">
                <a:ln>
                  <a:noFill/>
                </a:ln>
                <a:solidFill>
                  <a:srgbClr val="FFFFFF"/>
                </a:solidFill>
                <a:effectLst/>
                <a:uLnTx/>
                <a:uFillTx/>
              </a:rPr>
              <a:t>Option 3 Non-Stand-alone (NSA) NR using LTE as Control Plane (CP) anchor </a:t>
            </a:r>
          </a:p>
          <a:p>
            <a:pPr marL="285750" marR="0" lvl="1" indent="-285750" defTabSz="914400" eaLnBrk="1" fontAlgn="auto" latinLnBrk="0" hangingPunct="1">
              <a:lnSpc>
                <a:spcPct val="100000"/>
              </a:lnSpc>
              <a:spcBef>
                <a:spcPts val="240"/>
              </a:spcBef>
              <a:spcAft>
                <a:spcPts val="0"/>
              </a:spcAft>
              <a:buClr>
                <a:schemeClr val="bg1"/>
              </a:buClr>
              <a:buSzTx/>
              <a:buFont typeface="Arial" charset="0"/>
              <a:buChar char="•"/>
              <a:tabLst/>
              <a:defRPr/>
            </a:pPr>
            <a:r>
              <a:rPr kumimoji="0" lang="en-US" sz="1400" b="0" i="0" u="none" strike="noStrike" kern="0" cap="none" spc="0" normalizeH="0" baseline="0" noProof="0" dirty="0">
                <a:ln>
                  <a:noFill/>
                </a:ln>
                <a:solidFill>
                  <a:srgbClr val="FFFFFF"/>
                </a:solidFill>
                <a:effectLst/>
                <a:uLnTx/>
                <a:uFillTx/>
              </a:rPr>
              <a:t>Option 2 Stand-alone (SA) NR w/ full CP capability for NR</a:t>
            </a:r>
          </a:p>
        </p:txBody>
      </p:sp>
      <p:sp>
        <p:nvSpPr>
          <p:cNvPr id="45" name="TextBox 44"/>
          <p:cNvSpPr txBox="1"/>
          <p:nvPr/>
        </p:nvSpPr>
        <p:spPr>
          <a:xfrm>
            <a:off x="311972" y="6081282"/>
            <a:ext cx="2719014" cy="5847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SA:</a:t>
            </a:r>
            <a:r>
              <a:rPr kumimoji="0" lang="en-US" sz="1600" b="0" i="0" u="none" strike="noStrike" kern="0" cap="none" spc="0" normalizeH="0" noProof="0" dirty="0">
                <a:ln>
                  <a:noFill/>
                </a:ln>
                <a:solidFill>
                  <a:srgbClr val="FFFFFF"/>
                </a:solidFill>
                <a:effectLst/>
                <a:uLnTx/>
                <a:uFillTx/>
              </a:rPr>
              <a:t> System</a:t>
            </a:r>
            <a:r>
              <a:rPr lang="en-US" sz="1600" kern="0" dirty="0">
                <a:solidFill>
                  <a:srgbClr val="FFFFFF"/>
                </a:solidFill>
              </a:rPr>
              <a:t> Architecture</a:t>
            </a:r>
            <a:br>
              <a:rPr lang="en-US" sz="1600" kern="0" dirty="0">
                <a:solidFill>
                  <a:srgbClr val="FFFFFF"/>
                </a:solidFill>
              </a:rPr>
            </a:br>
            <a:r>
              <a:rPr lang="en-US" sz="1600" kern="0" dirty="0">
                <a:solidFill>
                  <a:srgbClr val="FFFFFF"/>
                </a:solidFill>
              </a:rPr>
              <a:t>WID: Work Item Description</a:t>
            </a:r>
            <a:endParaRPr kumimoji="0" lang="en-US" sz="16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2697555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Architecture scope</a:t>
            </a:r>
          </a:p>
        </p:txBody>
      </p:sp>
      <p:cxnSp>
        <p:nvCxnSpPr>
          <p:cNvPr id="170" name="Straight Connector 169"/>
          <p:cNvCxnSpPr>
            <a:cxnSpLocks/>
          </p:cNvCxnSpPr>
          <p:nvPr/>
        </p:nvCxnSpPr>
        <p:spPr bwMode="auto">
          <a:xfrm>
            <a:off x="524935" y="6023050"/>
            <a:ext cx="694265"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71" name="Straight Connector 170"/>
          <p:cNvCxnSpPr>
            <a:cxnSpLocks/>
          </p:cNvCxnSpPr>
          <p:nvPr/>
        </p:nvCxnSpPr>
        <p:spPr bwMode="auto">
          <a:xfrm flipV="1">
            <a:off x="511078" y="6278560"/>
            <a:ext cx="708122" cy="7729"/>
          </a:xfrm>
          <a:prstGeom prst="line">
            <a:avLst/>
          </a:prstGeom>
          <a:solidFill>
            <a:schemeClr val="accent1"/>
          </a:solidFill>
          <a:ln w="28575" cap="flat" cmpd="sng" algn="ctr">
            <a:solidFill>
              <a:schemeClr val="tx1"/>
            </a:solidFill>
            <a:prstDash val="dash"/>
            <a:round/>
            <a:headEnd type="none" w="med" len="med"/>
            <a:tailEnd type="none" w="med" len="med"/>
          </a:ln>
          <a:effectLst/>
        </p:spPr>
      </p:cxnSp>
      <p:sp>
        <p:nvSpPr>
          <p:cNvPr id="174" name="TextBox 173"/>
          <p:cNvSpPr txBox="1"/>
          <p:nvPr/>
        </p:nvSpPr>
        <p:spPr>
          <a:xfrm>
            <a:off x="1188639" y="5879444"/>
            <a:ext cx="434734" cy="307777"/>
          </a:xfrm>
          <a:prstGeom prst="rect">
            <a:avLst/>
          </a:prstGeom>
          <a:noFill/>
        </p:spPr>
        <p:txBody>
          <a:bodyPr wrap="none" rtlCol="0">
            <a:spAutoFit/>
          </a:bodyPr>
          <a:lstStyle/>
          <a:p>
            <a:r>
              <a:rPr lang="en-US" sz="1400" dirty="0"/>
              <a:t>UP</a:t>
            </a:r>
          </a:p>
        </p:txBody>
      </p:sp>
      <p:sp>
        <p:nvSpPr>
          <p:cNvPr id="175" name="TextBox 174"/>
          <p:cNvSpPr txBox="1"/>
          <p:nvPr/>
        </p:nvSpPr>
        <p:spPr>
          <a:xfrm>
            <a:off x="1188640" y="6142684"/>
            <a:ext cx="434734" cy="307777"/>
          </a:xfrm>
          <a:prstGeom prst="rect">
            <a:avLst/>
          </a:prstGeom>
          <a:noFill/>
        </p:spPr>
        <p:txBody>
          <a:bodyPr wrap="none" rtlCol="0">
            <a:spAutoFit/>
          </a:bodyPr>
          <a:lstStyle/>
          <a:p>
            <a:r>
              <a:rPr lang="en-US" sz="1400" dirty="0"/>
              <a:t>CP</a:t>
            </a:r>
          </a:p>
        </p:txBody>
      </p:sp>
      <p:sp>
        <p:nvSpPr>
          <p:cNvPr id="173"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6"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7" name="Rectangle 6"/>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8" name="Rectangle 8"/>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9" name="Rectangle 10"/>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0"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1"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83" name="Group 261"/>
          <p:cNvGrpSpPr>
            <a:grpSpLocks/>
          </p:cNvGrpSpPr>
          <p:nvPr/>
        </p:nvGrpSpPr>
        <p:grpSpPr bwMode="auto">
          <a:xfrm>
            <a:off x="1808883" y="1738977"/>
            <a:ext cx="496390" cy="689716"/>
            <a:chOff x="239" y="1832"/>
            <a:chExt cx="363" cy="520"/>
          </a:xfrm>
        </p:grpSpPr>
        <p:sp>
          <p:nvSpPr>
            <p:cNvPr id="18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18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18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5GC</a:t>
              </a:r>
            </a:p>
          </p:txBody>
        </p:sp>
        <p:sp>
          <p:nvSpPr>
            <p:cNvPr id="18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18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grpSp>
        <p:nvGrpSpPr>
          <p:cNvPr id="189" name="Group 188"/>
          <p:cNvGrpSpPr>
            <a:grpSpLocks noChangeAspect="1"/>
          </p:cNvGrpSpPr>
          <p:nvPr/>
        </p:nvGrpSpPr>
        <p:grpSpPr bwMode="auto">
          <a:xfrm>
            <a:off x="1809566" y="2659678"/>
            <a:ext cx="496390" cy="703123"/>
            <a:chOff x="3106" y="2389"/>
            <a:chExt cx="363" cy="520"/>
          </a:xfrm>
        </p:grpSpPr>
        <p:sp>
          <p:nvSpPr>
            <p:cNvPr id="190"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91"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92"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194"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195" name="Group 9"/>
          <p:cNvGrpSpPr>
            <a:grpSpLocks/>
          </p:cNvGrpSpPr>
          <p:nvPr/>
        </p:nvGrpSpPr>
        <p:grpSpPr bwMode="auto">
          <a:xfrm>
            <a:off x="2186271" y="3618311"/>
            <a:ext cx="239369" cy="360989"/>
            <a:chOff x="416" y="1332"/>
            <a:chExt cx="408" cy="737"/>
          </a:xfrm>
        </p:grpSpPr>
        <p:sp>
          <p:nvSpPr>
            <p:cNvPr id="196"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Arial" charset="0"/>
                <a:cs typeface="Arial" charset="0"/>
              </a:endParaRPr>
            </a:p>
          </p:txBody>
        </p:sp>
        <p:grpSp>
          <p:nvGrpSpPr>
            <p:cNvPr id="197" name="Group 11"/>
            <p:cNvGrpSpPr>
              <a:grpSpLocks/>
            </p:cNvGrpSpPr>
            <p:nvPr/>
          </p:nvGrpSpPr>
          <p:grpSpPr bwMode="auto">
            <a:xfrm>
              <a:off x="416" y="1332"/>
              <a:ext cx="408" cy="737"/>
              <a:chOff x="518" y="1338"/>
              <a:chExt cx="357" cy="568"/>
            </a:xfrm>
          </p:grpSpPr>
          <p:sp>
            <p:nvSpPr>
              <p:cNvPr id="198"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chemeClr val="tx1"/>
                    </a:solidFill>
                    <a:effectLst/>
                    <a:uLnTx/>
                    <a:uFillTx/>
                    <a:latin typeface="Arial" charset="0"/>
                    <a:cs typeface="Arial" charset="0"/>
                  </a:rPr>
                </a:br>
                <a:endParaRPr kumimoji="0" lang="en-US" altLang="es-ES_tradnl" sz="2400" b="0" i="0" u="none" strike="noStrike" kern="0" cap="none" spc="0" normalizeH="0" baseline="0" noProof="0">
                  <a:ln>
                    <a:noFill/>
                  </a:ln>
                  <a:solidFill>
                    <a:schemeClr val="tx1"/>
                  </a:solidFill>
                  <a:effectLst/>
                  <a:uLnTx/>
                  <a:uFillTx/>
                  <a:latin typeface="Arial" charset="0"/>
                  <a:cs typeface="Arial" charset="0"/>
                </a:endParaRPr>
              </a:p>
            </p:txBody>
          </p:sp>
          <p:sp>
            <p:nvSpPr>
              <p:cNvPr id="199"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cxnSp>
        <p:nvCxnSpPr>
          <p:cNvPr id="200" name="Straight Connector 199"/>
          <p:cNvCxnSpPr>
            <a:stCxn id="191" idx="1"/>
            <a:endCxn id="186" idx="2"/>
          </p:cNvCxnSpPr>
          <p:nvPr/>
        </p:nvCxnSpPr>
        <p:spPr bwMode="auto">
          <a:xfrm flipV="1">
            <a:off x="1886895" y="2412777"/>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01" name="Straight Connector 200"/>
          <p:cNvCxnSpPr>
            <a:stCxn id="191" idx="7"/>
            <a:endCxn id="184" idx="2"/>
          </p:cNvCxnSpPr>
          <p:nvPr/>
        </p:nvCxnSpPr>
        <p:spPr bwMode="auto">
          <a:xfrm flipH="1" flipV="1">
            <a:off x="2057762" y="2420735"/>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02" name="Straight Connector 201"/>
          <p:cNvCxnSpPr/>
          <p:nvPr/>
        </p:nvCxnSpPr>
        <p:spPr bwMode="auto">
          <a:xfrm flipH="1" flipV="1">
            <a:off x="1999269" y="3354688"/>
            <a:ext cx="209225" cy="31946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03" name="Straight Connector 202"/>
          <p:cNvCxnSpPr/>
          <p:nvPr/>
        </p:nvCxnSpPr>
        <p:spPr bwMode="auto">
          <a:xfrm flipH="1" flipV="1">
            <a:off x="2111033" y="3346575"/>
            <a:ext cx="194923" cy="271736"/>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204" name="Freeform 5"/>
          <p:cNvSpPr>
            <a:spLocks noChangeAspect="1"/>
          </p:cNvSpPr>
          <p:nvPr/>
        </p:nvSpPr>
        <p:spPr bwMode="auto">
          <a:xfrm>
            <a:off x="379247" y="1603091"/>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Option 2</a:t>
            </a:r>
            <a:b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br>
            <a:r>
              <a:rPr kumimoji="0" lang="en-US" altLang="es-ES_tradnl" sz="1600" b="1" i="0" u="none" strike="noStrike" kern="0" cap="none" spc="0" normalizeH="0" baseline="0" noProof="0" dirty="0">
                <a:ln>
                  <a:noFill/>
                </a:ln>
                <a:solidFill>
                  <a:srgbClr val="00B0F0"/>
                </a:solidFill>
                <a:effectLst/>
                <a:uLnTx/>
                <a:uFillTx/>
                <a:latin typeface="Arial" charset="0"/>
                <a:cs typeface="Arial" charset="0"/>
              </a:rPr>
              <a:t>Stand-alone NR</a:t>
            </a:r>
          </a:p>
        </p:txBody>
      </p:sp>
      <p:grpSp>
        <p:nvGrpSpPr>
          <p:cNvPr id="205" name="Group 261"/>
          <p:cNvGrpSpPr>
            <a:grpSpLocks/>
          </p:cNvGrpSpPr>
          <p:nvPr/>
        </p:nvGrpSpPr>
        <p:grpSpPr bwMode="auto">
          <a:xfrm>
            <a:off x="4711019" y="1738978"/>
            <a:ext cx="496390" cy="689716"/>
            <a:chOff x="239" y="1832"/>
            <a:chExt cx="363" cy="520"/>
          </a:xfrm>
        </p:grpSpPr>
        <p:sp>
          <p:nvSpPr>
            <p:cNvPr id="20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0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0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GC</a:t>
              </a:r>
            </a:p>
          </p:txBody>
        </p:sp>
        <p:sp>
          <p:nvSpPr>
            <p:cNvPr id="20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1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grpSp>
        <p:nvGrpSpPr>
          <p:cNvPr id="211" name="Group 210"/>
          <p:cNvGrpSpPr>
            <a:grpSpLocks noChangeAspect="1"/>
          </p:cNvGrpSpPr>
          <p:nvPr/>
        </p:nvGrpSpPr>
        <p:grpSpPr bwMode="auto">
          <a:xfrm>
            <a:off x="4711702" y="2659679"/>
            <a:ext cx="496390" cy="703123"/>
            <a:chOff x="3106" y="2389"/>
            <a:chExt cx="363" cy="520"/>
          </a:xfrm>
        </p:grpSpPr>
        <p:sp>
          <p:nvSpPr>
            <p:cNvPr id="21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1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1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1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217" name="Group 9"/>
          <p:cNvGrpSpPr>
            <a:grpSpLocks/>
          </p:cNvGrpSpPr>
          <p:nvPr/>
        </p:nvGrpSpPr>
        <p:grpSpPr bwMode="auto">
          <a:xfrm>
            <a:off x="4356887" y="3618312"/>
            <a:ext cx="239369" cy="360989"/>
            <a:chOff x="416" y="1332"/>
            <a:chExt cx="408" cy="737"/>
          </a:xfrm>
        </p:grpSpPr>
        <p:sp>
          <p:nvSpPr>
            <p:cNvPr id="218"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Arial" charset="0"/>
                <a:cs typeface="Arial" charset="0"/>
              </a:endParaRPr>
            </a:p>
          </p:txBody>
        </p:sp>
        <p:grpSp>
          <p:nvGrpSpPr>
            <p:cNvPr id="219" name="Group 11"/>
            <p:cNvGrpSpPr>
              <a:grpSpLocks/>
            </p:cNvGrpSpPr>
            <p:nvPr/>
          </p:nvGrpSpPr>
          <p:grpSpPr bwMode="auto">
            <a:xfrm>
              <a:off x="416" y="1332"/>
              <a:ext cx="408" cy="737"/>
              <a:chOff x="518" y="1338"/>
              <a:chExt cx="357" cy="568"/>
            </a:xfrm>
          </p:grpSpPr>
          <p:sp>
            <p:nvSpPr>
              <p:cNvPr id="220"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chemeClr val="tx1"/>
                    </a:solidFill>
                    <a:effectLst/>
                    <a:uLnTx/>
                    <a:uFillTx/>
                    <a:latin typeface="Arial" charset="0"/>
                    <a:cs typeface="Arial" charset="0"/>
                  </a:rPr>
                </a:br>
                <a:endParaRPr kumimoji="0" lang="en-US" altLang="es-ES_tradnl" sz="2400" b="0" i="0" u="none" strike="noStrike" kern="0" cap="none" spc="0" normalizeH="0" baseline="0" noProof="0">
                  <a:ln>
                    <a:noFill/>
                  </a:ln>
                  <a:solidFill>
                    <a:schemeClr val="tx1"/>
                  </a:solidFill>
                  <a:effectLst/>
                  <a:uLnTx/>
                  <a:uFillTx/>
                  <a:latin typeface="Arial" charset="0"/>
                  <a:cs typeface="Arial" charset="0"/>
                </a:endParaRPr>
              </a:p>
            </p:txBody>
          </p:sp>
          <p:sp>
            <p:nvSpPr>
              <p:cNvPr id="221"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cxnSp>
        <p:nvCxnSpPr>
          <p:cNvPr id="222" name="Straight Connector 221"/>
          <p:cNvCxnSpPr>
            <a:stCxn id="213" idx="1"/>
            <a:endCxn id="208" idx="2"/>
          </p:cNvCxnSpPr>
          <p:nvPr/>
        </p:nvCxnSpPr>
        <p:spPr bwMode="auto">
          <a:xfrm flipV="1">
            <a:off x="4789031" y="2412778"/>
            <a:ext cx="168816" cy="32666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23" name="Straight Connector 222"/>
          <p:cNvCxnSpPr>
            <a:stCxn id="213" idx="7"/>
            <a:endCxn id="206" idx="2"/>
          </p:cNvCxnSpPr>
          <p:nvPr/>
        </p:nvCxnSpPr>
        <p:spPr bwMode="auto">
          <a:xfrm flipH="1" flipV="1">
            <a:off x="4959898" y="2420736"/>
            <a:ext cx="169497" cy="31870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24" name="Straight Connector 223"/>
          <p:cNvCxnSpPr/>
          <p:nvPr/>
        </p:nvCxnSpPr>
        <p:spPr bwMode="auto">
          <a:xfrm flipV="1">
            <a:off x="4476571" y="3354690"/>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25" name="Straight Connector 224"/>
          <p:cNvCxnSpPr/>
          <p:nvPr/>
        </p:nvCxnSpPr>
        <p:spPr bwMode="auto">
          <a:xfrm flipV="1">
            <a:off x="4596256" y="3346576"/>
            <a:ext cx="416914" cy="327574"/>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226" name="Freeform 5"/>
          <p:cNvSpPr>
            <a:spLocks noChangeAspect="1"/>
          </p:cNvSpPr>
          <p:nvPr/>
        </p:nvSpPr>
        <p:spPr bwMode="auto">
          <a:xfrm>
            <a:off x="3281383" y="1603092"/>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Option 4</a:t>
            </a:r>
            <a:b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br>
            <a:r>
              <a:rPr kumimoji="0" lang="en-US" altLang="es-ES_tradnl" sz="1600" b="1" i="0" u="none" strike="noStrike" kern="0" cap="none" spc="0" normalizeH="0" baseline="0" noProof="0" dirty="0">
                <a:ln>
                  <a:noFill/>
                </a:ln>
                <a:solidFill>
                  <a:srgbClr val="00B0F0"/>
                </a:solidFill>
                <a:effectLst/>
                <a:uLnTx/>
                <a:uFillTx/>
                <a:latin typeface="Arial" charset="0"/>
                <a:cs typeface="Arial" charset="0"/>
              </a:rPr>
              <a:t>“NR-Assisted”</a:t>
            </a:r>
          </a:p>
        </p:txBody>
      </p:sp>
      <p:grpSp>
        <p:nvGrpSpPr>
          <p:cNvPr id="227" name="Group 261"/>
          <p:cNvGrpSpPr>
            <a:grpSpLocks/>
          </p:cNvGrpSpPr>
          <p:nvPr/>
        </p:nvGrpSpPr>
        <p:grpSpPr bwMode="auto">
          <a:xfrm>
            <a:off x="3827099" y="1723062"/>
            <a:ext cx="496390" cy="689716"/>
            <a:chOff x="239" y="1832"/>
            <a:chExt cx="363" cy="520"/>
          </a:xfrm>
        </p:grpSpPr>
        <p:sp>
          <p:nvSpPr>
            <p:cNvPr id="22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2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3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EPC</a:t>
              </a:r>
            </a:p>
          </p:txBody>
        </p:sp>
        <p:sp>
          <p:nvSpPr>
            <p:cNvPr id="23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3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cxnSp>
        <p:nvCxnSpPr>
          <p:cNvPr id="233" name="Straight Connector 232"/>
          <p:cNvCxnSpPr>
            <a:endCxn id="236" idx="2"/>
          </p:cNvCxnSpPr>
          <p:nvPr/>
        </p:nvCxnSpPr>
        <p:spPr bwMode="auto">
          <a:xfrm flipH="1" flipV="1">
            <a:off x="4080476" y="3352999"/>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34" name="Straight Connector 233"/>
          <p:cNvCxnSpPr>
            <a:stCxn id="214" idx="1"/>
            <a:endCxn id="238" idx="3"/>
          </p:cNvCxnSpPr>
          <p:nvPr/>
        </p:nvCxnSpPr>
        <p:spPr bwMode="auto">
          <a:xfrm flipH="1" flipV="1">
            <a:off x="4302005" y="3192768"/>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35" name="Group 234"/>
          <p:cNvGrpSpPr>
            <a:grpSpLocks noChangeAspect="1"/>
          </p:cNvGrpSpPr>
          <p:nvPr/>
        </p:nvGrpSpPr>
        <p:grpSpPr bwMode="auto">
          <a:xfrm>
            <a:off x="3831597" y="2657989"/>
            <a:ext cx="496390" cy="703123"/>
            <a:chOff x="3106" y="2389"/>
            <a:chExt cx="363" cy="520"/>
          </a:xfrm>
        </p:grpSpPr>
        <p:sp>
          <p:nvSpPr>
            <p:cNvPr id="23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3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3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4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241" name="Group 261"/>
          <p:cNvGrpSpPr>
            <a:grpSpLocks/>
          </p:cNvGrpSpPr>
          <p:nvPr/>
        </p:nvGrpSpPr>
        <p:grpSpPr bwMode="auto">
          <a:xfrm>
            <a:off x="7598999" y="4399226"/>
            <a:ext cx="496390" cy="689716"/>
            <a:chOff x="239" y="1832"/>
            <a:chExt cx="363" cy="520"/>
          </a:xfrm>
        </p:grpSpPr>
        <p:sp>
          <p:nvSpPr>
            <p:cNvPr id="24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4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4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GC</a:t>
              </a:r>
            </a:p>
          </p:txBody>
        </p:sp>
        <p:sp>
          <p:nvSpPr>
            <p:cNvPr id="24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4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grpSp>
        <p:nvGrpSpPr>
          <p:cNvPr id="247" name="Group 246"/>
          <p:cNvGrpSpPr>
            <a:grpSpLocks noChangeAspect="1"/>
          </p:cNvGrpSpPr>
          <p:nvPr/>
        </p:nvGrpSpPr>
        <p:grpSpPr bwMode="auto">
          <a:xfrm>
            <a:off x="7599682" y="5319927"/>
            <a:ext cx="496390" cy="703123"/>
            <a:chOff x="3106" y="2389"/>
            <a:chExt cx="363" cy="520"/>
          </a:xfrm>
        </p:grpSpPr>
        <p:sp>
          <p:nvSpPr>
            <p:cNvPr id="24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4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5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5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253" name="Group 9"/>
          <p:cNvGrpSpPr>
            <a:grpSpLocks/>
          </p:cNvGrpSpPr>
          <p:nvPr/>
        </p:nvGrpSpPr>
        <p:grpSpPr bwMode="auto">
          <a:xfrm>
            <a:off x="7244867" y="6278560"/>
            <a:ext cx="239369" cy="360989"/>
            <a:chOff x="416" y="1332"/>
            <a:chExt cx="408" cy="737"/>
          </a:xfrm>
        </p:grpSpPr>
        <p:sp>
          <p:nvSpPr>
            <p:cNvPr id="254"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Arial" charset="0"/>
                <a:cs typeface="Arial" charset="0"/>
              </a:endParaRPr>
            </a:p>
          </p:txBody>
        </p:sp>
        <p:grpSp>
          <p:nvGrpSpPr>
            <p:cNvPr id="255" name="Group 11"/>
            <p:cNvGrpSpPr>
              <a:grpSpLocks/>
            </p:cNvGrpSpPr>
            <p:nvPr/>
          </p:nvGrpSpPr>
          <p:grpSpPr bwMode="auto">
            <a:xfrm>
              <a:off x="416" y="1332"/>
              <a:ext cx="408" cy="737"/>
              <a:chOff x="518" y="1338"/>
              <a:chExt cx="357" cy="568"/>
            </a:xfrm>
          </p:grpSpPr>
          <p:sp>
            <p:nvSpPr>
              <p:cNvPr id="256"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chemeClr val="tx1"/>
                    </a:solidFill>
                    <a:effectLst/>
                    <a:uLnTx/>
                    <a:uFillTx/>
                    <a:latin typeface="Arial" charset="0"/>
                    <a:cs typeface="Arial" charset="0"/>
                  </a:rPr>
                </a:br>
                <a:endParaRPr kumimoji="0" lang="en-US" altLang="es-ES_tradnl" sz="2400" b="0" i="0" u="none" strike="noStrike" kern="0" cap="none" spc="0" normalizeH="0" baseline="0" noProof="0">
                  <a:ln>
                    <a:noFill/>
                  </a:ln>
                  <a:solidFill>
                    <a:schemeClr val="tx1"/>
                  </a:solidFill>
                  <a:effectLst/>
                  <a:uLnTx/>
                  <a:uFillTx/>
                  <a:latin typeface="Arial" charset="0"/>
                  <a:cs typeface="Arial" charset="0"/>
                </a:endParaRPr>
              </a:p>
            </p:txBody>
          </p:sp>
          <p:sp>
            <p:nvSpPr>
              <p:cNvPr id="257"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cxnSp>
        <p:nvCxnSpPr>
          <p:cNvPr id="258" name="Straight Connector 257"/>
          <p:cNvCxnSpPr>
            <a:stCxn id="273" idx="1"/>
            <a:endCxn id="264" idx="2"/>
          </p:cNvCxnSpPr>
          <p:nvPr/>
        </p:nvCxnSpPr>
        <p:spPr bwMode="auto">
          <a:xfrm flipV="1">
            <a:off x="6796906" y="5065068"/>
            <a:ext cx="167052" cy="332931"/>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59" name="Straight Connector 258"/>
          <p:cNvCxnSpPr>
            <a:stCxn id="273" idx="7"/>
            <a:endCxn id="264" idx="2"/>
          </p:cNvCxnSpPr>
          <p:nvPr/>
        </p:nvCxnSpPr>
        <p:spPr bwMode="auto">
          <a:xfrm flipH="1" flipV="1">
            <a:off x="6963958" y="5065068"/>
            <a:ext cx="173312" cy="33293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60" name="Straight Connector 259"/>
          <p:cNvCxnSpPr/>
          <p:nvPr/>
        </p:nvCxnSpPr>
        <p:spPr bwMode="auto">
          <a:xfrm flipV="1">
            <a:off x="7364551" y="6014938"/>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61" name="Straight Connector 260"/>
          <p:cNvCxnSpPr/>
          <p:nvPr/>
        </p:nvCxnSpPr>
        <p:spPr bwMode="auto">
          <a:xfrm flipH="1" flipV="1">
            <a:off x="6880432" y="6013247"/>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262" name="Freeform 5"/>
          <p:cNvSpPr>
            <a:spLocks noChangeAspect="1"/>
          </p:cNvSpPr>
          <p:nvPr/>
        </p:nvSpPr>
        <p:spPr bwMode="auto">
          <a:xfrm>
            <a:off x="6169363" y="4263340"/>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Option 3</a:t>
            </a:r>
            <a:b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b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a:t>
            </a:r>
            <a:r>
              <a:rPr kumimoji="0" lang="en-US" altLang="es-ES_tradnl" sz="1600" b="1" i="0" u="none" strike="noStrike" kern="0" cap="none" spc="0" normalizeH="0" baseline="0" noProof="0" dirty="0">
                <a:ln>
                  <a:noFill/>
                </a:ln>
                <a:solidFill>
                  <a:srgbClr val="00B0F0"/>
                </a:solidFill>
                <a:effectLst/>
                <a:uLnTx/>
                <a:uFillTx/>
                <a:latin typeface="Arial" charset="0"/>
                <a:cs typeface="Arial" charset="0"/>
              </a:rPr>
              <a:t>LTE assisted”, EPC </a:t>
            </a:r>
          </a:p>
        </p:txBody>
      </p:sp>
      <p:grpSp>
        <p:nvGrpSpPr>
          <p:cNvPr id="263" name="Group 261"/>
          <p:cNvGrpSpPr>
            <a:grpSpLocks/>
          </p:cNvGrpSpPr>
          <p:nvPr/>
        </p:nvGrpSpPr>
        <p:grpSpPr bwMode="auto">
          <a:xfrm>
            <a:off x="6715079" y="4383310"/>
            <a:ext cx="496390" cy="689716"/>
            <a:chOff x="239" y="1832"/>
            <a:chExt cx="363" cy="520"/>
          </a:xfrm>
        </p:grpSpPr>
        <p:sp>
          <p:nvSpPr>
            <p:cNvPr id="26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6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6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EPC</a:t>
              </a:r>
            </a:p>
          </p:txBody>
        </p:sp>
        <p:sp>
          <p:nvSpPr>
            <p:cNvPr id="26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6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cxnSp>
        <p:nvCxnSpPr>
          <p:cNvPr id="269" name="Straight Connector 268"/>
          <p:cNvCxnSpPr>
            <a:endCxn id="272" idx="2"/>
          </p:cNvCxnSpPr>
          <p:nvPr/>
        </p:nvCxnSpPr>
        <p:spPr bwMode="auto">
          <a:xfrm flipH="1" flipV="1">
            <a:off x="6968456" y="6013247"/>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70" name="Straight Connector 269"/>
          <p:cNvCxnSpPr>
            <a:stCxn id="250" idx="1"/>
            <a:endCxn id="274" idx="3"/>
          </p:cNvCxnSpPr>
          <p:nvPr/>
        </p:nvCxnSpPr>
        <p:spPr bwMode="auto">
          <a:xfrm flipH="1" flipV="1">
            <a:off x="7189985" y="5853016"/>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71" name="Group 270"/>
          <p:cNvGrpSpPr>
            <a:grpSpLocks noChangeAspect="1"/>
          </p:cNvGrpSpPr>
          <p:nvPr/>
        </p:nvGrpSpPr>
        <p:grpSpPr bwMode="auto">
          <a:xfrm>
            <a:off x="6719577" y="5318237"/>
            <a:ext cx="496390" cy="703123"/>
            <a:chOff x="3106" y="2389"/>
            <a:chExt cx="363" cy="520"/>
          </a:xfrm>
        </p:grpSpPr>
        <p:sp>
          <p:nvSpPr>
            <p:cNvPr id="27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7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7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7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277" name="Group 261"/>
          <p:cNvGrpSpPr>
            <a:grpSpLocks/>
          </p:cNvGrpSpPr>
          <p:nvPr/>
        </p:nvGrpSpPr>
        <p:grpSpPr bwMode="auto">
          <a:xfrm>
            <a:off x="7598999" y="1752933"/>
            <a:ext cx="496390" cy="689716"/>
            <a:chOff x="239" y="1832"/>
            <a:chExt cx="363" cy="520"/>
          </a:xfrm>
        </p:grpSpPr>
        <p:sp>
          <p:nvSpPr>
            <p:cNvPr id="27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7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8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lang="en-US" altLang="en-US" sz="1100" b="1" kern="0" dirty="0">
                  <a:solidFill>
                    <a:srgbClr val="8F3F7B"/>
                  </a:solidFill>
                  <a:ea typeface="ＭＳ Ｐゴシック" pitchFamily="34" charset="-128"/>
                </a:rPr>
                <a:t>5</a:t>
              </a: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GC</a:t>
              </a:r>
            </a:p>
          </p:txBody>
        </p:sp>
        <p:sp>
          <p:nvSpPr>
            <p:cNvPr id="28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28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grpSp>
        <p:nvGrpSpPr>
          <p:cNvPr id="283" name="Group 9"/>
          <p:cNvGrpSpPr>
            <a:grpSpLocks/>
          </p:cNvGrpSpPr>
          <p:nvPr/>
        </p:nvGrpSpPr>
        <p:grpSpPr bwMode="auto">
          <a:xfrm>
            <a:off x="7244867" y="3632267"/>
            <a:ext cx="239369" cy="360989"/>
            <a:chOff x="416" y="1332"/>
            <a:chExt cx="408" cy="737"/>
          </a:xfrm>
        </p:grpSpPr>
        <p:sp>
          <p:nvSpPr>
            <p:cNvPr id="284"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Arial" charset="0"/>
                <a:cs typeface="Arial" charset="0"/>
              </a:endParaRPr>
            </a:p>
          </p:txBody>
        </p:sp>
        <p:grpSp>
          <p:nvGrpSpPr>
            <p:cNvPr id="285" name="Group 11"/>
            <p:cNvGrpSpPr>
              <a:grpSpLocks/>
            </p:cNvGrpSpPr>
            <p:nvPr/>
          </p:nvGrpSpPr>
          <p:grpSpPr bwMode="auto">
            <a:xfrm>
              <a:off x="416" y="1332"/>
              <a:ext cx="408" cy="737"/>
              <a:chOff x="518" y="1338"/>
              <a:chExt cx="357" cy="568"/>
            </a:xfrm>
          </p:grpSpPr>
          <p:sp>
            <p:nvSpPr>
              <p:cNvPr id="286"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chemeClr val="tx1"/>
                    </a:solidFill>
                    <a:effectLst/>
                    <a:uLnTx/>
                    <a:uFillTx/>
                    <a:latin typeface="Arial" charset="0"/>
                    <a:cs typeface="Arial" charset="0"/>
                  </a:rPr>
                </a:br>
                <a:endParaRPr kumimoji="0" lang="en-US" altLang="es-ES_tradnl" sz="2400" b="0" i="0" u="none" strike="noStrike" kern="0" cap="none" spc="0" normalizeH="0" baseline="0" noProof="0">
                  <a:ln>
                    <a:noFill/>
                  </a:ln>
                  <a:solidFill>
                    <a:schemeClr val="tx1"/>
                  </a:solidFill>
                  <a:effectLst/>
                  <a:uLnTx/>
                  <a:uFillTx/>
                  <a:latin typeface="Arial" charset="0"/>
                  <a:cs typeface="Arial" charset="0"/>
                </a:endParaRPr>
              </a:p>
            </p:txBody>
          </p:sp>
          <p:sp>
            <p:nvSpPr>
              <p:cNvPr id="287"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cxnSp>
        <p:nvCxnSpPr>
          <p:cNvPr id="288" name="Straight Connector 287"/>
          <p:cNvCxnSpPr>
            <a:stCxn id="295" idx="1"/>
            <a:endCxn id="280" idx="2"/>
          </p:cNvCxnSpPr>
          <p:nvPr/>
        </p:nvCxnSpPr>
        <p:spPr bwMode="auto">
          <a:xfrm flipV="1">
            <a:off x="6796906" y="2426733"/>
            <a:ext cx="1048921" cy="32497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289" name="Straight Connector 288"/>
          <p:cNvCxnSpPr>
            <a:stCxn id="295" idx="7"/>
            <a:endCxn id="278" idx="2"/>
          </p:cNvCxnSpPr>
          <p:nvPr/>
        </p:nvCxnSpPr>
        <p:spPr bwMode="auto">
          <a:xfrm flipV="1">
            <a:off x="7137270" y="2434691"/>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290" name="Straight Connector 289"/>
          <p:cNvCxnSpPr/>
          <p:nvPr/>
        </p:nvCxnSpPr>
        <p:spPr bwMode="auto">
          <a:xfrm flipH="1" flipV="1">
            <a:off x="6880432" y="3366954"/>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291" name="Freeform 5"/>
          <p:cNvSpPr>
            <a:spLocks noChangeAspect="1"/>
          </p:cNvSpPr>
          <p:nvPr/>
        </p:nvSpPr>
        <p:spPr bwMode="auto">
          <a:xfrm>
            <a:off x="6169363" y="1617047"/>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Option 5</a:t>
            </a:r>
            <a:b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br>
            <a:r>
              <a:rPr kumimoji="0" lang="en-US" altLang="es-ES_tradnl" sz="1600" b="1" i="0" u="none" strike="noStrike" kern="0" cap="none" spc="0" normalizeH="0" baseline="0" noProof="0" dirty="0">
                <a:ln>
                  <a:noFill/>
                </a:ln>
                <a:solidFill>
                  <a:srgbClr val="00B0F0"/>
                </a:solidFill>
                <a:effectLst/>
                <a:uLnTx/>
                <a:uFillTx/>
                <a:latin typeface="Arial" charset="0"/>
                <a:cs typeface="Arial" charset="0"/>
              </a:rPr>
              <a:t>Stand-alone LTE R15</a:t>
            </a:r>
          </a:p>
        </p:txBody>
      </p:sp>
      <p:cxnSp>
        <p:nvCxnSpPr>
          <p:cNvPr id="292" name="Straight Connector 291"/>
          <p:cNvCxnSpPr>
            <a:endCxn id="294" idx="2"/>
          </p:cNvCxnSpPr>
          <p:nvPr/>
        </p:nvCxnSpPr>
        <p:spPr bwMode="auto">
          <a:xfrm flipH="1" flipV="1">
            <a:off x="6968456" y="3366954"/>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293" name="Group 292"/>
          <p:cNvGrpSpPr>
            <a:grpSpLocks noChangeAspect="1"/>
          </p:cNvGrpSpPr>
          <p:nvPr/>
        </p:nvGrpSpPr>
        <p:grpSpPr bwMode="auto">
          <a:xfrm>
            <a:off x="6719577" y="2671944"/>
            <a:ext cx="496390" cy="703123"/>
            <a:chOff x="3106" y="2389"/>
            <a:chExt cx="363" cy="520"/>
          </a:xfrm>
        </p:grpSpPr>
        <p:sp>
          <p:nvSpPr>
            <p:cNvPr id="29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9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9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9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299" name="Group 261"/>
          <p:cNvGrpSpPr>
            <a:grpSpLocks/>
          </p:cNvGrpSpPr>
          <p:nvPr/>
        </p:nvGrpSpPr>
        <p:grpSpPr bwMode="auto">
          <a:xfrm>
            <a:off x="10471802" y="1762218"/>
            <a:ext cx="496390" cy="689716"/>
            <a:chOff x="239" y="1832"/>
            <a:chExt cx="363" cy="520"/>
          </a:xfrm>
        </p:grpSpPr>
        <p:sp>
          <p:nvSpPr>
            <p:cNvPr id="30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0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0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5GC</a:t>
              </a:r>
            </a:p>
          </p:txBody>
        </p:sp>
        <p:sp>
          <p:nvSpPr>
            <p:cNvPr id="30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0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grpSp>
        <p:nvGrpSpPr>
          <p:cNvPr id="305" name="Group 304"/>
          <p:cNvGrpSpPr>
            <a:grpSpLocks noChangeAspect="1"/>
          </p:cNvGrpSpPr>
          <p:nvPr/>
        </p:nvGrpSpPr>
        <p:grpSpPr bwMode="auto">
          <a:xfrm>
            <a:off x="10472485" y="2682919"/>
            <a:ext cx="496390" cy="703123"/>
            <a:chOff x="3106" y="2389"/>
            <a:chExt cx="363" cy="520"/>
          </a:xfrm>
        </p:grpSpPr>
        <p:sp>
          <p:nvSpPr>
            <p:cNvPr id="30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0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0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1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grpSp>
        <p:nvGrpSpPr>
          <p:cNvPr id="311" name="Group 9"/>
          <p:cNvGrpSpPr>
            <a:grpSpLocks/>
          </p:cNvGrpSpPr>
          <p:nvPr/>
        </p:nvGrpSpPr>
        <p:grpSpPr bwMode="auto">
          <a:xfrm>
            <a:off x="10117670" y="3641552"/>
            <a:ext cx="239369" cy="360989"/>
            <a:chOff x="416" y="1332"/>
            <a:chExt cx="408" cy="737"/>
          </a:xfrm>
        </p:grpSpPr>
        <p:sp>
          <p:nvSpPr>
            <p:cNvPr id="312" name="Rectangle 10"/>
            <p:cNvSpPr>
              <a:spLocks noChangeArrowheads="1"/>
            </p:cNvSpPr>
            <p:nvPr/>
          </p:nvSpPr>
          <p:spPr bwMode="auto">
            <a:xfrm>
              <a:off x="519" y="1446"/>
              <a:ext cx="0" cy="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chemeClr val="hlink"/>
                </a:solidFill>
                <a:effectLst/>
                <a:uLnTx/>
                <a:uFillTx/>
                <a:latin typeface="Arial" charset="0"/>
                <a:cs typeface="Arial" charset="0"/>
              </a:endParaRPr>
            </a:p>
          </p:txBody>
        </p:sp>
        <p:grpSp>
          <p:nvGrpSpPr>
            <p:cNvPr id="313" name="Group 11"/>
            <p:cNvGrpSpPr>
              <a:grpSpLocks/>
            </p:cNvGrpSpPr>
            <p:nvPr/>
          </p:nvGrpSpPr>
          <p:grpSpPr bwMode="auto">
            <a:xfrm>
              <a:off x="416" y="1332"/>
              <a:ext cx="408" cy="737"/>
              <a:chOff x="518" y="1338"/>
              <a:chExt cx="357" cy="568"/>
            </a:xfrm>
          </p:grpSpPr>
          <p:sp>
            <p:nvSpPr>
              <p:cNvPr id="314"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chemeClr val="tx1"/>
                    </a:solidFill>
                    <a:effectLst/>
                    <a:uLnTx/>
                    <a:uFillTx/>
                    <a:latin typeface="Arial" charset="0"/>
                    <a:cs typeface="Arial" charset="0"/>
                  </a:rPr>
                </a:br>
                <a:endParaRPr kumimoji="0" lang="en-US" altLang="es-ES_tradnl" sz="2400" b="0" i="0" u="none" strike="noStrike" kern="0" cap="none" spc="0" normalizeH="0" baseline="0" noProof="0">
                  <a:ln>
                    <a:noFill/>
                  </a:ln>
                  <a:solidFill>
                    <a:schemeClr val="tx1"/>
                  </a:solidFill>
                  <a:effectLst/>
                  <a:uLnTx/>
                  <a:uFillTx/>
                  <a:latin typeface="Arial" charset="0"/>
                  <a:cs typeface="Arial" charset="0"/>
                </a:endParaRPr>
              </a:p>
            </p:txBody>
          </p:sp>
          <p:sp>
            <p:nvSpPr>
              <p:cNvPr id="315"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cxnSp>
        <p:nvCxnSpPr>
          <p:cNvPr id="316" name="Straight Connector 315"/>
          <p:cNvCxnSpPr>
            <a:stCxn id="331" idx="1"/>
            <a:endCxn id="300" idx="2"/>
          </p:cNvCxnSpPr>
          <p:nvPr/>
        </p:nvCxnSpPr>
        <p:spPr bwMode="auto">
          <a:xfrm flipV="1">
            <a:off x="9669709" y="2443976"/>
            <a:ext cx="1050972" cy="31701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17" name="Straight Connector 316"/>
          <p:cNvCxnSpPr>
            <a:stCxn id="331" idx="7"/>
            <a:endCxn id="300" idx="2"/>
          </p:cNvCxnSpPr>
          <p:nvPr/>
        </p:nvCxnSpPr>
        <p:spPr bwMode="auto">
          <a:xfrm flipV="1">
            <a:off x="10010073" y="2443976"/>
            <a:ext cx="710608" cy="31701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318" name="Straight Connector 317"/>
          <p:cNvCxnSpPr/>
          <p:nvPr/>
        </p:nvCxnSpPr>
        <p:spPr bwMode="auto">
          <a:xfrm flipV="1">
            <a:off x="10237354" y="3377930"/>
            <a:ext cx="424835" cy="26362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19" name="Straight Connector 318"/>
          <p:cNvCxnSpPr/>
          <p:nvPr/>
        </p:nvCxnSpPr>
        <p:spPr bwMode="auto">
          <a:xfrm flipH="1" flipV="1">
            <a:off x="9753235" y="3376239"/>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sp>
        <p:nvSpPr>
          <p:cNvPr id="320" name="Freeform 5"/>
          <p:cNvSpPr>
            <a:spLocks noChangeAspect="1"/>
          </p:cNvSpPr>
          <p:nvPr/>
        </p:nvSpPr>
        <p:spPr bwMode="auto">
          <a:xfrm>
            <a:off x="9042166" y="1626332"/>
            <a:ext cx="2712720" cy="2508241"/>
          </a:xfrm>
          <a:custGeom>
            <a:avLst/>
            <a:gdLst>
              <a:gd name="T0" fmla="*/ 2147483647 w 1108"/>
              <a:gd name="T1" fmla="*/ 2147483647 h 684"/>
              <a:gd name="T2" fmla="*/ 0 w 1108"/>
              <a:gd name="T3" fmla="*/ 2147483647 h 684"/>
              <a:gd name="T4" fmla="*/ 0 w 1108"/>
              <a:gd name="T5" fmla="*/ 2147483647 h 684"/>
              <a:gd name="T6" fmla="*/ 0 w 1108"/>
              <a:gd name="T7" fmla="*/ 2147483647 h 684"/>
              <a:gd name="T8" fmla="*/ 2147483647 w 1108"/>
              <a:gd name="T9" fmla="*/ 0 h 684"/>
              <a:gd name="T10" fmla="*/ 2147483647 w 1108"/>
              <a:gd name="T11" fmla="*/ 0 h 684"/>
              <a:gd name="T12" fmla="*/ 2147483647 w 1108"/>
              <a:gd name="T13" fmla="*/ 0 h 684"/>
              <a:gd name="T14" fmla="*/ 2147483647 w 1108"/>
              <a:gd name="T15" fmla="*/ 2147483647 h 684"/>
              <a:gd name="T16" fmla="*/ 2147483647 w 1108"/>
              <a:gd name="T17" fmla="*/ 2147483647 h 684"/>
              <a:gd name="T18" fmla="*/ 2147483647 w 1108"/>
              <a:gd name="T19" fmla="*/ 2147483647 h 684"/>
              <a:gd name="T20" fmla="*/ 2147483647 w 1108"/>
              <a:gd name="T21" fmla="*/ 2147483647 h 684"/>
              <a:gd name="T22" fmla="*/ 2147483647 w 1108"/>
              <a:gd name="T23" fmla="*/ 2147483647 h 684"/>
              <a:gd name="T24" fmla="*/ 2147483647 w 1108"/>
              <a:gd name="T25" fmla="*/ 2147483647 h 684"/>
              <a:gd name="T26" fmla="*/ 2147483647 w 1108"/>
              <a:gd name="T27" fmla="*/ 2147483647 h 684"/>
              <a:gd name="T28" fmla="*/ 2147483647 w 1108"/>
              <a:gd name="T29" fmla="*/ 2147483647 h 684"/>
              <a:gd name="T30" fmla="*/ 2147483647 w 1108"/>
              <a:gd name="T31" fmla="*/ 2147483647 h 684"/>
              <a:gd name="T32" fmla="*/ 2147483647 w 1108"/>
              <a:gd name="T33" fmla="*/ 2147483647 h 684"/>
              <a:gd name="T34" fmla="*/ 2147483647 w 1108"/>
              <a:gd name="T35" fmla="*/ 2147483647 h 684"/>
              <a:gd name="T36" fmla="*/ 2147483647 w 1108"/>
              <a:gd name="T37" fmla="*/ 2147483647 h 684"/>
              <a:gd name="T38" fmla="*/ 2147483647 w 1108"/>
              <a:gd name="T39" fmla="*/ 2147483647 h 684"/>
              <a:gd name="T40" fmla="*/ 2147483647 w 1108"/>
              <a:gd name="T41" fmla="*/ 2147483647 h 684"/>
              <a:gd name="T42" fmla="*/ 2147483647 w 1108"/>
              <a:gd name="T43" fmla="*/ 2147483647 h 684"/>
              <a:gd name="T44" fmla="*/ 2147483647 w 1108"/>
              <a:gd name="T45" fmla="*/ 2147483647 h 684"/>
              <a:gd name="T46" fmla="*/ 2147483647 w 1108"/>
              <a:gd name="T47" fmla="*/ 2147483647 h 684"/>
              <a:gd name="T48" fmla="*/ 2147483647 w 1108"/>
              <a:gd name="T49" fmla="*/ 2147483647 h 684"/>
              <a:gd name="T50" fmla="*/ 2147483647 w 1108"/>
              <a:gd name="T51" fmla="*/ 2147483647 h 684"/>
              <a:gd name="T52" fmla="*/ 2147483647 w 1108"/>
              <a:gd name="T53" fmla="*/ 2147483647 h 684"/>
              <a:gd name="T54" fmla="*/ 2147483647 w 1108"/>
              <a:gd name="T55" fmla="*/ 2147483647 h 684"/>
              <a:gd name="T56" fmla="*/ 2147483647 w 1108"/>
              <a:gd name="T57" fmla="*/ 2147483647 h 684"/>
              <a:gd name="T58" fmla="*/ 2147483647 w 1108"/>
              <a:gd name="T59" fmla="*/ 2147483647 h 684"/>
              <a:gd name="T60" fmla="*/ 2147483647 w 1108"/>
              <a:gd name="T61" fmla="*/ 2147483647 h 684"/>
              <a:gd name="T62" fmla="*/ 2147483647 w 1108"/>
              <a:gd name="T63" fmla="*/ 2147483647 h 684"/>
              <a:gd name="T64" fmla="*/ 2147483647 w 1108"/>
              <a:gd name="T65" fmla="*/ 2147483647 h 684"/>
              <a:gd name="T66" fmla="*/ 2147483647 w 1108"/>
              <a:gd name="T67" fmla="*/ 2147483647 h 684"/>
              <a:gd name="T68" fmla="*/ 2147483647 w 1108"/>
              <a:gd name="T69" fmla="*/ 2147483647 h 684"/>
              <a:gd name="T70" fmla="*/ 2147483647 w 1108"/>
              <a:gd name="T71" fmla="*/ 2147483647 h 6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684"/>
              <a:gd name="T110" fmla="*/ 1108 w 1108"/>
              <a:gd name="T111" fmla="*/ 684 h 6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077" y="0"/>
                  <a:pt x="1077" y="0"/>
                  <a:pt x="1077" y="0"/>
                </a:cubicBezTo>
                <a:cubicBezTo>
                  <a:pt x="1094" y="0"/>
                  <a:pt x="1108" y="14"/>
                  <a:pt x="1108" y="31"/>
                </a:cubicBezTo>
                <a:cubicBezTo>
                  <a:pt x="1108" y="31"/>
                  <a:pt x="1108" y="31"/>
                  <a:pt x="1108" y="31"/>
                </a:cubicBezTo>
                <a:cubicBezTo>
                  <a:pt x="1108" y="53"/>
                  <a:pt x="1108" y="53"/>
                  <a:pt x="1108" y="53"/>
                </a:cubicBezTo>
                <a:cubicBezTo>
                  <a:pt x="1108" y="57"/>
                  <a:pt x="1104" y="61"/>
                  <a:pt x="1100" y="61"/>
                </a:cubicBezTo>
                <a:cubicBezTo>
                  <a:pt x="1100" y="61"/>
                  <a:pt x="1100" y="61"/>
                  <a:pt x="1100" y="61"/>
                </a:cubicBezTo>
                <a:cubicBezTo>
                  <a:pt x="1095" y="61"/>
                  <a:pt x="1092" y="57"/>
                  <a:pt x="1092" y="53"/>
                </a:cubicBezTo>
                <a:cubicBezTo>
                  <a:pt x="1092" y="53"/>
                  <a:pt x="1092" y="53"/>
                  <a:pt x="1092" y="53"/>
                </a:cubicBezTo>
                <a:cubicBezTo>
                  <a:pt x="1092" y="31"/>
                  <a:pt x="1092" y="31"/>
                  <a:pt x="1092" y="31"/>
                </a:cubicBezTo>
                <a:cubicBezTo>
                  <a:pt x="1092" y="23"/>
                  <a:pt x="1085" y="16"/>
                  <a:pt x="1077" y="16"/>
                </a:cubicBezTo>
                <a:cubicBezTo>
                  <a:pt x="1077" y="16"/>
                  <a:pt x="1077" y="16"/>
                  <a:pt x="1077" y="16"/>
                </a:cubicBezTo>
                <a:cubicBezTo>
                  <a:pt x="31" y="16"/>
                  <a:pt x="31" y="16"/>
                  <a:pt x="31" y="16"/>
                </a:cubicBezTo>
                <a:cubicBezTo>
                  <a:pt x="22" y="16"/>
                  <a:pt x="16" y="23"/>
                  <a:pt x="16" y="31"/>
                </a:cubicBezTo>
                <a:cubicBezTo>
                  <a:pt x="16" y="31"/>
                  <a:pt x="16" y="31"/>
                  <a:pt x="16" y="31"/>
                </a:cubicBezTo>
                <a:cubicBezTo>
                  <a:pt x="16" y="653"/>
                  <a:pt x="16" y="653"/>
                  <a:pt x="16" y="653"/>
                </a:cubicBezTo>
                <a:cubicBezTo>
                  <a:pt x="16" y="661"/>
                  <a:pt x="22" y="668"/>
                  <a:pt x="31" y="668"/>
                </a:cubicBezTo>
                <a:cubicBezTo>
                  <a:pt x="31" y="668"/>
                  <a:pt x="31" y="668"/>
                  <a:pt x="31" y="668"/>
                </a:cubicBezTo>
                <a:cubicBezTo>
                  <a:pt x="1077" y="668"/>
                  <a:pt x="1077" y="668"/>
                  <a:pt x="1077" y="668"/>
                </a:cubicBezTo>
                <a:cubicBezTo>
                  <a:pt x="1085" y="668"/>
                  <a:pt x="1092" y="661"/>
                  <a:pt x="1092" y="653"/>
                </a:cubicBezTo>
                <a:cubicBezTo>
                  <a:pt x="1092" y="653"/>
                  <a:pt x="1092" y="653"/>
                  <a:pt x="1092" y="653"/>
                </a:cubicBezTo>
                <a:cubicBezTo>
                  <a:pt x="1092" y="83"/>
                  <a:pt x="1092" y="83"/>
                  <a:pt x="1092" y="83"/>
                </a:cubicBezTo>
                <a:cubicBezTo>
                  <a:pt x="1092" y="83"/>
                  <a:pt x="1092" y="83"/>
                  <a:pt x="1092" y="83"/>
                </a:cubicBezTo>
                <a:cubicBezTo>
                  <a:pt x="1092" y="78"/>
                  <a:pt x="1095" y="75"/>
                  <a:pt x="1100" y="75"/>
                </a:cubicBezTo>
                <a:cubicBezTo>
                  <a:pt x="1100" y="75"/>
                  <a:pt x="1100" y="75"/>
                  <a:pt x="1100" y="75"/>
                </a:cubicBezTo>
                <a:cubicBezTo>
                  <a:pt x="1104" y="75"/>
                  <a:pt x="1108" y="78"/>
                  <a:pt x="1108" y="83"/>
                </a:cubicBezTo>
                <a:cubicBezTo>
                  <a:pt x="1108" y="83"/>
                  <a:pt x="1108" y="83"/>
                  <a:pt x="1108" y="83"/>
                </a:cubicBezTo>
                <a:cubicBezTo>
                  <a:pt x="1108" y="653"/>
                  <a:pt x="1108" y="653"/>
                  <a:pt x="1108" y="653"/>
                </a:cubicBezTo>
                <a:cubicBezTo>
                  <a:pt x="1108" y="670"/>
                  <a:pt x="1094" y="684"/>
                  <a:pt x="1077" y="684"/>
                </a:cubicBezTo>
                <a:cubicBezTo>
                  <a:pt x="1077" y="684"/>
                  <a:pt x="1077" y="684"/>
                  <a:pt x="1077" y="684"/>
                </a:cubicBezTo>
                <a:cubicBezTo>
                  <a:pt x="31" y="684"/>
                  <a:pt x="31" y="684"/>
                  <a:pt x="31" y="684"/>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vert="vert270" lIns="126000" tIns="90000" rIns="126000" bIns="0" anchor="b" anchorCtr="0"/>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t>Option 7</a:t>
            </a:r>
            <a:br>
              <a:rPr kumimoji="0" lang="en-US" altLang="es-ES_tradnl" sz="2000" b="1" i="0" u="none" strike="noStrike" kern="0" cap="none" spc="0" normalizeH="0" baseline="0" noProof="0" dirty="0">
                <a:ln>
                  <a:noFill/>
                </a:ln>
                <a:solidFill>
                  <a:srgbClr val="00B0F0"/>
                </a:solidFill>
                <a:effectLst/>
                <a:uLnTx/>
                <a:uFillTx/>
                <a:latin typeface="Arial" charset="0"/>
                <a:cs typeface="Arial" charset="0"/>
              </a:rPr>
            </a:br>
            <a:r>
              <a:rPr kumimoji="0" lang="en-US" altLang="es-ES_tradnl" sz="1600" b="1" i="0" u="none" strike="noStrike" kern="0" cap="none" spc="0" normalizeH="0" baseline="0" noProof="0" dirty="0">
                <a:ln>
                  <a:noFill/>
                </a:ln>
                <a:solidFill>
                  <a:srgbClr val="00B0F0"/>
                </a:solidFill>
                <a:effectLst/>
                <a:uLnTx/>
                <a:uFillTx/>
                <a:latin typeface="Arial" charset="0"/>
                <a:cs typeface="Arial" charset="0"/>
              </a:rPr>
              <a:t>“LTE-Assisted”</a:t>
            </a:r>
          </a:p>
        </p:txBody>
      </p:sp>
      <p:grpSp>
        <p:nvGrpSpPr>
          <p:cNvPr id="321" name="Group 261"/>
          <p:cNvGrpSpPr>
            <a:grpSpLocks/>
          </p:cNvGrpSpPr>
          <p:nvPr/>
        </p:nvGrpSpPr>
        <p:grpSpPr bwMode="auto">
          <a:xfrm>
            <a:off x="9587882" y="1746302"/>
            <a:ext cx="496390" cy="689716"/>
            <a:chOff x="239" y="1832"/>
            <a:chExt cx="363" cy="520"/>
          </a:xfrm>
        </p:grpSpPr>
        <p:sp>
          <p:nvSpPr>
            <p:cNvPr id="32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2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2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charset="0"/>
                  <a:ea typeface="ＭＳ Ｐゴシック" pitchFamily="34" charset="-128"/>
                  <a:cs typeface="Arial" charset="0"/>
                </a:rPr>
                <a:t>EPC</a:t>
              </a:r>
            </a:p>
          </p:txBody>
        </p:sp>
        <p:sp>
          <p:nvSpPr>
            <p:cNvPr id="32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charset="0"/>
                <a:cs typeface="Arial" charset="0"/>
              </a:endParaRPr>
            </a:p>
          </p:txBody>
        </p:sp>
        <p:sp>
          <p:nvSpPr>
            <p:cNvPr id="32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endParaRPr>
            </a:p>
          </p:txBody>
        </p:sp>
      </p:grpSp>
      <p:cxnSp>
        <p:nvCxnSpPr>
          <p:cNvPr id="327" name="Straight Connector 326"/>
          <p:cNvCxnSpPr>
            <a:endCxn id="330" idx="2"/>
          </p:cNvCxnSpPr>
          <p:nvPr/>
        </p:nvCxnSpPr>
        <p:spPr bwMode="auto">
          <a:xfrm flipH="1" flipV="1">
            <a:off x="9841259" y="3376239"/>
            <a:ext cx="319994" cy="265313"/>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328" name="Straight Connector 327"/>
          <p:cNvCxnSpPr>
            <a:stCxn id="308" idx="1"/>
            <a:endCxn id="332" idx="3"/>
          </p:cNvCxnSpPr>
          <p:nvPr/>
        </p:nvCxnSpPr>
        <p:spPr bwMode="auto">
          <a:xfrm flipH="1" flipV="1">
            <a:off x="10062788" y="3216008"/>
            <a:ext cx="432944" cy="169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329" name="Group 328"/>
          <p:cNvGrpSpPr>
            <a:grpSpLocks noChangeAspect="1"/>
          </p:cNvGrpSpPr>
          <p:nvPr/>
        </p:nvGrpSpPr>
        <p:grpSpPr bwMode="auto">
          <a:xfrm>
            <a:off x="9592380" y="2681229"/>
            <a:ext cx="496390" cy="703123"/>
            <a:chOff x="3106" y="2389"/>
            <a:chExt cx="363" cy="520"/>
          </a:xfrm>
        </p:grpSpPr>
        <p:sp>
          <p:nvSpPr>
            <p:cNvPr id="330"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31"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32"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334"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sp>
        <p:nvSpPr>
          <p:cNvPr id="335" name="TextBox 334"/>
          <p:cNvSpPr txBox="1"/>
          <p:nvPr/>
        </p:nvSpPr>
        <p:spPr>
          <a:xfrm>
            <a:off x="307862" y="1216937"/>
            <a:ext cx="6752169"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B0F0"/>
                </a:solidFill>
                <a:effectLst/>
                <a:uLnTx/>
                <a:uFillTx/>
              </a:rPr>
              <a:t>Scenarios covered by SA2 Normative 5G Phase 1 WID</a:t>
            </a:r>
          </a:p>
        </p:txBody>
      </p:sp>
      <p:cxnSp>
        <p:nvCxnSpPr>
          <p:cNvPr id="336" name="Straight Connector 335"/>
          <p:cNvCxnSpPr>
            <a:stCxn id="237" idx="0"/>
          </p:cNvCxnSpPr>
          <p:nvPr/>
        </p:nvCxnSpPr>
        <p:spPr bwMode="auto">
          <a:xfrm flipV="1">
            <a:off x="4079108" y="2404820"/>
            <a:ext cx="862323" cy="262634"/>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337" name="TextBox 336"/>
          <p:cNvSpPr txBox="1"/>
          <p:nvPr/>
        </p:nvSpPr>
        <p:spPr>
          <a:xfrm rot="20549433">
            <a:off x="4100141" y="2405448"/>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rPr>
              <a:t>Opt. 4A</a:t>
            </a:r>
          </a:p>
        </p:txBody>
      </p:sp>
      <p:cxnSp>
        <p:nvCxnSpPr>
          <p:cNvPr id="338" name="Straight Connector 337"/>
          <p:cNvCxnSpPr>
            <a:stCxn id="307" idx="0"/>
            <a:endCxn id="300" idx="2"/>
          </p:cNvCxnSpPr>
          <p:nvPr/>
        </p:nvCxnSpPr>
        <p:spPr bwMode="auto">
          <a:xfrm flipV="1">
            <a:off x="10719996" y="2443976"/>
            <a:ext cx="685" cy="248408"/>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339" name="TextBox 338"/>
          <p:cNvSpPr txBox="1"/>
          <p:nvPr/>
        </p:nvSpPr>
        <p:spPr>
          <a:xfrm>
            <a:off x="10650313" y="2463506"/>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rPr>
              <a:t>Opt. 7A</a:t>
            </a:r>
          </a:p>
        </p:txBody>
      </p:sp>
      <p:cxnSp>
        <p:nvCxnSpPr>
          <p:cNvPr id="340" name="Straight Connector 339"/>
          <p:cNvCxnSpPr>
            <a:stCxn id="249" idx="0"/>
            <a:endCxn id="264" idx="2"/>
          </p:cNvCxnSpPr>
          <p:nvPr/>
        </p:nvCxnSpPr>
        <p:spPr bwMode="auto">
          <a:xfrm flipH="1" flipV="1">
            <a:off x="6963958" y="5065068"/>
            <a:ext cx="883235" cy="264324"/>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341" name="TextBox 340"/>
          <p:cNvSpPr txBox="1"/>
          <p:nvPr/>
        </p:nvSpPr>
        <p:spPr>
          <a:xfrm rot="958896">
            <a:off x="7204007" y="5039496"/>
            <a:ext cx="55015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rPr>
              <a:t>Opt. 3A</a:t>
            </a:r>
          </a:p>
        </p:txBody>
      </p:sp>
      <p:sp>
        <p:nvSpPr>
          <p:cNvPr id="342" name="Rectangle 341"/>
          <p:cNvSpPr/>
          <p:nvPr/>
        </p:nvSpPr>
        <p:spPr>
          <a:xfrm>
            <a:off x="434499" y="1656653"/>
            <a:ext cx="1069525" cy="923330"/>
          </a:xfrm>
          <a:prstGeom prst="rect">
            <a:avLst/>
          </a:prstGeom>
        </p:spPr>
        <p:txBody>
          <a:bodyPr wrap="none">
            <a:spAutoFit/>
          </a:bodyPr>
          <a:lstStyle/>
          <a:p>
            <a:pPr marL="685800" indent="-685800" algn="ctr">
              <a:buFont typeface="Wingdings" panose="05000000000000000000" pitchFamily="2" charset="2"/>
              <a:buChar char="ü"/>
            </a:pP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 </a:t>
            </a:r>
          </a:p>
        </p:txBody>
      </p:sp>
      <p:sp>
        <p:nvSpPr>
          <p:cNvPr id="343" name="Rectangle 342"/>
          <p:cNvSpPr/>
          <p:nvPr/>
        </p:nvSpPr>
        <p:spPr>
          <a:xfrm>
            <a:off x="6103628" y="4283829"/>
            <a:ext cx="1069525" cy="923330"/>
          </a:xfrm>
          <a:prstGeom prst="rect">
            <a:avLst/>
          </a:prstGeom>
        </p:spPr>
        <p:txBody>
          <a:bodyPr wrap="none">
            <a:spAutoFit/>
          </a:bodyPr>
          <a:lstStyle/>
          <a:p>
            <a:pPr marL="685800" indent="-685800" algn="ctr">
              <a:buFont typeface="Wingdings" panose="05000000000000000000" pitchFamily="2" charset="2"/>
              <a:buChar char="ü"/>
            </a:pP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 </a:t>
            </a:r>
          </a:p>
        </p:txBody>
      </p:sp>
      <p:sp>
        <p:nvSpPr>
          <p:cNvPr id="344" name="Rectangle 343"/>
          <p:cNvSpPr/>
          <p:nvPr/>
        </p:nvSpPr>
        <p:spPr>
          <a:xfrm>
            <a:off x="8997653" y="1633113"/>
            <a:ext cx="1069525" cy="923330"/>
          </a:xfrm>
          <a:prstGeom prst="rect">
            <a:avLst/>
          </a:prstGeom>
        </p:spPr>
        <p:txBody>
          <a:bodyPr wrap="none">
            <a:spAutoFit/>
          </a:bodyPr>
          <a:lstStyle/>
          <a:p>
            <a:pPr marL="685800" indent="-685800" algn="ctr">
              <a:buFont typeface="Wingdings" panose="05000000000000000000" pitchFamily="2" charset="2"/>
              <a:buChar char="ü"/>
            </a:pP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 </a:t>
            </a:r>
          </a:p>
        </p:txBody>
      </p:sp>
      <p:sp>
        <p:nvSpPr>
          <p:cNvPr id="345" name="Rectangle 344"/>
          <p:cNvSpPr/>
          <p:nvPr/>
        </p:nvSpPr>
        <p:spPr>
          <a:xfrm>
            <a:off x="6182137" y="1635033"/>
            <a:ext cx="1069525" cy="923330"/>
          </a:xfrm>
          <a:prstGeom prst="rect">
            <a:avLst/>
          </a:prstGeom>
        </p:spPr>
        <p:txBody>
          <a:bodyPr wrap="none">
            <a:spAutoFit/>
          </a:bodyPr>
          <a:lstStyle/>
          <a:p>
            <a:pPr marL="685800" indent="-685800" algn="ctr">
              <a:buFont typeface="Wingdings" panose="05000000000000000000" pitchFamily="2" charset="2"/>
              <a:buChar char="ü"/>
            </a:pP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 </a:t>
            </a:r>
          </a:p>
        </p:txBody>
      </p:sp>
      <p:sp>
        <p:nvSpPr>
          <p:cNvPr id="346" name="Rounded Rectangular Callout 23"/>
          <p:cNvSpPr/>
          <p:nvPr/>
        </p:nvSpPr>
        <p:spPr bwMode="auto">
          <a:xfrm>
            <a:off x="1788371" y="4733328"/>
            <a:ext cx="2730106" cy="1053610"/>
          </a:xfrm>
          <a:prstGeom prst="wedgeRoundRectCallout">
            <a:avLst>
              <a:gd name="adj1" fmla="val 28059"/>
              <a:gd name="adj2" fmla="val -134074"/>
              <a:gd name="adj3" fmla="val 16667"/>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a:extLst/>
        </p:spPr>
        <p:txBody>
          <a:bodyPr lIns="54000" rIns="54000"/>
          <a:lstStyle/>
          <a:p>
            <a:pPr eaLnBrk="1" hangingPunct="1">
              <a:spcBef>
                <a:spcPct val="50000"/>
              </a:spcBef>
              <a:defRPr/>
            </a:pPr>
            <a:r>
              <a:rPr lang="en-US" sz="1800" dirty="0">
                <a:solidFill>
                  <a:schemeClr val="accent6">
                    <a:lumMod val="75000"/>
                  </a:schemeClr>
                </a:solidFill>
                <a:ea typeface="ＭＳ Ｐゴシック" pitchFamily="34" charset="-128"/>
                <a:cs typeface="Arial" charset="0"/>
              </a:rPr>
              <a:t>Work on option 4 will only start after option 2, 5 and 7 are completed</a:t>
            </a:r>
          </a:p>
        </p:txBody>
      </p:sp>
      <p:sp>
        <p:nvSpPr>
          <p:cNvPr id="347" name="TextBox 346"/>
          <p:cNvSpPr txBox="1"/>
          <p:nvPr/>
        </p:nvSpPr>
        <p:spPr>
          <a:xfrm>
            <a:off x="8984877" y="5045102"/>
            <a:ext cx="2975215" cy="646331"/>
          </a:xfrm>
          <a:prstGeom prst="rect">
            <a:avLst/>
          </a:prstGeom>
          <a:noFill/>
        </p:spPr>
        <p:txBody>
          <a:bodyPr wrap="square" rtlCol="0">
            <a:spAutoFit/>
          </a:bodyPr>
          <a:lstStyle/>
          <a:p>
            <a:r>
              <a:rPr lang="en-US" sz="1800" b="1" dirty="0">
                <a:solidFill>
                  <a:srgbClr val="00B0F0"/>
                </a:solidFill>
              </a:rPr>
              <a:t>Work on Option 3 led by RAN2/3</a:t>
            </a:r>
          </a:p>
        </p:txBody>
      </p:sp>
      <p:sp>
        <p:nvSpPr>
          <p:cNvPr id="182" name="TextBox 181"/>
          <p:cNvSpPr txBox="1"/>
          <p:nvPr/>
        </p:nvSpPr>
        <p:spPr>
          <a:xfrm>
            <a:off x="7128453" y="5654280"/>
            <a:ext cx="545342"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tx1">
                    <a:lumMod val="40000"/>
                    <a:lumOff val="60000"/>
                  </a:schemeClr>
                </a:solidFill>
                <a:effectLst/>
                <a:uLnTx/>
                <a:uFillTx/>
              </a:rPr>
              <a:t>Opt. 3X</a:t>
            </a:r>
          </a:p>
        </p:txBody>
      </p:sp>
    </p:spTree>
    <p:extLst>
      <p:ext uri="{BB962C8B-B14F-4D97-AF65-F5344CB8AC3E}">
        <p14:creationId xmlns:p14="http://schemas.microsoft.com/office/powerpoint/2010/main" val="4117943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r>
              <a:rPr lang="en-US" dirty="0">
                <a:solidFill>
                  <a:schemeClr val="bg1"/>
                </a:solidFill>
              </a:rPr>
              <a:t>5G RAN-CN architecture options</a:t>
            </a:r>
            <a:br>
              <a:rPr lang="en-US" dirty="0">
                <a:solidFill>
                  <a:schemeClr val="bg1"/>
                </a:solidFill>
              </a:rPr>
            </a:br>
            <a:r>
              <a:rPr lang="en-US" sz="2400" dirty="0">
                <a:solidFill>
                  <a:schemeClr val="bg1"/>
                </a:solidFill>
                <a:latin typeface="Arial"/>
              </a:rPr>
              <a:t>Two architecture tracks in 3GPP rel15</a:t>
            </a:r>
            <a:endParaRPr lang="en-US" altLang="en-US" sz="2400"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p:cNvSpPr/>
          <p:nvPr/>
        </p:nvSpPr>
        <p:spPr bwMode="auto">
          <a:xfrm>
            <a:off x="6787770" y="4132043"/>
            <a:ext cx="4520247" cy="837282"/>
          </a:xfrm>
          <a:prstGeom prst="ellipse">
            <a:avLst/>
          </a:prstGeom>
          <a:solidFill>
            <a:srgbClr val="BADEE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0" cap="none" spc="0" normalizeH="0" baseline="0" noProof="0">
              <a:ln>
                <a:noFill/>
              </a:ln>
              <a:solidFill>
                <a:schemeClr val="tx1"/>
              </a:solidFill>
              <a:effectLst/>
              <a:uLnTx/>
              <a:uFillTx/>
              <a:latin typeface="Arial" charset="0"/>
            </a:endParaRPr>
          </a:p>
        </p:txBody>
      </p:sp>
      <p:sp>
        <p:nvSpPr>
          <p:cNvPr id="6" name="Oval 5"/>
          <p:cNvSpPr/>
          <p:nvPr/>
        </p:nvSpPr>
        <p:spPr bwMode="auto">
          <a:xfrm>
            <a:off x="732167" y="4132043"/>
            <a:ext cx="6055604" cy="837282"/>
          </a:xfrm>
          <a:prstGeom prst="ellipse">
            <a:avLst/>
          </a:prstGeom>
          <a:solidFill>
            <a:srgbClr val="BED682"/>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0" cap="none" spc="0" normalizeH="0" baseline="0" noProof="0" dirty="0">
              <a:ln>
                <a:noFill/>
              </a:ln>
              <a:solidFill>
                <a:srgbClr val="FED57A"/>
              </a:solidFill>
              <a:effectLst/>
              <a:uLnTx/>
              <a:uFillTx/>
              <a:latin typeface="Arial" charset="0"/>
            </a:endParaRPr>
          </a:p>
        </p:txBody>
      </p:sp>
      <p:sp>
        <p:nvSpPr>
          <p:cNvPr id="7" name="Oval 6"/>
          <p:cNvSpPr/>
          <p:nvPr/>
        </p:nvSpPr>
        <p:spPr bwMode="auto">
          <a:xfrm>
            <a:off x="3755501" y="4288177"/>
            <a:ext cx="1294480" cy="376937"/>
          </a:xfrm>
          <a:prstGeom prst="ellipse">
            <a:avLst/>
          </a:prstGeom>
          <a:solidFill>
            <a:srgbClr val="BADEEE"/>
          </a:solidFill>
          <a:ln w="12700" cap="flat" cmpd="sng" algn="ctr">
            <a:solidFill>
              <a:schemeClr val="bg1">
                <a:lumMod val="65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0" cap="none" spc="0" normalizeH="0" baseline="0" noProof="0">
              <a:ln>
                <a:noFill/>
              </a:ln>
              <a:solidFill>
                <a:schemeClr val="tx1"/>
              </a:solidFill>
              <a:effectLst/>
              <a:uLnTx/>
              <a:uFillTx/>
              <a:latin typeface="Arial" charset="0"/>
            </a:endParaRPr>
          </a:p>
        </p:txBody>
      </p:sp>
      <p:sp>
        <p:nvSpPr>
          <p:cNvPr id="8" name="Freeform 3"/>
          <p:cNvSpPr>
            <a:spLocks noChangeAspect="1" noEditPoints="1"/>
          </p:cNvSpPr>
          <p:nvPr/>
        </p:nvSpPr>
        <p:spPr bwMode="auto">
          <a:xfrm>
            <a:off x="1267438" y="3516355"/>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9" name="Freeform 3"/>
          <p:cNvSpPr>
            <a:spLocks noChangeAspect="1" noEditPoints="1"/>
          </p:cNvSpPr>
          <p:nvPr/>
        </p:nvSpPr>
        <p:spPr bwMode="auto">
          <a:xfrm>
            <a:off x="3140456" y="3516355"/>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0" name="Freeform 3"/>
          <p:cNvSpPr>
            <a:spLocks noChangeAspect="1" noEditPoints="1"/>
          </p:cNvSpPr>
          <p:nvPr/>
        </p:nvSpPr>
        <p:spPr bwMode="auto">
          <a:xfrm>
            <a:off x="8409585" y="3526299"/>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1" name="Freeform 3"/>
          <p:cNvSpPr>
            <a:spLocks noChangeAspect="1" noEditPoints="1"/>
          </p:cNvSpPr>
          <p:nvPr/>
        </p:nvSpPr>
        <p:spPr bwMode="auto">
          <a:xfrm>
            <a:off x="10348683" y="3493543"/>
            <a:ext cx="687387"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2" name="Freeform 3"/>
          <p:cNvSpPr>
            <a:spLocks noChangeAspect="1" noEditPoints="1"/>
          </p:cNvSpPr>
          <p:nvPr/>
        </p:nvSpPr>
        <p:spPr bwMode="auto">
          <a:xfrm>
            <a:off x="4130296" y="3915818"/>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sp>
        <p:nvSpPr>
          <p:cNvPr id="13" name="AutoShape 15" descr="bpct-blend1"/>
          <p:cNvSpPr>
            <a:spLocks noChangeArrowheads="1"/>
          </p:cNvSpPr>
          <p:nvPr/>
        </p:nvSpPr>
        <p:spPr bwMode="auto">
          <a:xfrm>
            <a:off x="954205" y="1594093"/>
            <a:ext cx="3137804" cy="735640"/>
          </a:xfrm>
          <a:prstGeom prst="roundRect">
            <a:avLst>
              <a:gd name="adj" fmla="val 5958"/>
            </a:avLst>
          </a:prstGeom>
          <a:solidFill>
            <a:srgbClr val="5B6592"/>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sv-SE" altLang="en-US" sz="1500" b="0" i="0" u="none" strike="noStrike" kern="0" cap="none" spc="0" normalizeH="0" baseline="0" noProof="0">
              <a:ln>
                <a:noFill/>
              </a:ln>
              <a:solidFill>
                <a:srgbClr val="00A9D4"/>
              </a:solidFill>
              <a:effectLst/>
              <a:uLnTx/>
              <a:uFillTx/>
              <a:latin typeface="Arial" pitchFamily="34" charset="0"/>
            </a:endParaRPr>
          </a:p>
        </p:txBody>
      </p:sp>
      <p:cxnSp>
        <p:nvCxnSpPr>
          <p:cNvPr id="14" name="Connector: Elbow 13"/>
          <p:cNvCxnSpPr>
            <a:cxnSpLocks/>
          </p:cNvCxnSpPr>
          <p:nvPr/>
        </p:nvCxnSpPr>
        <p:spPr bwMode="auto">
          <a:xfrm rot="16200000" flipH="1">
            <a:off x="2335219" y="2501392"/>
            <a:ext cx="1196568" cy="853252"/>
          </a:xfrm>
          <a:prstGeom prst="bentConnector3">
            <a:avLst>
              <a:gd name="adj1" fmla="val 50000"/>
            </a:avLst>
          </a:prstGeom>
          <a:solidFill>
            <a:schemeClr val="accent1"/>
          </a:solidFill>
          <a:ln w="12700" cap="flat" cmpd="sng" algn="ctr">
            <a:solidFill>
              <a:schemeClr val="bg1"/>
            </a:solidFill>
            <a:prstDash val="solid"/>
            <a:round/>
            <a:headEnd type="none" w="med" len="med"/>
            <a:tailEnd type="none" w="med" len="med"/>
          </a:ln>
          <a:effectLst/>
        </p:spPr>
      </p:cxnSp>
      <p:sp>
        <p:nvSpPr>
          <p:cNvPr id="15" name="AutoShape 15" descr="bpct-blend1"/>
          <p:cNvSpPr>
            <a:spLocks noChangeArrowheads="1"/>
          </p:cNvSpPr>
          <p:nvPr/>
        </p:nvSpPr>
        <p:spPr bwMode="auto">
          <a:xfrm>
            <a:off x="7048620" y="1605749"/>
            <a:ext cx="3137804" cy="735640"/>
          </a:xfrm>
          <a:prstGeom prst="roundRect">
            <a:avLst>
              <a:gd name="adj" fmla="val 5958"/>
            </a:avLst>
          </a:prstGeom>
          <a:solidFill>
            <a:srgbClr val="E9822C"/>
          </a:solidFill>
          <a:ln w="25400" algn="ctr">
            <a:solidFill>
              <a:srgbClr val="FFFFFF"/>
            </a:solidFill>
            <a:round/>
            <a:headEnd/>
            <a:tailEnd/>
          </a:ln>
        </p:spPr>
        <p:txBody>
          <a:bodyPr lIns="125986" tIns="45718" rIns="91430" bIns="45718" anchor="ct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l" defTabSz="914400" eaLnBrk="1" fontAlgn="auto" latinLnBrk="0" hangingPunct="1">
              <a:lnSpc>
                <a:spcPct val="100000"/>
              </a:lnSpc>
              <a:spcBef>
                <a:spcPct val="20000"/>
              </a:spcBef>
              <a:spcAft>
                <a:spcPts val="0"/>
              </a:spcAft>
              <a:buClrTx/>
              <a:buSzTx/>
              <a:buFont typeface="Arial" pitchFamily="34" charset="0"/>
              <a:buNone/>
              <a:tabLst/>
              <a:defRPr/>
            </a:pPr>
            <a:endParaRPr kumimoji="0" lang="sv-SE" altLang="en-US" sz="1500" b="0" i="0" u="none" strike="noStrike" kern="0" cap="none" spc="0" normalizeH="0" baseline="0" noProof="0">
              <a:ln>
                <a:noFill/>
              </a:ln>
              <a:solidFill>
                <a:srgbClr val="E9822C"/>
              </a:solidFill>
              <a:effectLst/>
              <a:uLnTx/>
              <a:uFillTx/>
              <a:latin typeface="Arial" pitchFamily="34" charset="0"/>
            </a:endParaRPr>
          </a:p>
        </p:txBody>
      </p:sp>
      <p:cxnSp>
        <p:nvCxnSpPr>
          <p:cNvPr id="16" name="Straight Connector 15"/>
          <p:cNvCxnSpPr>
            <a:cxnSpLocks/>
          </p:cNvCxnSpPr>
          <p:nvPr/>
        </p:nvCxnSpPr>
        <p:spPr bwMode="auto">
          <a:xfrm>
            <a:off x="8753278" y="2329733"/>
            <a:ext cx="0" cy="124470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17" name="Straight Connector 16"/>
          <p:cNvCxnSpPr/>
          <p:nvPr/>
        </p:nvCxnSpPr>
        <p:spPr bwMode="auto">
          <a:xfrm>
            <a:off x="3661530" y="3960786"/>
            <a:ext cx="392669" cy="132009"/>
          </a:xfrm>
          <a:prstGeom prst="line">
            <a:avLst/>
          </a:prstGeom>
          <a:solidFill>
            <a:schemeClr val="accent1"/>
          </a:solidFill>
          <a:ln w="12700" cap="flat" cmpd="sng" algn="ctr">
            <a:solidFill>
              <a:schemeClr val="bg1"/>
            </a:solidFill>
            <a:prstDash val="solid"/>
            <a:round/>
            <a:headEnd type="none" w="med" len="med"/>
            <a:tailEnd type="none" w="med" len="med"/>
          </a:ln>
          <a:effectLst/>
        </p:spPr>
      </p:cxnSp>
      <p:cxnSp>
        <p:nvCxnSpPr>
          <p:cNvPr id="18" name="Straight Connector 17"/>
          <p:cNvCxnSpPr>
            <a:cxnSpLocks/>
          </p:cNvCxnSpPr>
          <p:nvPr/>
        </p:nvCxnSpPr>
        <p:spPr bwMode="auto">
          <a:xfrm flipV="1">
            <a:off x="8253016" y="3993884"/>
            <a:ext cx="358121" cy="98911"/>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9" name="Oval 18"/>
          <p:cNvSpPr/>
          <p:nvPr/>
        </p:nvSpPr>
        <p:spPr bwMode="auto">
          <a:xfrm>
            <a:off x="7323042" y="4288176"/>
            <a:ext cx="1294480" cy="376937"/>
          </a:xfrm>
          <a:prstGeom prst="ellipse">
            <a:avLst/>
          </a:prstGeom>
          <a:solidFill>
            <a:srgbClr val="BED682"/>
          </a:solidFill>
          <a:ln w="12700" cap="flat" cmpd="sng" algn="ctr">
            <a:solidFill>
              <a:schemeClr val="bg1">
                <a:lumMod val="65000"/>
              </a:schemeClr>
            </a:solid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20" name="Freeform 3"/>
          <p:cNvSpPr>
            <a:spLocks noChangeAspect="1" noEditPoints="1"/>
          </p:cNvSpPr>
          <p:nvPr/>
        </p:nvSpPr>
        <p:spPr bwMode="auto">
          <a:xfrm>
            <a:off x="7741772" y="3993884"/>
            <a:ext cx="479054" cy="58858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ysClr val="windowText" lastClr="000000"/>
              </a:solidFill>
              <a:effectLst/>
              <a:uLnTx/>
              <a:uFillTx/>
            </a:endParaRPr>
          </a:p>
        </p:txBody>
      </p:sp>
      <p:grpSp>
        <p:nvGrpSpPr>
          <p:cNvPr id="21" name="Group 20"/>
          <p:cNvGrpSpPr/>
          <p:nvPr/>
        </p:nvGrpSpPr>
        <p:grpSpPr>
          <a:xfrm>
            <a:off x="1730747" y="2344060"/>
            <a:ext cx="6567435" cy="1141399"/>
            <a:chOff x="1730747" y="2344060"/>
            <a:chExt cx="6567435" cy="1141399"/>
          </a:xfrm>
        </p:grpSpPr>
        <p:cxnSp>
          <p:nvCxnSpPr>
            <p:cNvPr id="22" name="Straight Connector 21"/>
            <p:cNvCxnSpPr>
              <a:cxnSpLocks/>
            </p:cNvCxnSpPr>
            <p:nvPr/>
          </p:nvCxnSpPr>
          <p:spPr bwMode="auto">
            <a:xfrm flipV="1">
              <a:off x="1730747" y="3203576"/>
              <a:ext cx="0" cy="281883"/>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3" name="Straight Connector 22"/>
            <p:cNvCxnSpPr/>
            <p:nvPr/>
          </p:nvCxnSpPr>
          <p:spPr bwMode="auto">
            <a:xfrm>
              <a:off x="1730747" y="3203576"/>
              <a:ext cx="6567435"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4" name="Straight Connector 23"/>
            <p:cNvCxnSpPr>
              <a:cxnSpLocks/>
            </p:cNvCxnSpPr>
            <p:nvPr/>
          </p:nvCxnSpPr>
          <p:spPr bwMode="auto">
            <a:xfrm flipV="1">
              <a:off x="8298182" y="2344060"/>
              <a:ext cx="0" cy="860434"/>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grpSp>
        <p:nvGrpSpPr>
          <p:cNvPr id="25" name="Group 24"/>
          <p:cNvGrpSpPr/>
          <p:nvPr/>
        </p:nvGrpSpPr>
        <p:grpSpPr>
          <a:xfrm>
            <a:off x="3495321" y="2349323"/>
            <a:ext cx="5030410" cy="1204086"/>
            <a:chOff x="3495321" y="2349323"/>
            <a:chExt cx="5030410" cy="1204086"/>
          </a:xfrm>
        </p:grpSpPr>
        <p:cxnSp>
          <p:nvCxnSpPr>
            <p:cNvPr id="26" name="Straight Connector 25"/>
            <p:cNvCxnSpPr/>
            <p:nvPr/>
          </p:nvCxnSpPr>
          <p:spPr bwMode="auto">
            <a:xfrm flipV="1">
              <a:off x="3495321" y="3340241"/>
              <a:ext cx="0" cy="213168"/>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7" name="Straight Connector 26"/>
            <p:cNvCxnSpPr/>
            <p:nvPr/>
          </p:nvCxnSpPr>
          <p:spPr bwMode="auto">
            <a:xfrm>
              <a:off x="3495321" y="3340241"/>
              <a:ext cx="5030410"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28" name="Straight Connector 27"/>
            <p:cNvCxnSpPr>
              <a:cxnSpLocks/>
            </p:cNvCxnSpPr>
            <p:nvPr/>
          </p:nvCxnSpPr>
          <p:spPr bwMode="auto">
            <a:xfrm flipV="1">
              <a:off x="8525731" y="2349323"/>
              <a:ext cx="0" cy="990919"/>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cxnSp>
        <p:nvCxnSpPr>
          <p:cNvPr id="29" name="Connector: Elbow 28"/>
          <p:cNvCxnSpPr>
            <a:cxnSpLocks/>
          </p:cNvCxnSpPr>
          <p:nvPr/>
        </p:nvCxnSpPr>
        <p:spPr bwMode="auto">
          <a:xfrm rot="5400000" flipH="1" flipV="1">
            <a:off x="1394549" y="2530188"/>
            <a:ext cx="1176976" cy="815247"/>
          </a:xfrm>
          <a:prstGeom prst="bentConnector3">
            <a:avLst/>
          </a:prstGeom>
          <a:solidFill>
            <a:schemeClr val="accent1"/>
          </a:solidFill>
          <a:ln w="12700" cap="flat" cmpd="sng" algn="ctr">
            <a:solidFill>
              <a:schemeClr val="bg1"/>
            </a:solidFill>
            <a:prstDash val="solid"/>
            <a:round/>
            <a:headEnd type="none" w="med" len="med"/>
            <a:tailEnd type="none" w="med" len="med"/>
          </a:ln>
          <a:effectLst/>
        </p:spPr>
      </p:cxnSp>
      <p:sp>
        <p:nvSpPr>
          <p:cNvPr id="30" name="Rectangle 36"/>
          <p:cNvSpPr>
            <a:spLocks noChangeArrowheads="1"/>
          </p:cNvSpPr>
          <p:nvPr/>
        </p:nvSpPr>
        <p:spPr bwMode="auto">
          <a:xfrm>
            <a:off x="975269" y="1725459"/>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noProof="0" dirty="0">
                <a:ln>
                  <a:noFill/>
                </a:ln>
                <a:solidFill>
                  <a:srgbClr val="FFFFFF"/>
                </a:solidFill>
                <a:effectLst/>
                <a:uLnTx/>
                <a:uFillTx/>
                <a:latin typeface="Arial" pitchFamily="34" charset="0"/>
              </a:rPr>
              <a:t>5G Enabled EPC</a:t>
            </a:r>
          </a:p>
        </p:txBody>
      </p:sp>
      <p:sp>
        <p:nvSpPr>
          <p:cNvPr id="31" name="Rectangle 36"/>
          <p:cNvSpPr>
            <a:spLocks noChangeArrowheads="1"/>
          </p:cNvSpPr>
          <p:nvPr/>
        </p:nvSpPr>
        <p:spPr bwMode="auto">
          <a:xfrm>
            <a:off x="7090748" y="1747098"/>
            <a:ext cx="30956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en-US" sz="2400" b="0" i="0" u="none" strike="noStrike" kern="0" cap="none" spc="0" normalizeH="0" baseline="0" noProof="0" dirty="0">
                <a:ln>
                  <a:noFill/>
                </a:ln>
                <a:solidFill>
                  <a:srgbClr val="FFFFFF"/>
                </a:solidFill>
                <a:effectLst/>
                <a:uLnTx/>
                <a:uFillTx/>
                <a:latin typeface="Arial" pitchFamily="34" charset="0"/>
              </a:rPr>
              <a:t>5GC</a:t>
            </a:r>
          </a:p>
        </p:txBody>
      </p:sp>
      <p:sp>
        <p:nvSpPr>
          <p:cNvPr id="32" name="TextBox 31"/>
          <p:cNvSpPr txBox="1"/>
          <p:nvPr/>
        </p:nvSpPr>
        <p:spPr>
          <a:xfrm>
            <a:off x="2267524" y="4293119"/>
            <a:ext cx="703013" cy="44627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ysClr val="windowText" lastClr="000000"/>
                </a:solidFill>
                <a:effectLst/>
                <a:uLnTx/>
                <a:uFillTx/>
              </a:rPr>
              <a:t>LTE</a:t>
            </a:r>
          </a:p>
        </p:txBody>
      </p:sp>
      <p:sp>
        <p:nvSpPr>
          <p:cNvPr id="33" name="TextBox 32"/>
          <p:cNvSpPr txBox="1"/>
          <p:nvPr/>
        </p:nvSpPr>
        <p:spPr>
          <a:xfrm>
            <a:off x="7456782" y="4308591"/>
            <a:ext cx="49994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a:ln>
                  <a:noFill/>
                </a:ln>
                <a:solidFill>
                  <a:sysClr val="windowText" lastClr="000000"/>
                </a:solidFill>
                <a:effectLst/>
                <a:uLnTx/>
                <a:uFillTx/>
              </a:rPr>
              <a:t>LTE</a:t>
            </a:r>
          </a:p>
        </p:txBody>
      </p:sp>
      <p:sp>
        <p:nvSpPr>
          <p:cNvPr id="34" name="TextBox 33"/>
          <p:cNvSpPr txBox="1"/>
          <p:nvPr/>
        </p:nvSpPr>
        <p:spPr>
          <a:xfrm>
            <a:off x="4519224" y="4307102"/>
            <a:ext cx="44435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a:ln>
                  <a:noFill/>
                </a:ln>
                <a:solidFill>
                  <a:sysClr val="windowText" lastClr="000000"/>
                </a:solidFill>
                <a:effectLst/>
                <a:uLnTx/>
                <a:uFillTx/>
              </a:rPr>
              <a:t>NR</a:t>
            </a:r>
          </a:p>
        </p:txBody>
      </p:sp>
      <p:sp>
        <p:nvSpPr>
          <p:cNvPr id="35" name="TextBox 34"/>
          <p:cNvSpPr txBox="1"/>
          <p:nvPr/>
        </p:nvSpPr>
        <p:spPr>
          <a:xfrm>
            <a:off x="9605042" y="4296066"/>
            <a:ext cx="630302" cy="461665"/>
          </a:xfrm>
          <a:prstGeom prst="rect">
            <a:avLst/>
          </a:prstGeom>
          <a:noFill/>
        </p:spPr>
        <p:txBody>
          <a:bodyPr wrap="none" rtlCol="0">
            <a:spAutoFit/>
          </a:bodyPr>
          <a:lstStyle>
            <a:defPPr>
              <a:defRPr lang="en-US"/>
            </a:defP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ysClr val="windowText" lastClr="000000"/>
                </a:solidFill>
                <a:effectLst/>
                <a:uLnTx/>
                <a:uFillTx/>
              </a:rPr>
              <a:t>NR</a:t>
            </a:r>
          </a:p>
        </p:txBody>
      </p:sp>
      <p:sp>
        <p:nvSpPr>
          <p:cNvPr id="36" name="TextBox 35"/>
          <p:cNvSpPr txBox="1"/>
          <p:nvPr/>
        </p:nvSpPr>
        <p:spPr>
          <a:xfrm>
            <a:off x="1536737" y="2891529"/>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1</a:t>
            </a:r>
          </a:p>
        </p:txBody>
      </p:sp>
      <p:sp>
        <p:nvSpPr>
          <p:cNvPr id="37" name="TextBox 36"/>
          <p:cNvSpPr txBox="1"/>
          <p:nvPr/>
        </p:nvSpPr>
        <p:spPr>
          <a:xfrm>
            <a:off x="2647160" y="2883768"/>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3</a:t>
            </a:r>
          </a:p>
        </p:txBody>
      </p:sp>
      <p:sp>
        <p:nvSpPr>
          <p:cNvPr id="38" name="TextBox 37"/>
          <p:cNvSpPr txBox="1"/>
          <p:nvPr/>
        </p:nvSpPr>
        <p:spPr>
          <a:xfrm>
            <a:off x="7573454" y="2947992"/>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5</a:t>
            </a:r>
          </a:p>
        </p:txBody>
      </p:sp>
      <p:sp>
        <p:nvSpPr>
          <p:cNvPr id="39" name="TextBox 38"/>
          <p:cNvSpPr txBox="1"/>
          <p:nvPr/>
        </p:nvSpPr>
        <p:spPr>
          <a:xfrm>
            <a:off x="7638542" y="3297434"/>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7</a:t>
            </a:r>
          </a:p>
        </p:txBody>
      </p:sp>
      <p:sp>
        <p:nvSpPr>
          <p:cNvPr id="40" name="TextBox 39"/>
          <p:cNvSpPr txBox="1"/>
          <p:nvPr/>
        </p:nvSpPr>
        <p:spPr>
          <a:xfrm>
            <a:off x="8682300" y="3290121"/>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4</a:t>
            </a:r>
          </a:p>
        </p:txBody>
      </p:sp>
      <p:sp>
        <p:nvSpPr>
          <p:cNvPr id="41" name="TextBox 40"/>
          <p:cNvSpPr txBox="1"/>
          <p:nvPr/>
        </p:nvSpPr>
        <p:spPr>
          <a:xfrm>
            <a:off x="8994948" y="2970102"/>
            <a:ext cx="7649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200" b="0" i="0" u="none" strike="noStrike" kern="0" cap="none" spc="0" normalizeH="0" baseline="0" noProof="0" dirty="0">
                <a:ln>
                  <a:noFill/>
                </a:ln>
                <a:solidFill>
                  <a:schemeClr val="bg1"/>
                </a:solidFill>
                <a:effectLst/>
                <a:uLnTx/>
                <a:uFillTx/>
              </a:rPr>
              <a:t>Option 2</a:t>
            </a:r>
          </a:p>
        </p:txBody>
      </p:sp>
      <p:sp>
        <p:nvSpPr>
          <p:cNvPr id="42" name="Oval 41"/>
          <p:cNvSpPr/>
          <p:nvPr/>
        </p:nvSpPr>
        <p:spPr bwMode="auto">
          <a:xfrm>
            <a:off x="8064347" y="2739092"/>
            <a:ext cx="1156771" cy="143219"/>
          </a:xfrm>
          <a:prstGeom prst="ellipse">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0" cap="none" spc="0" normalizeH="0" baseline="0" noProof="0">
              <a:ln>
                <a:noFill/>
              </a:ln>
              <a:solidFill>
                <a:schemeClr val="tx1"/>
              </a:solidFill>
              <a:effectLst/>
              <a:uLnTx/>
              <a:uFillTx/>
              <a:latin typeface="Arial" charset="0"/>
            </a:endParaRPr>
          </a:p>
        </p:txBody>
      </p:sp>
      <p:sp>
        <p:nvSpPr>
          <p:cNvPr id="43" name="Oval 42"/>
          <p:cNvSpPr/>
          <p:nvPr/>
        </p:nvSpPr>
        <p:spPr bwMode="auto">
          <a:xfrm>
            <a:off x="2115575" y="2739093"/>
            <a:ext cx="618780" cy="113042"/>
          </a:xfrm>
          <a:prstGeom prst="ellipse">
            <a:avLst/>
          </a:prstGeom>
          <a:no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sv-SE" sz="2000" b="0" i="0" u="none" strike="noStrike" kern="0" cap="none" spc="0" normalizeH="0" baseline="0" noProof="0">
              <a:ln>
                <a:noFill/>
              </a:ln>
              <a:solidFill>
                <a:schemeClr val="tx1"/>
              </a:solidFill>
              <a:effectLst/>
              <a:uLnTx/>
              <a:uFillTx/>
              <a:latin typeface="Arial" charset="0"/>
            </a:endParaRPr>
          </a:p>
        </p:txBody>
      </p:sp>
      <p:sp>
        <p:nvSpPr>
          <p:cNvPr id="44" name="Rectangle 36"/>
          <p:cNvSpPr>
            <a:spLocks noChangeArrowheads="1"/>
          </p:cNvSpPr>
          <p:nvPr/>
        </p:nvSpPr>
        <p:spPr bwMode="auto">
          <a:xfrm>
            <a:off x="2539048" y="2430662"/>
            <a:ext cx="14937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pitchFamily="34" charset="0"/>
              </a:rPr>
              <a:t>S1-based</a:t>
            </a:r>
          </a:p>
        </p:txBody>
      </p:sp>
      <p:sp>
        <p:nvSpPr>
          <p:cNvPr id="45" name="Rectangle 36"/>
          <p:cNvSpPr>
            <a:spLocks noChangeArrowheads="1"/>
          </p:cNvSpPr>
          <p:nvPr/>
        </p:nvSpPr>
        <p:spPr bwMode="auto">
          <a:xfrm>
            <a:off x="8964201" y="2442554"/>
            <a:ext cx="28838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FFFFFF"/>
                </a:solidFill>
                <a:effectLst/>
                <a:uLnTx/>
                <a:uFillTx/>
                <a:latin typeface="Arial" pitchFamily="34" charset="0"/>
              </a:rPr>
              <a:t>N2/N3 (new interface)</a:t>
            </a:r>
          </a:p>
        </p:txBody>
      </p:sp>
      <p:grpSp>
        <p:nvGrpSpPr>
          <p:cNvPr id="46" name="Group 45"/>
          <p:cNvGrpSpPr/>
          <p:nvPr/>
        </p:nvGrpSpPr>
        <p:grpSpPr>
          <a:xfrm flipH="1">
            <a:off x="9002117" y="2352618"/>
            <a:ext cx="1643137" cy="1067546"/>
            <a:chOff x="3495321" y="2349323"/>
            <a:chExt cx="5030410" cy="1204086"/>
          </a:xfrm>
        </p:grpSpPr>
        <p:cxnSp>
          <p:nvCxnSpPr>
            <p:cNvPr id="47" name="Straight Connector 46"/>
            <p:cNvCxnSpPr/>
            <p:nvPr/>
          </p:nvCxnSpPr>
          <p:spPr bwMode="auto">
            <a:xfrm flipV="1">
              <a:off x="3495321" y="3340241"/>
              <a:ext cx="0" cy="213168"/>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48" name="Straight Connector 47"/>
            <p:cNvCxnSpPr/>
            <p:nvPr/>
          </p:nvCxnSpPr>
          <p:spPr bwMode="auto">
            <a:xfrm>
              <a:off x="3495321" y="3340241"/>
              <a:ext cx="5030410" cy="0"/>
            </a:xfrm>
            <a:prstGeom prst="line">
              <a:avLst/>
            </a:prstGeom>
            <a:solidFill>
              <a:schemeClr val="accent1"/>
            </a:solidFill>
            <a:ln w="12700" cap="flat" cmpd="sng" algn="ctr">
              <a:solidFill>
                <a:srgbClr val="FFC000"/>
              </a:solidFill>
              <a:prstDash val="solid"/>
              <a:round/>
              <a:headEnd type="none" w="med" len="med"/>
              <a:tailEnd type="none" w="med" len="med"/>
            </a:ln>
            <a:effectLst/>
          </p:spPr>
        </p:cxnSp>
        <p:cxnSp>
          <p:nvCxnSpPr>
            <p:cNvPr id="49" name="Straight Connector 48"/>
            <p:cNvCxnSpPr>
              <a:cxnSpLocks/>
            </p:cNvCxnSpPr>
            <p:nvPr/>
          </p:nvCxnSpPr>
          <p:spPr bwMode="auto">
            <a:xfrm flipV="1">
              <a:off x="8525731" y="2349323"/>
              <a:ext cx="0" cy="990919"/>
            </a:xfrm>
            <a:prstGeom prst="line">
              <a:avLst/>
            </a:prstGeom>
            <a:solidFill>
              <a:schemeClr val="accent1"/>
            </a:solidFill>
            <a:ln w="12700" cap="flat" cmpd="sng" algn="ctr">
              <a:solidFill>
                <a:srgbClr val="FFC000"/>
              </a:solidFill>
              <a:prstDash val="solid"/>
              <a:round/>
              <a:headEnd type="none" w="med" len="med"/>
              <a:tailEnd type="none" w="med" len="med"/>
            </a:ln>
            <a:effectLst/>
          </p:spPr>
        </p:cxnSp>
      </p:grpSp>
      <p:sp>
        <p:nvSpPr>
          <p:cNvPr id="50" name="Freeform 6"/>
          <p:cNvSpPr>
            <a:spLocks noEditPoints="1"/>
          </p:cNvSpPr>
          <p:nvPr/>
        </p:nvSpPr>
        <p:spPr bwMode="auto">
          <a:xfrm>
            <a:off x="2194650"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BED682"/>
          </a:solidFill>
          <a:ln w="12700" cap="flat" cmpd="sng" algn="ctr">
            <a:noFill/>
            <a:prstDash val="solid"/>
            <a:roun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51" name="Freeform 6"/>
          <p:cNvSpPr>
            <a:spLocks noEditPoints="1"/>
          </p:cNvSpPr>
          <p:nvPr/>
        </p:nvSpPr>
        <p:spPr bwMode="auto">
          <a:xfrm>
            <a:off x="503090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CCECFF"/>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52" name="Freeform 6"/>
          <p:cNvSpPr>
            <a:spLocks noEditPoints="1"/>
          </p:cNvSpPr>
          <p:nvPr/>
        </p:nvSpPr>
        <p:spPr bwMode="auto">
          <a:xfrm>
            <a:off x="7921788" y="531029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accent2">
              <a:lumMod val="60000"/>
              <a:lumOff val="40000"/>
            </a:schemeClr>
          </a:solidFill>
          <a:ln w="12700" cap="flat" cmpd="sng" algn="ctr">
            <a:noFill/>
            <a:prstDash val="solid"/>
            <a:round/>
            <a:headEnd type="none" w="med" len="med"/>
            <a:tailEnd type="none" w="med" len="med"/>
          </a:ln>
          <a:effectLst/>
          <a:ex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ct val="50000"/>
              </a:spcBef>
              <a:spcAft>
                <a:spcPts val="0"/>
              </a:spcAft>
              <a:buClrTx/>
              <a:buSzTx/>
              <a:buFontTx/>
              <a:buNone/>
              <a:tabLst/>
              <a:defRPr/>
            </a:pPr>
            <a:endParaRPr kumimoji="0" lang="sv-SE" sz="2000" b="0" i="0" u="none" strike="noStrike" kern="0" cap="none" spc="0" normalizeH="0" baseline="0" noProof="0">
              <a:ln>
                <a:noFill/>
              </a:ln>
              <a:solidFill>
                <a:srgbClr val="FED57A"/>
              </a:solidFill>
              <a:effectLst/>
              <a:uLnTx/>
              <a:uFillTx/>
              <a:latin typeface="Arial" charset="0"/>
            </a:endParaRPr>
          </a:p>
        </p:txBody>
      </p:sp>
      <p:sp>
        <p:nvSpPr>
          <p:cNvPr id="53" name="TextBox 52"/>
          <p:cNvSpPr txBox="1"/>
          <p:nvPr/>
        </p:nvSpPr>
        <p:spPr>
          <a:xfrm>
            <a:off x="2675087" y="5239100"/>
            <a:ext cx="1255472"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2000" b="0" i="0" u="none" strike="noStrike" kern="0" cap="none" spc="0" normalizeH="0" baseline="0" noProof="0" dirty="0">
                <a:ln>
                  <a:noFill/>
                </a:ln>
                <a:solidFill>
                  <a:schemeClr val="bg1"/>
                </a:solidFill>
                <a:effectLst/>
                <a:uLnTx/>
                <a:uFillTx/>
              </a:rPr>
              <a:t>LTE/EPC</a:t>
            </a:r>
          </a:p>
        </p:txBody>
      </p:sp>
      <p:sp>
        <p:nvSpPr>
          <p:cNvPr id="54" name="TextBox 53"/>
          <p:cNvSpPr txBox="1"/>
          <p:nvPr/>
        </p:nvSpPr>
        <p:spPr>
          <a:xfrm>
            <a:off x="5511541" y="5239100"/>
            <a:ext cx="1255472" cy="70788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2000" b="0" i="0" u="none" strike="noStrike" kern="0" cap="none" spc="0" normalizeH="0" baseline="0" noProof="0" dirty="0">
                <a:ln>
                  <a:noFill/>
                </a:ln>
                <a:solidFill>
                  <a:schemeClr val="bg1"/>
                </a:solidFill>
                <a:effectLst/>
                <a:uLnTx/>
                <a:uFillTx/>
              </a:rPr>
              <a:t>LTE/EP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EPC</a:t>
            </a:r>
          </a:p>
        </p:txBody>
      </p:sp>
      <p:sp>
        <p:nvSpPr>
          <p:cNvPr id="55" name="TextBox 54"/>
          <p:cNvSpPr txBox="1"/>
          <p:nvPr/>
        </p:nvSpPr>
        <p:spPr>
          <a:xfrm>
            <a:off x="8386158" y="5239100"/>
            <a:ext cx="1255472" cy="1323439"/>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2000" b="0" i="0" u="none" strike="noStrike" kern="0" cap="none" spc="0" normalizeH="0" baseline="0" noProof="0" dirty="0">
                <a:ln>
                  <a:noFill/>
                </a:ln>
                <a:solidFill>
                  <a:schemeClr val="bg1"/>
                </a:solidFill>
                <a:effectLst/>
                <a:uLnTx/>
                <a:uFillTx/>
              </a:rPr>
              <a:t>LTE/EP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EPC</a:t>
            </a:r>
          </a:p>
          <a:p>
            <a:pPr marL="0" marR="0" lvl="0" indent="0" algn="l" defTabSz="914400" eaLnBrk="1" fontAlgn="auto" latinLnBrk="0" hangingPunct="1">
              <a:lnSpc>
                <a:spcPct val="100000"/>
              </a:lnSpc>
              <a:spcBef>
                <a:spcPts val="0"/>
              </a:spcBef>
              <a:spcAft>
                <a:spcPts val="0"/>
              </a:spcAft>
              <a:buClrTx/>
              <a:buSzTx/>
              <a:buFontTx/>
              <a:buNone/>
              <a:tabLst/>
              <a:defRPr/>
            </a:pPr>
            <a:r>
              <a:rPr lang="sv-SE" kern="0" dirty="0">
                <a:solidFill>
                  <a:schemeClr val="bg1"/>
                </a:solidFill>
              </a:rPr>
              <a:t>LTE/5GC</a:t>
            </a:r>
            <a:br>
              <a:rPr kumimoji="0" lang="sv-SE" sz="2000" b="0" i="0" u="none" strike="noStrike" kern="0" cap="none" spc="0" normalizeH="0" baseline="0" noProof="0" dirty="0">
                <a:ln>
                  <a:noFill/>
                </a:ln>
                <a:solidFill>
                  <a:schemeClr val="bg1"/>
                </a:solidFill>
                <a:effectLst/>
                <a:uLnTx/>
                <a:uFillTx/>
              </a:rPr>
            </a:br>
            <a:r>
              <a:rPr kumimoji="0" lang="sv-SE" sz="2000" b="0" i="0" u="none" strike="noStrike" kern="0" cap="none" spc="0" normalizeH="0" baseline="0" noProof="0" dirty="0">
                <a:ln>
                  <a:noFill/>
                </a:ln>
                <a:solidFill>
                  <a:schemeClr val="bg1"/>
                </a:solidFill>
                <a:effectLst/>
                <a:uLnTx/>
                <a:uFillTx/>
              </a:rPr>
              <a:t>NR/5GC</a:t>
            </a:r>
          </a:p>
        </p:txBody>
      </p:sp>
      <p:sp>
        <p:nvSpPr>
          <p:cNvPr id="56" name="TextBox 55"/>
          <p:cNvSpPr txBox="1"/>
          <p:nvPr/>
        </p:nvSpPr>
        <p:spPr>
          <a:xfrm>
            <a:off x="4217575" y="1615533"/>
            <a:ext cx="1450076"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rPr>
              <a:t>3GPP target</a:t>
            </a:r>
            <a:br>
              <a:rPr kumimoji="0" lang="en-US" sz="1800" b="0" i="0" u="none" strike="noStrike" kern="0" cap="none" spc="0" normalizeH="0" baseline="0" noProof="0">
                <a:ln>
                  <a:noFill/>
                </a:ln>
                <a:solidFill>
                  <a:schemeClr val="bg1"/>
                </a:solidFill>
                <a:effectLst/>
                <a:uLnTx/>
                <a:uFillTx/>
              </a:rPr>
            </a:br>
            <a:r>
              <a:rPr kumimoji="0" lang="en-US" sz="1800" b="0" i="0" u="none" strike="noStrike" kern="0" cap="none" spc="0" normalizeH="0" baseline="0" noProof="0">
                <a:ln>
                  <a:noFill/>
                </a:ln>
                <a:solidFill>
                  <a:schemeClr val="bg1"/>
                </a:solidFill>
                <a:effectLst/>
                <a:uLnTx/>
                <a:uFillTx/>
              </a:rPr>
              <a:t>Q4 17</a:t>
            </a:r>
          </a:p>
        </p:txBody>
      </p:sp>
      <p:sp>
        <p:nvSpPr>
          <p:cNvPr id="57" name="TextBox 56"/>
          <p:cNvSpPr txBox="1"/>
          <p:nvPr/>
        </p:nvSpPr>
        <p:spPr>
          <a:xfrm>
            <a:off x="10285302" y="1638747"/>
            <a:ext cx="1450076"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solidFill>
                <a:effectLst/>
                <a:uLnTx/>
                <a:uFillTx/>
              </a:rPr>
              <a:t>3GPP target</a:t>
            </a:r>
            <a:br>
              <a:rPr kumimoji="0" lang="en-US" sz="1800" b="0" i="0" u="none" strike="noStrike" kern="0" cap="none" spc="0" normalizeH="0" baseline="0" noProof="0">
                <a:ln>
                  <a:noFill/>
                </a:ln>
                <a:solidFill>
                  <a:schemeClr val="bg1"/>
                </a:solidFill>
                <a:effectLst/>
                <a:uLnTx/>
                <a:uFillTx/>
              </a:rPr>
            </a:br>
            <a:r>
              <a:rPr kumimoji="0" lang="en-US" sz="1800" b="0" i="0" u="none" strike="noStrike" kern="0" cap="none" spc="0" normalizeH="0" baseline="0" noProof="0">
                <a:ln>
                  <a:noFill/>
                </a:ln>
                <a:solidFill>
                  <a:schemeClr val="bg1"/>
                </a:solidFill>
                <a:effectLst/>
                <a:uLnTx/>
                <a:uFillTx/>
              </a:rPr>
              <a:t>Q2 18</a:t>
            </a:r>
          </a:p>
        </p:txBody>
      </p:sp>
    </p:spTree>
    <p:extLst>
      <p:ext uri="{BB962C8B-B14F-4D97-AF65-F5344CB8AC3E}">
        <p14:creationId xmlns:p14="http://schemas.microsoft.com/office/powerpoint/2010/main" val="17742523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extGen</a:t>
            </a:r>
            <a:r>
              <a:rPr lang="en-US" dirty="0"/>
              <a:t> Study – Key Issues</a:t>
            </a:r>
            <a:br>
              <a:rPr lang="en-US" dirty="0"/>
            </a:br>
            <a:r>
              <a:rPr lang="en-US" sz="2400" dirty="0">
                <a:latin typeface="+mn-lt"/>
              </a:rPr>
              <a:t>TR 23.799 Key Issues (finalized Dec 2016)</a:t>
            </a:r>
          </a:p>
        </p:txBody>
      </p:sp>
      <p:sp>
        <p:nvSpPr>
          <p:cNvPr id="4" name="Content Placeholder 4"/>
          <p:cNvSpPr txBox="1">
            <a:spLocks/>
          </p:cNvSpPr>
          <p:nvPr/>
        </p:nvSpPr>
        <p:spPr>
          <a:xfrm>
            <a:off x="6193367" y="1698478"/>
            <a:ext cx="5467351" cy="4743881"/>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600" kern="0" dirty="0"/>
              <a:t>Key issue 12: Security framework</a:t>
            </a:r>
          </a:p>
          <a:p>
            <a:r>
              <a:rPr lang="en-US" sz="1600" kern="0" dirty="0"/>
              <a:t>Key issue 13: Broadcast/Multicast Capabilities</a:t>
            </a:r>
          </a:p>
          <a:p>
            <a:r>
              <a:rPr lang="en-US" sz="1600" kern="0" dirty="0"/>
              <a:t>Key Issue 14: Support for Off-Network Communication</a:t>
            </a:r>
          </a:p>
          <a:p>
            <a:r>
              <a:rPr lang="en-US" sz="1600" kern="0" dirty="0"/>
              <a:t>Key Issue 15: </a:t>
            </a:r>
            <a:r>
              <a:rPr lang="en-US" sz="1600" kern="0" dirty="0" err="1"/>
              <a:t>NextGen</a:t>
            </a:r>
            <a:r>
              <a:rPr lang="en-US" sz="1600" kern="0" dirty="0"/>
              <a:t> core support for IMS</a:t>
            </a:r>
          </a:p>
          <a:p>
            <a:r>
              <a:rPr lang="en-US" sz="1600" kern="0" dirty="0"/>
              <a:t>Key Issue 16: 3GPP system aspects to support the connectivity of remote UEs via relay UEs</a:t>
            </a:r>
          </a:p>
          <a:p>
            <a:r>
              <a:rPr lang="en-US" sz="1600" kern="0" dirty="0"/>
              <a:t>Key Issue 17: 3GPP architecture impacts to support network discovery and selection</a:t>
            </a:r>
          </a:p>
          <a:p>
            <a:r>
              <a:rPr lang="en-US" sz="1600" kern="0" dirty="0"/>
              <a:t>Key Issue 18: Interworking and Migration</a:t>
            </a:r>
          </a:p>
          <a:p>
            <a:r>
              <a:rPr lang="en-US" sz="1600" kern="0" dirty="0"/>
              <a:t>Key Issue 19: Architecture impacts when using virtual environments</a:t>
            </a:r>
          </a:p>
          <a:p>
            <a:r>
              <a:rPr lang="en-US" sz="1600" kern="0" dirty="0"/>
              <a:t>Key issue 20: Traffic Steering, Switching and Splitting between 3GPP and non-3GPP Accesses</a:t>
            </a:r>
          </a:p>
          <a:p>
            <a:r>
              <a:rPr lang="en-US" sz="1600" kern="0" dirty="0"/>
              <a:t>Key Issue 21: Minimal connectivity within extreme rural deployments</a:t>
            </a:r>
          </a:p>
          <a:p>
            <a:r>
              <a:rPr lang="en-US" sz="1600" kern="0" dirty="0"/>
              <a:t>Key Issue 22: Support of “5G connectivity via satellite” use case</a:t>
            </a:r>
          </a:p>
          <a:p>
            <a:endParaRPr lang="en-US" sz="1600" kern="0" dirty="0"/>
          </a:p>
          <a:p>
            <a:endParaRPr lang="en-US" sz="1600" kern="0" dirty="0"/>
          </a:p>
        </p:txBody>
      </p:sp>
      <p:sp>
        <p:nvSpPr>
          <p:cNvPr id="5" name="Content Placeholder 1"/>
          <p:cNvSpPr txBox="1">
            <a:spLocks/>
          </p:cNvSpPr>
          <p:nvPr/>
        </p:nvSpPr>
        <p:spPr bwMode="auto">
          <a:xfrm>
            <a:off x="524934" y="1795462"/>
            <a:ext cx="5465233" cy="4491037"/>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600" kern="0" dirty="0"/>
              <a:t>Key issue 1: Support of network slicing</a:t>
            </a:r>
          </a:p>
          <a:p>
            <a:r>
              <a:rPr lang="en-US" sz="1600" kern="0" dirty="0"/>
              <a:t>Key issue 2: </a:t>
            </a:r>
            <a:r>
              <a:rPr lang="en-US" sz="1600" kern="0" dirty="0" err="1"/>
              <a:t>QoS</a:t>
            </a:r>
            <a:r>
              <a:rPr lang="en-US" sz="1600" kern="0" dirty="0"/>
              <a:t> framework</a:t>
            </a:r>
          </a:p>
          <a:p>
            <a:r>
              <a:rPr lang="en-US" sz="1600" kern="0" dirty="0"/>
              <a:t>Key Issue 3: Mobility management framework</a:t>
            </a:r>
          </a:p>
          <a:p>
            <a:r>
              <a:rPr lang="en-US" sz="1600" kern="0" dirty="0"/>
              <a:t>Key issue 4: Session management</a:t>
            </a:r>
          </a:p>
          <a:p>
            <a:r>
              <a:rPr lang="en-US" sz="1600" kern="0" dirty="0"/>
              <a:t>Key Issue 5: void</a:t>
            </a:r>
          </a:p>
          <a:p>
            <a:r>
              <a:rPr lang="en-US" sz="1600" kern="0" dirty="0"/>
              <a:t>Key issue 6: Support for session and service continuity and efficient user plane path</a:t>
            </a:r>
          </a:p>
          <a:p>
            <a:r>
              <a:rPr lang="en-US" sz="1600" kern="0" dirty="0"/>
              <a:t>Key issue 7: Network function granularity and interactions between them</a:t>
            </a:r>
          </a:p>
          <a:p>
            <a:r>
              <a:rPr lang="en-US" sz="1600" kern="0" dirty="0"/>
              <a:t>Key issue 8: Next Generation core and access - functional division and interface</a:t>
            </a:r>
          </a:p>
          <a:p>
            <a:r>
              <a:rPr lang="en-US" sz="1600" kern="0" dirty="0"/>
              <a:t>Key Issue 9: 3GPP architecture impacts to support network capability exposure and context information awareness</a:t>
            </a:r>
          </a:p>
          <a:p>
            <a:r>
              <a:rPr lang="en-US" sz="1600" kern="0" dirty="0"/>
              <a:t>Key issue 10: Policy Framework</a:t>
            </a:r>
          </a:p>
          <a:p>
            <a:r>
              <a:rPr lang="en-US" sz="1600" kern="0" dirty="0"/>
              <a:t>Key issue 11: Charging</a:t>
            </a:r>
          </a:p>
          <a:p>
            <a:endParaRPr lang="en-US" sz="1600" kern="0" dirty="0"/>
          </a:p>
        </p:txBody>
      </p:sp>
    </p:spTree>
    <p:extLst>
      <p:ext uri="{BB962C8B-B14F-4D97-AF65-F5344CB8AC3E}">
        <p14:creationId xmlns:p14="http://schemas.microsoft.com/office/powerpoint/2010/main" val="1050258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10517138" cy="1085371"/>
          </a:xfrm>
        </p:spPr>
        <p:txBody>
          <a:bodyPr>
            <a:normAutofit fontScale="90000"/>
          </a:bodyPr>
          <a:lstStyle/>
          <a:p>
            <a:r>
              <a:rPr lang="en-US" dirty="0"/>
              <a:t>Phase 1: 5G system </a:t>
            </a:r>
            <a:r>
              <a:rPr lang="en-US" dirty="0" err="1"/>
              <a:t>Rel</a:t>
            </a:r>
            <a:r>
              <a:rPr lang="en-US" dirty="0"/>
              <a:t> 15 Features</a:t>
            </a:r>
            <a:br>
              <a:rPr lang="en-US" dirty="0"/>
            </a:br>
            <a:r>
              <a:rPr lang="en-US" sz="2700" dirty="0">
                <a:latin typeface="+mn-lt"/>
              </a:rPr>
              <a:t>Key features to be covered based on TR 23.799 conclusions</a:t>
            </a:r>
          </a:p>
        </p:txBody>
      </p:sp>
      <p:sp>
        <p:nvSpPr>
          <p:cNvPr id="4" name="Content Placeholder 4"/>
          <p:cNvSpPr txBox="1">
            <a:spLocks/>
          </p:cNvSpPr>
          <p:nvPr/>
        </p:nvSpPr>
        <p:spPr>
          <a:xfrm>
            <a:off x="6193367" y="1795464"/>
            <a:ext cx="5467351" cy="4284662"/>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hangingPunct="0"/>
            <a:r>
              <a:rPr lang="en-US" sz="2000" kern="0" dirty="0"/>
              <a:t>Network discovery and selection</a:t>
            </a:r>
          </a:p>
          <a:p>
            <a:pPr hangingPunct="0"/>
            <a:r>
              <a:rPr lang="en-US" sz="2000" kern="0" dirty="0"/>
              <a:t>Network sharing</a:t>
            </a:r>
          </a:p>
          <a:p>
            <a:pPr hangingPunct="0"/>
            <a:r>
              <a:rPr lang="en-US" sz="2000" kern="0" dirty="0"/>
              <a:t>Untrusted </a:t>
            </a:r>
            <a:r>
              <a:rPr lang="en-GB" sz="2000" kern="0" dirty="0"/>
              <a:t>non-3GPP accesses</a:t>
            </a:r>
            <a:endParaRPr lang="en-US" sz="2000" kern="0" dirty="0"/>
          </a:p>
          <a:p>
            <a:pPr hangingPunct="0"/>
            <a:r>
              <a:rPr lang="en-GB" sz="2000" kern="0" dirty="0"/>
              <a:t>Roaming with EPS</a:t>
            </a:r>
            <a:endParaRPr lang="en-US" sz="2000" kern="0" dirty="0"/>
          </a:p>
          <a:p>
            <a:pPr hangingPunct="0"/>
            <a:r>
              <a:rPr lang="en-GB" sz="2000" kern="0" dirty="0"/>
              <a:t>Interworking with and migration from EPS</a:t>
            </a:r>
            <a:endParaRPr lang="en-US" sz="2000" kern="0" dirty="0"/>
          </a:p>
          <a:p>
            <a:pPr hangingPunct="0"/>
            <a:r>
              <a:rPr lang="en-GB" sz="2000" kern="0" dirty="0"/>
              <a:t>IMS services (including support for emergency calls)</a:t>
            </a:r>
            <a:endParaRPr lang="en-US" sz="2000" kern="0" dirty="0"/>
          </a:p>
          <a:p>
            <a:pPr hangingPunct="0"/>
            <a:r>
              <a:rPr lang="en-GB" sz="2000" kern="0" dirty="0"/>
              <a:t>Public Warning System (PWS)</a:t>
            </a:r>
            <a:endParaRPr lang="en-US" sz="2000" kern="0" dirty="0"/>
          </a:p>
          <a:p>
            <a:pPr hangingPunct="0"/>
            <a:r>
              <a:rPr lang="en-GB" sz="2000" kern="0" dirty="0"/>
              <a:t>Location services as per related service requirements and in alignment with NG RAN</a:t>
            </a:r>
            <a:endParaRPr lang="en-US" sz="2000" kern="0" dirty="0"/>
          </a:p>
          <a:p>
            <a:pPr hangingPunct="0"/>
            <a:r>
              <a:rPr lang="en-GB" sz="2000" kern="0" dirty="0"/>
              <a:t>SMS over NAS</a:t>
            </a:r>
          </a:p>
          <a:p>
            <a:pPr hangingPunct="0"/>
            <a:endParaRPr lang="en-GB" sz="2000" kern="0" dirty="0"/>
          </a:p>
          <a:p>
            <a:pPr hangingPunct="0"/>
            <a:endParaRPr lang="en-GB" sz="2000" kern="0" dirty="0"/>
          </a:p>
          <a:p>
            <a:pPr marL="0" indent="0" hangingPunct="0">
              <a:buFont typeface="Arial" charset="0"/>
              <a:buNone/>
            </a:pPr>
            <a:r>
              <a:rPr lang="en-GB" sz="1600" kern="0" dirty="0"/>
              <a:t>Based on </a:t>
            </a:r>
            <a:r>
              <a:rPr lang="en-GB" sz="1600" kern="0" dirty="0">
                <a:hlinkClick r:id="rId3"/>
              </a:rPr>
              <a:t>S2-167232</a:t>
            </a:r>
            <a:endParaRPr lang="en-US" sz="1400" kern="0" dirty="0"/>
          </a:p>
          <a:p>
            <a:endParaRPr lang="en-US" sz="1400" kern="0" dirty="0"/>
          </a:p>
        </p:txBody>
      </p:sp>
      <p:sp>
        <p:nvSpPr>
          <p:cNvPr id="5" name="Content Placeholder 1"/>
          <p:cNvSpPr txBox="1">
            <a:spLocks/>
          </p:cNvSpPr>
          <p:nvPr/>
        </p:nvSpPr>
        <p:spPr bwMode="auto">
          <a:xfrm>
            <a:off x="524934" y="1795462"/>
            <a:ext cx="5465233" cy="4491037"/>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hangingPunct="0"/>
            <a:r>
              <a:rPr lang="en-GB" sz="2000" kern="0"/>
              <a:t>Network slicing</a:t>
            </a:r>
            <a:endParaRPr lang="en-US" sz="2000" kern="0"/>
          </a:p>
          <a:p>
            <a:pPr hangingPunct="0"/>
            <a:r>
              <a:rPr lang="en-GB" sz="2000" kern="0"/>
              <a:t>Use of virtual environments</a:t>
            </a:r>
            <a:endParaRPr lang="en-US" sz="2000" kern="0"/>
          </a:p>
          <a:p>
            <a:pPr hangingPunct="0"/>
            <a:r>
              <a:rPr lang="en-GB" sz="2000" kern="0"/>
              <a:t>Service-based architecture</a:t>
            </a:r>
            <a:endParaRPr lang="en-US" sz="2000" kern="0"/>
          </a:p>
          <a:p>
            <a:pPr hangingPunct="0"/>
            <a:r>
              <a:rPr lang="en-GB" sz="2000" kern="0"/>
              <a:t>Network capability exposure</a:t>
            </a:r>
            <a:endParaRPr lang="en-US" sz="2000" kern="0"/>
          </a:p>
          <a:p>
            <a:pPr hangingPunct="0"/>
            <a:r>
              <a:rPr lang="en-GB" sz="2000" kern="0"/>
              <a:t>Support for edge computing</a:t>
            </a:r>
            <a:endParaRPr lang="en-US" sz="2000" kern="0"/>
          </a:p>
          <a:p>
            <a:pPr hangingPunct="0"/>
            <a:r>
              <a:rPr lang="en-GB" sz="2000" kern="0"/>
              <a:t>Access and mobility management</a:t>
            </a:r>
            <a:endParaRPr lang="en-US" sz="2000" kern="0"/>
          </a:p>
          <a:p>
            <a:pPr hangingPunct="0"/>
            <a:r>
              <a:rPr lang="en-GB" sz="2000" kern="0"/>
              <a:t>Session management separate from mobility management</a:t>
            </a:r>
            <a:endParaRPr lang="en-US" sz="2000" kern="0"/>
          </a:p>
          <a:p>
            <a:pPr hangingPunct="0"/>
            <a:r>
              <a:rPr lang="en-GB" sz="2000" kern="0"/>
              <a:t>(Re)selection of efficient user plane path</a:t>
            </a:r>
            <a:endParaRPr lang="en-US" sz="2000" kern="0"/>
          </a:p>
          <a:p>
            <a:pPr hangingPunct="0"/>
            <a:r>
              <a:rPr lang="en-GB" sz="2000" kern="0"/>
              <a:t>Session and service continuity</a:t>
            </a:r>
            <a:endParaRPr lang="en-US" sz="2000" kern="0"/>
          </a:p>
          <a:p>
            <a:pPr hangingPunct="0"/>
            <a:r>
              <a:rPr lang="en-US" sz="2000" kern="0"/>
              <a:t>QoS</a:t>
            </a:r>
          </a:p>
          <a:p>
            <a:pPr hangingPunct="0"/>
            <a:r>
              <a:rPr lang="en-US" sz="2000" kern="0"/>
              <a:t>Policy framework</a:t>
            </a:r>
            <a:endParaRPr lang="en-US" sz="2000" kern="0" dirty="0"/>
          </a:p>
        </p:txBody>
      </p:sp>
    </p:spTree>
    <p:extLst>
      <p:ext uri="{BB962C8B-B14F-4D97-AF65-F5344CB8AC3E}">
        <p14:creationId xmlns:p14="http://schemas.microsoft.com/office/powerpoint/2010/main" val="8704743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ase 1: 5G </a:t>
            </a:r>
            <a:r>
              <a:rPr lang="en-US" dirty="0" err="1"/>
              <a:t>Rel</a:t>
            </a:r>
            <a:r>
              <a:rPr lang="en-US" dirty="0"/>
              <a:t> 15 Work item</a:t>
            </a:r>
            <a:br>
              <a:rPr lang="en-US" dirty="0"/>
            </a:br>
            <a:r>
              <a:rPr lang="en-US" sz="2400" dirty="0">
                <a:latin typeface="+mn-lt"/>
              </a:rPr>
              <a:t>Stage 2 normative work started Q1 2017</a:t>
            </a:r>
          </a:p>
        </p:txBody>
      </p:sp>
      <p:sp>
        <p:nvSpPr>
          <p:cNvPr id="4" name="Content Placeholder 1"/>
          <p:cNvSpPr txBox="1">
            <a:spLocks/>
          </p:cNvSpPr>
          <p:nvPr/>
        </p:nvSpPr>
        <p:spPr bwMode="auto">
          <a:xfrm>
            <a:off x="529167" y="1876097"/>
            <a:ext cx="11135785" cy="4022089"/>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kern="0" dirty="0"/>
              <a:t>Two new TSs being created:</a:t>
            </a:r>
          </a:p>
          <a:p>
            <a:pPr lvl="1"/>
            <a:r>
              <a:rPr lang="en-US" i="1" kern="0" dirty="0">
                <a:solidFill>
                  <a:srgbClr val="0070C0"/>
                </a:solidFill>
              </a:rPr>
              <a:t>System Architecture for 5G System (TS 23.501)</a:t>
            </a:r>
            <a:r>
              <a:rPr lang="en-US" kern="0" dirty="0"/>
              <a:t>: Specifies the overall system architecture reference model including network functions and description of high level functions. </a:t>
            </a:r>
            <a:r>
              <a:rPr lang="en-US" kern="0" dirty="0">
                <a:solidFill>
                  <a:srgbClr val="0070C0"/>
                </a:solidFill>
              </a:rPr>
              <a:t>(target approval Sep-17)</a:t>
            </a:r>
          </a:p>
          <a:p>
            <a:pPr lvl="1"/>
            <a:r>
              <a:rPr lang="en-US" i="1" kern="0" dirty="0">
                <a:solidFill>
                  <a:srgbClr val="0070C0"/>
                </a:solidFill>
              </a:rPr>
              <a:t>Procedures for 5G System (TS 23.502)</a:t>
            </a:r>
            <a:r>
              <a:rPr lang="en-US" kern="0" dirty="0"/>
              <a:t>: Specifies the procedures and flows to capture the interactions between network functions, access network(s) and UE for the listed features. </a:t>
            </a:r>
            <a:r>
              <a:rPr lang="en-US" kern="0" dirty="0">
                <a:solidFill>
                  <a:srgbClr val="0070C0"/>
                </a:solidFill>
              </a:rPr>
              <a:t>(target approval Dec-17)</a:t>
            </a:r>
          </a:p>
          <a:p>
            <a:r>
              <a:rPr lang="en-US" kern="0" dirty="0"/>
              <a:t>Rapporteurs:</a:t>
            </a:r>
          </a:p>
          <a:p>
            <a:pPr lvl="1"/>
            <a:r>
              <a:rPr lang="en-US" kern="0" dirty="0"/>
              <a:t>CMCC rapporteur, Ericsson and Nokia editors of the two TSs</a:t>
            </a:r>
          </a:p>
          <a:p>
            <a:r>
              <a:rPr lang="en-US" kern="0" dirty="0"/>
              <a:t>The term 5G replaces </a:t>
            </a:r>
            <a:r>
              <a:rPr lang="en-US" kern="0" dirty="0" err="1"/>
              <a:t>NextGen</a:t>
            </a:r>
            <a:r>
              <a:rPr lang="en-US" kern="0" dirty="0"/>
              <a:t> for normative work </a:t>
            </a:r>
          </a:p>
          <a:p>
            <a:endParaRPr lang="en-US" kern="0" dirty="0"/>
          </a:p>
        </p:txBody>
      </p:sp>
    </p:spTree>
    <p:extLst>
      <p:ext uri="{BB962C8B-B14F-4D97-AF65-F5344CB8AC3E}">
        <p14:creationId xmlns:p14="http://schemas.microsoft.com/office/powerpoint/2010/main" val="2852847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641829" cy="1085371"/>
          </a:xfrm>
        </p:spPr>
        <p:txBody>
          <a:bodyPr/>
          <a:lstStyle/>
          <a:p>
            <a:r>
              <a:rPr lang="en-US" dirty="0"/>
              <a:t>3GPP SA5 Telecom management</a:t>
            </a:r>
          </a:p>
        </p:txBody>
      </p:sp>
      <p:sp>
        <p:nvSpPr>
          <p:cNvPr id="6" name="Content Placeholder 1"/>
          <p:cNvSpPr txBox="1">
            <a:spLocks/>
          </p:cNvSpPr>
          <p:nvPr/>
        </p:nvSpPr>
        <p:spPr bwMode="auto">
          <a:xfrm>
            <a:off x="524935"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800" kern="0"/>
              <a:t>TR 28.801: Study on management and orchestration of network slicing for next generation network</a:t>
            </a:r>
          </a:p>
          <a:p>
            <a:pPr lvl="1"/>
            <a:r>
              <a:rPr lang="en-US" sz="1600" kern="0"/>
              <a:t>The study investigates and makes recommendations on management and orchestration for network slicing on the Network Slice Instance Layer and for non virtualized NE’s also the Resource layer</a:t>
            </a:r>
          </a:p>
          <a:p>
            <a:pPr lvl="1"/>
            <a:r>
              <a:rPr lang="en-US" sz="1600" kern="0"/>
              <a:t>Study nearing completion, expected to close in August 2017</a:t>
            </a:r>
          </a:p>
          <a:p>
            <a:r>
              <a:rPr lang="en-US" sz="1800" kern="0"/>
              <a:t>Normative phase started, two Work Items approved</a:t>
            </a:r>
          </a:p>
          <a:p>
            <a:pPr lvl="1"/>
            <a:r>
              <a:rPr lang="en-US" sz="1600" kern="0"/>
              <a:t>Management of Network Slicing in Mobile Networks, Concepts, Use cases and Requirements</a:t>
            </a:r>
          </a:p>
          <a:p>
            <a:pPr lvl="1"/>
            <a:r>
              <a:rPr lang="en-US" sz="1600" kern="0"/>
              <a:t>Provisioning of network slicing for 5G networks and services</a:t>
            </a:r>
            <a:endParaRPr lang="en-US" sz="1600" kern="0" dirty="0"/>
          </a:p>
        </p:txBody>
      </p:sp>
      <p:pic>
        <p:nvPicPr>
          <p:cNvPr id="7" name="Picture 6"/>
          <p:cNvPicPr>
            <a:picLocks noChangeAspect="1"/>
          </p:cNvPicPr>
          <p:nvPr/>
        </p:nvPicPr>
        <p:blipFill>
          <a:blip r:embed="rId3"/>
          <a:stretch>
            <a:fillRect/>
          </a:stretch>
        </p:blipFill>
        <p:spPr>
          <a:xfrm>
            <a:off x="724047" y="3830246"/>
            <a:ext cx="10762098" cy="2679762"/>
          </a:xfrm>
          <a:prstGeom prst="rect">
            <a:avLst/>
          </a:prstGeom>
        </p:spPr>
      </p:pic>
    </p:spTree>
    <p:extLst>
      <p:ext uri="{BB962C8B-B14F-4D97-AF65-F5344CB8AC3E}">
        <p14:creationId xmlns:p14="http://schemas.microsoft.com/office/powerpoint/2010/main" val="29269007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GMN</a:t>
            </a:r>
            <a:br>
              <a:rPr lang="en-US" dirty="0"/>
            </a:br>
            <a:r>
              <a:rPr lang="en-US" sz="2700" dirty="0">
                <a:latin typeface="+mn-lt"/>
              </a:rPr>
              <a:t>Next Generation Mobile Networks alliance</a:t>
            </a:r>
          </a:p>
        </p:txBody>
      </p:sp>
      <p:sp>
        <p:nvSpPr>
          <p:cNvPr id="3" name="Text Placeholder 2"/>
          <p:cNvSpPr>
            <a:spLocks noGrp="1"/>
          </p:cNvSpPr>
          <p:nvPr>
            <p:ph type="body" idx="1"/>
          </p:nvPr>
        </p:nvSpPr>
        <p:spPr>
          <a:xfrm>
            <a:off x="529167" y="3962397"/>
            <a:ext cx="11135785" cy="1696282"/>
          </a:xfrm>
        </p:spPr>
        <p:txBody>
          <a:bodyPr/>
          <a:lstStyle/>
          <a:p>
            <a:pPr marL="0" indent="0">
              <a:buNone/>
            </a:pPr>
            <a:r>
              <a:rPr lang="en-US" sz="2000" i="1" dirty="0"/>
              <a:t>“The vision of the NGMN Alliance is to expand the communications experience by providing a truly integrated and cohesively managed delivery platform that brings affordable mobile broadband services to the end user with a particular focus on 5G while accelerating the development of LTE-Advanced and its ecosystem.”</a:t>
            </a:r>
          </a:p>
        </p:txBody>
      </p:sp>
      <p:pic>
        <p:nvPicPr>
          <p:cNvPr id="4" name="Picture 3"/>
          <p:cNvPicPr>
            <a:picLocks noChangeAspect="1"/>
          </p:cNvPicPr>
          <p:nvPr/>
        </p:nvPicPr>
        <p:blipFill>
          <a:blip r:embed="rId3"/>
          <a:stretch>
            <a:fillRect/>
          </a:stretch>
        </p:blipFill>
        <p:spPr>
          <a:xfrm>
            <a:off x="611258" y="1642439"/>
            <a:ext cx="3500296" cy="1683855"/>
          </a:xfrm>
          <a:prstGeom prst="rect">
            <a:avLst/>
          </a:prstGeom>
        </p:spPr>
      </p:pic>
      <p:sp>
        <p:nvSpPr>
          <p:cNvPr id="6" name="TextBox 5"/>
          <p:cNvSpPr txBox="1"/>
          <p:nvPr/>
        </p:nvSpPr>
        <p:spPr>
          <a:xfrm>
            <a:off x="4174435" y="1642439"/>
            <a:ext cx="7832034" cy="1938992"/>
          </a:xfrm>
          <a:prstGeom prst="rect">
            <a:avLst/>
          </a:prstGeom>
          <a:noFill/>
        </p:spPr>
        <p:txBody>
          <a:bodyPr wrap="square" rtlCol="0">
            <a:spAutoFit/>
          </a:bodyPr>
          <a:lstStyle/>
          <a:p>
            <a:pPr marL="0" indent="0">
              <a:buNone/>
            </a:pPr>
            <a:r>
              <a:rPr lang="en-US" sz="2400" i="1" dirty="0"/>
              <a:t>The NGMN Alliance comprises of Member, Contributor and Advisor Partners: </a:t>
            </a:r>
            <a:r>
              <a:rPr lang="en-US" sz="2400" b="1" i="1" dirty="0"/>
              <a:t>Member Partners</a:t>
            </a:r>
            <a:r>
              <a:rPr lang="en-US" sz="2400" i="1" dirty="0"/>
              <a:t> are Operators with over 200 networks serving more than 60 % of all global customers.</a:t>
            </a:r>
            <a:br>
              <a:rPr lang="en-US" sz="2400" i="1" dirty="0"/>
            </a:br>
            <a:endParaRPr lang="en-US" sz="2400" i="1" dirty="0"/>
          </a:p>
        </p:txBody>
      </p:sp>
    </p:spTree>
    <p:extLst>
      <p:ext uri="{BB962C8B-B14F-4D97-AF65-F5344CB8AC3E}">
        <p14:creationId xmlns:p14="http://schemas.microsoft.com/office/powerpoint/2010/main" val="3257153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sv-SE" dirty="0" err="1"/>
              <a:t>Chapter</a:t>
            </a:r>
            <a:r>
              <a:rPr lang="sv-SE" dirty="0"/>
              <a:t> 1</a:t>
            </a:r>
          </a:p>
          <a:p>
            <a:r>
              <a:rPr lang="sv-SE" dirty="0" err="1"/>
              <a:t>Background</a:t>
            </a:r>
            <a:endParaRPr lang="en-US" dirty="0"/>
          </a:p>
        </p:txBody>
      </p:sp>
    </p:spTree>
    <p:custDataLst>
      <p:tags r:id="rId1"/>
    </p:custDataLst>
    <p:extLst>
      <p:ext uri="{BB962C8B-B14F-4D97-AF65-F5344CB8AC3E}">
        <p14:creationId xmlns:p14="http://schemas.microsoft.com/office/powerpoint/2010/main" val="11944705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GMN network SLICING</a:t>
            </a:r>
            <a:br>
              <a:rPr lang="en-US" dirty="0"/>
            </a:br>
            <a:r>
              <a:rPr lang="en-US" sz="2400" dirty="0">
                <a:latin typeface="+mn-lt"/>
              </a:rPr>
              <a:t>White Paper Terminology</a:t>
            </a:r>
            <a:r>
              <a:rPr lang="en-US" sz="2400" dirty="0"/>
              <a:t> </a:t>
            </a:r>
          </a:p>
        </p:txBody>
      </p:sp>
      <p:sp>
        <p:nvSpPr>
          <p:cNvPr id="5" name="Rectangle 4"/>
          <p:cNvSpPr/>
          <p:nvPr/>
        </p:nvSpPr>
        <p:spPr bwMode="auto">
          <a:xfrm>
            <a:off x="2891181" y="3043192"/>
            <a:ext cx="1223228" cy="914401"/>
          </a:xfrm>
          <a:prstGeom prst="rect">
            <a:avLst/>
          </a:prstGeom>
          <a:solidFill>
            <a:srgbClr val="FFCCCC"/>
          </a:solidFill>
          <a:ln w="28575"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bg1"/>
              </a:solidFill>
              <a:effectLst/>
              <a:latin typeface="Arial" charset="0"/>
            </a:endParaRPr>
          </a:p>
        </p:txBody>
      </p:sp>
      <p:sp>
        <p:nvSpPr>
          <p:cNvPr id="6" name="Rectangle 5"/>
          <p:cNvSpPr/>
          <p:nvPr/>
        </p:nvSpPr>
        <p:spPr bwMode="auto">
          <a:xfrm>
            <a:off x="4249400" y="3043192"/>
            <a:ext cx="1223228" cy="914401"/>
          </a:xfrm>
          <a:prstGeom prst="rect">
            <a:avLst/>
          </a:prstGeom>
          <a:solidFill>
            <a:srgbClr val="FF6600"/>
          </a:solidFill>
          <a:ln w="28575"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7" name="Rectangle 6"/>
          <p:cNvSpPr/>
          <p:nvPr/>
        </p:nvSpPr>
        <p:spPr bwMode="auto">
          <a:xfrm>
            <a:off x="5726424" y="3032141"/>
            <a:ext cx="705035" cy="914401"/>
          </a:xfrm>
          <a:prstGeom prst="rect">
            <a:avLst/>
          </a:prstGeom>
          <a:solidFill>
            <a:srgbClr val="FFC000"/>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8" name="Rectangle 7"/>
          <p:cNvSpPr/>
          <p:nvPr/>
        </p:nvSpPr>
        <p:spPr bwMode="auto">
          <a:xfrm>
            <a:off x="6404262" y="3040953"/>
            <a:ext cx="685802" cy="914401"/>
          </a:xfrm>
          <a:prstGeom prst="rect">
            <a:avLst/>
          </a:prstGeom>
          <a:solidFill>
            <a:srgbClr val="92D050"/>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9" name="Rectangle 8"/>
          <p:cNvSpPr/>
          <p:nvPr/>
        </p:nvSpPr>
        <p:spPr bwMode="auto">
          <a:xfrm>
            <a:off x="7090064" y="3043191"/>
            <a:ext cx="712448" cy="914401"/>
          </a:xfrm>
          <a:prstGeom prst="rect">
            <a:avLst/>
          </a:prstGeom>
          <a:solidFill>
            <a:srgbClr val="FFFF00"/>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10" name="Rectangle 9"/>
          <p:cNvSpPr/>
          <p:nvPr/>
        </p:nvSpPr>
        <p:spPr bwMode="auto">
          <a:xfrm>
            <a:off x="7996218" y="3043192"/>
            <a:ext cx="676462" cy="914401"/>
          </a:xfrm>
          <a:prstGeom prst="rect">
            <a:avLst/>
          </a:prstGeom>
          <a:solidFill>
            <a:srgbClr val="FFFF00"/>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11" name="Rectangle 10"/>
          <p:cNvSpPr/>
          <p:nvPr/>
        </p:nvSpPr>
        <p:spPr bwMode="auto">
          <a:xfrm>
            <a:off x="8672679" y="3020004"/>
            <a:ext cx="644038" cy="914401"/>
          </a:xfrm>
          <a:prstGeom prst="rect">
            <a:avLst/>
          </a:prstGeom>
          <a:solidFill>
            <a:srgbClr val="92D050"/>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tx1"/>
              </a:solidFill>
              <a:effectLst/>
              <a:latin typeface="Arial" charset="0"/>
            </a:endParaRPr>
          </a:p>
        </p:txBody>
      </p:sp>
      <p:sp>
        <p:nvSpPr>
          <p:cNvPr id="12" name="Rectangle 11"/>
          <p:cNvSpPr/>
          <p:nvPr/>
        </p:nvSpPr>
        <p:spPr bwMode="auto">
          <a:xfrm>
            <a:off x="9316717" y="3043192"/>
            <a:ext cx="646235" cy="914401"/>
          </a:xfrm>
          <a:prstGeom prst="rect">
            <a:avLst/>
          </a:prstGeom>
          <a:solidFill>
            <a:srgbClr val="006699"/>
          </a:solidFill>
          <a:ln w="28575"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kumimoji="0" lang="sv-SE" u="none" strike="noStrike" cap="none" normalizeH="0" baseline="0" dirty="0">
              <a:ln>
                <a:noFill/>
              </a:ln>
              <a:solidFill>
                <a:schemeClr val="bg1"/>
              </a:solidFill>
              <a:effectLst/>
              <a:latin typeface="Arial" charset="0"/>
            </a:endParaRPr>
          </a:p>
        </p:txBody>
      </p:sp>
      <p:sp>
        <p:nvSpPr>
          <p:cNvPr id="13" name="Oval 12"/>
          <p:cNvSpPr/>
          <p:nvPr/>
        </p:nvSpPr>
        <p:spPr bwMode="auto">
          <a:xfrm>
            <a:off x="2728312" y="1861910"/>
            <a:ext cx="1521089" cy="481524"/>
          </a:xfrm>
          <a:prstGeom prst="ellipse">
            <a:avLst/>
          </a:prstGeom>
          <a:solidFill>
            <a:schemeClr val="bg1"/>
          </a:solidFill>
          <a:ln w="1905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dirty="0"/>
          </a:p>
        </p:txBody>
      </p:sp>
      <p:sp>
        <p:nvSpPr>
          <p:cNvPr id="14" name="TextBox 13"/>
          <p:cNvSpPr txBox="1"/>
          <p:nvPr/>
        </p:nvSpPr>
        <p:spPr>
          <a:xfrm>
            <a:off x="2923309" y="2612305"/>
            <a:ext cx="1876564" cy="430887"/>
          </a:xfrm>
          <a:prstGeom prst="rect">
            <a:avLst/>
          </a:prstGeom>
          <a:noFill/>
          <a:ln w="12700">
            <a:noFill/>
          </a:ln>
        </p:spPr>
        <p:txBody>
          <a:bodyPr wrap="square" rtlCol="0">
            <a:spAutoFit/>
          </a:bodyPr>
          <a:lstStyle/>
          <a:p>
            <a:r>
              <a:rPr lang="sv-SE" sz="1100" b="1" dirty="0">
                <a:solidFill>
                  <a:schemeClr val="tx1">
                    <a:lumMod val="75000"/>
                  </a:schemeClr>
                </a:solidFill>
              </a:rPr>
              <a:t> </a:t>
            </a:r>
            <a:r>
              <a:rPr lang="sv-SE" sz="1100" b="1" dirty="0" err="1">
                <a:solidFill>
                  <a:schemeClr val="tx1">
                    <a:lumMod val="75000"/>
                  </a:schemeClr>
                </a:solidFill>
              </a:rPr>
              <a:t>Network</a:t>
            </a:r>
            <a:r>
              <a:rPr lang="sv-SE" sz="1100" b="1" dirty="0">
                <a:solidFill>
                  <a:schemeClr val="tx1">
                    <a:lumMod val="75000"/>
                  </a:schemeClr>
                </a:solidFill>
              </a:rPr>
              <a:t> Slice</a:t>
            </a:r>
            <a:br>
              <a:rPr lang="sv-SE" sz="1100" b="1" dirty="0">
                <a:solidFill>
                  <a:schemeClr val="tx1">
                    <a:lumMod val="75000"/>
                  </a:schemeClr>
                </a:solidFill>
              </a:rPr>
            </a:br>
            <a:r>
              <a:rPr lang="sv-SE" sz="1100" b="1" dirty="0">
                <a:solidFill>
                  <a:schemeClr val="tx1">
                    <a:lumMod val="75000"/>
                  </a:schemeClr>
                </a:solidFill>
              </a:rPr>
              <a:t> </a:t>
            </a:r>
            <a:r>
              <a:rPr lang="sv-SE" sz="1100" b="1" dirty="0" err="1">
                <a:solidFill>
                  <a:schemeClr val="tx1">
                    <a:lumMod val="75000"/>
                  </a:schemeClr>
                </a:solidFill>
              </a:rPr>
              <a:t>Instance</a:t>
            </a:r>
            <a:r>
              <a:rPr lang="sv-SE" sz="1100" b="1" dirty="0">
                <a:solidFill>
                  <a:schemeClr val="tx1">
                    <a:lumMod val="75000"/>
                  </a:schemeClr>
                </a:solidFill>
              </a:rPr>
              <a:t> 1</a:t>
            </a:r>
          </a:p>
        </p:txBody>
      </p:sp>
      <p:sp>
        <p:nvSpPr>
          <p:cNvPr id="15" name="TextBox 14"/>
          <p:cNvSpPr txBox="1"/>
          <p:nvPr/>
        </p:nvSpPr>
        <p:spPr>
          <a:xfrm>
            <a:off x="4179535" y="2612305"/>
            <a:ext cx="1493589" cy="430887"/>
          </a:xfrm>
          <a:prstGeom prst="rect">
            <a:avLst/>
          </a:prstGeom>
          <a:noFill/>
        </p:spPr>
        <p:txBody>
          <a:bodyPr wrap="square" rtlCol="0">
            <a:spAutoFit/>
          </a:bodyPr>
          <a:lstStyle/>
          <a:p>
            <a:r>
              <a:rPr lang="sv-SE" sz="1100" b="1" dirty="0" err="1">
                <a:solidFill>
                  <a:schemeClr val="tx1">
                    <a:lumMod val="75000"/>
                  </a:schemeClr>
                </a:solidFill>
              </a:rPr>
              <a:t>Network</a:t>
            </a:r>
            <a:r>
              <a:rPr lang="sv-SE" sz="1100" b="1" dirty="0">
                <a:solidFill>
                  <a:schemeClr val="tx1">
                    <a:lumMod val="75000"/>
                  </a:schemeClr>
                </a:solidFill>
              </a:rPr>
              <a:t> Slice </a:t>
            </a:r>
            <a:r>
              <a:rPr lang="sv-SE" sz="1100" b="1" dirty="0" err="1">
                <a:solidFill>
                  <a:schemeClr val="tx1">
                    <a:lumMod val="75000"/>
                  </a:schemeClr>
                </a:solidFill>
              </a:rPr>
              <a:t>Instance</a:t>
            </a:r>
            <a:r>
              <a:rPr lang="sv-SE" sz="1100" b="1" dirty="0">
                <a:solidFill>
                  <a:schemeClr val="tx1">
                    <a:lumMod val="75000"/>
                  </a:schemeClr>
                </a:solidFill>
              </a:rPr>
              <a:t> 2</a:t>
            </a:r>
          </a:p>
        </p:txBody>
      </p:sp>
      <p:sp>
        <p:nvSpPr>
          <p:cNvPr id="16" name="TextBox 15"/>
          <p:cNvSpPr txBox="1"/>
          <p:nvPr/>
        </p:nvSpPr>
        <p:spPr>
          <a:xfrm>
            <a:off x="5969319" y="2612305"/>
            <a:ext cx="1621907" cy="430887"/>
          </a:xfrm>
          <a:prstGeom prst="rect">
            <a:avLst/>
          </a:prstGeom>
          <a:noFill/>
        </p:spPr>
        <p:txBody>
          <a:bodyPr wrap="square" rtlCol="0">
            <a:spAutoFit/>
          </a:bodyPr>
          <a:lstStyle/>
          <a:p>
            <a:r>
              <a:rPr lang="sv-SE" sz="1100" b="1" dirty="0" err="1">
                <a:solidFill>
                  <a:schemeClr val="tx1">
                    <a:lumMod val="75000"/>
                  </a:schemeClr>
                </a:solidFill>
              </a:rPr>
              <a:t>Network</a:t>
            </a:r>
            <a:r>
              <a:rPr lang="sv-SE" sz="1100" b="1" dirty="0">
                <a:solidFill>
                  <a:schemeClr val="tx1">
                    <a:lumMod val="75000"/>
                  </a:schemeClr>
                </a:solidFill>
              </a:rPr>
              <a:t> Slice </a:t>
            </a:r>
            <a:r>
              <a:rPr lang="sv-SE" sz="1100" b="1" dirty="0" err="1">
                <a:solidFill>
                  <a:schemeClr val="tx1">
                    <a:lumMod val="75000"/>
                  </a:schemeClr>
                </a:solidFill>
              </a:rPr>
              <a:t>instance</a:t>
            </a:r>
            <a:r>
              <a:rPr lang="sv-SE" sz="1100" b="1" dirty="0">
                <a:solidFill>
                  <a:schemeClr val="tx1">
                    <a:lumMod val="75000"/>
                  </a:schemeClr>
                </a:solidFill>
              </a:rPr>
              <a:t> 3</a:t>
            </a:r>
          </a:p>
        </p:txBody>
      </p:sp>
      <p:sp>
        <p:nvSpPr>
          <p:cNvPr id="17" name="TextBox 16"/>
          <p:cNvSpPr txBox="1"/>
          <p:nvPr/>
        </p:nvSpPr>
        <p:spPr>
          <a:xfrm>
            <a:off x="8239949" y="2585532"/>
            <a:ext cx="1643617" cy="430887"/>
          </a:xfrm>
          <a:prstGeom prst="rect">
            <a:avLst/>
          </a:prstGeom>
          <a:noFill/>
        </p:spPr>
        <p:txBody>
          <a:bodyPr wrap="square" rtlCol="0">
            <a:spAutoFit/>
          </a:bodyPr>
          <a:lstStyle/>
          <a:p>
            <a:r>
              <a:rPr lang="sv-SE" sz="1100" b="1" dirty="0" err="1">
                <a:solidFill>
                  <a:schemeClr val="tx1">
                    <a:lumMod val="75000"/>
                  </a:schemeClr>
                </a:solidFill>
                <a:latin typeface="+mn-lt"/>
              </a:rPr>
              <a:t>Network</a:t>
            </a:r>
            <a:r>
              <a:rPr lang="sv-SE" sz="1100" b="1" dirty="0">
                <a:solidFill>
                  <a:schemeClr val="tx1">
                    <a:lumMod val="75000"/>
                  </a:schemeClr>
                </a:solidFill>
                <a:latin typeface="+mn-lt"/>
              </a:rPr>
              <a:t> Slice </a:t>
            </a:r>
            <a:r>
              <a:rPr lang="sv-SE" sz="1100" b="1" dirty="0" err="1">
                <a:solidFill>
                  <a:schemeClr val="tx1">
                    <a:lumMod val="75000"/>
                  </a:schemeClr>
                </a:solidFill>
                <a:latin typeface="+mn-lt"/>
              </a:rPr>
              <a:t>Instance</a:t>
            </a:r>
            <a:r>
              <a:rPr lang="sv-SE" sz="1100" b="1" dirty="0">
                <a:solidFill>
                  <a:schemeClr val="tx1">
                    <a:lumMod val="75000"/>
                  </a:schemeClr>
                </a:solidFill>
                <a:latin typeface="+mn-lt"/>
              </a:rPr>
              <a:t> 4</a:t>
            </a:r>
          </a:p>
        </p:txBody>
      </p:sp>
      <p:sp>
        <p:nvSpPr>
          <p:cNvPr id="18" name="TextBox 17"/>
          <p:cNvSpPr txBox="1"/>
          <p:nvPr/>
        </p:nvSpPr>
        <p:spPr>
          <a:xfrm>
            <a:off x="521936" y="1878313"/>
            <a:ext cx="1673902" cy="523220"/>
          </a:xfrm>
          <a:prstGeom prst="rect">
            <a:avLst/>
          </a:prstGeom>
          <a:noFill/>
        </p:spPr>
        <p:txBody>
          <a:bodyPr wrap="square" rtlCol="0">
            <a:spAutoFit/>
          </a:bodyPr>
          <a:lstStyle/>
          <a:p>
            <a:r>
              <a:rPr lang="sv-SE" sz="1400" b="1" dirty="0">
                <a:solidFill>
                  <a:schemeClr val="tx1">
                    <a:lumMod val="75000"/>
                  </a:schemeClr>
                </a:solidFill>
              </a:rPr>
              <a:t>Service</a:t>
            </a:r>
            <a:r>
              <a:rPr lang="sv-SE" sz="1400" dirty="0">
                <a:solidFill>
                  <a:schemeClr val="tx1">
                    <a:lumMod val="75000"/>
                  </a:schemeClr>
                </a:solidFill>
              </a:rPr>
              <a:t> </a:t>
            </a:r>
            <a:r>
              <a:rPr lang="sv-SE" sz="1400" b="1" dirty="0" err="1">
                <a:solidFill>
                  <a:schemeClr val="tx1">
                    <a:lumMod val="75000"/>
                  </a:schemeClr>
                </a:solidFill>
              </a:rPr>
              <a:t>Instance</a:t>
            </a:r>
            <a:r>
              <a:rPr lang="sv-SE" sz="1400" dirty="0">
                <a:solidFill>
                  <a:schemeClr val="tx1">
                    <a:lumMod val="75000"/>
                  </a:schemeClr>
                </a:solidFill>
              </a:rPr>
              <a:t> </a:t>
            </a:r>
            <a:r>
              <a:rPr lang="sv-SE" sz="1400" b="1" dirty="0" err="1">
                <a:solidFill>
                  <a:schemeClr val="tx1">
                    <a:lumMod val="75000"/>
                  </a:schemeClr>
                </a:solidFill>
                <a:latin typeface="+mn-lt"/>
              </a:rPr>
              <a:t>Layer</a:t>
            </a:r>
            <a:r>
              <a:rPr lang="sv-SE" sz="1400" b="1" dirty="0">
                <a:solidFill>
                  <a:schemeClr val="tx1">
                    <a:lumMod val="75000"/>
                  </a:schemeClr>
                </a:solidFill>
                <a:latin typeface="+mn-lt"/>
              </a:rPr>
              <a:t> </a:t>
            </a:r>
          </a:p>
        </p:txBody>
      </p:sp>
      <p:sp>
        <p:nvSpPr>
          <p:cNvPr id="19" name="Rectangle 18"/>
          <p:cNvSpPr/>
          <p:nvPr/>
        </p:nvSpPr>
        <p:spPr bwMode="auto">
          <a:xfrm>
            <a:off x="5726425" y="3032140"/>
            <a:ext cx="2076088" cy="914401"/>
          </a:xfrm>
          <a:prstGeom prst="rect">
            <a:avLst/>
          </a:prstGeom>
          <a:noFill/>
          <a:ln w="28575"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lumMod val="50000"/>
                </a:schemeClr>
              </a:solidFill>
              <a:effectLst/>
              <a:latin typeface="Arial" charset="0"/>
            </a:endParaRPr>
          </a:p>
        </p:txBody>
      </p:sp>
      <p:sp>
        <p:nvSpPr>
          <p:cNvPr id="20" name="TextBox 19"/>
          <p:cNvSpPr txBox="1"/>
          <p:nvPr/>
        </p:nvSpPr>
        <p:spPr>
          <a:xfrm>
            <a:off x="3034558" y="1818394"/>
            <a:ext cx="936475" cy="369332"/>
          </a:xfrm>
          <a:prstGeom prst="rect">
            <a:avLst/>
          </a:prstGeom>
          <a:noFill/>
          <a:ln>
            <a:noFill/>
          </a:ln>
        </p:spPr>
        <p:txBody>
          <a:bodyPr wrap="none" rtlCol="0">
            <a:spAutoFit/>
          </a:bodyPr>
          <a:lstStyle/>
          <a:p>
            <a:r>
              <a:rPr lang="sv-SE" sz="1800" b="1" dirty="0">
                <a:solidFill>
                  <a:schemeClr val="tx1">
                    <a:lumMod val="50000"/>
                  </a:schemeClr>
                </a:solidFill>
              </a:rPr>
              <a:t> </a:t>
            </a:r>
            <a:r>
              <a:rPr lang="sv-SE" sz="1400" b="1" dirty="0">
                <a:solidFill>
                  <a:schemeClr val="tx1">
                    <a:lumMod val="50000"/>
                  </a:schemeClr>
                </a:solidFill>
              </a:rPr>
              <a:t>Service </a:t>
            </a:r>
          </a:p>
        </p:txBody>
      </p:sp>
      <p:sp>
        <p:nvSpPr>
          <p:cNvPr id="21" name="TextBox 20"/>
          <p:cNvSpPr txBox="1"/>
          <p:nvPr/>
        </p:nvSpPr>
        <p:spPr>
          <a:xfrm>
            <a:off x="2946268" y="1967532"/>
            <a:ext cx="1312252" cy="369332"/>
          </a:xfrm>
          <a:prstGeom prst="rect">
            <a:avLst/>
          </a:prstGeom>
          <a:noFill/>
        </p:spPr>
        <p:txBody>
          <a:bodyPr wrap="square" rtlCol="0">
            <a:spAutoFit/>
          </a:bodyPr>
          <a:lstStyle/>
          <a:p>
            <a:r>
              <a:rPr lang="sv-SE" sz="1400" b="1" dirty="0" err="1">
                <a:solidFill>
                  <a:schemeClr val="tx1">
                    <a:lumMod val="50000"/>
                  </a:schemeClr>
                </a:solidFill>
              </a:rPr>
              <a:t>Instance</a:t>
            </a:r>
            <a:r>
              <a:rPr lang="sv-SE" sz="1800" b="1" dirty="0">
                <a:solidFill>
                  <a:schemeClr val="tx1">
                    <a:lumMod val="50000"/>
                  </a:schemeClr>
                </a:solidFill>
              </a:rPr>
              <a:t> </a:t>
            </a:r>
            <a:r>
              <a:rPr lang="sv-SE" sz="1400" b="1" dirty="0">
                <a:solidFill>
                  <a:schemeClr val="tx1">
                    <a:lumMod val="50000"/>
                  </a:schemeClr>
                </a:solidFill>
              </a:rPr>
              <a:t>1 </a:t>
            </a:r>
          </a:p>
        </p:txBody>
      </p:sp>
      <p:cxnSp>
        <p:nvCxnSpPr>
          <p:cNvPr id="22" name="Straight Connector 21"/>
          <p:cNvCxnSpPr>
            <a:cxnSpLocks/>
            <a:stCxn id="13" idx="4"/>
          </p:cNvCxnSpPr>
          <p:nvPr/>
        </p:nvCxnSpPr>
        <p:spPr bwMode="auto">
          <a:xfrm flipH="1">
            <a:off x="3430049" y="2343434"/>
            <a:ext cx="58808" cy="268871"/>
          </a:xfrm>
          <a:prstGeom prst="line">
            <a:avLst/>
          </a:prstGeom>
          <a:solidFill>
            <a:schemeClr val="accent1"/>
          </a:solidFill>
          <a:ln w="19050" cap="flat" cmpd="sng" algn="ctr">
            <a:solidFill>
              <a:schemeClr val="tx1"/>
            </a:solidFill>
            <a:prstDash val="sysDash"/>
            <a:round/>
            <a:headEnd type="none" w="med" len="med"/>
            <a:tailEnd type="none" w="med" len="med"/>
          </a:ln>
          <a:effectLst/>
        </p:spPr>
      </p:cxnSp>
      <p:sp>
        <p:nvSpPr>
          <p:cNvPr id="23" name="Oval 22"/>
          <p:cNvSpPr/>
          <p:nvPr/>
        </p:nvSpPr>
        <p:spPr bwMode="auto">
          <a:xfrm>
            <a:off x="4327344" y="1861910"/>
            <a:ext cx="1399081" cy="479463"/>
          </a:xfrm>
          <a:prstGeom prst="ellipse">
            <a:avLst/>
          </a:prstGeom>
          <a:solidFill>
            <a:schemeClr val="bg1"/>
          </a:solidFill>
          <a:ln w="1905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sz="1600" b="1" dirty="0"/>
          </a:p>
        </p:txBody>
      </p:sp>
      <p:sp>
        <p:nvSpPr>
          <p:cNvPr id="24" name="Oval 23"/>
          <p:cNvSpPr/>
          <p:nvPr/>
        </p:nvSpPr>
        <p:spPr bwMode="auto">
          <a:xfrm>
            <a:off x="5820948" y="1857760"/>
            <a:ext cx="1770278" cy="463716"/>
          </a:xfrm>
          <a:prstGeom prst="ellipse">
            <a:avLst/>
          </a:prstGeom>
          <a:solidFill>
            <a:schemeClr val="bg1"/>
          </a:solidFill>
          <a:ln w="1905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dirty="0"/>
          </a:p>
        </p:txBody>
      </p:sp>
      <p:sp>
        <p:nvSpPr>
          <p:cNvPr id="25" name="Rectangle 24"/>
          <p:cNvSpPr/>
          <p:nvPr/>
        </p:nvSpPr>
        <p:spPr bwMode="auto">
          <a:xfrm>
            <a:off x="7996218" y="3033071"/>
            <a:ext cx="1966734" cy="905600"/>
          </a:xfrm>
          <a:prstGeom prst="rect">
            <a:avLst/>
          </a:prstGeom>
          <a:noFill/>
          <a:ln w="28575"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26" name="TextBox 25"/>
          <p:cNvSpPr txBox="1"/>
          <p:nvPr/>
        </p:nvSpPr>
        <p:spPr>
          <a:xfrm>
            <a:off x="4707833" y="1883045"/>
            <a:ext cx="1168964" cy="307777"/>
          </a:xfrm>
          <a:prstGeom prst="rect">
            <a:avLst/>
          </a:prstGeom>
          <a:noFill/>
          <a:ln w="28575">
            <a:noFill/>
          </a:ln>
        </p:spPr>
        <p:txBody>
          <a:bodyPr wrap="square" rtlCol="0">
            <a:spAutoFit/>
          </a:bodyPr>
          <a:lstStyle/>
          <a:p>
            <a:r>
              <a:rPr lang="sv-SE" sz="1400" b="1" dirty="0">
                <a:solidFill>
                  <a:schemeClr val="tx1">
                    <a:lumMod val="50000"/>
                  </a:schemeClr>
                </a:solidFill>
              </a:rPr>
              <a:t>Service</a:t>
            </a:r>
          </a:p>
        </p:txBody>
      </p:sp>
      <p:sp>
        <p:nvSpPr>
          <p:cNvPr id="27" name="TextBox 26"/>
          <p:cNvSpPr txBox="1"/>
          <p:nvPr/>
        </p:nvSpPr>
        <p:spPr>
          <a:xfrm>
            <a:off x="4601558" y="2008612"/>
            <a:ext cx="1818159" cy="338554"/>
          </a:xfrm>
          <a:prstGeom prst="rect">
            <a:avLst/>
          </a:prstGeom>
          <a:noFill/>
          <a:ln>
            <a:noFill/>
          </a:ln>
        </p:spPr>
        <p:txBody>
          <a:bodyPr wrap="square" rtlCol="0">
            <a:spAutoFit/>
          </a:bodyPr>
          <a:lstStyle/>
          <a:p>
            <a:r>
              <a:rPr lang="sv-SE" sz="1400" b="1" dirty="0" err="1">
                <a:solidFill>
                  <a:schemeClr val="tx1">
                    <a:lumMod val="50000"/>
                  </a:schemeClr>
                </a:solidFill>
              </a:rPr>
              <a:t>Instance</a:t>
            </a:r>
            <a:r>
              <a:rPr lang="sv-SE" sz="1600" b="1" dirty="0">
                <a:solidFill>
                  <a:schemeClr val="tx1">
                    <a:lumMod val="50000"/>
                  </a:schemeClr>
                </a:solidFill>
              </a:rPr>
              <a:t> </a:t>
            </a:r>
            <a:r>
              <a:rPr lang="sv-SE" sz="1400" b="1" dirty="0">
                <a:solidFill>
                  <a:schemeClr val="tx1">
                    <a:lumMod val="50000"/>
                  </a:schemeClr>
                </a:solidFill>
              </a:rPr>
              <a:t>2</a:t>
            </a:r>
          </a:p>
        </p:txBody>
      </p:sp>
      <p:sp>
        <p:nvSpPr>
          <p:cNvPr id="28" name="TextBox 27"/>
          <p:cNvSpPr txBox="1"/>
          <p:nvPr/>
        </p:nvSpPr>
        <p:spPr>
          <a:xfrm>
            <a:off x="6295218" y="1844421"/>
            <a:ext cx="872355" cy="307777"/>
          </a:xfrm>
          <a:prstGeom prst="rect">
            <a:avLst/>
          </a:prstGeom>
          <a:noFill/>
        </p:spPr>
        <p:txBody>
          <a:bodyPr wrap="none" rtlCol="0">
            <a:spAutoFit/>
          </a:bodyPr>
          <a:lstStyle/>
          <a:p>
            <a:r>
              <a:rPr lang="sv-SE" sz="1400" b="1" dirty="0">
                <a:solidFill>
                  <a:schemeClr val="tx1">
                    <a:lumMod val="50000"/>
                  </a:schemeClr>
                </a:solidFill>
              </a:rPr>
              <a:t>Service </a:t>
            </a:r>
          </a:p>
        </p:txBody>
      </p:sp>
      <p:sp>
        <p:nvSpPr>
          <p:cNvPr id="29" name="TextBox 28"/>
          <p:cNvSpPr txBox="1"/>
          <p:nvPr/>
        </p:nvSpPr>
        <p:spPr>
          <a:xfrm>
            <a:off x="6258899" y="2024000"/>
            <a:ext cx="1693140" cy="307777"/>
          </a:xfrm>
          <a:prstGeom prst="rect">
            <a:avLst/>
          </a:prstGeom>
          <a:noFill/>
        </p:spPr>
        <p:txBody>
          <a:bodyPr wrap="square" rtlCol="0">
            <a:spAutoFit/>
          </a:bodyPr>
          <a:lstStyle/>
          <a:p>
            <a:r>
              <a:rPr lang="sv-SE" sz="1400" b="1" dirty="0" err="1">
                <a:solidFill>
                  <a:schemeClr val="tx1">
                    <a:lumMod val="50000"/>
                  </a:schemeClr>
                </a:solidFill>
              </a:rPr>
              <a:t>Instance</a:t>
            </a:r>
            <a:r>
              <a:rPr lang="sv-SE" sz="1400" b="1" dirty="0">
                <a:solidFill>
                  <a:schemeClr val="tx1">
                    <a:lumMod val="50000"/>
                  </a:schemeClr>
                </a:solidFill>
              </a:rPr>
              <a:t> 3</a:t>
            </a:r>
          </a:p>
        </p:txBody>
      </p:sp>
      <p:sp>
        <p:nvSpPr>
          <p:cNvPr id="30" name="Oval 29"/>
          <p:cNvSpPr/>
          <p:nvPr/>
        </p:nvSpPr>
        <p:spPr bwMode="auto">
          <a:xfrm>
            <a:off x="7642940" y="1801515"/>
            <a:ext cx="1770278" cy="497641"/>
          </a:xfrm>
          <a:prstGeom prst="ellipse">
            <a:avLst/>
          </a:prstGeom>
          <a:solidFill>
            <a:schemeClr val="bg1"/>
          </a:solidFill>
          <a:ln w="1905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dirty="0"/>
          </a:p>
        </p:txBody>
      </p:sp>
      <p:sp>
        <p:nvSpPr>
          <p:cNvPr id="31" name="TextBox 30"/>
          <p:cNvSpPr txBox="1"/>
          <p:nvPr/>
        </p:nvSpPr>
        <p:spPr>
          <a:xfrm>
            <a:off x="8103822" y="2011447"/>
            <a:ext cx="1996205" cy="307777"/>
          </a:xfrm>
          <a:prstGeom prst="rect">
            <a:avLst/>
          </a:prstGeom>
          <a:noFill/>
        </p:spPr>
        <p:txBody>
          <a:bodyPr wrap="square" rtlCol="0">
            <a:spAutoFit/>
          </a:bodyPr>
          <a:lstStyle/>
          <a:p>
            <a:r>
              <a:rPr lang="sv-SE" sz="1400" b="1" dirty="0" err="1">
                <a:solidFill>
                  <a:schemeClr val="tx1">
                    <a:lumMod val="50000"/>
                  </a:schemeClr>
                </a:solidFill>
              </a:rPr>
              <a:t>Instance</a:t>
            </a:r>
            <a:r>
              <a:rPr lang="sv-SE" sz="1400" dirty="0">
                <a:solidFill>
                  <a:schemeClr val="tx1">
                    <a:lumMod val="50000"/>
                  </a:schemeClr>
                </a:solidFill>
              </a:rPr>
              <a:t> 4</a:t>
            </a:r>
          </a:p>
        </p:txBody>
      </p:sp>
      <p:sp>
        <p:nvSpPr>
          <p:cNvPr id="32" name="Oval 31"/>
          <p:cNvSpPr/>
          <p:nvPr/>
        </p:nvSpPr>
        <p:spPr bwMode="auto">
          <a:xfrm>
            <a:off x="8578437" y="1261309"/>
            <a:ext cx="1553354" cy="463716"/>
          </a:xfrm>
          <a:prstGeom prst="ellipse">
            <a:avLst/>
          </a:prstGeom>
          <a:solidFill>
            <a:schemeClr val="bg1"/>
          </a:solidFill>
          <a:ln w="19050" cap="flat" cmpd="sng" algn="ctr">
            <a:solidFill>
              <a:schemeClr val="tx1">
                <a:lumMod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sv-SE" dirty="0"/>
          </a:p>
        </p:txBody>
      </p:sp>
      <p:cxnSp>
        <p:nvCxnSpPr>
          <p:cNvPr id="33" name="Straight Connector 32"/>
          <p:cNvCxnSpPr/>
          <p:nvPr/>
        </p:nvCxnSpPr>
        <p:spPr bwMode="auto">
          <a:xfrm>
            <a:off x="4991331" y="2321477"/>
            <a:ext cx="0" cy="290828"/>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34" name="Straight Connector 33"/>
          <p:cNvCxnSpPr>
            <a:stCxn id="29" idx="2"/>
            <a:endCxn id="16" idx="0"/>
          </p:cNvCxnSpPr>
          <p:nvPr/>
        </p:nvCxnSpPr>
        <p:spPr bwMode="auto">
          <a:xfrm flipH="1">
            <a:off x="6780273" y="2331777"/>
            <a:ext cx="325196" cy="280528"/>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sp>
        <p:nvSpPr>
          <p:cNvPr id="35" name="Freeform 151"/>
          <p:cNvSpPr/>
          <p:nvPr/>
        </p:nvSpPr>
        <p:spPr bwMode="auto">
          <a:xfrm rot="18362783">
            <a:off x="9651637" y="1814482"/>
            <a:ext cx="283134" cy="79223"/>
          </a:xfrm>
          <a:custGeom>
            <a:avLst/>
            <a:gdLst>
              <a:gd name="connsiteX0" fmla="*/ 0 w 457200"/>
              <a:gd name="connsiteY0" fmla="*/ 131885 h 131885"/>
              <a:gd name="connsiteX1" fmla="*/ 457200 w 457200"/>
              <a:gd name="connsiteY1" fmla="*/ 0 h 131885"/>
            </a:gdLst>
            <a:ahLst/>
            <a:cxnLst>
              <a:cxn ang="0">
                <a:pos x="connsiteX0" y="connsiteY0"/>
              </a:cxn>
              <a:cxn ang="0">
                <a:pos x="connsiteX1" y="connsiteY1"/>
              </a:cxn>
            </a:cxnLst>
            <a:rect l="l" t="t" r="r" b="b"/>
            <a:pathLst>
              <a:path w="457200" h="131885">
                <a:moveTo>
                  <a:pt x="0" y="131885"/>
                </a:moveTo>
                <a:cubicBezTo>
                  <a:pt x="219807" y="116498"/>
                  <a:pt x="439615" y="101112"/>
                  <a:pt x="457200" y="0"/>
                </a:cubicBezTo>
              </a:path>
            </a:pathLst>
          </a:custGeom>
          <a:noFill/>
          <a:ln w="12700" cap="flat" cmpd="sng" algn="ctr">
            <a:solidFill>
              <a:schemeClr val="tx1">
                <a:lumMod val="50000"/>
              </a:schemeClr>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1" i="0" u="none" strike="noStrike" cap="none" normalizeH="0" baseline="0" dirty="0">
              <a:ln>
                <a:noFill/>
              </a:ln>
              <a:solidFill>
                <a:schemeClr val="tx1"/>
              </a:solidFill>
              <a:effectLst/>
              <a:latin typeface="Arial" charset="0"/>
            </a:endParaRPr>
          </a:p>
        </p:txBody>
      </p:sp>
      <p:sp>
        <p:nvSpPr>
          <p:cNvPr id="36" name="Freeform 155"/>
          <p:cNvSpPr/>
          <p:nvPr/>
        </p:nvSpPr>
        <p:spPr bwMode="auto">
          <a:xfrm>
            <a:off x="8757132" y="1954918"/>
            <a:ext cx="992763" cy="611402"/>
          </a:xfrm>
          <a:custGeom>
            <a:avLst/>
            <a:gdLst>
              <a:gd name="connsiteX0" fmla="*/ 0 w 1354015"/>
              <a:gd name="connsiteY0" fmla="*/ 808892 h 808892"/>
              <a:gd name="connsiteX1" fmla="*/ 1354015 w 1354015"/>
              <a:gd name="connsiteY1" fmla="*/ 0 h 808892"/>
            </a:gdLst>
            <a:ahLst/>
            <a:cxnLst>
              <a:cxn ang="0">
                <a:pos x="connsiteX0" y="connsiteY0"/>
              </a:cxn>
              <a:cxn ang="0">
                <a:pos x="connsiteX1" y="connsiteY1"/>
              </a:cxn>
            </a:cxnLst>
            <a:rect l="l" t="t" r="r" b="b"/>
            <a:pathLst>
              <a:path w="1354015" h="808892">
                <a:moveTo>
                  <a:pt x="0" y="808892"/>
                </a:moveTo>
                <a:cubicBezTo>
                  <a:pt x="582490" y="506290"/>
                  <a:pt x="1164980" y="203688"/>
                  <a:pt x="1354015" y="0"/>
                </a:cubicBezTo>
              </a:path>
            </a:pathLst>
          </a:custGeom>
          <a:noFill/>
          <a:ln w="19050" cap="flat" cmpd="sng" algn="ctr">
            <a:solidFill>
              <a:schemeClr val="tx1">
                <a:lumMod val="50000"/>
              </a:schemeClr>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37" name="Freeform 157"/>
          <p:cNvSpPr/>
          <p:nvPr/>
        </p:nvSpPr>
        <p:spPr bwMode="auto">
          <a:xfrm>
            <a:off x="8555324" y="2302927"/>
            <a:ext cx="158261" cy="263392"/>
          </a:xfrm>
          <a:custGeom>
            <a:avLst/>
            <a:gdLst>
              <a:gd name="connsiteX0" fmla="*/ 0 w 422031"/>
              <a:gd name="connsiteY0" fmla="*/ 0 h 422031"/>
              <a:gd name="connsiteX1" fmla="*/ 422031 w 422031"/>
              <a:gd name="connsiteY1" fmla="*/ 422031 h 422031"/>
            </a:gdLst>
            <a:ahLst/>
            <a:cxnLst>
              <a:cxn ang="0">
                <a:pos x="connsiteX0" y="connsiteY0"/>
              </a:cxn>
              <a:cxn ang="0">
                <a:pos x="connsiteX1" y="connsiteY1"/>
              </a:cxn>
            </a:cxnLst>
            <a:rect l="l" t="t" r="r" b="b"/>
            <a:pathLst>
              <a:path w="422031" h="422031">
                <a:moveTo>
                  <a:pt x="0" y="0"/>
                </a:moveTo>
                <a:cubicBezTo>
                  <a:pt x="117231" y="208085"/>
                  <a:pt x="234462" y="416170"/>
                  <a:pt x="422031" y="422031"/>
                </a:cubicBezTo>
              </a:path>
            </a:pathLst>
          </a:custGeom>
          <a:noFill/>
          <a:ln w="19050" cap="flat" cmpd="sng" algn="ctr">
            <a:solidFill>
              <a:schemeClr val="tx1">
                <a:lumMod val="50000"/>
              </a:schemeClr>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38" name="TextBox 37"/>
          <p:cNvSpPr txBox="1"/>
          <p:nvPr/>
        </p:nvSpPr>
        <p:spPr>
          <a:xfrm>
            <a:off x="577354" y="3287106"/>
            <a:ext cx="1154059" cy="307777"/>
          </a:xfrm>
          <a:prstGeom prst="rect">
            <a:avLst/>
          </a:prstGeom>
          <a:noFill/>
          <a:ln>
            <a:noFill/>
          </a:ln>
        </p:spPr>
        <p:txBody>
          <a:bodyPr wrap="square" rtlCol="0">
            <a:spAutoFit/>
          </a:bodyPr>
          <a:lstStyle/>
          <a:p>
            <a:r>
              <a:rPr lang="sv-SE" sz="1400" b="1" dirty="0" err="1">
                <a:solidFill>
                  <a:schemeClr val="tx1">
                    <a:lumMod val="50000"/>
                  </a:schemeClr>
                </a:solidFill>
              </a:rPr>
              <a:t>Network</a:t>
            </a:r>
            <a:endParaRPr lang="sv-SE" sz="1400" b="1" dirty="0">
              <a:solidFill>
                <a:schemeClr val="tx1">
                  <a:lumMod val="50000"/>
                </a:schemeClr>
              </a:solidFill>
            </a:endParaRPr>
          </a:p>
        </p:txBody>
      </p:sp>
      <p:sp>
        <p:nvSpPr>
          <p:cNvPr id="39" name="TextBox 38"/>
          <p:cNvSpPr txBox="1"/>
          <p:nvPr/>
        </p:nvSpPr>
        <p:spPr>
          <a:xfrm>
            <a:off x="577355" y="3519674"/>
            <a:ext cx="1853474" cy="307777"/>
          </a:xfrm>
          <a:prstGeom prst="rect">
            <a:avLst/>
          </a:prstGeom>
          <a:noFill/>
        </p:spPr>
        <p:txBody>
          <a:bodyPr wrap="square" rtlCol="0">
            <a:spAutoFit/>
          </a:bodyPr>
          <a:lstStyle/>
          <a:p>
            <a:r>
              <a:rPr lang="sv-SE" sz="1400" b="1" dirty="0">
                <a:solidFill>
                  <a:schemeClr val="tx1">
                    <a:lumMod val="50000"/>
                  </a:schemeClr>
                </a:solidFill>
              </a:rPr>
              <a:t>Slice </a:t>
            </a:r>
            <a:r>
              <a:rPr lang="sv-SE" sz="1400" b="1" dirty="0" err="1">
                <a:solidFill>
                  <a:schemeClr val="tx1">
                    <a:lumMod val="50000"/>
                  </a:schemeClr>
                </a:solidFill>
              </a:rPr>
              <a:t>Instance</a:t>
            </a:r>
            <a:endParaRPr lang="sv-SE" sz="1400" b="1" dirty="0">
              <a:solidFill>
                <a:schemeClr val="tx1">
                  <a:lumMod val="50000"/>
                </a:schemeClr>
              </a:solidFill>
            </a:endParaRPr>
          </a:p>
        </p:txBody>
      </p:sp>
      <p:sp>
        <p:nvSpPr>
          <p:cNvPr id="40" name="TextBox 39"/>
          <p:cNvSpPr txBox="1"/>
          <p:nvPr/>
        </p:nvSpPr>
        <p:spPr>
          <a:xfrm>
            <a:off x="577355" y="3689413"/>
            <a:ext cx="1250291" cy="307777"/>
          </a:xfrm>
          <a:prstGeom prst="rect">
            <a:avLst/>
          </a:prstGeom>
          <a:noFill/>
          <a:ln>
            <a:noFill/>
          </a:ln>
        </p:spPr>
        <p:txBody>
          <a:bodyPr wrap="square" rtlCol="0">
            <a:spAutoFit/>
          </a:bodyPr>
          <a:lstStyle/>
          <a:p>
            <a:r>
              <a:rPr lang="sv-SE" sz="1400" b="1" dirty="0" err="1">
                <a:solidFill>
                  <a:schemeClr val="tx1">
                    <a:lumMod val="50000"/>
                  </a:schemeClr>
                </a:solidFill>
              </a:rPr>
              <a:t>Layer</a:t>
            </a:r>
            <a:endParaRPr lang="sv-SE" sz="1400" b="1" dirty="0">
              <a:solidFill>
                <a:schemeClr val="tx1">
                  <a:lumMod val="50000"/>
                </a:schemeClr>
              </a:solidFill>
            </a:endParaRPr>
          </a:p>
        </p:txBody>
      </p:sp>
      <p:sp>
        <p:nvSpPr>
          <p:cNvPr id="41" name="TextBox 40"/>
          <p:cNvSpPr txBox="1"/>
          <p:nvPr/>
        </p:nvSpPr>
        <p:spPr>
          <a:xfrm>
            <a:off x="605065" y="5551968"/>
            <a:ext cx="2040090" cy="307777"/>
          </a:xfrm>
          <a:prstGeom prst="rect">
            <a:avLst/>
          </a:prstGeom>
          <a:noFill/>
        </p:spPr>
        <p:txBody>
          <a:bodyPr wrap="square" rtlCol="0">
            <a:spAutoFit/>
          </a:bodyPr>
          <a:lstStyle/>
          <a:p>
            <a:r>
              <a:rPr lang="sv-SE" sz="1400" b="1" dirty="0" err="1">
                <a:solidFill>
                  <a:schemeClr val="tx1">
                    <a:lumMod val="50000"/>
                  </a:schemeClr>
                </a:solidFill>
              </a:rPr>
              <a:t>Resource</a:t>
            </a:r>
            <a:endParaRPr lang="sv-SE" sz="1400" b="1" dirty="0">
              <a:solidFill>
                <a:schemeClr val="tx1">
                  <a:lumMod val="50000"/>
                </a:schemeClr>
              </a:solidFill>
            </a:endParaRPr>
          </a:p>
        </p:txBody>
      </p:sp>
      <p:sp>
        <p:nvSpPr>
          <p:cNvPr id="42" name="TextBox 41"/>
          <p:cNvSpPr txBox="1"/>
          <p:nvPr/>
        </p:nvSpPr>
        <p:spPr>
          <a:xfrm>
            <a:off x="609115" y="5717262"/>
            <a:ext cx="1048220" cy="307777"/>
          </a:xfrm>
          <a:prstGeom prst="rect">
            <a:avLst/>
          </a:prstGeom>
          <a:noFill/>
        </p:spPr>
        <p:txBody>
          <a:bodyPr wrap="square" rtlCol="0">
            <a:spAutoFit/>
          </a:bodyPr>
          <a:lstStyle/>
          <a:p>
            <a:r>
              <a:rPr lang="sv-SE" sz="1400" b="1" dirty="0" err="1">
                <a:solidFill>
                  <a:schemeClr val="tx1">
                    <a:lumMod val="50000"/>
                  </a:schemeClr>
                </a:solidFill>
              </a:rPr>
              <a:t>Layer</a:t>
            </a:r>
            <a:endParaRPr lang="sv-SE" sz="1400" b="1" dirty="0">
              <a:solidFill>
                <a:schemeClr val="tx1">
                  <a:lumMod val="50000"/>
                </a:schemeClr>
              </a:solidFill>
            </a:endParaRPr>
          </a:p>
        </p:txBody>
      </p:sp>
      <p:sp>
        <p:nvSpPr>
          <p:cNvPr id="45" name="Oval 44"/>
          <p:cNvSpPr/>
          <p:nvPr/>
        </p:nvSpPr>
        <p:spPr bwMode="auto">
          <a:xfrm>
            <a:off x="4151985" y="4439057"/>
            <a:ext cx="1418057" cy="429908"/>
          </a:xfrm>
          <a:prstGeom prst="ellipse">
            <a:avLst/>
          </a:prstGeom>
          <a:solidFill>
            <a:srgbClr val="FF66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bg1"/>
              </a:solidFill>
              <a:effectLst/>
              <a:latin typeface="Arial" charset="0"/>
            </a:endParaRPr>
          </a:p>
        </p:txBody>
      </p:sp>
      <p:sp>
        <p:nvSpPr>
          <p:cNvPr id="46" name="TextBox 45"/>
          <p:cNvSpPr txBox="1"/>
          <p:nvPr/>
        </p:nvSpPr>
        <p:spPr>
          <a:xfrm>
            <a:off x="4124186" y="4531120"/>
            <a:ext cx="2545374" cy="246221"/>
          </a:xfrm>
          <a:prstGeom prst="rect">
            <a:avLst/>
          </a:prstGeom>
          <a:noFill/>
        </p:spPr>
        <p:txBody>
          <a:bodyPr wrap="square" rtlCol="0">
            <a:spAutoFit/>
          </a:bodyPr>
          <a:lstStyle/>
          <a:p>
            <a:r>
              <a:rPr lang="sv-SE" sz="1000" b="1" dirty="0" err="1">
                <a:solidFill>
                  <a:schemeClr val="tx1">
                    <a:lumMod val="50000"/>
                  </a:schemeClr>
                </a:solidFill>
              </a:rPr>
              <a:t>Sub-network</a:t>
            </a:r>
            <a:r>
              <a:rPr lang="sv-SE" sz="1000" b="1" dirty="0">
                <a:solidFill>
                  <a:schemeClr val="tx1">
                    <a:lumMod val="50000"/>
                  </a:schemeClr>
                </a:solidFill>
              </a:rPr>
              <a:t> </a:t>
            </a:r>
            <a:r>
              <a:rPr lang="sv-SE" sz="1000" b="1" dirty="0" err="1">
                <a:solidFill>
                  <a:schemeClr val="tx1">
                    <a:lumMod val="50000"/>
                  </a:schemeClr>
                </a:solidFill>
              </a:rPr>
              <a:t>instance</a:t>
            </a:r>
            <a:endParaRPr lang="sv-SE" sz="1000" b="1" dirty="0">
              <a:solidFill>
                <a:schemeClr val="tx1">
                  <a:lumMod val="50000"/>
                </a:schemeClr>
              </a:solidFill>
            </a:endParaRPr>
          </a:p>
        </p:txBody>
      </p:sp>
      <p:sp>
        <p:nvSpPr>
          <p:cNvPr id="47" name="Oval 46"/>
          <p:cNvSpPr/>
          <p:nvPr/>
        </p:nvSpPr>
        <p:spPr bwMode="auto">
          <a:xfrm>
            <a:off x="5329605" y="4186019"/>
            <a:ext cx="1344885" cy="476221"/>
          </a:xfrm>
          <a:prstGeom prst="ellipse">
            <a:avLst/>
          </a:prstGeom>
          <a:solidFill>
            <a:srgbClr val="FFCC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48" name="TextBox 47"/>
          <p:cNvSpPr txBox="1"/>
          <p:nvPr/>
        </p:nvSpPr>
        <p:spPr>
          <a:xfrm>
            <a:off x="5501671" y="4217981"/>
            <a:ext cx="1340563" cy="461665"/>
          </a:xfrm>
          <a:prstGeom prst="rect">
            <a:avLst/>
          </a:prstGeom>
          <a:noFill/>
          <a:ln>
            <a:noFill/>
          </a:ln>
        </p:spPr>
        <p:txBody>
          <a:bodyPr wrap="square" rtlCol="0">
            <a:spAutoFit/>
          </a:bodyPr>
          <a:lstStyle/>
          <a:p>
            <a:r>
              <a:rPr lang="sv-SE" sz="1200" b="1" dirty="0" err="1">
                <a:solidFill>
                  <a:schemeClr val="tx1">
                    <a:lumMod val="50000"/>
                  </a:schemeClr>
                </a:solidFill>
              </a:rPr>
              <a:t>Sub-network</a:t>
            </a:r>
            <a:r>
              <a:rPr lang="sv-SE" sz="1200" b="1" dirty="0">
                <a:solidFill>
                  <a:schemeClr val="tx1">
                    <a:lumMod val="50000"/>
                  </a:schemeClr>
                </a:solidFill>
              </a:rPr>
              <a:t> </a:t>
            </a:r>
            <a:r>
              <a:rPr lang="sv-SE" sz="1200" b="1" dirty="0" err="1">
                <a:solidFill>
                  <a:schemeClr val="tx1">
                    <a:lumMod val="50000"/>
                  </a:schemeClr>
                </a:solidFill>
              </a:rPr>
              <a:t>instance</a:t>
            </a:r>
            <a:endParaRPr lang="sv-SE" sz="1200" b="1" dirty="0">
              <a:solidFill>
                <a:schemeClr val="tx1">
                  <a:lumMod val="50000"/>
                </a:schemeClr>
              </a:solidFill>
            </a:endParaRPr>
          </a:p>
        </p:txBody>
      </p:sp>
      <p:sp>
        <p:nvSpPr>
          <p:cNvPr id="49" name="Oval 48"/>
          <p:cNvSpPr/>
          <p:nvPr/>
        </p:nvSpPr>
        <p:spPr bwMode="auto">
          <a:xfrm>
            <a:off x="6303079" y="4536872"/>
            <a:ext cx="1143209" cy="510976"/>
          </a:xfrm>
          <a:prstGeom prst="ellipse">
            <a:avLst/>
          </a:prstGeom>
          <a:solidFill>
            <a:srgbClr val="92D05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50" name="TextBox 49"/>
          <p:cNvSpPr txBox="1"/>
          <p:nvPr/>
        </p:nvSpPr>
        <p:spPr>
          <a:xfrm>
            <a:off x="6312246" y="4599572"/>
            <a:ext cx="1431358" cy="646331"/>
          </a:xfrm>
          <a:prstGeom prst="rect">
            <a:avLst/>
          </a:prstGeom>
          <a:noFill/>
          <a:ln>
            <a:noFill/>
          </a:ln>
        </p:spPr>
        <p:txBody>
          <a:bodyPr wrap="square" rtlCol="0">
            <a:spAutoFit/>
          </a:bodyPr>
          <a:lstStyle/>
          <a:p>
            <a:r>
              <a:rPr lang="sv-SE" sz="1100" b="1" dirty="0" err="1">
                <a:solidFill>
                  <a:schemeClr val="tx1">
                    <a:lumMod val="50000"/>
                  </a:schemeClr>
                </a:solidFill>
              </a:rPr>
              <a:t>Sub-network</a:t>
            </a:r>
            <a:endParaRPr lang="sv-SE" sz="1100" b="1" dirty="0">
              <a:solidFill>
                <a:schemeClr val="tx1">
                  <a:lumMod val="50000"/>
                </a:schemeClr>
              </a:solidFill>
            </a:endParaRPr>
          </a:p>
          <a:p>
            <a:endParaRPr lang="sv-SE" sz="1200" b="1" dirty="0">
              <a:solidFill>
                <a:schemeClr val="tx1">
                  <a:lumMod val="50000"/>
                </a:schemeClr>
              </a:solidFill>
            </a:endParaRPr>
          </a:p>
          <a:p>
            <a:endParaRPr lang="sv-SE" sz="1200" b="1" dirty="0">
              <a:solidFill>
                <a:schemeClr val="tx1">
                  <a:lumMod val="50000"/>
                </a:schemeClr>
              </a:solidFill>
            </a:endParaRPr>
          </a:p>
        </p:txBody>
      </p:sp>
      <p:sp>
        <p:nvSpPr>
          <p:cNvPr id="51" name="TextBox 50"/>
          <p:cNvSpPr txBox="1"/>
          <p:nvPr/>
        </p:nvSpPr>
        <p:spPr>
          <a:xfrm>
            <a:off x="6570007" y="4777341"/>
            <a:ext cx="1012011" cy="261610"/>
          </a:xfrm>
          <a:prstGeom prst="rect">
            <a:avLst/>
          </a:prstGeom>
          <a:noFill/>
        </p:spPr>
        <p:txBody>
          <a:bodyPr wrap="square" rtlCol="0">
            <a:spAutoFit/>
          </a:bodyPr>
          <a:lstStyle/>
          <a:p>
            <a:r>
              <a:rPr lang="sv-SE" sz="1100" b="1" dirty="0" err="1">
                <a:solidFill>
                  <a:schemeClr val="tx1">
                    <a:lumMod val="50000"/>
                  </a:schemeClr>
                </a:solidFill>
              </a:rPr>
              <a:t>instance</a:t>
            </a:r>
            <a:endParaRPr lang="sv-SE" sz="1100" b="1" dirty="0">
              <a:solidFill>
                <a:schemeClr val="tx1">
                  <a:lumMod val="50000"/>
                </a:schemeClr>
              </a:solidFill>
            </a:endParaRPr>
          </a:p>
        </p:txBody>
      </p:sp>
      <p:sp>
        <p:nvSpPr>
          <p:cNvPr id="52" name="TextBox 51"/>
          <p:cNvSpPr txBox="1"/>
          <p:nvPr/>
        </p:nvSpPr>
        <p:spPr>
          <a:xfrm>
            <a:off x="8894842" y="1250697"/>
            <a:ext cx="855053" cy="307777"/>
          </a:xfrm>
          <a:prstGeom prst="rect">
            <a:avLst/>
          </a:prstGeom>
          <a:noFill/>
        </p:spPr>
        <p:txBody>
          <a:bodyPr wrap="square" rtlCol="0">
            <a:spAutoFit/>
          </a:bodyPr>
          <a:lstStyle/>
          <a:p>
            <a:r>
              <a:rPr lang="sv-SE" sz="1400" b="1" dirty="0">
                <a:solidFill>
                  <a:schemeClr val="tx1">
                    <a:lumMod val="50000"/>
                  </a:schemeClr>
                </a:solidFill>
              </a:rPr>
              <a:t>Service</a:t>
            </a:r>
          </a:p>
        </p:txBody>
      </p:sp>
      <p:sp>
        <p:nvSpPr>
          <p:cNvPr id="53" name="TextBox 52"/>
          <p:cNvSpPr txBox="1"/>
          <p:nvPr/>
        </p:nvSpPr>
        <p:spPr>
          <a:xfrm>
            <a:off x="8880250" y="1431103"/>
            <a:ext cx="1695612" cy="307777"/>
          </a:xfrm>
          <a:prstGeom prst="rect">
            <a:avLst/>
          </a:prstGeom>
          <a:noFill/>
        </p:spPr>
        <p:txBody>
          <a:bodyPr wrap="square" rtlCol="0">
            <a:spAutoFit/>
          </a:bodyPr>
          <a:lstStyle/>
          <a:p>
            <a:r>
              <a:rPr lang="sv-SE" sz="1400" b="1" dirty="0" err="1">
                <a:solidFill>
                  <a:schemeClr val="tx1">
                    <a:lumMod val="50000"/>
                  </a:schemeClr>
                </a:solidFill>
              </a:rPr>
              <a:t>Instance</a:t>
            </a:r>
            <a:r>
              <a:rPr lang="sv-SE" sz="1400" b="1" dirty="0">
                <a:solidFill>
                  <a:schemeClr val="tx1">
                    <a:lumMod val="50000"/>
                  </a:schemeClr>
                </a:solidFill>
              </a:rPr>
              <a:t> 5</a:t>
            </a:r>
          </a:p>
        </p:txBody>
      </p:sp>
      <p:sp>
        <p:nvSpPr>
          <p:cNvPr id="54" name="Oval 53"/>
          <p:cNvSpPr/>
          <p:nvPr/>
        </p:nvSpPr>
        <p:spPr bwMode="auto">
          <a:xfrm>
            <a:off x="8081942" y="4633969"/>
            <a:ext cx="1057142" cy="510976"/>
          </a:xfrm>
          <a:prstGeom prst="ellipse">
            <a:avLst/>
          </a:prstGeom>
          <a:solidFill>
            <a:srgbClr val="92D05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55" name="Oval 54"/>
          <p:cNvSpPr/>
          <p:nvPr/>
        </p:nvSpPr>
        <p:spPr bwMode="auto">
          <a:xfrm>
            <a:off x="7215316" y="4186020"/>
            <a:ext cx="1344885" cy="415498"/>
          </a:xfrm>
          <a:prstGeom prst="ellipse">
            <a:avLst/>
          </a:prstGeom>
          <a:solidFill>
            <a:srgbClr val="FFFF00"/>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1" i="0" u="none" strike="noStrike" cap="none" normalizeH="0" baseline="0" dirty="0">
              <a:ln>
                <a:noFill/>
              </a:ln>
              <a:solidFill>
                <a:schemeClr val="tx1"/>
              </a:solidFill>
              <a:effectLst/>
              <a:latin typeface="Arial" charset="0"/>
            </a:endParaRPr>
          </a:p>
        </p:txBody>
      </p:sp>
      <p:sp>
        <p:nvSpPr>
          <p:cNvPr id="56" name="Oval 55"/>
          <p:cNvSpPr/>
          <p:nvPr/>
        </p:nvSpPr>
        <p:spPr bwMode="auto">
          <a:xfrm>
            <a:off x="8927929" y="4269981"/>
            <a:ext cx="1585692" cy="590195"/>
          </a:xfrm>
          <a:prstGeom prst="ellipse">
            <a:avLst/>
          </a:prstGeom>
          <a:solidFill>
            <a:srgbClr val="006699"/>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57" name="TextBox 56"/>
          <p:cNvSpPr txBox="1"/>
          <p:nvPr/>
        </p:nvSpPr>
        <p:spPr>
          <a:xfrm>
            <a:off x="7426002" y="4199637"/>
            <a:ext cx="1338354" cy="430887"/>
          </a:xfrm>
          <a:prstGeom prst="rect">
            <a:avLst/>
          </a:prstGeom>
          <a:noFill/>
        </p:spPr>
        <p:txBody>
          <a:bodyPr wrap="square" rtlCol="0">
            <a:spAutoFit/>
          </a:bodyPr>
          <a:lstStyle/>
          <a:p>
            <a:r>
              <a:rPr lang="sv-SE" sz="1100" b="1" dirty="0" err="1">
                <a:solidFill>
                  <a:schemeClr val="tx1">
                    <a:lumMod val="50000"/>
                  </a:schemeClr>
                </a:solidFill>
              </a:rPr>
              <a:t>Sub-network</a:t>
            </a:r>
            <a:r>
              <a:rPr lang="sv-SE" sz="1100" b="1" dirty="0">
                <a:solidFill>
                  <a:schemeClr val="tx1">
                    <a:lumMod val="50000"/>
                  </a:schemeClr>
                </a:solidFill>
              </a:rPr>
              <a:t> </a:t>
            </a:r>
            <a:r>
              <a:rPr lang="sv-SE" sz="1100" b="1" dirty="0" err="1">
                <a:solidFill>
                  <a:schemeClr val="tx1">
                    <a:lumMod val="50000"/>
                  </a:schemeClr>
                </a:solidFill>
              </a:rPr>
              <a:t>instance</a:t>
            </a:r>
            <a:endParaRPr lang="sv-SE" sz="1100" b="1" dirty="0">
              <a:solidFill>
                <a:schemeClr val="tx1">
                  <a:lumMod val="50000"/>
                </a:schemeClr>
              </a:solidFill>
            </a:endParaRPr>
          </a:p>
        </p:txBody>
      </p:sp>
      <p:sp>
        <p:nvSpPr>
          <p:cNvPr id="58" name="TextBox 57"/>
          <p:cNvSpPr txBox="1"/>
          <p:nvPr/>
        </p:nvSpPr>
        <p:spPr>
          <a:xfrm>
            <a:off x="8227261" y="4846321"/>
            <a:ext cx="973474" cy="261610"/>
          </a:xfrm>
          <a:prstGeom prst="rect">
            <a:avLst/>
          </a:prstGeom>
          <a:noFill/>
        </p:spPr>
        <p:txBody>
          <a:bodyPr wrap="square" rtlCol="0">
            <a:spAutoFit/>
          </a:bodyPr>
          <a:lstStyle/>
          <a:p>
            <a:r>
              <a:rPr lang="sv-SE" sz="1100" b="1" dirty="0" err="1">
                <a:solidFill>
                  <a:schemeClr val="tx1">
                    <a:lumMod val="50000"/>
                  </a:schemeClr>
                </a:solidFill>
              </a:rPr>
              <a:t>Instance</a:t>
            </a:r>
            <a:r>
              <a:rPr lang="sv-SE" sz="1100" b="1" dirty="0">
                <a:solidFill>
                  <a:schemeClr val="tx1">
                    <a:lumMod val="50000"/>
                  </a:schemeClr>
                </a:solidFill>
              </a:rPr>
              <a:t> </a:t>
            </a:r>
          </a:p>
        </p:txBody>
      </p:sp>
      <p:sp>
        <p:nvSpPr>
          <p:cNvPr id="59" name="TextBox 58"/>
          <p:cNvSpPr txBox="1"/>
          <p:nvPr/>
        </p:nvSpPr>
        <p:spPr>
          <a:xfrm>
            <a:off x="8113922" y="4669936"/>
            <a:ext cx="1406501" cy="261610"/>
          </a:xfrm>
          <a:prstGeom prst="rect">
            <a:avLst/>
          </a:prstGeom>
          <a:noFill/>
        </p:spPr>
        <p:txBody>
          <a:bodyPr wrap="square" rtlCol="0">
            <a:spAutoFit/>
          </a:bodyPr>
          <a:lstStyle/>
          <a:p>
            <a:r>
              <a:rPr lang="sv-SE" sz="1100" b="1" dirty="0" err="1">
                <a:solidFill>
                  <a:schemeClr val="tx1">
                    <a:lumMod val="50000"/>
                  </a:schemeClr>
                </a:solidFill>
              </a:rPr>
              <a:t>Sub-network</a:t>
            </a:r>
            <a:endParaRPr lang="sv-SE" sz="1100" b="1" dirty="0">
              <a:solidFill>
                <a:schemeClr val="tx1">
                  <a:lumMod val="50000"/>
                </a:schemeClr>
              </a:solidFill>
            </a:endParaRPr>
          </a:p>
        </p:txBody>
      </p:sp>
      <p:sp>
        <p:nvSpPr>
          <p:cNvPr id="60" name="TextBox 59"/>
          <p:cNvSpPr txBox="1"/>
          <p:nvPr/>
        </p:nvSpPr>
        <p:spPr>
          <a:xfrm>
            <a:off x="8916338" y="4344153"/>
            <a:ext cx="2795618" cy="261610"/>
          </a:xfrm>
          <a:prstGeom prst="rect">
            <a:avLst/>
          </a:prstGeom>
          <a:noFill/>
        </p:spPr>
        <p:txBody>
          <a:bodyPr wrap="square" rtlCol="0">
            <a:spAutoFit/>
          </a:bodyPr>
          <a:lstStyle/>
          <a:p>
            <a:r>
              <a:rPr lang="sv-SE" sz="1100" b="1" dirty="0" err="1">
                <a:solidFill>
                  <a:schemeClr val="bg1"/>
                </a:solidFill>
              </a:rPr>
              <a:t>Sub-network</a:t>
            </a:r>
            <a:r>
              <a:rPr lang="sv-SE" sz="1100" dirty="0">
                <a:solidFill>
                  <a:schemeClr val="bg1"/>
                </a:solidFill>
              </a:rPr>
              <a:t> </a:t>
            </a:r>
            <a:r>
              <a:rPr lang="sv-SE" sz="1100" b="1" dirty="0" err="1">
                <a:solidFill>
                  <a:schemeClr val="bg1"/>
                </a:solidFill>
              </a:rPr>
              <a:t>instance</a:t>
            </a:r>
            <a:endParaRPr lang="sv-SE" sz="1100" b="1" dirty="0">
              <a:solidFill>
                <a:schemeClr val="bg1"/>
              </a:solidFill>
            </a:endParaRPr>
          </a:p>
        </p:txBody>
      </p:sp>
      <p:sp>
        <p:nvSpPr>
          <p:cNvPr id="61" name="TextBox 60"/>
          <p:cNvSpPr txBox="1"/>
          <p:nvPr/>
        </p:nvSpPr>
        <p:spPr>
          <a:xfrm>
            <a:off x="9103494" y="4532656"/>
            <a:ext cx="1920434" cy="261610"/>
          </a:xfrm>
          <a:prstGeom prst="rect">
            <a:avLst/>
          </a:prstGeom>
          <a:noFill/>
        </p:spPr>
        <p:txBody>
          <a:bodyPr wrap="square" rtlCol="0">
            <a:spAutoFit/>
          </a:bodyPr>
          <a:lstStyle/>
          <a:p>
            <a:r>
              <a:rPr lang="sv-SE" sz="1100" b="1" dirty="0">
                <a:solidFill>
                  <a:schemeClr val="bg1"/>
                </a:solidFill>
              </a:rPr>
              <a:t>(non </a:t>
            </a:r>
            <a:r>
              <a:rPr lang="sv-SE" sz="1100" b="1" dirty="0" err="1">
                <a:solidFill>
                  <a:schemeClr val="bg1"/>
                </a:solidFill>
              </a:rPr>
              <a:t>virtualized</a:t>
            </a:r>
            <a:r>
              <a:rPr lang="sv-SE" sz="1100" b="1" dirty="0">
                <a:solidFill>
                  <a:schemeClr val="bg1"/>
                </a:solidFill>
              </a:rPr>
              <a:t>)  </a:t>
            </a:r>
          </a:p>
        </p:txBody>
      </p:sp>
      <p:sp>
        <p:nvSpPr>
          <p:cNvPr id="62" name="Oval 61"/>
          <p:cNvSpPr/>
          <p:nvPr/>
        </p:nvSpPr>
        <p:spPr bwMode="auto">
          <a:xfrm>
            <a:off x="2562283" y="5179360"/>
            <a:ext cx="7198476" cy="1266092"/>
          </a:xfrm>
          <a:prstGeom prst="ellipse">
            <a:avLst/>
          </a:prstGeom>
          <a:solidFill>
            <a:schemeClr val="accent4">
              <a:lumMod val="20000"/>
              <a:lumOff val="80000"/>
            </a:schemeClr>
          </a:solidFill>
          <a:ln w="19050" cap="flat" cmpd="sng" algn="ctr">
            <a:solidFill>
              <a:srgbClr val="003366"/>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sp>
        <p:nvSpPr>
          <p:cNvPr id="63" name="TextBox 62"/>
          <p:cNvSpPr txBox="1"/>
          <p:nvPr/>
        </p:nvSpPr>
        <p:spPr>
          <a:xfrm>
            <a:off x="3617313" y="5673907"/>
            <a:ext cx="5521009" cy="276999"/>
          </a:xfrm>
          <a:prstGeom prst="rect">
            <a:avLst/>
          </a:prstGeom>
          <a:noFill/>
        </p:spPr>
        <p:txBody>
          <a:bodyPr wrap="square" rtlCol="0">
            <a:spAutoFit/>
          </a:bodyPr>
          <a:lstStyle/>
          <a:p>
            <a:r>
              <a:rPr lang="sv-SE" sz="1200" dirty="0">
                <a:solidFill>
                  <a:schemeClr val="tx1">
                    <a:lumMod val="50000"/>
                  </a:schemeClr>
                </a:solidFill>
              </a:rPr>
              <a:t>                         Resources/</a:t>
            </a:r>
            <a:r>
              <a:rPr lang="sv-SE" sz="1200" dirty="0" err="1">
                <a:solidFill>
                  <a:schemeClr val="tx1">
                    <a:lumMod val="50000"/>
                  </a:schemeClr>
                </a:solidFill>
              </a:rPr>
              <a:t>Network</a:t>
            </a:r>
            <a:r>
              <a:rPr lang="sv-SE" sz="1200" dirty="0">
                <a:solidFill>
                  <a:schemeClr val="tx1">
                    <a:lumMod val="50000"/>
                  </a:schemeClr>
                </a:solidFill>
              </a:rPr>
              <a:t> </a:t>
            </a:r>
            <a:r>
              <a:rPr lang="sv-SE" sz="1200" dirty="0" err="1">
                <a:solidFill>
                  <a:schemeClr val="tx1">
                    <a:lumMod val="50000"/>
                  </a:schemeClr>
                </a:solidFill>
              </a:rPr>
              <a:t>Infrastructure</a:t>
            </a:r>
            <a:r>
              <a:rPr lang="sv-SE" sz="1200" dirty="0">
                <a:solidFill>
                  <a:schemeClr val="tx1">
                    <a:lumMod val="50000"/>
                  </a:schemeClr>
                </a:solidFill>
              </a:rPr>
              <a:t>/</a:t>
            </a:r>
            <a:r>
              <a:rPr lang="sv-SE" sz="1200" dirty="0" err="1">
                <a:solidFill>
                  <a:schemeClr val="tx1">
                    <a:lumMod val="50000"/>
                  </a:schemeClr>
                </a:solidFill>
              </a:rPr>
              <a:t>Network</a:t>
            </a:r>
            <a:r>
              <a:rPr lang="sv-SE" sz="1200" dirty="0">
                <a:solidFill>
                  <a:schemeClr val="tx1">
                    <a:lumMod val="50000"/>
                  </a:schemeClr>
                </a:solidFill>
              </a:rPr>
              <a:t> </a:t>
            </a:r>
            <a:r>
              <a:rPr lang="sv-SE" sz="1200" dirty="0" err="1">
                <a:solidFill>
                  <a:schemeClr val="tx1">
                    <a:lumMod val="50000"/>
                  </a:schemeClr>
                </a:solidFill>
              </a:rPr>
              <a:t>Functions</a:t>
            </a:r>
            <a:endParaRPr lang="sv-SE" sz="1200" dirty="0">
              <a:solidFill>
                <a:schemeClr val="tx1">
                  <a:lumMod val="50000"/>
                </a:schemeClr>
              </a:solidFill>
            </a:endParaRPr>
          </a:p>
        </p:txBody>
      </p:sp>
      <p:cxnSp>
        <p:nvCxnSpPr>
          <p:cNvPr id="66" name="Straight Connector 65"/>
          <p:cNvCxnSpPr/>
          <p:nvPr/>
        </p:nvCxnSpPr>
        <p:spPr bwMode="auto">
          <a:xfrm>
            <a:off x="4879960" y="3603465"/>
            <a:ext cx="8580" cy="768956"/>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67" name="Straight Connector 66"/>
          <p:cNvCxnSpPr>
            <a:cxnSpLocks/>
            <a:stCxn id="45" idx="4"/>
          </p:cNvCxnSpPr>
          <p:nvPr/>
        </p:nvCxnSpPr>
        <p:spPr bwMode="auto">
          <a:xfrm>
            <a:off x="4861014" y="4868965"/>
            <a:ext cx="18946" cy="571412"/>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68" name="Straight Connector 67"/>
          <p:cNvCxnSpPr/>
          <p:nvPr/>
        </p:nvCxnSpPr>
        <p:spPr bwMode="auto">
          <a:xfrm flipV="1">
            <a:off x="6814942" y="5047848"/>
            <a:ext cx="0" cy="131512"/>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69" name="Straight Connector 68"/>
          <p:cNvCxnSpPr/>
          <p:nvPr/>
        </p:nvCxnSpPr>
        <p:spPr bwMode="auto">
          <a:xfrm flipV="1">
            <a:off x="6802101" y="3764172"/>
            <a:ext cx="1" cy="758008"/>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0" name="Straight Connector 69"/>
          <p:cNvCxnSpPr/>
          <p:nvPr/>
        </p:nvCxnSpPr>
        <p:spPr bwMode="auto">
          <a:xfrm flipH="1">
            <a:off x="5932980" y="3957593"/>
            <a:ext cx="59065" cy="228428"/>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1" name="Straight Connector 70"/>
          <p:cNvCxnSpPr>
            <a:cxnSpLocks/>
          </p:cNvCxnSpPr>
          <p:nvPr/>
        </p:nvCxnSpPr>
        <p:spPr bwMode="auto">
          <a:xfrm>
            <a:off x="6002047" y="4633969"/>
            <a:ext cx="0" cy="675604"/>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2" name="Straight Connector 71"/>
          <p:cNvCxnSpPr/>
          <p:nvPr/>
        </p:nvCxnSpPr>
        <p:spPr bwMode="auto">
          <a:xfrm>
            <a:off x="6814942" y="5179360"/>
            <a:ext cx="0" cy="391822"/>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3" name="Straight Connector 72"/>
          <p:cNvCxnSpPr/>
          <p:nvPr/>
        </p:nvCxnSpPr>
        <p:spPr bwMode="auto">
          <a:xfrm>
            <a:off x="7674870" y="3960172"/>
            <a:ext cx="0" cy="228427"/>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4" name="Straight Connector 73"/>
          <p:cNvCxnSpPr/>
          <p:nvPr/>
        </p:nvCxnSpPr>
        <p:spPr bwMode="auto">
          <a:xfrm>
            <a:off x="7841129" y="4596072"/>
            <a:ext cx="0" cy="768921"/>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5" name="Straight Connector 74"/>
          <p:cNvCxnSpPr>
            <a:endCxn id="54" idx="0"/>
          </p:cNvCxnSpPr>
          <p:nvPr/>
        </p:nvCxnSpPr>
        <p:spPr bwMode="auto">
          <a:xfrm flipH="1">
            <a:off x="8610513" y="3924411"/>
            <a:ext cx="293237" cy="709558"/>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6" name="Straight Connector 75"/>
          <p:cNvCxnSpPr/>
          <p:nvPr/>
        </p:nvCxnSpPr>
        <p:spPr bwMode="auto">
          <a:xfrm flipV="1">
            <a:off x="9413218" y="4821385"/>
            <a:ext cx="0" cy="971663"/>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77" name="Straight Connector 76"/>
          <p:cNvCxnSpPr/>
          <p:nvPr/>
        </p:nvCxnSpPr>
        <p:spPr bwMode="auto">
          <a:xfrm flipV="1">
            <a:off x="9831022" y="3764173"/>
            <a:ext cx="0" cy="505809"/>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sp>
        <p:nvSpPr>
          <p:cNvPr id="78" name="TextBox 77"/>
          <p:cNvSpPr txBox="1"/>
          <p:nvPr/>
        </p:nvSpPr>
        <p:spPr>
          <a:xfrm flipH="1">
            <a:off x="8175842" y="1849171"/>
            <a:ext cx="2022293" cy="307777"/>
          </a:xfrm>
          <a:prstGeom prst="rect">
            <a:avLst/>
          </a:prstGeom>
          <a:noFill/>
        </p:spPr>
        <p:txBody>
          <a:bodyPr wrap="square" rtlCol="0">
            <a:spAutoFit/>
          </a:bodyPr>
          <a:lstStyle/>
          <a:p>
            <a:r>
              <a:rPr lang="sv-SE" sz="1400" b="1" dirty="0">
                <a:solidFill>
                  <a:schemeClr val="tx1">
                    <a:lumMod val="50000"/>
                  </a:schemeClr>
                </a:solidFill>
              </a:rPr>
              <a:t>Service</a:t>
            </a:r>
          </a:p>
        </p:txBody>
      </p:sp>
      <p:cxnSp>
        <p:nvCxnSpPr>
          <p:cNvPr id="43" name="Straight Connector 42"/>
          <p:cNvCxnSpPr>
            <a:cxnSpLocks/>
            <a:stCxn id="5" idx="2"/>
          </p:cNvCxnSpPr>
          <p:nvPr/>
        </p:nvCxnSpPr>
        <p:spPr bwMode="auto">
          <a:xfrm>
            <a:off x="3502795" y="3957593"/>
            <a:ext cx="5396" cy="1725180"/>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sp>
        <p:nvSpPr>
          <p:cNvPr id="44" name="Freeform 172"/>
          <p:cNvSpPr/>
          <p:nvPr/>
        </p:nvSpPr>
        <p:spPr bwMode="auto">
          <a:xfrm>
            <a:off x="3935010" y="3764172"/>
            <a:ext cx="495731" cy="1953090"/>
          </a:xfrm>
          <a:custGeom>
            <a:avLst/>
            <a:gdLst>
              <a:gd name="connsiteX0" fmla="*/ 0 w 131885"/>
              <a:gd name="connsiteY0" fmla="*/ 931985 h 931985"/>
              <a:gd name="connsiteX1" fmla="*/ 131885 w 131885"/>
              <a:gd name="connsiteY1" fmla="*/ 0 h 931985"/>
            </a:gdLst>
            <a:ahLst/>
            <a:cxnLst>
              <a:cxn ang="0">
                <a:pos x="connsiteX0" y="connsiteY0"/>
              </a:cxn>
              <a:cxn ang="0">
                <a:pos x="connsiteX1" y="connsiteY1"/>
              </a:cxn>
            </a:cxnLst>
            <a:rect l="l" t="t" r="r" b="b"/>
            <a:pathLst>
              <a:path w="131885" h="931985">
                <a:moveTo>
                  <a:pt x="0" y="931985"/>
                </a:moveTo>
                <a:cubicBezTo>
                  <a:pt x="11723" y="577361"/>
                  <a:pt x="23447" y="222738"/>
                  <a:pt x="131885" y="0"/>
                </a:cubicBezTo>
              </a:path>
            </a:pathLst>
          </a:custGeom>
          <a:noFill/>
          <a:ln w="19050" cap="flat" cmpd="sng" algn="ctr">
            <a:solidFill>
              <a:schemeClr val="tx1">
                <a:lumMod val="50000"/>
              </a:schemeClr>
            </a:solidFill>
            <a:prstDash val="sys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cxnSp>
        <p:nvCxnSpPr>
          <p:cNvPr id="85" name="Straight Connector 84"/>
          <p:cNvCxnSpPr/>
          <p:nvPr/>
        </p:nvCxnSpPr>
        <p:spPr bwMode="auto">
          <a:xfrm>
            <a:off x="8173632" y="3960170"/>
            <a:ext cx="0" cy="228427"/>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cxnSp>
        <p:nvCxnSpPr>
          <p:cNvPr id="88" name="Straight Connector 87"/>
          <p:cNvCxnSpPr/>
          <p:nvPr/>
        </p:nvCxnSpPr>
        <p:spPr bwMode="auto">
          <a:xfrm>
            <a:off x="8610513" y="5132932"/>
            <a:ext cx="0" cy="768921"/>
          </a:xfrm>
          <a:prstGeom prst="line">
            <a:avLst/>
          </a:prstGeom>
          <a:solidFill>
            <a:schemeClr val="accent1"/>
          </a:solidFill>
          <a:ln w="19050" cap="flat" cmpd="sng" algn="ctr">
            <a:solidFill>
              <a:schemeClr val="tx1">
                <a:lumMod val="50000"/>
              </a:schemeClr>
            </a:solidFill>
            <a:prstDash val="sysDash"/>
            <a:round/>
            <a:headEnd type="none" w="med" len="med"/>
            <a:tailEnd type="none" w="med" len="med"/>
          </a:ln>
          <a:effectLst/>
        </p:spPr>
      </p:cxnSp>
      <p:sp>
        <p:nvSpPr>
          <p:cNvPr id="3" name="TextBox 2"/>
          <p:cNvSpPr txBox="1"/>
          <p:nvPr/>
        </p:nvSpPr>
        <p:spPr>
          <a:xfrm>
            <a:off x="5748003" y="1494233"/>
            <a:ext cx="1688283" cy="338554"/>
          </a:xfrm>
          <a:prstGeom prst="rect">
            <a:avLst/>
          </a:prstGeom>
          <a:noFill/>
        </p:spPr>
        <p:txBody>
          <a:bodyPr wrap="none" rtlCol="0">
            <a:spAutoFit/>
          </a:bodyPr>
          <a:lstStyle/>
          <a:p>
            <a:r>
              <a:rPr lang="en-US" sz="1600" i="1" dirty="0">
                <a:solidFill>
                  <a:srgbClr val="FF0000"/>
                </a:solidFill>
              </a:rPr>
              <a:t>Enterprise </a:t>
            </a:r>
            <a:r>
              <a:rPr lang="en-US" sz="1600" i="1" dirty="0" err="1">
                <a:solidFill>
                  <a:srgbClr val="FF0000"/>
                </a:solidFill>
              </a:rPr>
              <a:t>NaaS</a:t>
            </a:r>
            <a:endParaRPr lang="en-US" sz="1600" i="1" dirty="0">
              <a:solidFill>
                <a:srgbClr val="FF0000"/>
              </a:solidFill>
            </a:endParaRPr>
          </a:p>
        </p:txBody>
      </p:sp>
      <p:sp>
        <p:nvSpPr>
          <p:cNvPr id="80" name="TextBox 79"/>
          <p:cNvSpPr txBox="1"/>
          <p:nvPr/>
        </p:nvSpPr>
        <p:spPr>
          <a:xfrm>
            <a:off x="5968121" y="3295976"/>
            <a:ext cx="1608133" cy="338554"/>
          </a:xfrm>
          <a:prstGeom prst="rect">
            <a:avLst/>
          </a:prstGeom>
          <a:noFill/>
        </p:spPr>
        <p:txBody>
          <a:bodyPr wrap="none" rtlCol="0">
            <a:spAutoFit/>
          </a:bodyPr>
          <a:lstStyle/>
          <a:p>
            <a:r>
              <a:rPr lang="en-US" sz="1600" i="1" dirty="0">
                <a:solidFill>
                  <a:srgbClr val="FF0000"/>
                </a:solidFill>
              </a:rPr>
              <a:t>Enhanced MBB</a:t>
            </a:r>
          </a:p>
        </p:txBody>
      </p:sp>
      <p:sp>
        <p:nvSpPr>
          <p:cNvPr id="81" name="TextBox 80"/>
          <p:cNvSpPr txBox="1"/>
          <p:nvPr/>
        </p:nvSpPr>
        <p:spPr>
          <a:xfrm>
            <a:off x="7098876" y="4007589"/>
            <a:ext cx="644728" cy="307777"/>
          </a:xfrm>
          <a:prstGeom prst="rect">
            <a:avLst/>
          </a:prstGeom>
          <a:noFill/>
        </p:spPr>
        <p:txBody>
          <a:bodyPr wrap="none" rtlCol="0">
            <a:spAutoFit/>
          </a:bodyPr>
          <a:lstStyle/>
          <a:p>
            <a:r>
              <a:rPr lang="en-US" sz="1400" i="1" dirty="0" err="1">
                <a:solidFill>
                  <a:srgbClr val="FF0000"/>
                </a:solidFill>
              </a:rPr>
              <a:t>vEPC</a:t>
            </a:r>
            <a:endParaRPr lang="en-US" sz="1400" i="1" dirty="0">
              <a:solidFill>
                <a:srgbClr val="FF0000"/>
              </a:solidFill>
            </a:endParaRPr>
          </a:p>
        </p:txBody>
      </p:sp>
      <p:sp>
        <p:nvSpPr>
          <p:cNvPr id="82" name="TextBox 81"/>
          <p:cNvSpPr txBox="1"/>
          <p:nvPr/>
        </p:nvSpPr>
        <p:spPr>
          <a:xfrm>
            <a:off x="5939463" y="3956916"/>
            <a:ext cx="654346" cy="307777"/>
          </a:xfrm>
          <a:prstGeom prst="rect">
            <a:avLst/>
          </a:prstGeom>
          <a:noFill/>
        </p:spPr>
        <p:txBody>
          <a:bodyPr wrap="none" rtlCol="0">
            <a:spAutoFit/>
          </a:bodyPr>
          <a:lstStyle/>
          <a:p>
            <a:r>
              <a:rPr lang="en-US" sz="1400" i="1" dirty="0" err="1">
                <a:solidFill>
                  <a:srgbClr val="FF0000"/>
                </a:solidFill>
              </a:rPr>
              <a:t>vRAN</a:t>
            </a:r>
            <a:endParaRPr lang="en-US" sz="1400" i="1" dirty="0">
              <a:solidFill>
                <a:srgbClr val="FF0000"/>
              </a:solidFill>
            </a:endParaRPr>
          </a:p>
        </p:txBody>
      </p:sp>
      <p:sp>
        <p:nvSpPr>
          <p:cNvPr id="83" name="TextBox 82"/>
          <p:cNvSpPr txBox="1"/>
          <p:nvPr/>
        </p:nvSpPr>
        <p:spPr>
          <a:xfrm>
            <a:off x="6714378" y="4293741"/>
            <a:ext cx="593432" cy="307777"/>
          </a:xfrm>
          <a:prstGeom prst="rect">
            <a:avLst/>
          </a:prstGeom>
          <a:noFill/>
        </p:spPr>
        <p:txBody>
          <a:bodyPr wrap="none" rtlCol="0">
            <a:spAutoFit/>
          </a:bodyPr>
          <a:lstStyle/>
          <a:p>
            <a:r>
              <a:rPr lang="en-US" sz="1400" i="1" dirty="0" err="1">
                <a:solidFill>
                  <a:srgbClr val="FF0000"/>
                </a:solidFill>
              </a:rPr>
              <a:t>vIMS</a:t>
            </a:r>
            <a:endParaRPr lang="en-US" sz="1400" i="1" dirty="0">
              <a:solidFill>
                <a:srgbClr val="FF0000"/>
              </a:solidFill>
            </a:endParaRPr>
          </a:p>
        </p:txBody>
      </p:sp>
      <p:sp>
        <p:nvSpPr>
          <p:cNvPr id="84" name="TextBox 83"/>
          <p:cNvSpPr txBox="1"/>
          <p:nvPr/>
        </p:nvSpPr>
        <p:spPr>
          <a:xfrm>
            <a:off x="5596553" y="5961838"/>
            <a:ext cx="1210588" cy="307777"/>
          </a:xfrm>
          <a:prstGeom prst="rect">
            <a:avLst/>
          </a:prstGeom>
          <a:noFill/>
        </p:spPr>
        <p:txBody>
          <a:bodyPr wrap="none" rtlCol="0">
            <a:spAutoFit/>
          </a:bodyPr>
          <a:lstStyle/>
          <a:p>
            <a:r>
              <a:rPr lang="en-US" sz="1400" i="1" dirty="0">
                <a:solidFill>
                  <a:srgbClr val="FF0000"/>
                </a:solidFill>
              </a:rPr>
              <a:t>(NFVI/VNFs)</a:t>
            </a:r>
          </a:p>
        </p:txBody>
      </p:sp>
    </p:spTree>
    <p:extLst>
      <p:ext uri="{BB962C8B-B14F-4D97-AF65-F5344CB8AC3E}">
        <p14:creationId xmlns:p14="http://schemas.microsoft.com/office/powerpoint/2010/main" val="16187257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25257188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29167" y="1311783"/>
            <a:ext cx="11265043" cy="3852000"/>
          </a:xfrm>
        </p:spPr>
        <p:txBody>
          <a:bodyPr/>
          <a:lstStyle/>
          <a:p>
            <a:r>
              <a:rPr lang="en-US" b="1" dirty="0"/>
              <a:t>Network Slice Instance: </a:t>
            </a:r>
            <a:r>
              <a:rPr lang="en-US" dirty="0"/>
              <a:t>a set of run-time network functions, and resources to run these network functions, forming a complete instantiated logical network to meet certain network characteristics required by the Service Instance(s).</a:t>
            </a:r>
          </a:p>
        </p:txBody>
      </p:sp>
      <p:sp>
        <p:nvSpPr>
          <p:cNvPr id="3" name="Title 2"/>
          <p:cNvSpPr>
            <a:spLocks noGrp="1"/>
          </p:cNvSpPr>
          <p:nvPr>
            <p:ph type="title"/>
          </p:nvPr>
        </p:nvSpPr>
        <p:spPr/>
        <p:txBody>
          <a:bodyPr/>
          <a:lstStyle/>
          <a:p>
            <a:r>
              <a:rPr lang="en-US" dirty="0"/>
              <a:t>NETWORK Slice instance</a:t>
            </a:r>
          </a:p>
        </p:txBody>
      </p:sp>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3283363" y="2991899"/>
            <a:ext cx="6079774" cy="3400425"/>
          </a:xfrm>
          <a:prstGeom prst="rect">
            <a:avLst/>
          </a:prstGeom>
        </p:spPr>
      </p:pic>
      <p:sp>
        <p:nvSpPr>
          <p:cNvPr id="6" name="Rounded Rectangular Callout 14"/>
          <p:cNvSpPr/>
          <p:nvPr/>
        </p:nvSpPr>
        <p:spPr bwMode="auto">
          <a:xfrm>
            <a:off x="8429419" y="5653311"/>
            <a:ext cx="1834857" cy="739015"/>
          </a:xfrm>
          <a:prstGeom prst="wedgeRoundRectCallout">
            <a:avLst>
              <a:gd name="adj1" fmla="val -78998"/>
              <a:gd name="adj2" fmla="val -126687"/>
              <a:gd name="adj3" fmla="val 16667"/>
            </a:avLst>
          </a:prstGeom>
          <a:solidFill>
            <a:schemeClr val="tx2">
              <a:lumMod val="25000"/>
              <a:lumOff val="75000"/>
              <a:alpha val="65000"/>
            </a:schemeClr>
          </a:solidFill>
          <a:ln w="12700" cap="flat" cmpd="sng" algn="ctr">
            <a:solidFill>
              <a:srgbClr val="FF0000"/>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Sharing possible</a:t>
            </a:r>
            <a:endParaRPr kumimoji="0" lang="en-US" sz="2000" b="0" i="0" u="none" strike="noStrike" cap="none" normalizeH="0" baseline="0" dirty="0">
              <a:ln>
                <a:noFill/>
              </a:ln>
              <a:effectLst/>
            </a:endParaRPr>
          </a:p>
        </p:txBody>
      </p:sp>
      <p:sp>
        <p:nvSpPr>
          <p:cNvPr id="8" name="Rounded Rectangular Callout 14"/>
          <p:cNvSpPr/>
          <p:nvPr/>
        </p:nvSpPr>
        <p:spPr bwMode="auto">
          <a:xfrm>
            <a:off x="3433027" y="4914296"/>
            <a:ext cx="1834857" cy="739015"/>
          </a:xfrm>
          <a:prstGeom prst="wedgeRoundRectCallout">
            <a:avLst>
              <a:gd name="adj1" fmla="val 75989"/>
              <a:gd name="adj2" fmla="val -15328"/>
              <a:gd name="adj3" fmla="val 16667"/>
            </a:avLst>
          </a:prstGeom>
          <a:solidFill>
            <a:schemeClr val="tx2">
              <a:lumMod val="25000"/>
              <a:lumOff val="75000"/>
              <a:alpha val="65000"/>
            </a:schemeClr>
          </a:solidFill>
          <a:ln w="12700" cap="flat" cmpd="sng" algn="ctr">
            <a:solidFill>
              <a:srgbClr val="FF0000"/>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effectLst/>
              </a:rPr>
              <a:t>Part of a network</a:t>
            </a:r>
          </a:p>
        </p:txBody>
      </p:sp>
    </p:spTree>
    <p:extLst>
      <p:ext uri="{BB962C8B-B14F-4D97-AF65-F5344CB8AC3E}">
        <p14:creationId xmlns:p14="http://schemas.microsoft.com/office/powerpoint/2010/main" val="13367335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3</a:t>
            </a:r>
          </a:p>
          <a:p>
            <a:r>
              <a:rPr lang="en-US" dirty="0"/>
              <a:t>5G EPC</a:t>
            </a:r>
          </a:p>
        </p:txBody>
      </p:sp>
    </p:spTree>
    <p:custDataLst>
      <p:tags r:id="rId1"/>
    </p:custDataLst>
    <p:extLst>
      <p:ext uri="{BB962C8B-B14F-4D97-AF65-F5344CB8AC3E}">
        <p14:creationId xmlns:p14="http://schemas.microsoft.com/office/powerpoint/2010/main" val="12242695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the main additional features of the 5G EPC network</a:t>
            </a:r>
            <a:br>
              <a:rPr lang="en-US" dirty="0"/>
            </a:br>
            <a:endParaRPr lang="en-US" sz="2000" dirty="0"/>
          </a:p>
          <a:p>
            <a:pPr marL="735013" lvl="1" indent="-381000">
              <a:lnSpc>
                <a:spcPct val="90000"/>
              </a:lnSpc>
            </a:pPr>
            <a:r>
              <a:rPr lang="en-US" dirty="0"/>
              <a:t>Explain the network slice selection mechanisms, DECOR and </a:t>
            </a:r>
            <a:r>
              <a:rPr lang="en-US" dirty="0" err="1"/>
              <a:t>eDECOR</a:t>
            </a:r>
            <a:br>
              <a:rPr lang="en-US" dirty="0"/>
            </a:br>
            <a:endParaRPr lang="en-US" dirty="0"/>
          </a:p>
          <a:p>
            <a:pPr marL="735013" lvl="1" indent="-381000">
              <a:lnSpc>
                <a:spcPct val="90000"/>
              </a:lnSpc>
            </a:pPr>
            <a:r>
              <a:rPr lang="en-US" dirty="0"/>
              <a:t>Explain the Control Plane and User Plane split (CUPS)</a:t>
            </a:r>
            <a:br>
              <a:rPr lang="en-US" dirty="0"/>
            </a:br>
            <a:endParaRPr lang="en-US" dirty="0"/>
          </a:p>
          <a:p>
            <a:pPr marL="735013" lvl="1" indent="-381000">
              <a:lnSpc>
                <a:spcPct val="90000"/>
              </a:lnSpc>
            </a:pPr>
            <a:r>
              <a:rPr lang="en-US" dirty="0"/>
              <a:t>Explain dynamic mobility switching</a:t>
            </a:r>
          </a:p>
        </p:txBody>
      </p:sp>
    </p:spTree>
    <p:extLst>
      <p:ext uri="{BB962C8B-B14F-4D97-AF65-F5344CB8AC3E}">
        <p14:creationId xmlns:p14="http://schemas.microsoft.com/office/powerpoint/2010/main" val="12887880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of 5G EPC</a:t>
            </a:r>
          </a:p>
        </p:txBody>
      </p:sp>
      <p:grpSp>
        <p:nvGrpSpPr>
          <p:cNvPr id="6" name="Group 5"/>
          <p:cNvGrpSpPr/>
          <p:nvPr/>
        </p:nvGrpSpPr>
        <p:grpSpPr>
          <a:xfrm>
            <a:off x="1282643" y="2375007"/>
            <a:ext cx="9585226" cy="2114550"/>
            <a:chOff x="1387574" y="2914650"/>
            <a:chExt cx="9585226" cy="2114550"/>
          </a:xfrm>
        </p:grpSpPr>
        <p:sp>
          <p:nvSpPr>
            <p:cNvPr id="7" name="Rectangle 6"/>
            <p:cNvSpPr/>
            <p:nvPr/>
          </p:nvSpPr>
          <p:spPr>
            <a:xfrm>
              <a:off x="1387574" y="2914650"/>
              <a:ext cx="9585226" cy="2114550"/>
            </a:xfrm>
            <a:prstGeom prst="rect">
              <a:avLst/>
            </a:prstGeom>
            <a:solidFill>
              <a:srgbClr val="00285F"/>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bIns="180000" rtlCol="0" anchor="b"/>
            <a:lstStyle/>
            <a:p>
              <a:pPr>
                <a:tabLst>
                  <a:tab pos="2066925" algn="l"/>
                  <a:tab pos="4486275" algn="l"/>
                  <a:tab pos="6638925" algn="l"/>
                </a:tabLst>
              </a:pPr>
              <a:r>
                <a:rPr lang="en-US" sz="2000" dirty="0">
                  <a:solidFill>
                    <a:srgbClr val="FFFFFF"/>
                  </a:solidFill>
                </a:rPr>
                <a:t>2016	Mid ’17	Q4 ’17	Mid ‘18</a:t>
              </a:r>
            </a:p>
          </p:txBody>
        </p:sp>
        <p:sp>
          <p:nvSpPr>
            <p:cNvPr id="8" name="Arrow: Pentagon 7"/>
            <p:cNvSpPr/>
            <p:nvPr/>
          </p:nvSpPr>
          <p:spPr>
            <a:xfrm>
              <a:off x="1520585" y="3179014"/>
              <a:ext cx="2346385" cy="1207698"/>
            </a:xfrm>
            <a:prstGeom prst="homePlate">
              <a:avLst/>
            </a:prstGeom>
            <a:solidFill>
              <a:srgbClr val="00A9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FFFFFF"/>
                  </a:solidFill>
                </a:rPr>
                <a:t>Pre-standard demos </a:t>
              </a:r>
              <a:br>
                <a:rPr lang="en-US" sz="1600" dirty="0">
                  <a:solidFill>
                    <a:srgbClr val="FFFFFF"/>
                  </a:solidFill>
                </a:rPr>
              </a:br>
              <a:r>
                <a:rPr lang="en-US" sz="1600" dirty="0">
                  <a:solidFill>
                    <a:srgbClr val="FFFFFF"/>
                  </a:solidFill>
                </a:rPr>
                <a:t>– CPUP split </a:t>
              </a:r>
              <a:br>
                <a:rPr lang="en-US" sz="1600" dirty="0">
                  <a:solidFill>
                    <a:srgbClr val="FFFFFF"/>
                  </a:solidFill>
                </a:rPr>
              </a:br>
              <a:r>
                <a:rPr lang="en-US" sz="1600" dirty="0">
                  <a:solidFill>
                    <a:srgbClr val="FFFFFF"/>
                  </a:solidFill>
                </a:rPr>
                <a:t>– 5G data speeds</a:t>
              </a:r>
            </a:p>
          </p:txBody>
        </p:sp>
        <p:sp>
          <p:nvSpPr>
            <p:cNvPr id="9" name="Arrow: Chevron 8"/>
            <p:cNvSpPr/>
            <p:nvPr/>
          </p:nvSpPr>
          <p:spPr>
            <a:xfrm>
              <a:off x="3418397" y="3179625"/>
              <a:ext cx="2760453" cy="1209600"/>
            </a:xfrm>
            <a:prstGeom prst="chevron">
              <a:avLst/>
            </a:prstGeom>
            <a:solidFill>
              <a:srgbClr val="00A9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5G e2e trial/pilot NW configuration</a:t>
              </a:r>
            </a:p>
          </p:txBody>
        </p:sp>
        <p:sp>
          <p:nvSpPr>
            <p:cNvPr id="10" name="Arrow: Chevron 9"/>
            <p:cNvSpPr/>
            <p:nvPr/>
          </p:nvSpPr>
          <p:spPr>
            <a:xfrm>
              <a:off x="5748658" y="3178403"/>
              <a:ext cx="2760453" cy="1209600"/>
            </a:xfrm>
            <a:prstGeom prst="chevron">
              <a:avLst/>
            </a:prstGeom>
            <a:solidFill>
              <a:srgbClr val="00A9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Standard CPUP split 1</a:t>
              </a:r>
              <a:r>
                <a:rPr lang="en-US" sz="1600" baseline="30000" dirty="0">
                  <a:solidFill>
                    <a:srgbClr val="FFFFFF"/>
                  </a:solidFill>
                </a:rPr>
                <a:t>st</a:t>
              </a:r>
              <a:r>
                <a:rPr lang="en-US" sz="1600" dirty="0">
                  <a:solidFill>
                    <a:srgbClr val="FFFFFF"/>
                  </a:solidFill>
                </a:rPr>
                <a:t> release</a:t>
              </a:r>
            </a:p>
          </p:txBody>
        </p:sp>
        <p:sp>
          <p:nvSpPr>
            <p:cNvPr id="11" name="Arrow: Chevron 10"/>
            <p:cNvSpPr/>
            <p:nvPr/>
          </p:nvSpPr>
          <p:spPr>
            <a:xfrm>
              <a:off x="8060538" y="3178403"/>
              <a:ext cx="2760453" cy="1209600"/>
            </a:xfrm>
            <a:prstGeom prst="chevron">
              <a:avLst/>
            </a:prstGeom>
            <a:solidFill>
              <a:srgbClr val="00A9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600" dirty="0">
                  <a:solidFill>
                    <a:srgbClr val="FFFFFF"/>
                  </a:solidFill>
                </a:rPr>
                <a:t>5G EPC (option 3) including full functionality CP/UP split</a:t>
              </a:r>
            </a:p>
          </p:txBody>
        </p:sp>
      </p:grpSp>
    </p:spTree>
    <p:extLst>
      <p:ext uri="{BB962C8B-B14F-4D97-AF65-F5344CB8AC3E}">
        <p14:creationId xmlns:p14="http://schemas.microsoft.com/office/powerpoint/2010/main" val="14194597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RAN – 5G EPC Option 3 </a:t>
            </a:r>
          </a:p>
        </p:txBody>
      </p:sp>
      <p:sp>
        <p:nvSpPr>
          <p:cNvPr id="4" name="Content Placeholder 2"/>
          <p:cNvSpPr txBox="1">
            <a:spLocks/>
          </p:cNvSpPr>
          <p:nvPr/>
        </p:nvSpPr>
        <p:spPr>
          <a:xfrm>
            <a:off x="263818" y="1667367"/>
            <a:ext cx="7833291" cy="4949046"/>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altLang="en-US" sz="2000" kern="0"/>
              <a:t>Option 3/3A/3X - </a:t>
            </a:r>
            <a:r>
              <a:rPr lang="en-US" altLang="es-ES_tradnl" sz="2000" kern="0">
                <a:solidFill>
                  <a:srgbClr val="00B0F0"/>
                </a:solidFill>
              </a:rPr>
              <a:t>“LTE assisted” NR with 5G EPC</a:t>
            </a:r>
            <a:endParaRPr lang="en-US" altLang="en-US" sz="2000" kern="0"/>
          </a:p>
          <a:p>
            <a:pPr lvl="1"/>
            <a:r>
              <a:rPr lang="en-US" sz="1800" kern="0"/>
              <a:t>NR used for User Plane only</a:t>
            </a:r>
          </a:p>
          <a:p>
            <a:pPr lvl="1"/>
            <a:r>
              <a:rPr lang="en-US" sz="1800" kern="0"/>
              <a:t>Control Plane EPC-NAS via LTE</a:t>
            </a:r>
          </a:p>
          <a:p>
            <a:pPr lvl="1"/>
            <a:r>
              <a:rPr lang="en-US" sz="1800" kern="0"/>
              <a:t>Variants:</a:t>
            </a:r>
          </a:p>
          <a:p>
            <a:pPr lvl="2"/>
            <a:r>
              <a:rPr lang="en-US" sz="1600" kern="0"/>
              <a:t>Option 3: NR UP aggregated in LTE towards EPC </a:t>
            </a:r>
          </a:p>
          <a:p>
            <a:pPr lvl="2"/>
            <a:r>
              <a:rPr lang="en-US" sz="1600" kern="0"/>
              <a:t>Option 3A: NR UP directly to EPC</a:t>
            </a:r>
          </a:p>
          <a:p>
            <a:pPr lvl="2"/>
            <a:r>
              <a:rPr lang="en-US" sz="1600" kern="0"/>
              <a:t>Option 3X: LTE UP aggregated in NR gNb towards EPC</a:t>
            </a:r>
          </a:p>
          <a:p>
            <a:pPr lvl="1"/>
            <a:r>
              <a:rPr lang="en-US" sz="1800" kern="0"/>
              <a:t>Minor functional impacts expected on EPC</a:t>
            </a:r>
          </a:p>
          <a:p>
            <a:pPr lvl="2"/>
            <a:r>
              <a:rPr lang="en-US" sz="1600" kern="0"/>
              <a:t>Access restriction data addition</a:t>
            </a:r>
          </a:p>
          <a:p>
            <a:pPr lvl="2"/>
            <a:r>
              <a:rPr lang="en-US" sz="1600" kern="0"/>
              <a:t>Minor S1 impacts</a:t>
            </a:r>
          </a:p>
          <a:p>
            <a:pPr lvl="1"/>
            <a:r>
              <a:rPr lang="en-US" altLang="en-US" sz="1800" kern="0"/>
              <a:t>Modifications to RRC needed, e.g. enhancements to LTE RRC to include NR information elements (IE:s)</a:t>
            </a:r>
          </a:p>
          <a:p>
            <a:pPr lvl="1"/>
            <a:r>
              <a:rPr lang="en-US" altLang="en-US" sz="1800" kern="0"/>
              <a:t>Minor X2 impacts</a:t>
            </a:r>
            <a:endParaRPr lang="en-US" altLang="en-US" sz="1600" kern="0" dirty="0"/>
          </a:p>
        </p:txBody>
      </p:sp>
      <p:grpSp>
        <p:nvGrpSpPr>
          <p:cNvPr id="52" name="Group 51"/>
          <p:cNvGrpSpPr>
            <a:grpSpLocks noChangeAspect="1"/>
          </p:cNvGrpSpPr>
          <p:nvPr/>
        </p:nvGrpSpPr>
        <p:grpSpPr bwMode="auto">
          <a:xfrm>
            <a:off x="9397235" y="2620131"/>
            <a:ext cx="585340" cy="829118"/>
            <a:chOff x="3106" y="2389"/>
            <a:chExt cx="363" cy="520"/>
          </a:xfrm>
        </p:grpSpPr>
        <p:sp>
          <p:nvSpPr>
            <p:cNvPr id="5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5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grpSp>
        <p:nvGrpSpPr>
          <p:cNvPr id="58" name="Group 9"/>
          <p:cNvGrpSpPr>
            <a:grpSpLocks/>
          </p:cNvGrpSpPr>
          <p:nvPr/>
        </p:nvGrpSpPr>
        <p:grpSpPr bwMode="auto">
          <a:xfrm>
            <a:off x="9042420" y="3578764"/>
            <a:ext cx="239369" cy="360989"/>
            <a:chOff x="416" y="1332"/>
            <a:chExt cx="408" cy="737"/>
          </a:xfrm>
        </p:grpSpPr>
        <p:sp>
          <p:nvSpPr>
            <p:cNvPr id="59"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rgbClr val="00A9D4"/>
                </a:solidFill>
                <a:effectLst/>
                <a:uLnTx/>
                <a:uFillTx/>
                <a:latin typeface="Arial"/>
                <a:ea typeface="+mn-ea"/>
                <a:cs typeface="Arial" charset="0"/>
              </a:endParaRPr>
            </a:p>
          </p:txBody>
        </p:sp>
        <p:grpSp>
          <p:nvGrpSpPr>
            <p:cNvPr id="60" name="Group 11"/>
            <p:cNvGrpSpPr>
              <a:grpSpLocks/>
            </p:cNvGrpSpPr>
            <p:nvPr/>
          </p:nvGrpSpPr>
          <p:grpSpPr bwMode="auto">
            <a:xfrm>
              <a:off x="416" y="1332"/>
              <a:ext cx="408" cy="737"/>
              <a:chOff x="518" y="1338"/>
              <a:chExt cx="357" cy="568"/>
            </a:xfrm>
          </p:grpSpPr>
          <p:sp>
            <p:nvSpPr>
              <p:cNvPr id="61"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Arial"/>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Arial"/>
                  <a:ea typeface="+mn-ea"/>
                  <a:cs typeface="Arial" charset="0"/>
                </a:endParaRPr>
              </a:p>
            </p:txBody>
          </p:sp>
          <p:sp>
            <p:nvSpPr>
              <p:cNvPr id="62"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cxnSp>
        <p:nvCxnSpPr>
          <p:cNvPr id="63" name="Straight Connector 62"/>
          <p:cNvCxnSpPr>
            <a:stCxn id="77" idx="1"/>
            <a:endCxn id="68" idx="2"/>
          </p:cNvCxnSpPr>
          <p:nvPr/>
        </p:nvCxnSpPr>
        <p:spPr bwMode="auto">
          <a:xfrm flipV="1">
            <a:off x="8452641" y="2141512"/>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64" name="Straight Connector 63"/>
          <p:cNvCxnSpPr>
            <a:stCxn id="77" idx="7"/>
            <a:endCxn id="68" idx="2"/>
          </p:cNvCxnSpPr>
          <p:nvPr/>
        </p:nvCxnSpPr>
        <p:spPr bwMode="auto">
          <a:xfrm flipH="1" flipV="1">
            <a:off x="8771025" y="2141512"/>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5" name="Straight Connector 64"/>
          <p:cNvCxnSpPr>
            <a:stCxn id="89" idx="0"/>
            <a:endCxn id="55" idx="2"/>
          </p:cNvCxnSpPr>
          <p:nvPr/>
        </p:nvCxnSpPr>
        <p:spPr bwMode="auto">
          <a:xfrm flipV="1">
            <a:off x="9223546" y="3430116"/>
            <a:ext cx="464747"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6" name="Straight Connector 65"/>
          <p:cNvCxnSpPr/>
          <p:nvPr/>
        </p:nvCxnSpPr>
        <p:spPr bwMode="auto">
          <a:xfrm flipH="1" flipV="1">
            <a:off x="8677985" y="3313451"/>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67" name="Group 261"/>
          <p:cNvGrpSpPr>
            <a:grpSpLocks/>
          </p:cNvGrpSpPr>
          <p:nvPr/>
        </p:nvGrpSpPr>
        <p:grpSpPr bwMode="auto">
          <a:xfrm>
            <a:off x="8464685" y="1325085"/>
            <a:ext cx="610997" cy="825957"/>
            <a:chOff x="239" y="1832"/>
            <a:chExt cx="363" cy="520"/>
          </a:xfrm>
        </p:grpSpPr>
        <p:sp>
          <p:nvSpPr>
            <p:cNvPr id="6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6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7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a:ea typeface="ＭＳ Ｐゴシック" pitchFamily="34" charset="-128"/>
                  <a:cs typeface="Arial" charset="0"/>
                </a:rPr>
                <a:t>5G EPC</a:t>
              </a:r>
            </a:p>
          </p:txBody>
        </p:sp>
        <p:sp>
          <p:nvSpPr>
            <p:cNvPr id="7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7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73" name="Straight Connector 72"/>
          <p:cNvCxnSpPr>
            <a:endCxn id="76" idx="2"/>
          </p:cNvCxnSpPr>
          <p:nvPr/>
        </p:nvCxnSpPr>
        <p:spPr bwMode="auto">
          <a:xfrm flipH="1" flipV="1">
            <a:off x="8657879" y="3464336"/>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74" name="Straight Connector 73"/>
          <p:cNvCxnSpPr>
            <a:stCxn id="55" idx="1"/>
            <a:endCxn id="78" idx="3"/>
          </p:cNvCxnSpPr>
          <p:nvPr/>
        </p:nvCxnSpPr>
        <p:spPr bwMode="auto">
          <a:xfrm flipH="1">
            <a:off x="8922912" y="3250740"/>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75" name="Group 74"/>
          <p:cNvGrpSpPr>
            <a:grpSpLocks noChangeAspect="1"/>
          </p:cNvGrpSpPr>
          <p:nvPr/>
        </p:nvGrpSpPr>
        <p:grpSpPr bwMode="auto">
          <a:xfrm>
            <a:off x="8360126" y="2632841"/>
            <a:ext cx="593870" cy="841201"/>
            <a:chOff x="3106" y="2389"/>
            <a:chExt cx="363" cy="520"/>
          </a:xfrm>
        </p:grpSpPr>
        <p:sp>
          <p:nvSpPr>
            <p:cNvPr id="76"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77"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78"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79"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80"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81" name="Straight Connector 80"/>
          <p:cNvCxnSpPr>
            <a:stCxn id="54" idx="0"/>
            <a:endCxn id="68" idx="2"/>
          </p:cNvCxnSpPr>
          <p:nvPr/>
        </p:nvCxnSpPr>
        <p:spPr bwMode="auto">
          <a:xfrm flipH="1" flipV="1">
            <a:off x="8771025" y="2141512"/>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82" name="Freeform: Shape 81"/>
          <p:cNvSpPr/>
          <p:nvPr/>
        </p:nvSpPr>
        <p:spPr bwMode="auto">
          <a:xfrm>
            <a:off x="8528483" y="2147930"/>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83" name="Freeform: Shape 8"/>
          <p:cNvSpPr>
            <a:spLocks/>
          </p:cNvSpPr>
          <p:nvPr/>
        </p:nvSpPr>
        <p:spPr bwMode="auto">
          <a:xfrm>
            <a:off x="8704639" y="2173898"/>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grpSp>
        <p:nvGrpSpPr>
          <p:cNvPr id="84" name="Group 83"/>
          <p:cNvGrpSpPr/>
          <p:nvPr/>
        </p:nvGrpSpPr>
        <p:grpSpPr>
          <a:xfrm>
            <a:off x="10327551" y="6209154"/>
            <a:ext cx="1864449" cy="630942"/>
            <a:chOff x="8791490" y="5459894"/>
            <a:chExt cx="1864449" cy="630942"/>
          </a:xfrm>
        </p:grpSpPr>
        <p:cxnSp>
          <p:nvCxnSpPr>
            <p:cNvPr id="85" name="Straight Connector 84"/>
            <p:cNvCxnSpPr/>
            <p:nvPr/>
          </p:nvCxnSpPr>
          <p:spPr bwMode="auto">
            <a:xfrm>
              <a:off x="8791490" y="5618922"/>
              <a:ext cx="503545" cy="0"/>
            </a:xfrm>
            <a:prstGeom prst="line">
              <a:avLst/>
            </a:prstGeom>
            <a:noFill/>
            <a:ln w="38100" cap="flat" cmpd="sng" algn="ctr">
              <a:solidFill>
                <a:schemeClr val="tx2">
                  <a:lumMod val="75000"/>
                  <a:lumOff val="25000"/>
                </a:schemeClr>
              </a:solidFill>
              <a:prstDash val="solid"/>
              <a:round/>
              <a:headEnd type="none" w="med" len="med"/>
              <a:tailEnd type="none" w="med" len="med"/>
            </a:ln>
            <a:effectLst/>
          </p:spPr>
        </p:cxnSp>
        <p:cxnSp>
          <p:nvCxnSpPr>
            <p:cNvPr id="86" name="Straight Connector 85"/>
            <p:cNvCxnSpPr/>
            <p:nvPr/>
          </p:nvCxnSpPr>
          <p:spPr bwMode="auto">
            <a:xfrm>
              <a:off x="8813946" y="5963120"/>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87" name="TextBox 86"/>
            <p:cNvSpPr txBox="1"/>
            <p:nvPr/>
          </p:nvSpPr>
          <p:spPr>
            <a:xfrm>
              <a:off x="9386040" y="5459894"/>
              <a:ext cx="1269899" cy="6309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charset="0"/>
                  <a:ea typeface="+mn-ea"/>
                  <a:cs typeface="+mn-cs"/>
                </a:rPr>
                <a:t>Control Pla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charset="0"/>
                  <a:ea typeface="+mn-ea"/>
                  <a:cs typeface="+mn-cs"/>
                </a:rPr>
                <a:t>User Plane</a:t>
              </a:r>
            </a:p>
          </p:txBody>
        </p:sp>
      </p:grpSp>
      <p:sp>
        <p:nvSpPr>
          <p:cNvPr id="88" name="TextBox 87"/>
          <p:cNvSpPr txBox="1"/>
          <p:nvPr/>
        </p:nvSpPr>
        <p:spPr>
          <a:xfrm rot="3837324">
            <a:off x="8809318" y="2732696"/>
            <a:ext cx="6222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Arial"/>
                <a:ea typeface="+mn-ea"/>
                <a:cs typeface="+mn-cs"/>
              </a:rPr>
              <a:t>Opt. 3</a:t>
            </a:r>
          </a:p>
        </p:txBody>
      </p:sp>
      <p:sp>
        <p:nvSpPr>
          <p:cNvPr id="89" name="Freeform: Shape 8"/>
          <p:cNvSpPr>
            <a:spLocks/>
          </p:cNvSpPr>
          <p:nvPr/>
        </p:nvSpPr>
        <p:spPr bwMode="auto">
          <a:xfrm flipH="1">
            <a:off x="8708160" y="2984473"/>
            <a:ext cx="800656" cy="632021"/>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406333 w 857661"/>
              <a:gd name="connsiteY0" fmla="*/ 1548910 h 1548910"/>
              <a:gd name="connsiteX1" fmla="*/ 83 w 857661"/>
              <a:gd name="connsiteY1" fmla="*/ 902238 h 1548910"/>
              <a:gd name="connsiteX2" fmla="*/ 854341 w 857661"/>
              <a:gd name="connsiteY2" fmla="*/ 0 h 1548910"/>
              <a:gd name="connsiteX0" fmla="*/ 151632 w 606777"/>
              <a:gd name="connsiteY0" fmla="*/ 1548910 h 1548910"/>
              <a:gd name="connsiteX1" fmla="*/ 266174 w 606777"/>
              <a:gd name="connsiteY1" fmla="*/ 872149 h 1548910"/>
              <a:gd name="connsiteX2" fmla="*/ 599640 w 606777"/>
              <a:gd name="connsiteY2" fmla="*/ 0 h 1548910"/>
              <a:gd name="connsiteX0" fmla="*/ 104048 w 927559"/>
              <a:gd name="connsiteY0" fmla="*/ 1181817 h 1181817"/>
              <a:gd name="connsiteX1" fmla="*/ 586956 w 927559"/>
              <a:gd name="connsiteY1" fmla="*/ 872149 h 1181817"/>
              <a:gd name="connsiteX2" fmla="*/ 920422 w 927559"/>
              <a:gd name="connsiteY2" fmla="*/ 0 h 1181817"/>
              <a:gd name="connsiteX0" fmla="*/ 103488 w 927101"/>
              <a:gd name="connsiteY0" fmla="*/ 1181817 h 1181817"/>
              <a:gd name="connsiteX1" fmla="*/ 592748 w 927101"/>
              <a:gd name="connsiteY1" fmla="*/ 775862 h 1181817"/>
              <a:gd name="connsiteX2" fmla="*/ 919862 w 927101"/>
              <a:gd name="connsiteY2" fmla="*/ 0 h 1181817"/>
              <a:gd name="connsiteX0" fmla="*/ 103488 w 592833"/>
              <a:gd name="connsiteY0" fmla="*/ 1163763 h 1163763"/>
              <a:gd name="connsiteX1" fmla="*/ 592748 w 592833"/>
              <a:gd name="connsiteY1" fmla="*/ 757808 h 1163763"/>
              <a:gd name="connsiteX2" fmla="*/ 113268 w 592833"/>
              <a:gd name="connsiteY2" fmla="*/ 0 h 1163763"/>
              <a:gd name="connsiteX0" fmla="*/ 89072 w 768936"/>
              <a:gd name="connsiteY0" fmla="*/ 1163763 h 1163763"/>
              <a:gd name="connsiteX1" fmla="*/ 768866 w 768936"/>
              <a:gd name="connsiteY1" fmla="*/ 661522 h 1163763"/>
              <a:gd name="connsiteX2" fmla="*/ 98852 w 768936"/>
              <a:gd name="connsiteY2" fmla="*/ 0 h 1163763"/>
              <a:gd name="connsiteX0" fmla="*/ 89072 w 768936"/>
              <a:gd name="connsiteY0" fmla="*/ 820742 h 820742"/>
              <a:gd name="connsiteX1" fmla="*/ 768866 w 768936"/>
              <a:gd name="connsiteY1" fmla="*/ 318501 h 820742"/>
              <a:gd name="connsiteX2" fmla="*/ 594240 w 768936"/>
              <a:gd name="connsiteY2" fmla="*/ 0 h 820742"/>
              <a:gd name="connsiteX0" fmla="*/ 89072 w 800067"/>
              <a:gd name="connsiteY0" fmla="*/ 820742 h 820742"/>
              <a:gd name="connsiteX1" fmla="*/ 768866 w 800067"/>
              <a:gd name="connsiteY1" fmla="*/ 318501 h 820742"/>
              <a:gd name="connsiteX2" fmla="*/ 594240 w 800067"/>
              <a:gd name="connsiteY2" fmla="*/ 0 h 820742"/>
              <a:gd name="connsiteX0" fmla="*/ 89072 w 768936"/>
              <a:gd name="connsiteY0" fmla="*/ 850832 h 850832"/>
              <a:gd name="connsiteX1" fmla="*/ 768866 w 768936"/>
              <a:gd name="connsiteY1" fmla="*/ 348591 h 850832"/>
              <a:gd name="connsiteX2" fmla="*/ 479920 w 768936"/>
              <a:gd name="connsiteY2" fmla="*/ 0 h 850832"/>
              <a:gd name="connsiteX0" fmla="*/ 94795 w 709197"/>
              <a:gd name="connsiteY0" fmla="*/ 850832 h 850832"/>
              <a:gd name="connsiteX1" fmla="*/ 692024 w 709197"/>
              <a:gd name="connsiteY1" fmla="*/ 396735 h 850832"/>
              <a:gd name="connsiteX2" fmla="*/ 485643 w 709197"/>
              <a:gd name="connsiteY2" fmla="*/ 0 h 850832"/>
              <a:gd name="connsiteX0" fmla="*/ 94795 w 714471"/>
              <a:gd name="connsiteY0" fmla="*/ 868886 h 868886"/>
              <a:gd name="connsiteX1" fmla="*/ 692024 w 714471"/>
              <a:gd name="connsiteY1" fmla="*/ 414789 h 868886"/>
              <a:gd name="connsiteX2" fmla="*/ 498346 w 714471"/>
              <a:gd name="connsiteY2" fmla="*/ 0 h 868886"/>
              <a:gd name="connsiteX0" fmla="*/ 94795 w 692933"/>
              <a:gd name="connsiteY0" fmla="*/ 868886 h 868886"/>
              <a:gd name="connsiteX1" fmla="*/ 692024 w 692933"/>
              <a:gd name="connsiteY1" fmla="*/ 414789 h 868886"/>
              <a:gd name="connsiteX2" fmla="*/ 498346 w 692933"/>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17430 w 624504"/>
              <a:gd name="connsiteY0" fmla="*/ 868886 h 868886"/>
              <a:gd name="connsiteX1" fmla="*/ 566009 w 624504"/>
              <a:gd name="connsiteY1" fmla="*/ 428995 h 868886"/>
              <a:gd name="connsiteX2" fmla="*/ 520981 w 624504"/>
              <a:gd name="connsiteY2" fmla="*/ 0 h 868886"/>
              <a:gd name="connsiteX0" fmla="*/ 117430 w 574000"/>
              <a:gd name="connsiteY0" fmla="*/ 968329 h 968329"/>
              <a:gd name="connsiteX1" fmla="*/ 566009 w 574000"/>
              <a:gd name="connsiteY1" fmla="*/ 528438 h 968329"/>
              <a:gd name="connsiteX2" fmla="*/ 446656 w 574000"/>
              <a:gd name="connsiteY2" fmla="*/ 0 h 968329"/>
              <a:gd name="connsiteX0" fmla="*/ 117430 w 566009"/>
              <a:gd name="connsiteY0" fmla="*/ 968329 h 968329"/>
              <a:gd name="connsiteX1" fmla="*/ 566009 w 566009"/>
              <a:gd name="connsiteY1" fmla="*/ 528438 h 968329"/>
              <a:gd name="connsiteX2" fmla="*/ 446656 w 566009"/>
              <a:gd name="connsiteY2" fmla="*/ 0 h 968329"/>
              <a:gd name="connsiteX0" fmla="*/ 177137 w 625716"/>
              <a:gd name="connsiteY0" fmla="*/ 968329 h 968329"/>
              <a:gd name="connsiteX1" fmla="*/ 625716 w 625716"/>
              <a:gd name="connsiteY1" fmla="*/ 528438 h 968329"/>
              <a:gd name="connsiteX2" fmla="*/ 506363 w 625716"/>
              <a:gd name="connsiteY2" fmla="*/ 0 h 968329"/>
              <a:gd name="connsiteX0" fmla="*/ 177137 w 644050"/>
              <a:gd name="connsiteY0" fmla="*/ 598968 h 598968"/>
              <a:gd name="connsiteX1" fmla="*/ 625716 w 644050"/>
              <a:gd name="connsiteY1" fmla="*/ 159077 h 598968"/>
              <a:gd name="connsiteX2" fmla="*/ 593075 w 644050"/>
              <a:gd name="connsiteY2" fmla="*/ 0 h 598968"/>
              <a:gd name="connsiteX0" fmla="*/ 177137 w 625716"/>
              <a:gd name="connsiteY0" fmla="*/ 598968 h 598968"/>
              <a:gd name="connsiteX1" fmla="*/ 625716 w 625716"/>
              <a:gd name="connsiteY1" fmla="*/ 159077 h 598968"/>
              <a:gd name="connsiteX2" fmla="*/ 593075 w 625716"/>
              <a:gd name="connsiteY2" fmla="*/ 0 h 598968"/>
              <a:gd name="connsiteX0" fmla="*/ 180560 w 606461"/>
              <a:gd name="connsiteY0" fmla="*/ 598968 h 598968"/>
              <a:gd name="connsiteX1" fmla="*/ 604364 w 606461"/>
              <a:gd name="connsiteY1" fmla="*/ 144871 h 598968"/>
              <a:gd name="connsiteX2" fmla="*/ 596498 w 606461"/>
              <a:gd name="connsiteY2" fmla="*/ 0 h 598968"/>
              <a:gd name="connsiteX0" fmla="*/ 192227 w 618128"/>
              <a:gd name="connsiteY0" fmla="*/ 598968 h 598968"/>
              <a:gd name="connsiteX1" fmla="*/ 616031 w 618128"/>
              <a:gd name="connsiteY1" fmla="*/ 144871 h 598968"/>
              <a:gd name="connsiteX2" fmla="*/ 608165 w 618128"/>
              <a:gd name="connsiteY2" fmla="*/ 0 h 598968"/>
              <a:gd name="connsiteX0" fmla="*/ 192227 w 618128"/>
              <a:gd name="connsiteY0" fmla="*/ 598968 h 598968"/>
              <a:gd name="connsiteX1" fmla="*/ 616031 w 618128"/>
              <a:gd name="connsiteY1" fmla="*/ 144871 h 598968"/>
              <a:gd name="connsiteX2" fmla="*/ 608165 w 618128"/>
              <a:gd name="connsiteY2" fmla="*/ 0 h 598968"/>
              <a:gd name="connsiteX0" fmla="*/ 235740 w 661641"/>
              <a:gd name="connsiteY0" fmla="*/ 598968 h 598968"/>
              <a:gd name="connsiteX1" fmla="*/ 659544 w 661641"/>
              <a:gd name="connsiteY1" fmla="*/ 144871 h 598968"/>
              <a:gd name="connsiteX2" fmla="*/ 651678 w 661641"/>
              <a:gd name="connsiteY2" fmla="*/ 0 h 598968"/>
            </a:gdLst>
            <a:ahLst/>
            <a:cxnLst>
              <a:cxn ang="0">
                <a:pos x="connsiteX0" y="connsiteY0"/>
              </a:cxn>
              <a:cxn ang="0">
                <a:pos x="connsiteX1" y="connsiteY1"/>
              </a:cxn>
              <a:cxn ang="0">
                <a:pos x="connsiteX2" y="connsiteY2"/>
              </a:cxn>
            </a:cxnLst>
            <a:rect l="l" t="t" r="r" b="b"/>
            <a:pathLst>
              <a:path w="661641" h="598968">
                <a:moveTo>
                  <a:pt x="235740" y="598968"/>
                </a:moveTo>
                <a:cubicBezTo>
                  <a:pt x="-417686" y="-83239"/>
                  <a:pt x="475023" y="332295"/>
                  <a:pt x="659544" y="144871"/>
                </a:cubicBezTo>
                <a:cubicBezTo>
                  <a:pt x="598575" y="-143673"/>
                  <a:pt x="690624" y="165121"/>
                  <a:pt x="651678"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grpSp>
        <p:nvGrpSpPr>
          <p:cNvPr id="90" name="Group 89"/>
          <p:cNvGrpSpPr>
            <a:grpSpLocks noChangeAspect="1"/>
          </p:cNvGrpSpPr>
          <p:nvPr/>
        </p:nvGrpSpPr>
        <p:grpSpPr bwMode="auto">
          <a:xfrm>
            <a:off x="11393795" y="3917652"/>
            <a:ext cx="585340" cy="829118"/>
            <a:chOff x="3106" y="2389"/>
            <a:chExt cx="363" cy="520"/>
          </a:xfrm>
        </p:grpSpPr>
        <p:sp>
          <p:nvSpPr>
            <p:cNvPr id="91"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92"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93"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94"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95"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grpSp>
        <p:nvGrpSpPr>
          <p:cNvPr id="96" name="Group 9"/>
          <p:cNvGrpSpPr>
            <a:grpSpLocks/>
          </p:cNvGrpSpPr>
          <p:nvPr/>
        </p:nvGrpSpPr>
        <p:grpSpPr bwMode="auto">
          <a:xfrm>
            <a:off x="11038980" y="4876285"/>
            <a:ext cx="239369" cy="360989"/>
            <a:chOff x="416" y="1332"/>
            <a:chExt cx="408" cy="737"/>
          </a:xfrm>
        </p:grpSpPr>
        <p:sp>
          <p:nvSpPr>
            <p:cNvPr id="97"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rgbClr val="00A9D4"/>
                </a:solidFill>
                <a:effectLst/>
                <a:uLnTx/>
                <a:uFillTx/>
                <a:latin typeface="Arial"/>
                <a:ea typeface="+mn-ea"/>
                <a:cs typeface="Arial" charset="0"/>
              </a:endParaRPr>
            </a:p>
          </p:txBody>
        </p:sp>
        <p:grpSp>
          <p:nvGrpSpPr>
            <p:cNvPr id="98" name="Group 11"/>
            <p:cNvGrpSpPr>
              <a:grpSpLocks/>
            </p:cNvGrpSpPr>
            <p:nvPr/>
          </p:nvGrpSpPr>
          <p:grpSpPr bwMode="auto">
            <a:xfrm>
              <a:off x="416" y="1332"/>
              <a:ext cx="408" cy="737"/>
              <a:chOff x="518" y="1338"/>
              <a:chExt cx="357" cy="568"/>
            </a:xfrm>
          </p:grpSpPr>
          <p:sp>
            <p:nvSpPr>
              <p:cNvPr id="99"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Arial"/>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Arial"/>
                  <a:ea typeface="+mn-ea"/>
                  <a:cs typeface="Arial" charset="0"/>
                </a:endParaRPr>
              </a:p>
            </p:txBody>
          </p:sp>
          <p:sp>
            <p:nvSpPr>
              <p:cNvPr id="100"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cxnSp>
        <p:nvCxnSpPr>
          <p:cNvPr id="101" name="Straight Connector 100"/>
          <p:cNvCxnSpPr>
            <a:stCxn id="115" idx="1"/>
            <a:endCxn id="106" idx="2"/>
          </p:cNvCxnSpPr>
          <p:nvPr/>
        </p:nvCxnSpPr>
        <p:spPr bwMode="auto">
          <a:xfrm flipV="1">
            <a:off x="10449201" y="3439033"/>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02" name="Straight Connector 101"/>
          <p:cNvCxnSpPr>
            <a:stCxn id="115" idx="7"/>
            <a:endCxn id="106" idx="2"/>
          </p:cNvCxnSpPr>
          <p:nvPr/>
        </p:nvCxnSpPr>
        <p:spPr bwMode="auto">
          <a:xfrm flipH="1" flipV="1">
            <a:off x="10767585" y="3439033"/>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3" name="Straight Connector 102"/>
          <p:cNvCxnSpPr>
            <a:endCxn id="93" idx="2"/>
          </p:cNvCxnSpPr>
          <p:nvPr/>
        </p:nvCxnSpPr>
        <p:spPr bwMode="auto">
          <a:xfrm flipV="1">
            <a:off x="11220105" y="4727637"/>
            <a:ext cx="464748"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flipH="1" flipV="1">
            <a:off x="10674545" y="461097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05" name="Group 261"/>
          <p:cNvGrpSpPr>
            <a:grpSpLocks/>
          </p:cNvGrpSpPr>
          <p:nvPr/>
        </p:nvGrpSpPr>
        <p:grpSpPr bwMode="auto">
          <a:xfrm>
            <a:off x="10461245" y="2622606"/>
            <a:ext cx="610997" cy="825957"/>
            <a:chOff x="239" y="1832"/>
            <a:chExt cx="363" cy="520"/>
          </a:xfrm>
        </p:grpSpPr>
        <p:sp>
          <p:nvSpPr>
            <p:cNvPr id="106"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07"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08"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a:ea typeface="ＭＳ Ｐゴシック" pitchFamily="34" charset="-128"/>
                  <a:cs typeface="Arial" charset="0"/>
                </a:rPr>
                <a:t>5G EPC</a:t>
              </a:r>
            </a:p>
          </p:txBody>
        </p:sp>
        <p:sp>
          <p:nvSpPr>
            <p:cNvPr id="109"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10"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111" name="Straight Connector 110"/>
          <p:cNvCxnSpPr>
            <a:endCxn id="114" idx="2"/>
          </p:cNvCxnSpPr>
          <p:nvPr/>
        </p:nvCxnSpPr>
        <p:spPr bwMode="auto">
          <a:xfrm flipH="1" flipV="1">
            <a:off x="10654439" y="4761857"/>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12" name="Straight Connector 111"/>
          <p:cNvCxnSpPr>
            <a:stCxn id="93" idx="1"/>
            <a:endCxn id="116" idx="3"/>
          </p:cNvCxnSpPr>
          <p:nvPr/>
        </p:nvCxnSpPr>
        <p:spPr bwMode="auto">
          <a:xfrm flipH="1">
            <a:off x="10919472" y="4548261"/>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13" name="Group 112"/>
          <p:cNvGrpSpPr>
            <a:grpSpLocks noChangeAspect="1"/>
          </p:cNvGrpSpPr>
          <p:nvPr/>
        </p:nvGrpSpPr>
        <p:grpSpPr bwMode="auto">
          <a:xfrm>
            <a:off x="10356686" y="3930362"/>
            <a:ext cx="593870" cy="841201"/>
            <a:chOff x="3106" y="2389"/>
            <a:chExt cx="363" cy="520"/>
          </a:xfrm>
        </p:grpSpPr>
        <p:sp>
          <p:nvSpPr>
            <p:cNvPr id="11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1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1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11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1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119" name="Straight Connector 118"/>
          <p:cNvCxnSpPr>
            <a:stCxn id="92" idx="0"/>
            <a:endCxn id="106" idx="2"/>
          </p:cNvCxnSpPr>
          <p:nvPr/>
        </p:nvCxnSpPr>
        <p:spPr bwMode="auto">
          <a:xfrm flipH="1" flipV="1">
            <a:off x="10767585" y="3439033"/>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20" name="Freeform: Shape 119"/>
          <p:cNvSpPr/>
          <p:nvPr/>
        </p:nvSpPr>
        <p:spPr bwMode="auto">
          <a:xfrm>
            <a:off x="10525043" y="3445451"/>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21" name="Freeform: Shape 8"/>
          <p:cNvSpPr>
            <a:spLocks/>
          </p:cNvSpPr>
          <p:nvPr/>
        </p:nvSpPr>
        <p:spPr bwMode="auto">
          <a:xfrm>
            <a:off x="10701199" y="3471419"/>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22" name="TextBox 121"/>
          <p:cNvSpPr txBox="1"/>
          <p:nvPr/>
        </p:nvSpPr>
        <p:spPr>
          <a:xfrm>
            <a:off x="10838248" y="3819732"/>
            <a:ext cx="707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Arial"/>
                <a:ea typeface="+mn-ea"/>
                <a:cs typeface="+mn-cs"/>
              </a:rPr>
              <a:t>Opt. 3a</a:t>
            </a:r>
          </a:p>
        </p:txBody>
      </p:sp>
      <p:sp>
        <p:nvSpPr>
          <p:cNvPr id="123" name="Freeform: Shape 9"/>
          <p:cNvSpPr>
            <a:spLocks/>
          </p:cNvSpPr>
          <p:nvPr/>
        </p:nvSpPr>
        <p:spPr bwMode="auto">
          <a:xfrm>
            <a:off x="10849316" y="3433585"/>
            <a:ext cx="952265"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615 w 937741"/>
              <a:gd name="connsiteY0" fmla="*/ 1518410 h 1518410"/>
              <a:gd name="connsiteX1" fmla="*/ 802788 w 937741"/>
              <a:gd name="connsiteY1" fmla="*/ 1073234 h 1518410"/>
              <a:gd name="connsiteX2" fmla="*/ 858223 w 937741"/>
              <a:gd name="connsiteY2" fmla="*/ 517746 h 1518410"/>
              <a:gd name="connsiteX3" fmla="*/ 6999 w 937741"/>
              <a:gd name="connsiteY3" fmla="*/ 0 h 1518410"/>
              <a:gd name="connsiteX0" fmla="*/ 302615 w 952432"/>
              <a:gd name="connsiteY0" fmla="*/ 1518410 h 1518410"/>
              <a:gd name="connsiteX1" fmla="*/ 847767 w 952432"/>
              <a:gd name="connsiteY1" fmla="*/ 1133186 h 1518410"/>
              <a:gd name="connsiteX2" fmla="*/ 858223 w 952432"/>
              <a:gd name="connsiteY2" fmla="*/ 517746 h 1518410"/>
              <a:gd name="connsiteX3" fmla="*/ 6999 w 952432"/>
              <a:gd name="connsiteY3" fmla="*/ 0 h 1518410"/>
            </a:gdLst>
            <a:ahLst/>
            <a:cxnLst>
              <a:cxn ang="0">
                <a:pos x="connsiteX0" y="connsiteY0"/>
              </a:cxn>
              <a:cxn ang="0">
                <a:pos x="connsiteX1" y="connsiteY1"/>
              </a:cxn>
              <a:cxn ang="0">
                <a:pos x="connsiteX2" y="connsiteY2"/>
              </a:cxn>
              <a:cxn ang="0">
                <a:pos x="connsiteX3" y="connsiteY3"/>
              </a:cxn>
            </a:cxnLst>
            <a:rect l="l" t="t" r="r" b="b"/>
            <a:pathLst>
              <a:path w="952432" h="1518410">
                <a:moveTo>
                  <a:pt x="302615" y="1518410"/>
                </a:moveTo>
                <a:cubicBezTo>
                  <a:pt x="704350" y="1232224"/>
                  <a:pt x="755166" y="1299963"/>
                  <a:pt x="847767" y="1133186"/>
                </a:cubicBezTo>
                <a:cubicBezTo>
                  <a:pt x="940368" y="966409"/>
                  <a:pt x="1022815" y="637634"/>
                  <a:pt x="858223" y="517746"/>
                </a:cubicBezTo>
                <a:cubicBezTo>
                  <a:pt x="693631" y="397858"/>
                  <a:pt x="-81393" y="196088"/>
                  <a:pt x="69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grpSp>
        <p:nvGrpSpPr>
          <p:cNvPr id="124" name="Group 123"/>
          <p:cNvGrpSpPr>
            <a:grpSpLocks noChangeAspect="1"/>
          </p:cNvGrpSpPr>
          <p:nvPr/>
        </p:nvGrpSpPr>
        <p:grpSpPr bwMode="auto">
          <a:xfrm>
            <a:off x="9415007" y="5351390"/>
            <a:ext cx="585340" cy="829118"/>
            <a:chOff x="3106" y="2389"/>
            <a:chExt cx="363" cy="520"/>
          </a:xfrm>
        </p:grpSpPr>
        <p:sp>
          <p:nvSpPr>
            <p:cNvPr id="12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2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2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12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2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grpSp>
        <p:nvGrpSpPr>
          <p:cNvPr id="130" name="Group 9"/>
          <p:cNvGrpSpPr>
            <a:grpSpLocks/>
          </p:cNvGrpSpPr>
          <p:nvPr/>
        </p:nvGrpSpPr>
        <p:grpSpPr bwMode="auto">
          <a:xfrm>
            <a:off x="9060192" y="6310023"/>
            <a:ext cx="239369" cy="360989"/>
            <a:chOff x="416" y="1332"/>
            <a:chExt cx="408" cy="737"/>
          </a:xfrm>
        </p:grpSpPr>
        <p:sp>
          <p:nvSpPr>
            <p:cNvPr id="131"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rgbClr val="00A9D4"/>
                </a:solidFill>
                <a:effectLst/>
                <a:uLnTx/>
                <a:uFillTx/>
                <a:latin typeface="Arial"/>
                <a:ea typeface="+mn-ea"/>
                <a:cs typeface="Arial" charset="0"/>
              </a:endParaRPr>
            </a:p>
          </p:txBody>
        </p:sp>
        <p:grpSp>
          <p:nvGrpSpPr>
            <p:cNvPr id="132" name="Group 11"/>
            <p:cNvGrpSpPr>
              <a:grpSpLocks/>
            </p:cNvGrpSpPr>
            <p:nvPr/>
          </p:nvGrpSpPr>
          <p:grpSpPr bwMode="auto">
            <a:xfrm>
              <a:off x="416" y="1332"/>
              <a:ext cx="408" cy="737"/>
              <a:chOff x="518" y="1338"/>
              <a:chExt cx="357" cy="568"/>
            </a:xfrm>
          </p:grpSpPr>
          <p:sp>
            <p:nvSpPr>
              <p:cNvPr id="133"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Arial"/>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Arial"/>
                  <a:ea typeface="+mn-ea"/>
                  <a:cs typeface="Arial" charset="0"/>
                </a:endParaRPr>
              </a:p>
            </p:txBody>
          </p:sp>
          <p:sp>
            <p:nvSpPr>
              <p:cNvPr id="134"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cxnSp>
        <p:nvCxnSpPr>
          <p:cNvPr id="135" name="Straight Connector 134"/>
          <p:cNvCxnSpPr>
            <a:stCxn id="149" idx="1"/>
            <a:endCxn id="140" idx="2"/>
          </p:cNvCxnSpPr>
          <p:nvPr/>
        </p:nvCxnSpPr>
        <p:spPr bwMode="auto">
          <a:xfrm flipV="1">
            <a:off x="8470413" y="4872771"/>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136" name="Straight Connector 135"/>
          <p:cNvCxnSpPr>
            <a:stCxn id="149" idx="7"/>
            <a:endCxn id="140" idx="2"/>
          </p:cNvCxnSpPr>
          <p:nvPr/>
        </p:nvCxnSpPr>
        <p:spPr bwMode="auto">
          <a:xfrm flipH="1" flipV="1">
            <a:off x="8788797" y="4872771"/>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37" name="Straight Connector 136"/>
          <p:cNvCxnSpPr>
            <a:endCxn id="127" idx="2"/>
          </p:cNvCxnSpPr>
          <p:nvPr/>
        </p:nvCxnSpPr>
        <p:spPr bwMode="auto">
          <a:xfrm flipV="1">
            <a:off x="9241317" y="6161375"/>
            <a:ext cx="464748"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38" name="Straight Connector 137"/>
          <p:cNvCxnSpPr/>
          <p:nvPr/>
        </p:nvCxnSpPr>
        <p:spPr bwMode="auto">
          <a:xfrm flipH="1" flipV="1">
            <a:off x="8695757" y="6044710"/>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139" name="Group 261"/>
          <p:cNvGrpSpPr>
            <a:grpSpLocks/>
          </p:cNvGrpSpPr>
          <p:nvPr/>
        </p:nvGrpSpPr>
        <p:grpSpPr bwMode="auto">
          <a:xfrm>
            <a:off x="8482457" y="4056344"/>
            <a:ext cx="610997" cy="825957"/>
            <a:chOff x="239" y="1832"/>
            <a:chExt cx="363" cy="520"/>
          </a:xfrm>
        </p:grpSpPr>
        <p:sp>
          <p:nvSpPr>
            <p:cNvPr id="140"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41"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42"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a:ea typeface="ＭＳ Ｐゴシック" pitchFamily="34" charset="-128"/>
                  <a:cs typeface="Arial" charset="0"/>
                </a:rPr>
                <a:t>5G EPC</a:t>
              </a:r>
            </a:p>
          </p:txBody>
        </p:sp>
        <p:sp>
          <p:nvSpPr>
            <p:cNvPr id="143"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144"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145" name="Straight Connector 144"/>
          <p:cNvCxnSpPr>
            <a:endCxn id="148" idx="2"/>
          </p:cNvCxnSpPr>
          <p:nvPr/>
        </p:nvCxnSpPr>
        <p:spPr bwMode="auto">
          <a:xfrm flipH="1" flipV="1">
            <a:off x="8675651" y="6195595"/>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46" name="Straight Connector 145"/>
          <p:cNvCxnSpPr>
            <a:stCxn id="127" idx="1"/>
            <a:endCxn id="150" idx="3"/>
          </p:cNvCxnSpPr>
          <p:nvPr/>
        </p:nvCxnSpPr>
        <p:spPr bwMode="auto">
          <a:xfrm flipH="1">
            <a:off x="8940684" y="5981999"/>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147" name="Group 146"/>
          <p:cNvGrpSpPr>
            <a:grpSpLocks noChangeAspect="1"/>
          </p:cNvGrpSpPr>
          <p:nvPr/>
        </p:nvGrpSpPr>
        <p:grpSpPr bwMode="auto">
          <a:xfrm>
            <a:off x="8377898" y="5364100"/>
            <a:ext cx="593870" cy="841201"/>
            <a:chOff x="3106" y="2389"/>
            <a:chExt cx="363" cy="520"/>
          </a:xfrm>
        </p:grpSpPr>
        <p:sp>
          <p:nvSpPr>
            <p:cNvPr id="148"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49"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50"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151"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152"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153" name="Straight Connector 152"/>
          <p:cNvCxnSpPr>
            <a:stCxn id="126" idx="0"/>
            <a:endCxn id="140" idx="2"/>
          </p:cNvCxnSpPr>
          <p:nvPr/>
        </p:nvCxnSpPr>
        <p:spPr bwMode="auto">
          <a:xfrm flipH="1" flipV="1">
            <a:off x="8788797" y="4872771"/>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154" name="Freeform: Shape 153"/>
          <p:cNvSpPr/>
          <p:nvPr/>
        </p:nvSpPr>
        <p:spPr bwMode="auto">
          <a:xfrm>
            <a:off x="8546255" y="4879189"/>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55" name="TextBox 154"/>
          <p:cNvSpPr txBox="1"/>
          <p:nvPr/>
        </p:nvSpPr>
        <p:spPr>
          <a:xfrm rot="18099114">
            <a:off x="8887695" y="5401164"/>
            <a:ext cx="707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Arial"/>
                <a:ea typeface="+mn-ea"/>
                <a:cs typeface="+mn-cs"/>
              </a:rPr>
              <a:t>Opt. 3x</a:t>
            </a:r>
          </a:p>
        </p:txBody>
      </p:sp>
      <p:sp>
        <p:nvSpPr>
          <p:cNvPr id="156" name="Freeform: Shape 9"/>
          <p:cNvSpPr>
            <a:spLocks/>
          </p:cNvSpPr>
          <p:nvPr/>
        </p:nvSpPr>
        <p:spPr bwMode="auto">
          <a:xfrm>
            <a:off x="8873634" y="4844192"/>
            <a:ext cx="952265"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615 w 937741"/>
              <a:gd name="connsiteY0" fmla="*/ 1518410 h 1518410"/>
              <a:gd name="connsiteX1" fmla="*/ 802788 w 937741"/>
              <a:gd name="connsiteY1" fmla="*/ 1073234 h 1518410"/>
              <a:gd name="connsiteX2" fmla="*/ 858223 w 937741"/>
              <a:gd name="connsiteY2" fmla="*/ 517746 h 1518410"/>
              <a:gd name="connsiteX3" fmla="*/ 6999 w 937741"/>
              <a:gd name="connsiteY3" fmla="*/ 0 h 1518410"/>
              <a:gd name="connsiteX0" fmla="*/ 302615 w 952432"/>
              <a:gd name="connsiteY0" fmla="*/ 1518410 h 1518410"/>
              <a:gd name="connsiteX1" fmla="*/ 847767 w 952432"/>
              <a:gd name="connsiteY1" fmla="*/ 1133186 h 1518410"/>
              <a:gd name="connsiteX2" fmla="*/ 858223 w 952432"/>
              <a:gd name="connsiteY2" fmla="*/ 517746 h 1518410"/>
              <a:gd name="connsiteX3" fmla="*/ 6999 w 952432"/>
              <a:gd name="connsiteY3" fmla="*/ 0 h 1518410"/>
            </a:gdLst>
            <a:ahLst/>
            <a:cxnLst>
              <a:cxn ang="0">
                <a:pos x="connsiteX0" y="connsiteY0"/>
              </a:cxn>
              <a:cxn ang="0">
                <a:pos x="connsiteX1" y="connsiteY1"/>
              </a:cxn>
              <a:cxn ang="0">
                <a:pos x="connsiteX2" y="connsiteY2"/>
              </a:cxn>
              <a:cxn ang="0">
                <a:pos x="connsiteX3" y="connsiteY3"/>
              </a:cxn>
            </a:cxnLst>
            <a:rect l="l" t="t" r="r" b="b"/>
            <a:pathLst>
              <a:path w="952432" h="1518410">
                <a:moveTo>
                  <a:pt x="302615" y="1518410"/>
                </a:moveTo>
                <a:cubicBezTo>
                  <a:pt x="704350" y="1232224"/>
                  <a:pt x="755166" y="1299963"/>
                  <a:pt x="847767" y="1133186"/>
                </a:cubicBezTo>
                <a:cubicBezTo>
                  <a:pt x="940368" y="966409"/>
                  <a:pt x="1022815" y="637634"/>
                  <a:pt x="858223" y="517746"/>
                </a:cubicBezTo>
                <a:cubicBezTo>
                  <a:pt x="693631" y="397858"/>
                  <a:pt x="-81393" y="196088"/>
                  <a:pt x="69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157" name="Freeform: Shape 8"/>
          <p:cNvSpPr>
            <a:spLocks/>
          </p:cNvSpPr>
          <p:nvPr/>
        </p:nvSpPr>
        <p:spPr bwMode="auto">
          <a:xfrm>
            <a:off x="8859843" y="5470840"/>
            <a:ext cx="969750" cy="861175"/>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1190243 w 1190243"/>
              <a:gd name="connsiteY0" fmla="*/ 1480582 h 1480582"/>
              <a:gd name="connsiteX1" fmla="*/ 83 w 1190243"/>
              <a:gd name="connsiteY1" fmla="*/ 775862 h 1480582"/>
              <a:gd name="connsiteX2" fmla="*/ 841638 w 1190243"/>
              <a:gd name="connsiteY2" fmla="*/ 0 h 1480582"/>
              <a:gd name="connsiteX0" fmla="*/ 406333 w 845002"/>
              <a:gd name="connsiteY0" fmla="*/ 1422534 h 1422534"/>
              <a:gd name="connsiteX1" fmla="*/ 83 w 845002"/>
              <a:gd name="connsiteY1" fmla="*/ 775862 h 1422534"/>
              <a:gd name="connsiteX2" fmla="*/ 841638 w 845002"/>
              <a:gd name="connsiteY2" fmla="*/ 0 h 1422534"/>
              <a:gd name="connsiteX0" fmla="*/ 406333 w 845002"/>
              <a:gd name="connsiteY0" fmla="*/ 1422534 h 1422534"/>
              <a:gd name="connsiteX1" fmla="*/ 83 w 845002"/>
              <a:gd name="connsiteY1" fmla="*/ 775862 h 1422534"/>
              <a:gd name="connsiteX2" fmla="*/ 841638 w 845002"/>
              <a:gd name="connsiteY2" fmla="*/ 0 h 1422534"/>
              <a:gd name="connsiteX0" fmla="*/ 406333 w 857661"/>
              <a:gd name="connsiteY0" fmla="*/ 1548910 h 1548910"/>
              <a:gd name="connsiteX1" fmla="*/ 83 w 857661"/>
              <a:gd name="connsiteY1" fmla="*/ 902238 h 1548910"/>
              <a:gd name="connsiteX2" fmla="*/ 854341 w 857661"/>
              <a:gd name="connsiteY2" fmla="*/ 0 h 1548910"/>
              <a:gd name="connsiteX0" fmla="*/ 151632 w 606777"/>
              <a:gd name="connsiteY0" fmla="*/ 1548910 h 1548910"/>
              <a:gd name="connsiteX1" fmla="*/ 266174 w 606777"/>
              <a:gd name="connsiteY1" fmla="*/ 872149 h 1548910"/>
              <a:gd name="connsiteX2" fmla="*/ 599640 w 606777"/>
              <a:gd name="connsiteY2" fmla="*/ 0 h 1548910"/>
              <a:gd name="connsiteX0" fmla="*/ 104048 w 927559"/>
              <a:gd name="connsiteY0" fmla="*/ 1181817 h 1181817"/>
              <a:gd name="connsiteX1" fmla="*/ 586956 w 927559"/>
              <a:gd name="connsiteY1" fmla="*/ 872149 h 1181817"/>
              <a:gd name="connsiteX2" fmla="*/ 920422 w 927559"/>
              <a:gd name="connsiteY2" fmla="*/ 0 h 1181817"/>
              <a:gd name="connsiteX0" fmla="*/ 103488 w 927101"/>
              <a:gd name="connsiteY0" fmla="*/ 1181817 h 1181817"/>
              <a:gd name="connsiteX1" fmla="*/ 592748 w 927101"/>
              <a:gd name="connsiteY1" fmla="*/ 775862 h 1181817"/>
              <a:gd name="connsiteX2" fmla="*/ 919862 w 927101"/>
              <a:gd name="connsiteY2" fmla="*/ 0 h 1181817"/>
              <a:gd name="connsiteX0" fmla="*/ 103488 w 592833"/>
              <a:gd name="connsiteY0" fmla="*/ 1163763 h 1163763"/>
              <a:gd name="connsiteX1" fmla="*/ 592748 w 592833"/>
              <a:gd name="connsiteY1" fmla="*/ 757808 h 1163763"/>
              <a:gd name="connsiteX2" fmla="*/ 113268 w 592833"/>
              <a:gd name="connsiteY2" fmla="*/ 0 h 1163763"/>
              <a:gd name="connsiteX0" fmla="*/ 89072 w 768936"/>
              <a:gd name="connsiteY0" fmla="*/ 1163763 h 1163763"/>
              <a:gd name="connsiteX1" fmla="*/ 768866 w 768936"/>
              <a:gd name="connsiteY1" fmla="*/ 661522 h 1163763"/>
              <a:gd name="connsiteX2" fmla="*/ 98852 w 768936"/>
              <a:gd name="connsiteY2" fmla="*/ 0 h 1163763"/>
              <a:gd name="connsiteX0" fmla="*/ 89072 w 768936"/>
              <a:gd name="connsiteY0" fmla="*/ 820742 h 820742"/>
              <a:gd name="connsiteX1" fmla="*/ 768866 w 768936"/>
              <a:gd name="connsiteY1" fmla="*/ 318501 h 820742"/>
              <a:gd name="connsiteX2" fmla="*/ 594240 w 768936"/>
              <a:gd name="connsiteY2" fmla="*/ 0 h 820742"/>
              <a:gd name="connsiteX0" fmla="*/ 89072 w 800067"/>
              <a:gd name="connsiteY0" fmla="*/ 820742 h 820742"/>
              <a:gd name="connsiteX1" fmla="*/ 768866 w 800067"/>
              <a:gd name="connsiteY1" fmla="*/ 318501 h 820742"/>
              <a:gd name="connsiteX2" fmla="*/ 594240 w 800067"/>
              <a:gd name="connsiteY2" fmla="*/ 0 h 820742"/>
              <a:gd name="connsiteX0" fmla="*/ 89072 w 768936"/>
              <a:gd name="connsiteY0" fmla="*/ 850832 h 850832"/>
              <a:gd name="connsiteX1" fmla="*/ 768866 w 768936"/>
              <a:gd name="connsiteY1" fmla="*/ 348591 h 850832"/>
              <a:gd name="connsiteX2" fmla="*/ 479920 w 768936"/>
              <a:gd name="connsiteY2" fmla="*/ 0 h 850832"/>
              <a:gd name="connsiteX0" fmla="*/ 94795 w 709197"/>
              <a:gd name="connsiteY0" fmla="*/ 850832 h 850832"/>
              <a:gd name="connsiteX1" fmla="*/ 692024 w 709197"/>
              <a:gd name="connsiteY1" fmla="*/ 396735 h 850832"/>
              <a:gd name="connsiteX2" fmla="*/ 485643 w 709197"/>
              <a:gd name="connsiteY2" fmla="*/ 0 h 850832"/>
              <a:gd name="connsiteX0" fmla="*/ 94795 w 714471"/>
              <a:gd name="connsiteY0" fmla="*/ 868886 h 868886"/>
              <a:gd name="connsiteX1" fmla="*/ 692024 w 714471"/>
              <a:gd name="connsiteY1" fmla="*/ 414789 h 868886"/>
              <a:gd name="connsiteX2" fmla="*/ 498346 w 714471"/>
              <a:gd name="connsiteY2" fmla="*/ 0 h 868886"/>
              <a:gd name="connsiteX0" fmla="*/ 94795 w 692933"/>
              <a:gd name="connsiteY0" fmla="*/ 868886 h 868886"/>
              <a:gd name="connsiteX1" fmla="*/ 692024 w 692933"/>
              <a:gd name="connsiteY1" fmla="*/ 414789 h 868886"/>
              <a:gd name="connsiteX2" fmla="*/ 498346 w 692933"/>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94795 w 692100"/>
              <a:gd name="connsiteY0" fmla="*/ 868886 h 868886"/>
              <a:gd name="connsiteX1" fmla="*/ 692024 w 692100"/>
              <a:gd name="connsiteY1" fmla="*/ 414789 h 868886"/>
              <a:gd name="connsiteX2" fmla="*/ 498346 w 692100"/>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02840 w 700069"/>
              <a:gd name="connsiteY0" fmla="*/ 868886 h 868886"/>
              <a:gd name="connsiteX1" fmla="*/ 700069 w 700069"/>
              <a:gd name="connsiteY1" fmla="*/ 414789 h 868886"/>
              <a:gd name="connsiteX2" fmla="*/ 506391 w 700069"/>
              <a:gd name="connsiteY2" fmla="*/ 0 h 868886"/>
              <a:gd name="connsiteX0" fmla="*/ 115945 w 577978"/>
              <a:gd name="connsiteY0" fmla="*/ 906564 h 906564"/>
              <a:gd name="connsiteX1" fmla="*/ 577978 w 577978"/>
              <a:gd name="connsiteY1" fmla="*/ 414789 h 906564"/>
              <a:gd name="connsiteX2" fmla="*/ 384300 w 577978"/>
              <a:gd name="connsiteY2" fmla="*/ 0 h 906564"/>
              <a:gd name="connsiteX0" fmla="*/ 218982 w 681015"/>
              <a:gd name="connsiteY0" fmla="*/ 906564 h 906564"/>
              <a:gd name="connsiteX1" fmla="*/ 681015 w 681015"/>
              <a:gd name="connsiteY1" fmla="*/ 414789 h 906564"/>
              <a:gd name="connsiteX2" fmla="*/ 487337 w 681015"/>
              <a:gd name="connsiteY2" fmla="*/ 0 h 906564"/>
              <a:gd name="connsiteX0" fmla="*/ 191531 w 868287"/>
              <a:gd name="connsiteY0" fmla="*/ 906564 h 906564"/>
              <a:gd name="connsiteX1" fmla="*/ 868287 w 868287"/>
              <a:gd name="connsiteY1" fmla="*/ 414789 h 906564"/>
              <a:gd name="connsiteX2" fmla="*/ 459886 w 868287"/>
              <a:gd name="connsiteY2" fmla="*/ 0 h 906564"/>
              <a:gd name="connsiteX0" fmla="*/ 191531 w 971829"/>
              <a:gd name="connsiteY0" fmla="*/ 816138 h 816138"/>
              <a:gd name="connsiteX1" fmla="*/ 868287 w 971829"/>
              <a:gd name="connsiteY1" fmla="*/ 324363 h 816138"/>
              <a:gd name="connsiteX2" fmla="*/ 881379 w 971829"/>
              <a:gd name="connsiteY2" fmla="*/ 0 h 816138"/>
              <a:gd name="connsiteX0" fmla="*/ 191531 w 887051"/>
              <a:gd name="connsiteY0" fmla="*/ 816138 h 816138"/>
              <a:gd name="connsiteX1" fmla="*/ 868287 w 887051"/>
              <a:gd name="connsiteY1" fmla="*/ 324363 h 816138"/>
              <a:gd name="connsiteX2" fmla="*/ 881379 w 887051"/>
              <a:gd name="connsiteY2" fmla="*/ 0 h 816138"/>
              <a:gd name="connsiteX0" fmla="*/ 191531 w 897575"/>
              <a:gd name="connsiteY0" fmla="*/ 816138 h 816138"/>
              <a:gd name="connsiteX1" fmla="*/ 868287 w 897575"/>
              <a:gd name="connsiteY1" fmla="*/ 324363 h 816138"/>
              <a:gd name="connsiteX2" fmla="*/ 881379 w 897575"/>
              <a:gd name="connsiteY2" fmla="*/ 0 h 816138"/>
              <a:gd name="connsiteX0" fmla="*/ 263877 w 969921"/>
              <a:gd name="connsiteY0" fmla="*/ 816138 h 816138"/>
              <a:gd name="connsiteX1" fmla="*/ 940633 w 969921"/>
              <a:gd name="connsiteY1" fmla="*/ 324363 h 816138"/>
              <a:gd name="connsiteX2" fmla="*/ 953725 w 969921"/>
              <a:gd name="connsiteY2" fmla="*/ 0 h 816138"/>
            </a:gdLst>
            <a:ahLst/>
            <a:cxnLst>
              <a:cxn ang="0">
                <a:pos x="connsiteX0" y="connsiteY0"/>
              </a:cxn>
              <a:cxn ang="0">
                <a:pos x="connsiteX1" y="connsiteY1"/>
              </a:cxn>
              <a:cxn ang="0">
                <a:pos x="connsiteX2" y="connsiteY2"/>
              </a:cxn>
            </a:cxnLst>
            <a:rect l="l" t="t" r="r" b="b"/>
            <a:pathLst>
              <a:path w="969921" h="816138">
                <a:moveTo>
                  <a:pt x="263877" y="816138"/>
                </a:moveTo>
                <a:cubicBezTo>
                  <a:pt x="-574067" y="261312"/>
                  <a:pt x="842824" y="582817"/>
                  <a:pt x="940633" y="324363"/>
                </a:cubicBezTo>
                <a:cubicBezTo>
                  <a:pt x="967143" y="103639"/>
                  <a:pt x="984100" y="133003"/>
                  <a:pt x="953725"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Tree>
    <p:extLst>
      <p:ext uri="{BB962C8B-B14F-4D97-AF65-F5344CB8AC3E}">
        <p14:creationId xmlns:p14="http://schemas.microsoft.com/office/powerpoint/2010/main" val="1850076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9" grpId="0" animBg="1"/>
      <p:bldP spid="15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EPC Architecture Overview</a:t>
            </a:r>
          </a:p>
        </p:txBody>
      </p:sp>
      <p:cxnSp>
        <p:nvCxnSpPr>
          <p:cNvPr id="4" name="Straight Connector 95"/>
          <p:cNvCxnSpPr>
            <a:cxnSpLocks/>
            <a:stCxn id="36" idx="0"/>
            <a:endCxn id="36" idx="3"/>
          </p:cNvCxnSpPr>
          <p:nvPr/>
        </p:nvCxnSpPr>
        <p:spPr bwMode="auto">
          <a:xfrm rot="16200000" flipH="1">
            <a:off x="7580432" y="3864773"/>
            <a:ext cx="269157" cy="392660"/>
          </a:xfrm>
          <a:prstGeom prst="bentConnector4">
            <a:avLst>
              <a:gd name="adj1" fmla="val 4718"/>
              <a:gd name="adj2" fmla="val 184093"/>
            </a:avLst>
          </a:prstGeom>
          <a:solidFill>
            <a:schemeClr val="accent1"/>
          </a:solidFill>
          <a:ln w="19050" cap="flat" cmpd="sng" algn="ctr">
            <a:solidFill>
              <a:schemeClr val="tx1"/>
            </a:solidFill>
            <a:prstDash val="dash"/>
            <a:round/>
            <a:headEnd type="none" w="med" len="med"/>
            <a:tailEnd type="none" w="med" len="med"/>
          </a:ln>
          <a:effectLst/>
        </p:spPr>
      </p:cxnSp>
      <p:grpSp>
        <p:nvGrpSpPr>
          <p:cNvPr id="5" name="Group 4"/>
          <p:cNvGrpSpPr/>
          <p:nvPr/>
        </p:nvGrpSpPr>
        <p:grpSpPr>
          <a:xfrm>
            <a:off x="9354059" y="5065816"/>
            <a:ext cx="2250397" cy="1719278"/>
            <a:chOff x="9315422" y="5130211"/>
            <a:chExt cx="2250397" cy="1719278"/>
          </a:xfrm>
        </p:grpSpPr>
        <p:sp>
          <p:nvSpPr>
            <p:cNvPr id="6"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800" b="0" i="0" u="none" strike="noStrike" kern="0" cap="none" spc="0" normalizeH="0" baseline="0" noProof="0" dirty="0">
                  <a:ln>
                    <a:noFill/>
                  </a:ln>
                  <a:solidFill>
                    <a:schemeClr val="tx1"/>
                  </a:solidFill>
                  <a:effectLst/>
                  <a:uLnTx/>
                  <a:uFillTx/>
                  <a:latin typeface="Arial" charset="0"/>
                  <a:ea typeface="MS PGothic" pitchFamily="34" charset="-128"/>
                </a:rPr>
                <a:t>Data Network </a:t>
              </a:r>
              <a:endParaRPr kumimoji="0" lang="en-US" altLang="en-US" sz="2000" b="0" i="0" u="none" strike="noStrike" kern="0" cap="none" spc="0" normalizeH="0" baseline="0" noProof="0" dirty="0">
                <a:ln>
                  <a:noFill/>
                </a:ln>
                <a:solidFill>
                  <a:schemeClr val="tx1"/>
                </a:solidFill>
                <a:effectLst/>
                <a:uLnTx/>
                <a:uFillTx/>
                <a:latin typeface="Arial" charset="0"/>
                <a:ea typeface="MS PGothic" pitchFamily="34" charset="-128"/>
              </a:endParaRP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pitchFamily="34" charset="-128"/>
                </a:rPr>
                <a:t>(e.g. operator </a:t>
              </a: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pitchFamily="34" charset="-128"/>
                </a:rPr>
                <a:t>or Internet)</a:t>
              </a:r>
            </a:p>
          </p:txBody>
        </p:sp>
      </p:grpSp>
      <p:cxnSp>
        <p:nvCxnSpPr>
          <p:cNvPr id="8" name="Elbow Connector 59"/>
          <p:cNvCxnSpPr>
            <a:cxnSpLocks/>
            <a:endCxn id="70" idx="2"/>
          </p:cNvCxnSpPr>
          <p:nvPr/>
        </p:nvCxnSpPr>
        <p:spPr bwMode="auto">
          <a:xfrm flipV="1">
            <a:off x="955975" y="368940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9" name="Freeform 4"/>
          <p:cNvSpPr>
            <a:spLocks noChangeAspect="1" noEditPoints="1"/>
          </p:cNvSpPr>
          <p:nvPr/>
        </p:nvSpPr>
        <p:spPr bwMode="auto">
          <a:xfrm>
            <a:off x="696863" y="515106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88"/>
          <p:cNvSpPr>
            <a:spLocks/>
          </p:cNvSpPr>
          <p:nvPr/>
        </p:nvSpPr>
        <p:spPr bwMode="auto">
          <a:xfrm rot="2583056" flipH="1">
            <a:off x="1412059" y="533042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050" b="1" i="0" u="none" strike="noStrike" kern="0" cap="none" spc="0" normalizeH="0" baseline="0" noProof="0" dirty="0">
              <a:ln>
                <a:noFill/>
              </a:ln>
              <a:solidFill>
                <a:sysClr val="windowText" lastClr="000000"/>
              </a:solidFill>
              <a:effectLst/>
              <a:uLnTx/>
              <a:uFillTx/>
              <a:cs typeface="+mn-cs"/>
            </a:endParaRPr>
          </a:p>
        </p:txBody>
      </p:sp>
      <p:sp>
        <p:nvSpPr>
          <p:cNvPr id="11" name="Text Box 144"/>
          <p:cNvSpPr txBox="1">
            <a:spLocks noChangeAspect="1" noChangeArrowheads="1"/>
          </p:cNvSpPr>
          <p:nvPr/>
        </p:nvSpPr>
        <p:spPr bwMode="auto">
          <a:xfrm>
            <a:off x="269724" y="5816062"/>
            <a:ext cx="1363539"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tx1"/>
                </a:solidFill>
                <a:effectLst/>
                <a:uLnTx/>
                <a:uFillTx/>
                <a:latin typeface="Arial" charset="0"/>
                <a:ea typeface="MS PGothic" charset="-128"/>
              </a:rPr>
              <a:t>LTE/EPC UE</a:t>
            </a:r>
            <a:br>
              <a:rPr kumimoji="0" lang="en-US" altLang="en-US" sz="16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600" b="0" i="0" u="none" strike="noStrike" kern="0" cap="none" spc="0" normalizeH="0" baseline="0" noProof="0" dirty="0">
                <a:ln>
                  <a:noFill/>
                </a:ln>
                <a:solidFill>
                  <a:schemeClr val="tx1"/>
                </a:solidFill>
                <a:effectLst/>
                <a:uLnTx/>
                <a:uFillTx/>
                <a:latin typeface="Arial" charset="0"/>
                <a:ea typeface="MS PGothic" charset="-128"/>
              </a:rPr>
              <a:t>NR/EPC UE</a:t>
            </a:r>
          </a:p>
        </p:txBody>
      </p:sp>
      <p:sp>
        <p:nvSpPr>
          <p:cNvPr id="12" name="Text Box 144"/>
          <p:cNvSpPr txBox="1">
            <a:spLocks noChangeAspect="1" noChangeArrowheads="1"/>
          </p:cNvSpPr>
          <p:nvPr/>
        </p:nvSpPr>
        <p:spPr bwMode="auto">
          <a:xfrm>
            <a:off x="3775404" y="471478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1-MME</a:t>
            </a:r>
          </a:p>
        </p:txBody>
      </p:sp>
      <p:sp>
        <p:nvSpPr>
          <p:cNvPr id="13" name="Text Box 144"/>
          <p:cNvSpPr txBox="1">
            <a:spLocks noChangeAspect="1" noChangeArrowheads="1"/>
          </p:cNvSpPr>
          <p:nvPr/>
        </p:nvSpPr>
        <p:spPr bwMode="auto">
          <a:xfrm>
            <a:off x="5022480" y="580247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1-U</a:t>
            </a:r>
          </a:p>
        </p:txBody>
      </p:sp>
      <p:sp>
        <p:nvSpPr>
          <p:cNvPr id="14" name="Text Box 144"/>
          <p:cNvSpPr txBox="1">
            <a:spLocks noChangeAspect="1" noChangeArrowheads="1"/>
          </p:cNvSpPr>
          <p:nvPr/>
        </p:nvSpPr>
        <p:spPr bwMode="auto">
          <a:xfrm>
            <a:off x="8188449" y="580458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err="1">
                <a:ln>
                  <a:noFill/>
                </a:ln>
                <a:solidFill>
                  <a:schemeClr val="tx1"/>
                </a:solidFill>
                <a:effectLst/>
                <a:uLnTx/>
                <a:uFillTx/>
                <a:latin typeface="Arial" charset="0"/>
                <a:ea typeface="MS PGothic" charset="-128"/>
              </a:rPr>
              <a:t>SGi</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15" name="Text Box 144"/>
          <p:cNvSpPr txBox="1">
            <a:spLocks noChangeAspect="1" noChangeArrowheads="1"/>
          </p:cNvSpPr>
          <p:nvPr/>
        </p:nvSpPr>
        <p:spPr bwMode="auto">
          <a:xfrm>
            <a:off x="7405616" y="291071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err="1">
                <a:ln>
                  <a:noFill/>
                </a:ln>
                <a:solidFill>
                  <a:schemeClr val="tx1"/>
                </a:solidFill>
                <a:effectLst/>
                <a:uLnTx/>
                <a:uFillTx/>
                <a:latin typeface="Arial" charset="0"/>
                <a:ea typeface="MS PGothic" charset="-128"/>
              </a:rPr>
              <a:t>Gx</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16" name="Text Box 144"/>
          <p:cNvSpPr txBox="1">
            <a:spLocks noChangeAspect="1" noChangeArrowheads="1"/>
          </p:cNvSpPr>
          <p:nvPr/>
        </p:nvSpPr>
        <p:spPr bwMode="auto">
          <a:xfrm>
            <a:off x="8303280" y="291296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Rx</a:t>
            </a:r>
          </a:p>
        </p:txBody>
      </p:sp>
      <p:sp>
        <p:nvSpPr>
          <p:cNvPr id="17" name="Text Box 144"/>
          <p:cNvSpPr txBox="1">
            <a:spLocks noChangeAspect="1" noChangeArrowheads="1"/>
          </p:cNvSpPr>
          <p:nvPr/>
        </p:nvSpPr>
        <p:spPr bwMode="auto">
          <a:xfrm>
            <a:off x="7174663" y="484679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err="1">
                <a:ln>
                  <a:noFill/>
                </a:ln>
                <a:solidFill>
                  <a:schemeClr val="tx1"/>
                </a:solidFill>
                <a:effectLst/>
                <a:uLnTx/>
                <a:uFillTx/>
                <a:latin typeface="Arial" charset="0"/>
                <a:ea typeface="MS PGothic" charset="-128"/>
              </a:rPr>
              <a:t>Sx</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grpSp>
        <p:nvGrpSpPr>
          <p:cNvPr id="18" name="Group 17"/>
          <p:cNvGrpSpPr/>
          <p:nvPr/>
        </p:nvGrpSpPr>
        <p:grpSpPr>
          <a:xfrm>
            <a:off x="2780030" y="5099366"/>
            <a:ext cx="886830" cy="1230796"/>
            <a:chOff x="936376" y="2900085"/>
            <a:chExt cx="864096" cy="1240668"/>
          </a:xfrm>
        </p:grpSpPr>
        <p:sp>
          <p:nvSpPr>
            <p:cNvPr id="19"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0"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1"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pitchFamily="34" charset="0"/>
                  <a:ea typeface="Segoe UI" panose="020B0502040204020203" pitchFamily="34" charset="0"/>
                  <a:cs typeface="Arial" panose="020B0604020202020204" pitchFamily="34" charset="0"/>
                </a:rPr>
                <a:t>LTE + NR RAN</a:t>
              </a:r>
            </a:p>
          </p:txBody>
        </p:sp>
        <p:sp>
          <p:nvSpPr>
            <p:cNvPr id="22"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pitchFamily="34" charset="0"/>
              </a:endParaRPr>
            </a:p>
          </p:txBody>
        </p:sp>
        <p:sp>
          <p:nvSpPr>
            <p:cNvPr id="23"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endParaRPr>
            </a:p>
          </p:txBody>
        </p:sp>
      </p:grpSp>
      <p:sp>
        <p:nvSpPr>
          <p:cNvPr id="24" name="Line 30"/>
          <p:cNvSpPr>
            <a:spLocks noChangeShapeType="1"/>
          </p:cNvSpPr>
          <p:nvPr/>
        </p:nvSpPr>
        <p:spPr bwMode="auto">
          <a:xfrm>
            <a:off x="3670915" y="5995577"/>
            <a:ext cx="5705219" cy="0"/>
          </a:xfrm>
          <a:prstGeom prst="line">
            <a:avLst/>
          </a:prstGeom>
          <a:noFill/>
          <a:ln w="28575">
            <a:solidFill>
              <a:schemeClr val="accent4">
                <a:lumMod val="50000"/>
              </a:schemeClr>
            </a:solidFill>
            <a:round/>
            <a:headEnd/>
            <a:tailEnd/>
          </a:ln>
        </p:spPr>
        <p:txBody>
          <a:bodyPr lIns="91438" tIns="45719" rIns="91438" bIns="4571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2400" b="0" i="0" u="none" strike="noStrike" kern="0" cap="none" spc="0" normalizeH="0" baseline="0" noProof="0">
              <a:ln>
                <a:noFill/>
              </a:ln>
              <a:solidFill>
                <a:sysClr val="windowText" lastClr="000000"/>
              </a:solidFill>
              <a:effectLst/>
              <a:uLnTx/>
              <a:uFillTx/>
              <a:ea typeface="ＭＳ Ｐゴシック" charset="0"/>
              <a:cs typeface="Arial" charset="0"/>
            </a:endParaRPr>
          </a:p>
        </p:txBody>
      </p:sp>
      <p:grpSp>
        <p:nvGrpSpPr>
          <p:cNvPr id="25" name="Group 24"/>
          <p:cNvGrpSpPr/>
          <p:nvPr/>
        </p:nvGrpSpPr>
        <p:grpSpPr>
          <a:xfrm>
            <a:off x="7068292" y="5120274"/>
            <a:ext cx="889582" cy="1249115"/>
            <a:chOff x="5979156" y="5040856"/>
            <a:chExt cx="1101600" cy="1587600"/>
          </a:xfrm>
        </p:grpSpPr>
        <p:cxnSp>
          <p:nvCxnSpPr>
            <p:cNvPr id="26" name="Straight Connector 25"/>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27"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28"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29"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GW/</a:t>
              </a:r>
              <a:b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PGW UP</a:t>
              </a:r>
            </a:p>
          </p:txBody>
        </p:sp>
        <p:sp>
          <p:nvSpPr>
            <p:cNvPr id="30"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31"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grpSp>
        <p:nvGrpSpPr>
          <p:cNvPr id="32" name="Group 31"/>
          <p:cNvGrpSpPr/>
          <p:nvPr/>
        </p:nvGrpSpPr>
        <p:grpSpPr>
          <a:xfrm>
            <a:off x="7085193" y="3249446"/>
            <a:ext cx="948900" cy="1274363"/>
            <a:chOff x="4338871" y="2725624"/>
            <a:chExt cx="1199053" cy="1626215"/>
          </a:xfrm>
        </p:grpSpPr>
        <p:sp>
          <p:nvSpPr>
            <p:cNvPr id="3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3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3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3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GW/</a:t>
              </a:r>
              <a:b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PGW CP</a:t>
              </a:r>
            </a:p>
          </p:txBody>
        </p:sp>
        <p:sp>
          <p:nvSpPr>
            <p:cNvPr id="3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3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7843880" y="1455615"/>
            <a:ext cx="920586" cy="1329413"/>
            <a:chOff x="2530204" y="1718022"/>
            <a:chExt cx="1186277" cy="1647323"/>
          </a:xfrm>
        </p:grpSpPr>
        <p:sp>
          <p:nvSpPr>
            <p:cNvPr id="4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sp>
          <p:nvSpPr>
            <p:cNvPr id="4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sp>
          <p:nvSpPr>
            <p:cNvPr id="4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grpSp>
          <p:nvGrpSpPr>
            <p:cNvPr id="43" name="Group 274"/>
            <p:cNvGrpSpPr>
              <a:grpSpLocks noChangeAspect="1"/>
            </p:cNvGrpSpPr>
            <p:nvPr/>
          </p:nvGrpSpPr>
          <p:grpSpPr bwMode="auto">
            <a:xfrm>
              <a:off x="2590950" y="1853233"/>
              <a:ext cx="1125531" cy="1512112"/>
              <a:chOff x="3147" y="3024"/>
              <a:chExt cx="257" cy="366"/>
            </a:xfrm>
          </p:grpSpPr>
          <p:grpSp>
            <p:nvGrpSpPr>
              <p:cNvPr id="44" name="Group 7"/>
              <p:cNvGrpSpPr>
                <a:grpSpLocks noChangeAspect="1"/>
              </p:cNvGrpSpPr>
              <p:nvPr/>
            </p:nvGrpSpPr>
            <p:grpSpPr bwMode="auto">
              <a:xfrm>
                <a:off x="3147" y="3024"/>
                <a:ext cx="257" cy="366"/>
                <a:chOff x="2283" y="1698"/>
                <a:chExt cx="983" cy="1402"/>
              </a:xfrm>
            </p:grpSpPr>
            <p:pic>
              <p:nvPicPr>
                <p:cNvPr id="4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sp>
            <p:nvSpPr>
              <p:cNvPr id="4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PCRF</a:t>
                </a:r>
              </a:p>
            </p:txBody>
          </p:sp>
        </p:grpSp>
      </p:grpSp>
      <p:cxnSp>
        <p:nvCxnSpPr>
          <p:cNvPr id="48" name="Straight Connector 47"/>
          <p:cNvCxnSpPr>
            <a:cxnSpLocks/>
            <a:stCxn id="71" idx="1"/>
            <a:endCxn id="20" idx="6"/>
          </p:cNvCxnSpPr>
          <p:nvPr/>
        </p:nvCxnSpPr>
        <p:spPr bwMode="auto">
          <a:xfrm flipH="1">
            <a:off x="3652201" y="419422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49" name="Text Box 144"/>
          <p:cNvSpPr txBox="1">
            <a:spLocks noChangeAspect="1" noChangeArrowheads="1"/>
          </p:cNvSpPr>
          <p:nvPr/>
        </p:nvSpPr>
        <p:spPr bwMode="auto">
          <a:xfrm>
            <a:off x="2522163" y="384244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EPC NAS</a:t>
            </a:r>
          </a:p>
        </p:txBody>
      </p:sp>
      <p:cxnSp>
        <p:nvCxnSpPr>
          <p:cNvPr id="50" name="Straight Connector 49"/>
          <p:cNvCxnSpPr>
            <a:cxnSpLocks/>
            <a:stCxn id="36" idx="2"/>
            <a:endCxn id="28" idx="0"/>
          </p:cNvCxnSpPr>
          <p:nvPr/>
        </p:nvCxnSpPr>
        <p:spPr bwMode="auto">
          <a:xfrm flipH="1">
            <a:off x="7511859" y="446483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51" name="Straight Connector 50"/>
          <p:cNvCxnSpPr>
            <a:cxnSpLocks/>
            <a:stCxn id="36" idx="1"/>
            <a:endCxn id="71" idx="3"/>
          </p:cNvCxnSpPr>
          <p:nvPr/>
        </p:nvCxnSpPr>
        <p:spPr bwMode="auto">
          <a:xfrm flipH="1" flipV="1">
            <a:off x="6369288" y="419422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52" name="Text Box 144"/>
          <p:cNvSpPr txBox="1">
            <a:spLocks noChangeAspect="1" noChangeArrowheads="1"/>
          </p:cNvSpPr>
          <p:nvPr/>
        </p:nvSpPr>
        <p:spPr bwMode="auto">
          <a:xfrm>
            <a:off x="6273554" y="403789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11</a:t>
            </a:r>
          </a:p>
        </p:txBody>
      </p:sp>
      <p:grpSp>
        <p:nvGrpSpPr>
          <p:cNvPr id="53" name="Group 52"/>
          <p:cNvGrpSpPr/>
          <p:nvPr/>
        </p:nvGrpSpPr>
        <p:grpSpPr>
          <a:xfrm>
            <a:off x="6293596" y="1468122"/>
            <a:ext cx="920586" cy="1329413"/>
            <a:chOff x="2530204" y="1718022"/>
            <a:chExt cx="1186277" cy="1647323"/>
          </a:xfrm>
        </p:grpSpPr>
        <p:sp>
          <p:nvSpPr>
            <p:cNvPr id="54"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sp>
          <p:nvSpPr>
            <p:cNvPr id="55"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sp>
          <p:nvSpPr>
            <p:cNvPr id="56"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pitchFamily="34" charset="0"/>
              </a:endParaRPr>
            </a:p>
          </p:txBody>
        </p:sp>
        <p:grpSp>
          <p:nvGrpSpPr>
            <p:cNvPr id="57" name="Group 274"/>
            <p:cNvGrpSpPr>
              <a:grpSpLocks noChangeAspect="1"/>
            </p:cNvGrpSpPr>
            <p:nvPr/>
          </p:nvGrpSpPr>
          <p:grpSpPr bwMode="auto">
            <a:xfrm>
              <a:off x="2590950" y="1853233"/>
              <a:ext cx="1125531" cy="1512112"/>
              <a:chOff x="3147" y="3024"/>
              <a:chExt cx="257" cy="366"/>
            </a:xfrm>
          </p:grpSpPr>
          <p:grpSp>
            <p:nvGrpSpPr>
              <p:cNvPr id="58" name="Group 7"/>
              <p:cNvGrpSpPr>
                <a:grpSpLocks noChangeAspect="1"/>
              </p:cNvGrpSpPr>
              <p:nvPr/>
            </p:nvGrpSpPr>
            <p:grpSpPr bwMode="auto">
              <a:xfrm>
                <a:off x="3147" y="3024"/>
                <a:ext cx="257" cy="366"/>
                <a:chOff x="2283" y="1698"/>
                <a:chExt cx="983" cy="1402"/>
              </a:xfrm>
            </p:grpSpPr>
            <p:pic>
              <p:nvPicPr>
                <p:cNvPr id="60"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sp>
            <p:nvSpPr>
              <p:cNvPr id="59"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pitchFamily="34" charset="-128"/>
                  </a:rPr>
                  <a:t>HSS</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grpSp>
      </p:grpSp>
      <p:cxnSp>
        <p:nvCxnSpPr>
          <p:cNvPr id="62" name="Straight Connector 61"/>
          <p:cNvCxnSpPr>
            <a:cxnSpLocks/>
            <a:stCxn id="60" idx="2"/>
            <a:endCxn id="70" idx="7"/>
          </p:cNvCxnSpPr>
          <p:nvPr/>
        </p:nvCxnSpPr>
        <p:spPr bwMode="auto">
          <a:xfrm flipH="1">
            <a:off x="6276709" y="279753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63" name="Text Box 144"/>
          <p:cNvSpPr txBox="1">
            <a:spLocks noChangeAspect="1" noChangeArrowheads="1"/>
          </p:cNvSpPr>
          <p:nvPr/>
        </p:nvSpPr>
        <p:spPr bwMode="auto">
          <a:xfrm>
            <a:off x="5753154" y="292033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6a</a:t>
            </a:r>
          </a:p>
        </p:txBody>
      </p:sp>
      <p:cxnSp>
        <p:nvCxnSpPr>
          <p:cNvPr id="64" name="Straight Connector 63"/>
          <p:cNvCxnSpPr>
            <a:cxnSpLocks/>
            <a:stCxn id="46" idx="2"/>
            <a:endCxn id="35" idx="7"/>
          </p:cNvCxnSpPr>
          <p:nvPr/>
        </p:nvCxnSpPr>
        <p:spPr bwMode="auto">
          <a:xfrm flipH="1">
            <a:off x="7818762" y="278502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5" name="Straight Connector 64"/>
          <p:cNvCxnSpPr>
            <a:cxnSpLocks/>
            <a:stCxn id="46" idx="2"/>
          </p:cNvCxnSpPr>
          <p:nvPr/>
        </p:nvCxnSpPr>
        <p:spPr bwMode="auto">
          <a:xfrm>
            <a:off x="8327744" y="278502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6" name="Straight Connector 95"/>
          <p:cNvCxnSpPr>
            <a:cxnSpLocks/>
            <a:stCxn id="70" idx="3"/>
            <a:endCxn id="71" idx="1"/>
          </p:cNvCxnSpPr>
          <p:nvPr/>
        </p:nvCxnSpPr>
        <p:spPr bwMode="auto">
          <a:xfrm rot="5400000">
            <a:off x="5529192" y="404446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67" name="Group 66"/>
          <p:cNvGrpSpPr/>
          <p:nvPr/>
        </p:nvGrpSpPr>
        <p:grpSpPr>
          <a:xfrm>
            <a:off x="5543140" y="3247984"/>
            <a:ext cx="948900" cy="1274363"/>
            <a:chOff x="4338871" y="2725624"/>
            <a:chExt cx="1199053" cy="1626215"/>
          </a:xfrm>
        </p:grpSpPr>
        <p:sp>
          <p:nvSpPr>
            <p:cNvPr id="6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6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70"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71"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MME</a:t>
              </a:r>
            </a:p>
          </p:txBody>
        </p:sp>
        <p:sp>
          <p:nvSpPr>
            <p:cNvPr id="72"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1400" b="0" i="0" u="none" strike="noStrike" kern="0" cap="none" spc="0" normalizeH="0" baseline="0" noProof="0">
                <a:ln>
                  <a:noFill/>
                </a:ln>
                <a:solidFill>
                  <a:schemeClr val="tx1"/>
                </a:solidFill>
                <a:effectLst/>
                <a:uLnTx/>
                <a:uFillTx/>
                <a:latin typeface="Arial" charset="0"/>
                <a:ea typeface="MS PGothic" charset="-128"/>
              </a:endParaRPr>
            </a:p>
          </p:txBody>
        </p:sp>
        <p:sp>
          <p:nvSpPr>
            <p:cNvPr id="73"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endParaRPr>
            </a:p>
          </p:txBody>
        </p:sp>
      </p:grpSp>
      <p:sp>
        <p:nvSpPr>
          <p:cNvPr id="74" name="Text Box 144"/>
          <p:cNvSpPr txBox="1">
            <a:spLocks noChangeAspect="1" noChangeArrowheads="1"/>
          </p:cNvSpPr>
          <p:nvPr/>
        </p:nvSpPr>
        <p:spPr bwMode="auto">
          <a:xfrm>
            <a:off x="4687676" y="383194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10</a:t>
            </a:r>
          </a:p>
        </p:txBody>
      </p:sp>
      <p:sp>
        <p:nvSpPr>
          <p:cNvPr id="75" name="Text Box 144"/>
          <p:cNvSpPr txBox="1">
            <a:spLocks noChangeAspect="1" noChangeArrowheads="1"/>
          </p:cNvSpPr>
          <p:nvPr/>
        </p:nvSpPr>
        <p:spPr bwMode="auto">
          <a:xfrm>
            <a:off x="1533189" y="4897971"/>
            <a:ext cx="992350"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LTE RRC</a:t>
            </a:r>
            <a:b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LTE PDCP</a:t>
            </a:r>
            <a:b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b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LTE </a:t>
            </a:r>
            <a:r>
              <a:rPr kumimoji="0" lang="en-US" altLang="en-US" sz="1400" b="0" i="0" u="none" strike="noStrike" kern="0" cap="none" spc="0" normalizeH="0" baseline="0" noProof="0" dirty="0" err="1">
                <a:ln>
                  <a:noFill/>
                </a:ln>
                <a:solidFill>
                  <a:schemeClr val="tx1"/>
                </a:solidFill>
                <a:effectLst/>
                <a:uLnTx/>
                <a:uFillTx/>
                <a:latin typeface="Arial" charset="0"/>
                <a:ea typeface="MS PGothic" charset="-128"/>
              </a:rPr>
              <a:t>Uu</a:t>
            </a:r>
            <a:endParaRPr kumimoji="0" lang="en-US" altLang="en-US" sz="1400" b="0" i="0" u="none" strike="noStrike" kern="0" cap="none" spc="0" normalizeH="0" baseline="0" noProof="0" dirty="0">
              <a:ln>
                <a:noFill/>
              </a:ln>
              <a:solidFill>
                <a:schemeClr val="tx1"/>
              </a:solidFill>
              <a:effectLst/>
              <a:uLnTx/>
              <a:uFillTx/>
              <a:latin typeface="Arial" charset="0"/>
              <a:ea typeface="MS PGothic" charset="-128"/>
            </a:endParaRPr>
          </a:p>
        </p:txBody>
      </p:sp>
      <p:sp>
        <p:nvSpPr>
          <p:cNvPr id="76" name="Text Box 144"/>
          <p:cNvSpPr txBox="1">
            <a:spLocks noChangeAspect="1" noChangeArrowheads="1"/>
          </p:cNvSpPr>
          <p:nvPr/>
        </p:nvSpPr>
        <p:spPr bwMode="auto">
          <a:xfrm>
            <a:off x="7953152" y="397332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tx1"/>
                </a:solidFill>
                <a:effectLst/>
                <a:uLnTx/>
                <a:uFillTx/>
                <a:latin typeface="Arial" charset="0"/>
                <a:ea typeface="MS PGothic" charset="-128"/>
              </a:rPr>
              <a:t>S5</a:t>
            </a:r>
          </a:p>
        </p:txBody>
      </p:sp>
      <p:sp>
        <p:nvSpPr>
          <p:cNvPr id="77" name="Content Placeholder 3"/>
          <p:cNvSpPr txBox="1">
            <a:spLocks/>
          </p:cNvSpPr>
          <p:nvPr/>
        </p:nvSpPr>
        <p:spPr>
          <a:xfrm>
            <a:off x="426457" y="1544890"/>
            <a:ext cx="4398261" cy="1832376"/>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800" kern="0" dirty="0"/>
              <a:t>Enables early introduction of NR through connectivity Option 3</a:t>
            </a:r>
          </a:p>
          <a:p>
            <a:r>
              <a:rPr lang="en-US" sz="1800" dirty="0"/>
              <a:t>UE anchored to network over LTE/EPC control plane</a:t>
            </a:r>
          </a:p>
          <a:p>
            <a:r>
              <a:rPr lang="en-US" sz="1800" dirty="0"/>
              <a:t>Wide area coverage through LTE with NR as capacity boost</a:t>
            </a:r>
          </a:p>
        </p:txBody>
      </p:sp>
    </p:spTree>
    <p:extLst>
      <p:ext uri="{BB962C8B-B14F-4D97-AF65-F5344CB8AC3E}">
        <p14:creationId xmlns:p14="http://schemas.microsoft.com/office/powerpoint/2010/main" val="4010988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EPC – enhancements to support option 3</a:t>
            </a:r>
          </a:p>
        </p:txBody>
      </p:sp>
      <p:sp>
        <p:nvSpPr>
          <p:cNvPr id="4" name="Content Placeholder 2"/>
          <p:cNvSpPr txBox="1">
            <a:spLocks/>
          </p:cNvSpPr>
          <p:nvPr/>
        </p:nvSpPr>
        <p:spPr>
          <a:xfrm>
            <a:off x="225127" y="1920145"/>
            <a:ext cx="6207815" cy="3746136"/>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defRPr/>
            </a:pPr>
            <a:r>
              <a:rPr lang="en-US" altLang="en-US" sz="2000" kern="0" dirty="0"/>
              <a:t>5G Enabled SGW/PGW</a:t>
            </a:r>
          </a:p>
          <a:p>
            <a:pPr lvl="1">
              <a:buClr>
                <a:srgbClr val="00B0F0"/>
              </a:buClr>
              <a:defRPr/>
            </a:pPr>
            <a:r>
              <a:rPr lang="en-US" altLang="en-US" sz="1800" kern="0" dirty="0">
                <a:cs typeface="Arial" panose="020B0604020202020204" pitchFamily="34" charset="0"/>
              </a:rPr>
              <a:t>Separation of CP and UP for maximum topology flexibility and completely independent capacity scaling</a:t>
            </a:r>
          </a:p>
          <a:p>
            <a:pPr lvl="1">
              <a:buClr>
                <a:srgbClr val="00B0F0"/>
              </a:buClr>
              <a:defRPr/>
            </a:pPr>
            <a:r>
              <a:rPr lang="en-US" altLang="en-US" sz="1800" kern="0" dirty="0">
                <a:cs typeface="Arial" panose="020B0604020202020204" pitchFamily="34" charset="0"/>
              </a:rPr>
              <a:t>Support for individual high data rates for 5G</a:t>
            </a:r>
          </a:p>
          <a:p>
            <a:pPr lvl="1">
              <a:buClr>
                <a:srgbClr val="00B0F0"/>
              </a:buClr>
              <a:defRPr/>
            </a:pPr>
            <a:endParaRPr lang="en-US" altLang="en-US" sz="1800" kern="0" dirty="0">
              <a:cs typeface="Arial" panose="020B0604020202020204" pitchFamily="34" charset="0"/>
            </a:endParaRPr>
          </a:p>
          <a:p>
            <a:pPr>
              <a:defRPr/>
            </a:pPr>
            <a:r>
              <a:rPr lang="en-US" altLang="en-US" sz="2000" kern="0" dirty="0"/>
              <a:t>5G Enabled MME &amp; HSS</a:t>
            </a:r>
          </a:p>
          <a:p>
            <a:pPr lvl="1">
              <a:buClr>
                <a:srgbClr val="00B0F0"/>
              </a:buClr>
              <a:defRPr/>
            </a:pPr>
            <a:r>
              <a:rPr lang="en-US" altLang="en-US" sz="1800" kern="0" dirty="0">
                <a:cs typeface="Arial" panose="020B0604020202020204" pitchFamily="34" charset="0"/>
              </a:rPr>
              <a:t>5G data rate support</a:t>
            </a:r>
          </a:p>
          <a:p>
            <a:pPr lvl="1">
              <a:buClr>
                <a:srgbClr val="00B0F0"/>
              </a:buClr>
              <a:defRPr/>
            </a:pPr>
            <a:r>
              <a:rPr lang="en-US" altLang="en-US" sz="1800" kern="0" dirty="0">
                <a:cs typeface="Arial" panose="020B0604020202020204" pitchFamily="34" charset="0"/>
              </a:rPr>
              <a:t>5G subscription control</a:t>
            </a:r>
          </a:p>
          <a:p>
            <a:pPr lvl="1">
              <a:buClr>
                <a:srgbClr val="00B0F0"/>
              </a:buClr>
              <a:defRPr/>
            </a:pPr>
            <a:r>
              <a:rPr lang="en-US" altLang="en-US" sz="1800" kern="0" dirty="0">
                <a:cs typeface="Arial" panose="020B0604020202020204" pitchFamily="34" charset="0"/>
              </a:rPr>
              <a:t>Dynamic mobility switching </a:t>
            </a:r>
          </a:p>
          <a:p>
            <a:pPr lvl="1">
              <a:buClr>
                <a:srgbClr val="00B0F0"/>
              </a:buClr>
              <a:defRPr/>
            </a:pPr>
            <a:r>
              <a:rPr lang="en-US" altLang="en-US" sz="1800" kern="0" dirty="0">
                <a:cs typeface="Arial" panose="020B0604020202020204" pitchFamily="34" charset="0"/>
              </a:rPr>
              <a:t>Network slicing – DECOR, 5G GW selections</a:t>
            </a:r>
          </a:p>
          <a:p>
            <a:endParaRPr lang="en-US" sz="2000" kern="0" dirty="0"/>
          </a:p>
        </p:txBody>
      </p:sp>
      <p:pic>
        <p:nvPicPr>
          <p:cNvPr id="6" name="Picture 5"/>
          <p:cNvPicPr>
            <a:picLocks noChangeAspect="1"/>
          </p:cNvPicPr>
          <p:nvPr/>
        </p:nvPicPr>
        <p:blipFill>
          <a:blip r:embed="rId3"/>
          <a:stretch>
            <a:fillRect/>
          </a:stretch>
        </p:blipFill>
        <p:spPr>
          <a:xfrm>
            <a:off x="6038478" y="2497072"/>
            <a:ext cx="6117537" cy="2865341"/>
          </a:xfrm>
          <a:prstGeom prst="rect">
            <a:avLst/>
          </a:prstGeom>
        </p:spPr>
      </p:pic>
    </p:spTree>
    <p:extLst>
      <p:ext uri="{BB962C8B-B14F-4D97-AF65-F5344CB8AC3E}">
        <p14:creationId xmlns:p14="http://schemas.microsoft.com/office/powerpoint/2010/main" val="31191005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9287" y="1799999"/>
            <a:ext cx="4882282" cy="4757963"/>
          </a:xfrm>
        </p:spPr>
        <p:txBody>
          <a:bodyPr/>
          <a:lstStyle/>
          <a:p>
            <a:r>
              <a:rPr lang="en-US" sz="2000" dirty="0"/>
              <a:t>Slicing based on PLMN Id</a:t>
            </a:r>
          </a:p>
          <a:p>
            <a:pPr lvl="1"/>
            <a:r>
              <a:rPr lang="en-US" sz="1600" dirty="0"/>
              <a:t>Network sharing, e.g. MOCN</a:t>
            </a:r>
          </a:p>
          <a:p>
            <a:r>
              <a:rPr lang="en-US" sz="2000" dirty="0"/>
              <a:t>Slicing based on APN</a:t>
            </a:r>
          </a:p>
          <a:p>
            <a:pPr lvl="1"/>
            <a:r>
              <a:rPr lang="en-US" sz="1600" dirty="0"/>
              <a:t>MBB uses one APN</a:t>
            </a:r>
          </a:p>
          <a:p>
            <a:pPr lvl="1"/>
            <a:r>
              <a:rPr lang="en-US" sz="1600" dirty="0" err="1"/>
              <a:t>VoLTE</a:t>
            </a:r>
            <a:r>
              <a:rPr lang="en-US" sz="1600" dirty="0"/>
              <a:t> uses a separate dedicated APN</a:t>
            </a:r>
          </a:p>
          <a:p>
            <a:r>
              <a:rPr lang="en-US" sz="2000" dirty="0"/>
              <a:t>DECOR (3GPP Rel-13)</a:t>
            </a:r>
          </a:p>
          <a:p>
            <a:pPr lvl="1"/>
            <a:r>
              <a:rPr lang="en-US" sz="1600" dirty="0"/>
              <a:t>Targeting e.g. MTC </a:t>
            </a:r>
          </a:p>
          <a:p>
            <a:pPr lvl="1"/>
            <a:r>
              <a:rPr lang="en-US" sz="1600" dirty="0"/>
              <a:t>New HSS parameter  “UE Usage Type” used to select dedicated CN</a:t>
            </a:r>
          </a:p>
          <a:p>
            <a:r>
              <a:rPr lang="en-US" sz="2000" dirty="0" err="1"/>
              <a:t>eDECOR</a:t>
            </a:r>
            <a:endParaRPr lang="en-US" sz="2000" dirty="0"/>
          </a:p>
          <a:p>
            <a:pPr lvl="1"/>
            <a:r>
              <a:rPr lang="en-US" sz="1600" dirty="0"/>
              <a:t>UE impact, specified in 3GPP Rel-14</a:t>
            </a:r>
          </a:p>
          <a:p>
            <a:r>
              <a:rPr lang="en-US" sz="2000" dirty="0"/>
              <a:t>5G System</a:t>
            </a:r>
          </a:p>
          <a:p>
            <a:pPr lvl="1"/>
            <a:r>
              <a:rPr lang="en-US" sz="1600" dirty="0"/>
              <a:t>Network slicing for 5G will be based on </a:t>
            </a:r>
            <a:r>
              <a:rPr lang="en-US" sz="1600" dirty="0" err="1"/>
              <a:t>eDECOR</a:t>
            </a:r>
            <a:r>
              <a:rPr lang="en-US" sz="1600" dirty="0"/>
              <a:t> and will be specified in 3GPP Rel-15</a:t>
            </a:r>
          </a:p>
          <a:p>
            <a:pPr lvl="1"/>
            <a:endParaRPr lang="en-US" sz="1600" dirty="0"/>
          </a:p>
        </p:txBody>
      </p:sp>
      <p:sp>
        <p:nvSpPr>
          <p:cNvPr id="3" name="Title 2"/>
          <p:cNvSpPr>
            <a:spLocks noGrp="1"/>
          </p:cNvSpPr>
          <p:nvPr>
            <p:ph type="title"/>
          </p:nvPr>
        </p:nvSpPr>
        <p:spPr>
          <a:xfrm>
            <a:off x="448735" y="239714"/>
            <a:ext cx="10637870" cy="1085371"/>
          </a:xfrm>
        </p:spPr>
        <p:txBody>
          <a:bodyPr/>
          <a:lstStyle/>
          <a:p>
            <a:r>
              <a:rPr lang="en-GB" dirty="0"/>
              <a:t>Network Slice selection mechanisms</a:t>
            </a:r>
            <a:endParaRPr lang="en-US" dirty="0"/>
          </a:p>
        </p:txBody>
      </p:sp>
      <p:pic>
        <p:nvPicPr>
          <p:cNvPr id="6" name="Picture 5"/>
          <p:cNvPicPr>
            <a:picLocks noChangeAspect="1"/>
          </p:cNvPicPr>
          <p:nvPr/>
        </p:nvPicPr>
        <p:blipFill>
          <a:blip r:embed="rId3"/>
          <a:stretch>
            <a:fillRect/>
          </a:stretch>
        </p:blipFill>
        <p:spPr>
          <a:xfrm>
            <a:off x="5103954" y="2362199"/>
            <a:ext cx="6962539" cy="2839387"/>
          </a:xfrm>
          <a:prstGeom prst="rect">
            <a:avLst/>
          </a:prstGeom>
        </p:spPr>
      </p:pic>
      <p:sp>
        <p:nvSpPr>
          <p:cNvPr id="5" name="TextBox 4"/>
          <p:cNvSpPr txBox="1"/>
          <p:nvPr/>
        </p:nvSpPr>
        <p:spPr>
          <a:xfrm>
            <a:off x="8439462" y="5801195"/>
            <a:ext cx="2694969" cy="830997"/>
          </a:xfrm>
          <a:prstGeom prst="rect">
            <a:avLst/>
          </a:prstGeom>
          <a:noFill/>
        </p:spPr>
        <p:txBody>
          <a:bodyPr wrap="none" rtlCol="0">
            <a:spAutoFit/>
          </a:bodyPr>
          <a:lstStyle/>
          <a:p>
            <a:r>
              <a:rPr lang="en-US" sz="1200" dirty="0"/>
              <a:t>MOCN: Multi Operator Core Network</a:t>
            </a:r>
            <a:br>
              <a:rPr lang="en-US" sz="1200" dirty="0"/>
            </a:br>
            <a:r>
              <a:rPr lang="en-US" sz="1200" dirty="0"/>
              <a:t>DECOR: Dedicated Core Network</a:t>
            </a:r>
            <a:br>
              <a:rPr lang="en-US" sz="1200" dirty="0"/>
            </a:br>
            <a:r>
              <a:rPr lang="en-US" sz="1200" dirty="0" err="1"/>
              <a:t>eDECOR</a:t>
            </a:r>
            <a:r>
              <a:rPr lang="en-US" sz="1200" dirty="0"/>
              <a:t>: enhanced DECOR</a:t>
            </a:r>
            <a:br>
              <a:rPr lang="en-US" sz="1200" dirty="0"/>
            </a:br>
            <a:r>
              <a:rPr lang="en-US" sz="1200" dirty="0"/>
              <a:t>MTC: Machine Type Communication</a:t>
            </a:r>
          </a:p>
        </p:txBody>
      </p:sp>
    </p:spTree>
    <p:extLst>
      <p:ext uri="{BB962C8B-B14F-4D97-AF65-F5344CB8AC3E}">
        <p14:creationId xmlns:p14="http://schemas.microsoft.com/office/powerpoint/2010/main" val="3013919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the background and reasons for developing the 5G Core</a:t>
            </a:r>
            <a:br>
              <a:rPr lang="en-US" dirty="0"/>
            </a:br>
            <a:endParaRPr lang="en-US" sz="2000" dirty="0"/>
          </a:p>
          <a:p>
            <a:pPr marL="735013" lvl="1" indent="-381000">
              <a:lnSpc>
                <a:spcPct val="90000"/>
              </a:lnSpc>
            </a:pPr>
            <a:r>
              <a:rPr lang="en-US" dirty="0"/>
              <a:t>Explain the operator challenges to enable new types of business</a:t>
            </a:r>
            <a:br>
              <a:rPr lang="en-US" dirty="0"/>
            </a:br>
            <a:endParaRPr lang="en-US" dirty="0"/>
          </a:p>
          <a:p>
            <a:pPr marL="735013" lvl="1" indent="-381000">
              <a:lnSpc>
                <a:spcPct val="90000"/>
              </a:lnSpc>
            </a:pPr>
            <a:r>
              <a:rPr lang="en-US" dirty="0"/>
              <a:t>Explain the new technical requirements arising from new customer segments</a:t>
            </a:r>
          </a:p>
        </p:txBody>
      </p:sp>
    </p:spTree>
    <p:extLst>
      <p:ext uri="{BB962C8B-B14F-4D97-AF65-F5344CB8AC3E}">
        <p14:creationId xmlns:p14="http://schemas.microsoft.com/office/powerpoint/2010/main" val="18302178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315343" cy="1085371"/>
          </a:xfrm>
        </p:spPr>
        <p:txBody>
          <a:bodyPr/>
          <a:lstStyle/>
          <a:p>
            <a:r>
              <a:rPr lang="en-US" dirty="0"/>
              <a:t>Slice Selection based on </a:t>
            </a:r>
            <a:r>
              <a:rPr lang="en-US" altLang="en-US" dirty="0">
                <a:latin typeface="Ericsson Capital TT" pitchFamily="2" charset="0"/>
              </a:rPr>
              <a:t>DECOR</a:t>
            </a:r>
            <a:endParaRPr lang="en-US" dirty="0"/>
          </a:p>
        </p:txBody>
      </p:sp>
      <p:sp>
        <p:nvSpPr>
          <p:cNvPr id="4" name="TextBox 38"/>
          <p:cNvSpPr txBox="1">
            <a:spLocks noChangeArrowheads="1"/>
          </p:cNvSpPr>
          <p:nvPr/>
        </p:nvSpPr>
        <p:spPr bwMode="auto">
          <a:xfrm>
            <a:off x="3284539" y="4315656"/>
            <a:ext cx="17491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a:t>eNB </a:t>
            </a:r>
            <a:br>
              <a:rPr lang="en-US" altLang="en-US" sz="1600"/>
            </a:br>
            <a:r>
              <a:rPr lang="en-US" altLang="en-US" sz="1600"/>
              <a:t>selects first MME</a:t>
            </a:r>
          </a:p>
        </p:txBody>
      </p:sp>
      <p:sp>
        <p:nvSpPr>
          <p:cNvPr id="5" name="TextBox 44"/>
          <p:cNvSpPr txBox="1">
            <a:spLocks noChangeArrowheads="1"/>
          </p:cNvSpPr>
          <p:nvPr/>
        </p:nvSpPr>
        <p:spPr bwMode="auto">
          <a:xfrm>
            <a:off x="4743382" y="3639312"/>
            <a:ext cx="202785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a:t>Reroute NAS </a:t>
            </a:r>
            <a:br>
              <a:rPr lang="en-US" altLang="en-US" sz="1600" dirty="0"/>
            </a:br>
            <a:r>
              <a:rPr lang="en-US" altLang="en-US" sz="1600" dirty="0"/>
              <a:t>Message Request</a:t>
            </a:r>
          </a:p>
        </p:txBody>
      </p:sp>
      <p:sp>
        <p:nvSpPr>
          <p:cNvPr id="6" name="Rounded Rectangle 58"/>
          <p:cNvSpPr/>
          <p:nvPr/>
        </p:nvSpPr>
        <p:spPr bwMode="auto">
          <a:xfrm>
            <a:off x="10207626" y="2867855"/>
            <a:ext cx="1712913" cy="939800"/>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wrap="none" lIns="72000" rIns="72000"/>
          <a:lstStyle/>
          <a:p>
            <a:pPr>
              <a:spcBef>
                <a:spcPct val="50000"/>
              </a:spcBef>
              <a:defRPr/>
            </a:pPr>
            <a:endParaRPr lang="en-US">
              <a:latin typeface="Arial" charset="0"/>
              <a:cs typeface="Arial" charset="0"/>
            </a:endParaRPr>
          </a:p>
        </p:txBody>
      </p:sp>
      <p:sp>
        <p:nvSpPr>
          <p:cNvPr id="7" name="Rounded Rectangle 1"/>
          <p:cNvSpPr/>
          <p:nvPr/>
        </p:nvSpPr>
        <p:spPr bwMode="auto">
          <a:xfrm>
            <a:off x="2608263" y="2861505"/>
            <a:ext cx="1663700" cy="946150"/>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wrap="none" lIns="72000" rIns="72000"/>
          <a:lstStyle/>
          <a:p>
            <a:pPr>
              <a:spcBef>
                <a:spcPct val="50000"/>
              </a:spcBef>
              <a:defRPr/>
            </a:pPr>
            <a:endParaRPr lang="en-US">
              <a:latin typeface="Arial" charset="0"/>
              <a:cs typeface="Arial" charset="0"/>
            </a:endParaRPr>
          </a:p>
        </p:txBody>
      </p:sp>
      <p:cxnSp>
        <p:nvCxnSpPr>
          <p:cNvPr id="8" name="Straight Arrow Connector 31"/>
          <p:cNvCxnSpPr>
            <a:cxnSpLocks noChangeShapeType="1"/>
          </p:cNvCxnSpPr>
          <p:nvPr/>
        </p:nvCxnSpPr>
        <p:spPr bwMode="auto">
          <a:xfrm flipV="1">
            <a:off x="5851526" y="5760282"/>
            <a:ext cx="4763" cy="219075"/>
          </a:xfrm>
          <a:prstGeom prst="straightConnector1">
            <a:avLst/>
          </a:prstGeom>
          <a:noFill/>
          <a:ln w="381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9" name="Oval 33"/>
          <p:cNvSpPr>
            <a:spLocks noChangeArrowheads="1"/>
          </p:cNvSpPr>
          <p:nvPr/>
        </p:nvSpPr>
        <p:spPr bwMode="auto">
          <a:xfrm>
            <a:off x="5170488" y="572535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1</a:t>
            </a:r>
            <a:endParaRPr lang="en-US" altLang="en-US" sz="2000" b="1">
              <a:solidFill>
                <a:srgbClr val="FFFFFF"/>
              </a:solidFill>
            </a:endParaRPr>
          </a:p>
        </p:txBody>
      </p:sp>
      <p:sp>
        <p:nvSpPr>
          <p:cNvPr id="10" name="TextBox 34"/>
          <p:cNvSpPr txBox="1">
            <a:spLocks noChangeArrowheads="1"/>
          </p:cNvSpPr>
          <p:nvPr/>
        </p:nvSpPr>
        <p:spPr bwMode="auto">
          <a:xfrm>
            <a:off x="3532188" y="5715830"/>
            <a:ext cx="15872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a:t>Attach Request</a:t>
            </a:r>
          </a:p>
        </p:txBody>
      </p:sp>
      <p:sp>
        <p:nvSpPr>
          <p:cNvPr id="11" name="Freeform 36"/>
          <p:cNvSpPr>
            <a:spLocks/>
          </p:cNvSpPr>
          <p:nvPr/>
        </p:nvSpPr>
        <p:spPr bwMode="auto">
          <a:xfrm>
            <a:off x="3806826" y="3725107"/>
            <a:ext cx="1958975" cy="1179513"/>
          </a:xfrm>
          <a:custGeom>
            <a:avLst/>
            <a:gdLst>
              <a:gd name="T0" fmla="*/ 2349050 w 1888993"/>
              <a:gd name="T1" fmla="*/ 1181186 h 1179095"/>
              <a:gd name="T2" fmla="*/ 874549 w 1888993"/>
              <a:gd name="T3" fmla="*/ 584654 h 1179095"/>
              <a:gd name="T4" fmla="*/ 40 w 1888993"/>
              <a:gd name="T5" fmla="*/ 0 h 1179095"/>
              <a:gd name="T6" fmla="*/ 0 60000 65536"/>
              <a:gd name="T7" fmla="*/ 0 60000 65536"/>
              <a:gd name="T8" fmla="*/ 0 60000 65536"/>
            </a:gdLst>
            <a:ahLst/>
            <a:cxnLst>
              <a:cxn ang="T6">
                <a:pos x="T0" y="T1"/>
              </a:cxn>
              <a:cxn ang="T7">
                <a:pos x="T2" y="T3"/>
              </a:cxn>
              <a:cxn ang="T8">
                <a:pos x="T4" y="T5"/>
              </a:cxn>
            </a:cxnLst>
            <a:rect l="0" t="0" r="r" b="b"/>
            <a:pathLst>
              <a:path w="1888993" h="1179095">
                <a:moveTo>
                  <a:pt x="1888993" y="1179095"/>
                </a:moveTo>
                <a:cubicBezTo>
                  <a:pt x="1879969" y="607093"/>
                  <a:pt x="1216879" y="727126"/>
                  <a:pt x="703271" y="583619"/>
                </a:cubicBezTo>
                <a:cubicBezTo>
                  <a:pt x="189663" y="440112"/>
                  <a:pt x="-2973" y="280235"/>
                  <a:pt x="34"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2" name="Oval 37"/>
          <p:cNvSpPr>
            <a:spLocks noChangeArrowheads="1"/>
          </p:cNvSpPr>
          <p:nvPr/>
        </p:nvSpPr>
        <p:spPr bwMode="auto">
          <a:xfrm>
            <a:off x="4038601" y="4318830"/>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2</a:t>
            </a:r>
            <a:endParaRPr lang="en-US" altLang="en-US" sz="2000" b="1">
              <a:solidFill>
                <a:srgbClr val="FFFFFF"/>
              </a:solidFill>
            </a:endParaRPr>
          </a:p>
        </p:txBody>
      </p:sp>
      <p:sp>
        <p:nvSpPr>
          <p:cNvPr id="13" name="Freeform 39"/>
          <p:cNvSpPr>
            <a:spLocks/>
          </p:cNvSpPr>
          <p:nvPr/>
        </p:nvSpPr>
        <p:spPr bwMode="auto">
          <a:xfrm flipH="1">
            <a:off x="3862388" y="2061405"/>
            <a:ext cx="1998663" cy="850900"/>
          </a:xfrm>
          <a:custGeom>
            <a:avLst/>
            <a:gdLst>
              <a:gd name="T0" fmla="*/ 2717899 w 1879552"/>
              <a:gd name="T1" fmla="*/ 85384 h 1347537"/>
              <a:gd name="T2" fmla="*/ 577934 w 1879552"/>
              <a:gd name="T3" fmla="*/ 48029 h 1347537"/>
              <a:gd name="T4" fmla="*/ 3796 w 1879552"/>
              <a:gd name="T5" fmla="*/ 0 h 1347537"/>
              <a:gd name="T6" fmla="*/ 0 60000 65536"/>
              <a:gd name="T7" fmla="*/ 0 60000 65536"/>
              <a:gd name="T8" fmla="*/ 0 60000 65536"/>
            </a:gdLst>
            <a:ahLst/>
            <a:cxnLst>
              <a:cxn ang="T6">
                <a:pos x="T0" y="T1"/>
              </a:cxn>
              <a:cxn ang="T7">
                <a:pos x="T2" y="T3"/>
              </a:cxn>
              <a:cxn ang="T8">
                <a:pos x="T4" y="T5"/>
              </a:cxn>
            </a:cxnLst>
            <a:rect l="0" t="0" r="r" b="b"/>
            <a:pathLst>
              <a:path w="1879552" h="1347537">
                <a:moveTo>
                  <a:pt x="1879552" y="1347537"/>
                </a:moveTo>
                <a:cubicBezTo>
                  <a:pt x="1870528" y="775535"/>
                  <a:pt x="772647" y="838199"/>
                  <a:pt x="399668" y="757991"/>
                </a:cubicBezTo>
                <a:cubicBezTo>
                  <a:pt x="26689" y="677783"/>
                  <a:pt x="-12413" y="520866"/>
                  <a:pt x="2625"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4" name="TextBox 40"/>
          <p:cNvSpPr txBox="1">
            <a:spLocks noChangeArrowheads="1"/>
          </p:cNvSpPr>
          <p:nvPr/>
        </p:nvSpPr>
        <p:spPr bwMode="auto">
          <a:xfrm>
            <a:off x="3601476" y="1617133"/>
            <a:ext cx="22399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GB" sz="1600" dirty="0"/>
              <a:t>Authentication Information Request</a:t>
            </a:r>
            <a:endParaRPr lang="en-US" altLang="en-US" sz="1600" dirty="0"/>
          </a:p>
        </p:txBody>
      </p:sp>
      <p:sp>
        <p:nvSpPr>
          <p:cNvPr id="15" name="Oval 41"/>
          <p:cNvSpPr>
            <a:spLocks noChangeArrowheads="1"/>
          </p:cNvSpPr>
          <p:nvPr/>
        </p:nvSpPr>
        <p:spPr bwMode="auto">
          <a:xfrm>
            <a:off x="4323522" y="2252528"/>
            <a:ext cx="392113"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3</a:t>
            </a:r>
            <a:endParaRPr lang="en-US" altLang="en-US" sz="2000" b="1">
              <a:solidFill>
                <a:srgbClr val="FFFFFF"/>
              </a:solidFill>
            </a:endParaRPr>
          </a:p>
        </p:txBody>
      </p:sp>
      <p:sp>
        <p:nvSpPr>
          <p:cNvPr id="16" name="Freeform 42"/>
          <p:cNvSpPr>
            <a:spLocks/>
          </p:cNvSpPr>
          <p:nvPr/>
        </p:nvSpPr>
        <p:spPr bwMode="auto">
          <a:xfrm flipH="1" flipV="1">
            <a:off x="4035426" y="3760030"/>
            <a:ext cx="1874839" cy="1150938"/>
          </a:xfrm>
          <a:custGeom>
            <a:avLst/>
            <a:gdLst>
              <a:gd name="T0" fmla="*/ 2084481 w 1835568"/>
              <a:gd name="T1" fmla="*/ 1019652 h 1179095"/>
              <a:gd name="T2" fmla="*/ 226295 w 1835568"/>
              <a:gd name="T3" fmla="*/ 447400 h 1179095"/>
              <a:gd name="T4" fmla="*/ 7685 w 1835568"/>
              <a:gd name="T5" fmla="*/ 0 h 1179095"/>
              <a:gd name="T6" fmla="*/ 0 60000 65536"/>
              <a:gd name="T7" fmla="*/ 0 60000 65536"/>
              <a:gd name="T8" fmla="*/ 0 60000 65536"/>
            </a:gdLst>
            <a:ahLst/>
            <a:cxnLst>
              <a:cxn ang="T6">
                <a:pos x="T0" y="T1"/>
              </a:cxn>
              <a:cxn ang="T7">
                <a:pos x="T2" y="T3"/>
              </a:cxn>
              <a:cxn ang="T8">
                <a:pos x="T4" y="T5"/>
              </a:cxn>
            </a:cxnLst>
            <a:rect l="0" t="0" r="r" b="b"/>
            <a:pathLst>
              <a:path w="1835568" h="1179095">
                <a:moveTo>
                  <a:pt x="1835568" y="1179095"/>
                </a:moveTo>
                <a:cubicBezTo>
                  <a:pt x="1826544" y="607093"/>
                  <a:pt x="504073" y="713874"/>
                  <a:pt x="199273" y="517358"/>
                </a:cubicBezTo>
                <a:cubicBezTo>
                  <a:pt x="-49380" y="360948"/>
                  <a:pt x="3760" y="280235"/>
                  <a:pt x="6767"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7" name="Oval 43"/>
          <p:cNvSpPr>
            <a:spLocks noChangeArrowheads="1"/>
          </p:cNvSpPr>
          <p:nvPr/>
        </p:nvSpPr>
        <p:spPr bwMode="auto">
          <a:xfrm>
            <a:off x="4413252" y="3788605"/>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5</a:t>
            </a:r>
            <a:endParaRPr lang="en-US" altLang="en-US" sz="2000" b="1" dirty="0">
              <a:solidFill>
                <a:srgbClr val="FFFFFF"/>
              </a:solidFill>
            </a:endParaRPr>
          </a:p>
        </p:txBody>
      </p:sp>
      <p:sp>
        <p:nvSpPr>
          <p:cNvPr id="18" name="Freeform 54"/>
          <p:cNvSpPr>
            <a:spLocks/>
          </p:cNvSpPr>
          <p:nvPr/>
        </p:nvSpPr>
        <p:spPr bwMode="auto">
          <a:xfrm flipV="1">
            <a:off x="6137275" y="3807655"/>
            <a:ext cx="4611688" cy="2171700"/>
          </a:xfrm>
          <a:custGeom>
            <a:avLst/>
            <a:gdLst>
              <a:gd name="T0" fmla="*/ 352341904 w 1937427"/>
              <a:gd name="T1" fmla="*/ 1278717 h 2414519"/>
              <a:gd name="T2" fmla="*/ 156489213 w 1937427"/>
              <a:gd name="T3" fmla="*/ 855116 h 2414519"/>
              <a:gd name="T4" fmla="*/ 881121 w 1937427"/>
              <a:gd name="T5" fmla="*/ 583904 h 2414519"/>
              <a:gd name="T6" fmla="*/ 110428 w 1937427"/>
              <a:gd name="T7" fmla="*/ 0 h 24145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37427" h="2414519">
                <a:moveTo>
                  <a:pt x="1937427" y="2414519"/>
                </a:moveTo>
                <a:cubicBezTo>
                  <a:pt x="1920722" y="1516598"/>
                  <a:pt x="1228670" y="1616040"/>
                  <a:pt x="860489" y="1614659"/>
                </a:cubicBezTo>
                <a:cubicBezTo>
                  <a:pt x="492308" y="1613278"/>
                  <a:pt x="11504" y="1666186"/>
                  <a:pt x="4845" y="1102548"/>
                </a:cubicBezTo>
                <a:cubicBezTo>
                  <a:pt x="-1814" y="538910"/>
                  <a:pt x="190" y="1012224"/>
                  <a:pt x="607" y="0"/>
                </a:cubicBezTo>
              </a:path>
            </a:pathLst>
          </a:custGeom>
          <a:noFill/>
          <a:ln w="38100" cap="flat" cmpd="sng" algn="ctr">
            <a:solidFill>
              <a:schemeClr val="tx1"/>
            </a:solidFill>
            <a:prstDash val="solid"/>
            <a:round/>
            <a:headEnd type="arrow"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19" name="TextBox 47"/>
          <p:cNvSpPr txBox="1">
            <a:spLocks noChangeArrowheads="1"/>
          </p:cNvSpPr>
          <p:nvPr/>
        </p:nvSpPr>
        <p:spPr bwMode="auto">
          <a:xfrm>
            <a:off x="7515983" y="3824494"/>
            <a:ext cx="21180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err="1"/>
              <a:t>eNB</a:t>
            </a:r>
            <a:r>
              <a:rPr lang="en-US" altLang="en-US" sz="1600" dirty="0"/>
              <a:t> selects MME </a:t>
            </a:r>
            <a:br>
              <a:rPr lang="en-US" altLang="en-US" sz="1600" dirty="0"/>
            </a:br>
            <a:r>
              <a:rPr lang="en-US" altLang="en-US" sz="1600" dirty="0"/>
              <a:t>according to MMEGI</a:t>
            </a:r>
          </a:p>
        </p:txBody>
      </p:sp>
      <p:sp>
        <p:nvSpPr>
          <p:cNvPr id="20" name="Oval 46"/>
          <p:cNvSpPr>
            <a:spLocks noChangeArrowheads="1"/>
          </p:cNvSpPr>
          <p:nvPr/>
        </p:nvSpPr>
        <p:spPr bwMode="auto">
          <a:xfrm>
            <a:off x="7129462" y="4034670"/>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6</a:t>
            </a:r>
            <a:endParaRPr lang="en-US" altLang="en-US" sz="2000" b="1" dirty="0">
              <a:solidFill>
                <a:srgbClr val="FFFFFF"/>
              </a:solidFill>
            </a:endParaRPr>
          </a:p>
        </p:txBody>
      </p:sp>
      <p:sp>
        <p:nvSpPr>
          <p:cNvPr id="21" name="Freeform 45"/>
          <p:cNvSpPr>
            <a:spLocks/>
          </p:cNvSpPr>
          <p:nvPr/>
        </p:nvSpPr>
        <p:spPr bwMode="auto">
          <a:xfrm flipH="1">
            <a:off x="6045200" y="3725107"/>
            <a:ext cx="4459288" cy="1179513"/>
          </a:xfrm>
          <a:custGeom>
            <a:avLst/>
            <a:gdLst>
              <a:gd name="T0" fmla="*/ 384433208 w 1828855"/>
              <a:gd name="T1" fmla="*/ 1181186 h 1179095"/>
              <a:gd name="T2" fmla="*/ 133370879 w 1828855"/>
              <a:gd name="T3" fmla="*/ 651033 h 1179095"/>
              <a:gd name="T4" fmla="*/ 11380 w 1828855"/>
              <a:gd name="T5" fmla="*/ 0 h 1179095"/>
              <a:gd name="T6" fmla="*/ 0 60000 65536"/>
              <a:gd name="T7" fmla="*/ 0 60000 65536"/>
              <a:gd name="T8" fmla="*/ 0 60000 65536"/>
            </a:gdLst>
            <a:ahLst/>
            <a:cxnLst>
              <a:cxn ang="T6">
                <a:pos x="T0" y="T1"/>
              </a:cxn>
              <a:cxn ang="T7">
                <a:pos x="T2" y="T3"/>
              </a:cxn>
              <a:cxn ang="T8">
                <a:pos x="T4" y="T5"/>
              </a:cxn>
            </a:cxnLst>
            <a:rect l="0" t="0" r="r" b="b"/>
            <a:pathLst>
              <a:path w="1828855" h="1179095">
                <a:moveTo>
                  <a:pt x="1828855" y="1179095"/>
                </a:moveTo>
                <a:cubicBezTo>
                  <a:pt x="1819831" y="540833"/>
                  <a:pt x="1151185" y="700273"/>
                  <a:pt x="634482" y="649880"/>
                </a:cubicBezTo>
                <a:cubicBezTo>
                  <a:pt x="117779" y="599487"/>
                  <a:pt x="-2953" y="452513"/>
                  <a:pt x="54"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2" name="TextBox 55"/>
          <p:cNvSpPr txBox="1">
            <a:spLocks noChangeArrowheads="1"/>
          </p:cNvSpPr>
          <p:nvPr/>
        </p:nvSpPr>
        <p:spPr bwMode="auto">
          <a:xfrm>
            <a:off x="8901458" y="4626806"/>
            <a:ext cx="1816395" cy="584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a:t> Attach Procedure</a:t>
            </a:r>
            <a:br>
              <a:rPr lang="en-US" altLang="en-US" sz="1600" dirty="0"/>
            </a:br>
            <a:r>
              <a:rPr lang="en-US" altLang="en-US" sz="1600" dirty="0"/>
              <a:t> continues …</a:t>
            </a:r>
          </a:p>
        </p:txBody>
      </p:sp>
      <p:sp>
        <p:nvSpPr>
          <p:cNvPr id="23" name="Oval 56"/>
          <p:cNvSpPr>
            <a:spLocks noChangeArrowheads="1"/>
          </p:cNvSpPr>
          <p:nvPr/>
        </p:nvSpPr>
        <p:spPr bwMode="auto">
          <a:xfrm>
            <a:off x="8526463" y="4691895"/>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8</a:t>
            </a:r>
            <a:endParaRPr lang="en-US" altLang="en-US" sz="2000" b="1">
              <a:solidFill>
                <a:srgbClr val="FFFFFF"/>
              </a:solidFill>
            </a:endParaRPr>
          </a:p>
        </p:txBody>
      </p:sp>
      <p:sp>
        <p:nvSpPr>
          <p:cNvPr id="24" name="TextBox 23"/>
          <p:cNvSpPr txBox="1"/>
          <p:nvPr/>
        </p:nvSpPr>
        <p:spPr>
          <a:xfrm>
            <a:off x="2566989" y="2917069"/>
            <a:ext cx="742511" cy="707886"/>
          </a:xfrm>
          <a:prstGeom prst="rect">
            <a:avLst/>
          </a:prstGeom>
          <a:noFill/>
        </p:spPr>
        <p:txBody>
          <a:bodyPr wrap="none">
            <a:spAutoFit/>
          </a:bodyPr>
          <a:lstStyle/>
          <a:p>
            <a:pPr>
              <a:defRPr/>
            </a:pPr>
            <a:r>
              <a:rPr lang="en-US" dirty="0">
                <a:solidFill>
                  <a:schemeClr val="bg1">
                    <a:lumMod val="75000"/>
                  </a:schemeClr>
                </a:solidFill>
                <a:latin typeface="Arial" charset="0"/>
                <a:cs typeface="Arial" charset="0"/>
              </a:rPr>
              <a:t>DCN</a:t>
            </a:r>
            <a:br>
              <a:rPr lang="en-US" dirty="0">
                <a:solidFill>
                  <a:schemeClr val="bg1">
                    <a:lumMod val="75000"/>
                  </a:schemeClr>
                </a:solidFill>
                <a:latin typeface="Arial" charset="0"/>
                <a:cs typeface="Arial" charset="0"/>
              </a:rPr>
            </a:br>
            <a:r>
              <a:rPr lang="en-US" dirty="0">
                <a:solidFill>
                  <a:schemeClr val="bg1">
                    <a:lumMod val="75000"/>
                  </a:schemeClr>
                </a:solidFill>
                <a:latin typeface="Arial" charset="0"/>
                <a:cs typeface="Arial" charset="0"/>
              </a:rPr>
              <a:t>#1</a:t>
            </a:r>
          </a:p>
        </p:txBody>
      </p:sp>
      <p:sp>
        <p:nvSpPr>
          <p:cNvPr id="25" name="TextBox 24"/>
          <p:cNvSpPr txBox="1"/>
          <p:nvPr/>
        </p:nvSpPr>
        <p:spPr>
          <a:xfrm>
            <a:off x="11178029" y="2955169"/>
            <a:ext cx="742511" cy="707886"/>
          </a:xfrm>
          <a:prstGeom prst="rect">
            <a:avLst/>
          </a:prstGeom>
          <a:noFill/>
        </p:spPr>
        <p:txBody>
          <a:bodyPr wrap="none">
            <a:spAutoFit/>
          </a:bodyPr>
          <a:lstStyle/>
          <a:p>
            <a:pPr algn="r">
              <a:defRPr/>
            </a:pPr>
            <a:r>
              <a:rPr lang="en-US" dirty="0">
                <a:solidFill>
                  <a:schemeClr val="bg1">
                    <a:lumMod val="75000"/>
                  </a:schemeClr>
                </a:solidFill>
                <a:latin typeface="Arial" charset="0"/>
                <a:cs typeface="Arial" charset="0"/>
              </a:rPr>
              <a:t>DCN</a:t>
            </a:r>
            <a:br>
              <a:rPr lang="en-US" dirty="0">
                <a:solidFill>
                  <a:schemeClr val="bg1">
                    <a:lumMod val="75000"/>
                  </a:schemeClr>
                </a:solidFill>
                <a:latin typeface="Arial" charset="0"/>
                <a:cs typeface="Arial" charset="0"/>
              </a:rPr>
            </a:br>
            <a:r>
              <a:rPr lang="en-US" dirty="0">
                <a:solidFill>
                  <a:schemeClr val="bg1">
                    <a:lumMod val="75000"/>
                  </a:schemeClr>
                </a:solidFill>
                <a:latin typeface="Arial" charset="0"/>
                <a:cs typeface="Arial" charset="0"/>
              </a:rPr>
              <a:t>#2</a:t>
            </a:r>
          </a:p>
        </p:txBody>
      </p:sp>
      <p:sp>
        <p:nvSpPr>
          <p:cNvPr id="26" name="Freeform 60"/>
          <p:cNvSpPr>
            <a:spLocks/>
          </p:cNvSpPr>
          <p:nvPr/>
        </p:nvSpPr>
        <p:spPr bwMode="auto">
          <a:xfrm>
            <a:off x="6146800" y="2061405"/>
            <a:ext cx="4357688" cy="865188"/>
          </a:xfrm>
          <a:custGeom>
            <a:avLst/>
            <a:gdLst>
              <a:gd name="T0" fmla="*/ 291960948 w 1879552"/>
              <a:gd name="T1" fmla="*/ 94301 h 1347537"/>
              <a:gd name="T2" fmla="*/ 62082554 w 1879552"/>
              <a:gd name="T3" fmla="*/ 53044 h 1347537"/>
              <a:gd name="T4" fmla="*/ 407787 w 1879552"/>
              <a:gd name="T5" fmla="*/ 0 h 1347537"/>
              <a:gd name="T6" fmla="*/ 0 60000 65536"/>
              <a:gd name="T7" fmla="*/ 0 60000 65536"/>
              <a:gd name="T8" fmla="*/ 0 60000 65536"/>
            </a:gdLst>
            <a:ahLst/>
            <a:cxnLst>
              <a:cxn ang="T6">
                <a:pos x="T0" y="T1"/>
              </a:cxn>
              <a:cxn ang="T7">
                <a:pos x="T2" y="T3"/>
              </a:cxn>
              <a:cxn ang="T8">
                <a:pos x="T4" y="T5"/>
              </a:cxn>
            </a:cxnLst>
            <a:rect l="0" t="0" r="r" b="b"/>
            <a:pathLst>
              <a:path w="1879552" h="1347537">
                <a:moveTo>
                  <a:pt x="1879552" y="1347537"/>
                </a:moveTo>
                <a:cubicBezTo>
                  <a:pt x="1870528" y="775535"/>
                  <a:pt x="772647" y="838199"/>
                  <a:pt x="399668" y="757991"/>
                </a:cubicBezTo>
                <a:cubicBezTo>
                  <a:pt x="26689" y="677783"/>
                  <a:pt x="-12413" y="520866"/>
                  <a:pt x="2625" y="0"/>
                </a:cubicBezTo>
              </a:path>
            </a:pathLst>
          </a:custGeom>
          <a:noFill/>
          <a:ln w="38100" cap="flat" cmpd="sng" algn="ctr">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27" name="TextBox 61"/>
          <p:cNvSpPr txBox="1">
            <a:spLocks noChangeArrowheads="1"/>
          </p:cNvSpPr>
          <p:nvPr/>
        </p:nvSpPr>
        <p:spPr bwMode="auto">
          <a:xfrm>
            <a:off x="6940551" y="2129669"/>
            <a:ext cx="2795830" cy="338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a:t>   Authentication/Registration</a:t>
            </a:r>
          </a:p>
        </p:txBody>
      </p:sp>
      <p:sp>
        <p:nvSpPr>
          <p:cNvPr id="28" name="Oval 62"/>
          <p:cNvSpPr>
            <a:spLocks noChangeArrowheads="1"/>
          </p:cNvSpPr>
          <p:nvPr/>
        </p:nvSpPr>
        <p:spPr bwMode="auto">
          <a:xfrm>
            <a:off x="6765926" y="2159830"/>
            <a:ext cx="392113"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7</a:t>
            </a:r>
            <a:endParaRPr lang="en-US" altLang="en-US" sz="2000" b="1">
              <a:solidFill>
                <a:srgbClr val="FFFFFF"/>
              </a:solidFill>
            </a:endParaRPr>
          </a:p>
        </p:txBody>
      </p:sp>
      <p:sp>
        <p:nvSpPr>
          <p:cNvPr id="29" name="Parallelogram 9"/>
          <p:cNvSpPr>
            <a:spLocks noChangeArrowheads="1"/>
          </p:cNvSpPr>
          <p:nvPr/>
        </p:nvSpPr>
        <p:spPr bwMode="auto">
          <a:xfrm>
            <a:off x="6591300" y="1267655"/>
            <a:ext cx="2000251" cy="247650"/>
          </a:xfrm>
          <a:prstGeom prst="parallelogram">
            <a:avLst>
              <a:gd name="adj" fmla="val 24979"/>
            </a:avLst>
          </a:prstGeom>
          <a:solidFill>
            <a:srgbClr val="F08A00"/>
          </a:solidFill>
          <a:ln>
            <a:noFill/>
          </a:ln>
          <a:extLst>
            <a:ext uri="{91240B29-F687-4F45-9708-019B960494DF}">
              <a14:hiddenLine xmlns:a14="http://schemas.microsoft.com/office/drawing/2010/main" w="12700" algn="ctr">
                <a:solidFill>
                  <a:schemeClr val="tx1"/>
                </a:solidFill>
                <a:round/>
                <a:headEnd/>
                <a:tailEnd/>
              </a14:hiddenLine>
            </a:ext>
          </a:extLst>
        </p:spPr>
        <p:txBody>
          <a:bodyPr wrap="none" lIns="0" tIns="0" rIns="0" bIns="0" anchor="ctr" anchorCtr="1"/>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50000"/>
              </a:spcBef>
              <a:buClrTx/>
              <a:buFontTx/>
              <a:buNone/>
            </a:pPr>
            <a:r>
              <a:rPr lang="en-US" altLang="en-US" sz="1400" b="1">
                <a:solidFill>
                  <a:schemeClr val="bg1"/>
                </a:solidFill>
              </a:rPr>
              <a:t>UE Usage Type</a:t>
            </a:r>
          </a:p>
        </p:txBody>
      </p:sp>
      <p:cxnSp>
        <p:nvCxnSpPr>
          <p:cNvPr id="30" name="Curved Connector 12"/>
          <p:cNvCxnSpPr>
            <a:cxnSpLocks noChangeShapeType="1"/>
            <a:stCxn id="29" idx="5"/>
          </p:cNvCxnSpPr>
          <p:nvPr/>
        </p:nvCxnSpPr>
        <p:spPr bwMode="auto">
          <a:xfrm rot="10800000" flipV="1">
            <a:off x="5989640" y="1391480"/>
            <a:ext cx="642937" cy="242888"/>
          </a:xfrm>
          <a:prstGeom prst="curvedConnector3">
            <a:avLst>
              <a:gd name="adj1" fmla="val 50000"/>
            </a:avLst>
          </a:prstGeom>
          <a:noFill/>
          <a:ln w="19050" algn="ctr">
            <a:solidFill>
              <a:srgbClr val="F08A00"/>
            </a:solidFill>
            <a:round/>
            <a:headEnd/>
            <a:tailEnd/>
          </a:ln>
          <a:extLst>
            <a:ext uri="{909E8E84-426E-40DD-AFC4-6F175D3DCCD1}">
              <a14:hiddenFill xmlns:a14="http://schemas.microsoft.com/office/drawing/2010/main">
                <a:noFill/>
              </a14:hiddenFill>
            </a:ext>
          </a:extLst>
        </p:spPr>
      </p:cxnSp>
      <p:sp>
        <p:nvSpPr>
          <p:cNvPr id="31" name="Freeform 69"/>
          <p:cNvSpPr>
            <a:spLocks/>
          </p:cNvSpPr>
          <p:nvPr/>
        </p:nvSpPr>
        <p:spPr bwMode="auto">
          <a:xfrm>
            <a:off x="2975519" y="2321071"/>
            <a:ext cx="697957" cy="765862"/>
          </a:xfrm>
          <a:custGeom>
            <a:avLst/>
            <a:gdLst>
              <a:gd name="T0" fmla="*/ 2876465 w 1879552"/>
              <a:gd name="T1" fmla="*/ 14538 h 1347537"/>
              <a:gd name="T2" fmla="*/ 611652 w 1879552"/>
              <a:gd name="T3" fmla="*/ 8178 h 1347537"/>
              <a:gd name="T4" fmla="*/ 4017 w 1879552"/>
              <a:gd name="T5" fmla="*/ 0 h 1347537"/>
              <a:gd name="T6" fmla="*/ 0 60000 65536"/>
              <a:gd name="T7" fmla="*/ 0 60000 65536"/>
              <a:gd name="T8" fmla="*/ 0 60000 65536"/>
              <a:gd name="connsiteX0" fmla="*/ 1532135 w 1532135"/>
              <a:gd name="connsiteY0" fmla="*/ 592521 h 1080152"/>
              <a:gd name="connsiteX1" fmla="*/ 52251 w 1532135"/>
              <a:gd name="connsiteY1" fmla="*/ 2975 h 1080152"/>
              <a:gd name="connsiteX2" fmla="*/ 1439906 w 1532135"/>
              <a:gd name="connsiteY2" fmla="*/ 974153 h 1080152"/>
              <a:gd name="connsiteX0" fmla="*/ 669435 w 669435"/>
              <a:gd name="connsiteY0" fmla="*/ 1240108 h 1700974"/>
              <a:gd name="connsiteX1" fmla="*/ 95421 w 669435"/>
              <a:gd name="connsiteY1" fmla="*/ 2123 h 1700974"/>
              <a:gd name="connsiteX2" fmla="*/ 577206 w 669435"/>
              <a:gd name="connsiteY2" fmla="*/ 1621740 h 1700974"/>
              <a:gd name="connsiteX0" fmla="*/ 731210 w 731210"/>
              <a:gd name="connsiteY0" fmla="*/ 1237985 h 1735657"/>
              <a:gd name="connsiteX1" fmla="*/ 157196 w 731210"/>
              <a:gd name="connsiteY1" fmla="*/ 0 h 1735657"/>
              <a:gd name="connsiteX2" fmla="*/ 638981 w 731210"/>
              <a:gd name="connsiteY2" fmla="*/ 1619617 h 1735657"/>
              <a:gd name="connsiteX0" fmla="*/ 811396 w 811396"/>
              <a:gd name="connsiteY0" fmla="*/ 1237985 h 1619617"/>
              <a:gd name="connsiteX1" fmla="*/ 237382 w 811396"/>
              <a:gd name="connsiteY1" fmla="*/ 0 h 1619617"/>
              <a:gd name="connsiteX2" fmla="*/ 719167 w 811396"/>
              <a:gd name="connsiteY2" fmla="*/ 1619617 h 1619617"/>
              <a:gd name="connsiteX0" fmla="*/ 721629 w 721629"/>
              <a:gd name="connsiteY0" fmla="*/ 1237985 h 1619617"/>
              <a:gd name="connsiteX1" fmla="*/ 147615 w 721629"/>
              <a:gd name="connsiteY1" fmla="*/ 0 h 1619617"/>
              <a:gd name="connsiteX2" fmla="*/ 629400 w 721629"/>
              <a:gd name="connsiteY2" fmla="*/ 1619617 h 1619617"/>
              <a:gd name="connsiteX0" fmla="*/ 721629 w 721629"/>
              <a:gd name="connsiteY0" fmla="*/ 1259659 h 1641291"/>
              <a:gd name="connsiteX1" fmla="*/ 147615 w 721629"/>
              <a:gd name="connsiteY1" fmla="*/ 21674 h 1641291"/>
              <a:gd name="connsiteX2" fmla="*/ 629400 w 721629"/>
              <a:gd name="connsiteY2" fmla="*/ 1641291 h 1641291"/>
              <a:gd name="connsiteX0" fmla="*/ 650165 w 650165"/>
              <a:gd name="connsiteY0" fmla="*/ 1259659 h 1641291"/>
              <a:gd name="connsiteX1" fmla="*/ 76151 w 650165"/>
              <a:gd name="connsiteY1" fmla="*/ 21674 h 1641291"/>
              <a:gd name="connsiteX2" fmla="*/ 557936 w 650165"/>
              <a:gd name="connsiteY2" fmla="*/ 1641291 h 1641291"/>
              <a:gd name="connsiteX0" fmla="*/ 650165 w 650165"/>
              <a:gd name="connsiteY0" fmla="*/ 1247679 h 1629311"/>
              <a:gd name="connsiteX1" fmla="*/ 76151 w 650165"/>
              <a:gd name="connsiteY1" fmla="*/ 9694 h 1629311"/>
              <a:gd name="connsiteX2" fmla="*/ 557936 w 650165"/>
              <a:gd name="connsiteY2" fmla="*/ 1629311 h 1629311"/>
            </a:gdLst>
            <a:ahLst/>
            <a:cxnLst>
              <a:cxn ang="0">
                <a:pos x="connsiteX0" y="connsiteY0"/>
              </a:cxn>
              <a:cxn ang="0">
                <a:pos x="connsiteX1" y="connsiteY1"/>
              </a:cxn>
              <a:cxn ang="0">
                <a:pos x="connsiteX2" y="connsiteY2"/>
              </a:cxn>
            </a:cxnLst>
            <a:rect l="l" t="t" r="r" b="b"/>
            <a:pathLst>
              <a:path w="650165" h="1629311">
                <a:moveTo>
                  <a:pt x="650165" y="1247679"/>
                </a:moveTo>
                <a:cubicBezTo>
                  <a:pt x="641141" y="675677"/>
                  <a:pt x="476171" y="-95366"/>
                  <a:pt x="76151" y="9694"/>
                </a:cubicBezTo>
                <a:cubicBezTo>
                  <a:pt x="-94020" y="392656"/>
                  <a:pt x="2081" y="1470863"/>
                  <a:pt x="557936" y="1629311"/>
                </a:cubicBezTo>
              </a:path>
            </a:pathLst>
          </a:custGeom>
          <a:noFill/>
          <a:ln w="38100" cap="flat" cmpd="sng" algn="ctr">
            <a:solidFill>
              <a:schemeClr val="tx1"/>
            </a:solidFill>
            <a:prstDash val="sysDash"/>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32" name="TextBox 70"/>
          <p:cNvSpPr txBox="1">
            <a:spLocks noChangeArrowheads="1"/>
          </p:cNvSpPr>
          <p:nvPr/>
        </p:nvSpPr>
        <p:spPr bwMode="auto">
          <a:xfrm>
            <a:off x="610488" y="1765370"/>
            <a:ext cx="241455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dirty="0"/>
              <a:t>Decide DCN based on internal or external information (such as “UE Usage Type”)</a:t>
            </a:r>
            <a:endParaRPr lang="en-US" altLang="en-US" sz="1600" dirty="0">
              <a:sym typeface="Wingdings" pitchFamily="2" charset="2"/>
            </a:endParaRPr>
          </a:p>
        </p:txBody>
      </p:sp>
      <p:sp>
        <p:nvSpPr>
          <p:cNvPr id="33" name="Oval 71"/>
          <p:cNvSpPr>
            <a:spLocks noChangeArrowheads="1"/>
          </p:cNvSpPr>
          <p:nvPr/>
        </p:nvSpPr>
        <p:spPr bwMode="auto">
          <a:xfrm>
            <a:off x="3025040" y="1982825"/>
            <a:ext cx="392112" cy="293687"/>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4</a:t>
            </a:r>
            <a:endParaRPr lang="en-US" altLang="en-US" sz="2000" b="1">
              <a:solidFill>
                <a:srgbClr val="FFFFFF"/>
              </a:solidFill>
            </a:endParaRPr>
          </a:p>
        </p:txBody>
      </p:sp>
      <p:sp>
        <p:nvSpPr>
          <p:cNvPr id="34" name="TextBox 72"/>
          <p:cNvSpPr txBox="1">
            <a:spLocks noChangeArrowheads="1"/>
          </p:cNvSpPr>
          <p:nvPr/>
        </p:nvSpPr>
        <p:spPr bwMode="auto">
          <a:xfrm>
            <a:off x="6127751" y="6074605"/>
            <a:ext cx="43364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600"/>
              <a:t>Slice 2 (DCN #2) is the target slice for this UE</a:t>
            </a:r>
          </a:p>
        </p:txBody>
      </p:sp>
      <p:sp>
        <p:nvSpPr>
          <p:cNvPr id="35" name="TextBox 73"/>
          <p:cNvSpPr txBox="1">
            <a:spLocks noChangeArrowheads="1"/>
          </p:cNvSpPr>
          <p:nvPr/>
        </p:nvSpPr>
        <p:spPr bwMode="auto">
          <a:xfrm>
            <a:off x="33257" y="4777318"/>
            <a:ext cx="2797029" cy="1021237"/>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square" lIns="18000" tIns="18000" rIns="18000" bIns="18000">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600" i="1" dirty="0">
                <a:solidFill>
                  <a:srgbClr val="FF0000"/>
                </a:solidFill>
              </a:rPr>
              <a:t>Note1: Simplified picture where not all response messages included in the figure for improved readability</a:t>
            </a:r>
          </a:p>
        </p:txBody>
      </p:sp>
      <p:grpSp>
        <p:nvGrpSpPr>
          <p:cNvPr id="36" name="Group 45"/>
          <p:cNvGrpSpPr>
            <a:grpSpLocks noChangeAspect="1"/>
          </p:cNvGrpSpPr>
          <p:nvPr/>
        </p:nvGrpSpPr>
        <p:grpSpPr bwMode="auto">
          <a:xfrm>
            <a:off x="5723666" y="1276500"/>
            <a:ext cx="534010" cy="765103"/>
            <a:chOff x="1057" y="1587"/>
            <a:chExt cx="363" cy="520"/>
          </a:xfrm>
        </p:grpSpPr>
        <p:sp>
          <p:nvSpPr>
            <p:cNvPr id="37"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38"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39"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b="1" dirty="0">
                  <a:latin typeface="Segoe UI" panose="020B0502040204020203" pitchFamily="34" charset="0"/>
                  <a:ea typeface="Segoe UI" panose="020B0502040204020203" pitchFamily="34" charset="0"/>
                  <a:cs typeface="Segoe UI" panose="020B0502040204020203" pitchFamily="34" charset="0"/>
                </a:rPr>
                <a:t>HSS </a:t>
              </a:r>
            </a:p>
          </p:txBody>
        </p:sp>
        <p:sp>
          <p:nvSpPr>
            <p:cNvPr id="40"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41"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42" name="Group 557"/>
          <p:cNvGrpSpPr>
            <a:grpSpLocks noChangeAspect="1"/>
          </p:cNvGrpSpPr>
          <p:nvPr/>
        </p:nvGrpSpPr>
        <p:grpSpPr bwMode="auto">
          <a:xfrm>
            <a:off x="3567632" y="2935915"/>
            <a:ext cx="516970" cy="746394"/>
            <a:chOff x="3510" y="1858"/>
            <a:chExt cx="363" cy="520"/>
          </a:xfrm>
        </p:grpSpPr>
        <p:sp>
          <p:nvSpPr>
            <p:cNvPr id="4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MME</a:t>
              </a:r>
            </a:p>
          </p:txBody>
        </p:sp>
        <p:sp>
          <p:nvSpPr>
            <p:cNvPr id="4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48" name="Group 557"/>
          <p:cNvGrpSpPr>
            <a:grpSpLocks noChangeAspect="1"/>
          </p:cNvGrpSpPr>
          <p:nvPr/>
        </p:nvGrpSpPr>
        <p:grpSpPr bwMode="auto">
          <a:xfrm>
            <a:off x="10408597" y="2930279"/>
            <a:ext cx="516970" cy="746394"/>
            <a:chOff x="3510" y="1858"/>
            <a:chExt cx="363" cy="520"/>
          </a:xfrm>
        </p:grpSpPr>
        <p:sp>
          <p:nvSpPr>
            <p:cNvPr id="49"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50"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51"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MME</a:t>
              </a:r>
            </a:p>
          </p:txBody>
        </p:sp>
        <p:sp>
          <p:nvSpPr>
            <p:cNvPr id="52"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53"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54" name="Group 278"/>
          <p:cNvGrpSpPr>
            <a:grpSpLocks noChangeAspect="1"/>
          </p:cNvGrpSpPr>
          <p:nvPr/>
        </p:nvGrpSpPr>
        <p:grpSpPr bwMode="auto">
          <a:xfrm>
            <a:off x="5692883" y="4920650"/>
            <a:ext cx="553824" cy="795180"/>
            <a:chOff x="3106" y="2389"/>
            <a:chExt cx="363" cy="520"/>
          </a:xfrm>
        </p:grpSpPr>
        <p:sp>
          <p:nvSpPr>
            <p:cNvPr id="55"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56"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57"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 </a:t>
              </a:r>
              <a:r>
                <a:rPr lang="en-US" altLang="en-US" sz="1200" b="1" dirty="0" err="1">
                  <a:latin typeface="Segoe UI" panose="020B0502040204020203" pitchFamily="34" charset="0"/>
                  <a:ea typeface="Segoe UI" panose="020B0502040204020203" pitchFamily="34" charset="0"/>
                  <a:cs typeface="Segoe UI" panose="020B0502040204020203" pitchFamily="34" charset="0"/>
                </a:rPr>
                <a:t>eNB</a:t>
              </a:r>
              <a:endParaRPr lang="en-US" altLang="en-US" sz="1200" b="1" dirty="0">
                <a:latin typeface="Segoe UI" panose="020B0502040204020203" pitchFamily="34" charset="0"/>
                <a:ea typeface="Segoe UI" panose="020B0502040204020203" pitchFamily="34" charset="0"/>
                <a:cs typeface="Segoe UI" panose="020B0502040204020203" pitchFamily="34" charset="0"/>
              </a:endParaRPr>
            </a:p>
          </p:txBody>
        </p:sp>
        <p:sp>
          <p:nvSpPr>
            <p:cNvPr id="58"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59"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60" name="Freeform 6"/>
          <p:cNvSpPr>
            <a:spLocks noChangeAspect="1" noEditPoints="1"/>
          </p:cNvSpPr>
          <p:nvPr/>
        </p:nvSpPr>
        <p:spPr bwMode="auto">
          <a:xfrm>
            <a:off x="5837970" y="6040097"/>
            <a:ext cx="308830" cy="57795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tx2">
              <a:lumMod val="90000"/>
              <a:lumOff val="10000"/>
            </a:schemeClr>
          </a:solidFill>
          <a:ln>
            <a:noFill/>
          </a:ln>
          <a:extLst/>
        </p:spPr>
        <p:txBody>
          <a:bodyPr lIns="91438" tIns="45719" rIns="91438" bIns="45719"/>
          <a:lstStyle/>
          <a:p>
            <a:pPr>
              <a:defRPr/>
            </a:pPr>
            <a:endParaRPr lang="en-US">
              <a:ea typeface="ＭＳ Ｐゴシック" pitchFamily="34" charset="-128"/>
            </a:endParaRPr>
          </a:p>
        </p:txBody>
      </p:sp>
      <p:sp>
        <p:nvSpPr>
          <p:cNvPr id="61" name="TextBox 73"/>
          <p:cNvSpPr txBox="1">
            <a:spLocks noChangeArrowheads="1"/>
          </p:cNvSpPr>
          <p:nvPr/>
        </p:nvSpPr>
        <p:spPr bwMode="auto">
          <a:xfrm>
            <a:off x="33257" y="5846934"/>
            <a:ext cx="2797029" cy="528794"/>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square" lIns="18000" tIns="18000" rIns="18000" bIns="18000">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600" i="1" dirty="0">
                <a:solidFill>
                  <a:srgbClr val="FF0000"/>
                </a:solidFill>
              </a:rPr>
              <a:t>Note2: Gateway Selection is not included for simplicity</a:t>
            </a:r>
          </a:p>
        </p:txBody>
      </p:sp>
    </p:spTree>
    <p:extLst>
      <p:ext uri="{BB962C8B-B14F-4D97-AF65-F5344CB8AC3E}">
        <p14:creationId xmlns:p14="http://schemas.microsoft.com/office/powerpoint/2010/main" val="2790920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2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par>
                                <p:cTn id="26" presetID="22" presetClass="entr" presetSubtype="4"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down)">
                                      <p:cBhvr>
                                        <p:cTn id="28" dur="500"/>
                                        <p:tgtEl>
                                          <p:spTgt spid="13"/>
                                        </p:tgtEl>
                                      </p:cBhvr>
                                    </p:animEffect>
                                  </p:childTnLst>
                                </p:cTn>
                              </p:par>
                            </p:childTnLst>
                          </p:cTn>
                        </p:par>
                        <p:par>
                          <p:cTn id="29" fill="hold">
                            <p:stCondLst>
                              <p:cond delay="500"/>
                            </p:stCondLst>
                            <p:childTnLst>
                              <p:par>
                                <p:cTn id="30" presetID="1" presetClass="entr" presetSubtype="0" fill="hold" nodeType="afterEffect">
                                  <p:stCondLst>
                                    <p:cond delay="0"/>
                                  </p:stCondLst>
                                  <p:childTnLst>
                                    <p:set>
                                      <p:cBhvr>
                                        <p:cTn id="31" dur="1" fill="hold">
                                          <p:stCondLst>
                                            <p:cond delay="0"/>
                                          </p:stCondLst>
                                        </p:cTn>
                                        <p:tgtEl>
                                          <p:spTgt spid="30"/>
                                        </p:tgtEl>
                                        <p:attrNameLst>
                                          <p:attrName>style.visibility</p:attrName>
                                        </p:attrNameLst>
                                      </p:cBhvr>
                                      <p:to>
                                        <p:strVal val="visible"/>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5"/>
                                        </p:tgtEl>
                                        <p:attrNameLst>
                                          <p:attrName>style.visibility</p:attrName>
                                        </p:attrNameLst>
                                      </p:cBhvr>
                                      <p:to>
                                        <p:strVal val="visible"/>
                                      </p:to>
                                    </p:set>
                                  </p:childTnLst>
                                </p:cTn>
                              </p:par>
                              <p:par>
                                <p:cTn id="50" presetID="22" presetClass="entr" presetSubtype="1"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wipe(up)">
                                      <p:cBhvr>
                                        <p:cTn id="52" dur="500"/>
                                        <p:tgtEl>
                                          <p:spTgt spid="16"/>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childTnLst>
                                </p:cTn>
                              </p:par>
                              <p:par>
                                <p:cTn id="59" presetID="22" presetClass="entr" presetSubtype="4" fill="hold" grpId="0" nodeType="with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wipe(down)">
                                      <p:cBhvr>
                                        <p:cTn id="61" dur="500"/>
                                        <p:tgtEl>
                                          <p:spTgt spid="21"/>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27"/>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28"/>
                                        </p:tgtEl>
                                        <p:attrNameLst>
                                          <p:attrName>style.visibility</p:attrName>
                                        </p:attrNameLst>
                                      </p:cBhvr>
                                      <p:to>
                                        <p:strVal val="visible"/>
                                      </p:to>
                                    </p:set>
                                  </p:childTnLst>
                                </p:cTn>
                              </p:par>
                              <p:par>
                                <p:cTn id="68" presetID="22" presetClass="entr" presetSubtype="4" fill="hold" grpId="0" nodeType="with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wipe(down)">
                                      <p:cBhvr>
                                        <p:cTn id="70" dur="500"/>
                                        <p:tgtEl>
                                          <p:spTgt spid="26"/>
                                        </p:tgtEl>
                                      </p:cBhvr>
                                    </p:animEffec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2"/>
                                        </p:tgtEl>
                                        <p:attrNameLst>
                                          <p:attrName>style.visibility</p:attrName>
                                        </p:attrNameLst>
                                      </p:cBhvr>
                                      <p:to>
                                        <p:strVal val="visible"/>
                                      </p:to>
                                    </p:set>
                                  </p:childTnLst>
                                </p:cTn>
                              </p:par>
                              <p:par>
                                <p:cTn id="77" presetID="16" presetClass="entr" presetSubtype="42" fill="hold" grpId="0" nodeType="with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barn(outHorizontal)">
                                      <p:cBhvr>
                                        <p:cTn id="7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9" grpId="0" animBg="1"/>
      <p:bldP spid="10" grpId="0"/>
      <p:bldP spid="11" grpId="0" animBg="1"/>
      <p:bldP spid="12" grpId="0" animBg="1"/>
      <p:bldP spid="13" grpId="0" animBg="1"/>
      <p:bldP spid="14" grpId="0"/>
      <p:bldP spid="15" grpId="0" animBg="1"/>
      <p:bldP spid="16" grpId="0" animBg="1"/>
      <p:bldP spid="17" grpId="0" animBg="1"/>
      <p:bldP spid="18" grpId="0" animBg="1"/>
      <p:bldP spid="19" grpId="0"/>
      <p:bldP spid="20" grpId="0" animBg="1"/>
      <p:bldP spid="21" grpId="0" animBg="1"/>
      <p:bldP spid="22" grpId="0" animBg="1"/>
      <p:bldP spid="23" grpId="0" animBg="1"/>
      <p:bldP spid="26" grpId="0" animBg="1"/>
      <p:bldP spid="27" grpId="0" animBg="1"/>
      <p:bldP spid="28" grpId="0" animBg="1"/>
      <p:bldP spid="29" grpId="0" animBg="1"/>
      <p:bldP spid="31" grpId="0" animBg="1"/>
      <p:bldP spid="32" grpId="0"/>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131100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447865" cy="1085371"/>
          </a:xfrm>
        </p:spPr>
        <p:txBody>
          <a:bodyPr/>
          <a:lstStyle/>
          <a:p>
            <a:r>
              <a:rPr lang="en-US" dirty="0"/>
              <a:t>Slice Selection based on </a:t>
            </a:r>
            <a:r>
              <a:rPr lang="en-US" sz="3600" dirty="0"/>
              <a:t>E</a:t>
            </a:r>
            <a:r>
              <a:rPr lang="en-US" dirty="0"/>
              <a:t>DECOR</a:t>
            </a:r>
          </a:p>
        </p:txBody>
      </p:sp>
      <p:sp>
        <p:nvSpPr>
          <p:cNvPr id="4" name="Rounded Rectangle 65"/>
          <p:cNvSpPr/>
          <p:nvPr/>
        </p:nvSpPr>
        <p:spPr bwMode="auto">
          <a:xfrm>
            <a:off x="712648" y="2278363"/>
            <a:ext cx="3536039"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dirty="0">
              <a:solidFill>
                <a:srgbClr val="58585A"/>
              </a:solidFill>
            </a:endParaRPr>
          </a:p>
        </p:txBody>
      </p:sp>
      <p:sp>
        <p:nvSpPr>
          <p:cNvPr id="5" name="Rounded Rectangle 66"/>
          <p:cNvSpPr/>
          <p:nvPr/>
        </p:nvSpPr>
        <p:spPr bwMode="auto">
          <a:xfrm>
            <a:off x="4267201" y="2278363"/>
            <a:ext cx="5506643"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dirty="0">
              <a:solidFill>
                <a:srgbClr val="58585A"/>
              </a:solidFill>
            </a:endParaRPr>
          </a:p>
        </p:txBody>
      </p:sp>
      <p:sp>
        <p:nvSpPr>
          <p:cNvPr id="6" name="Freeform 6"/>
          <p:cNvSpPr>
            <a:spLocks noChangeAspect="1" noEditPoints="1"/>
          </p:cNvSpPr>
          <p:nvPr/>
        </p:nvSpPr>
        <p:spPr bwMode="auto">
          <a:xfrm>
            <a:off x="4044531" y="5873386"/>
            <a:ext cx="452685" cy="5400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58585A"/>
              </a:solidFill>
            </a:endParaRPr>
          </a:p>
        </p:txBody>
      </p:sp>
      <p:sp>
        <p:nvSpPr>
          <p:cNvPr id="7" name="Freeform 54"/>
          <p:cNvSpPr/>
          <p:nvPr/>
        </p:nvSpPr>
        <p:spPr bwMode="auto">
          <a:xfrm flipV="1">
            <a:off x="4457951" y="3649728"/>
            <a:ext cx="4130637" cy="2172343"/>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3055186 w 3055186"/>
              <a:gd name="connsiteY0" fmla="*/ 2137703 h 2137703"/>
              <a:gd name="connsiteX1" fmla="*/ 1418891 w 3055186"/>
              <a:gd name="connsiteY1" fmla="*/ 1475966 h 2137703"/>
              <a:gd name="connsiteX2" fmla="*/ 605 w 3055186"/>
              <a:gd name="connsiteY2" fmla="*/ 5037 h 2137703"/>
              <a:gd name="connsiteX3" fmla="*/ 1226385 w 3055186"/>
              <a:gd name="connsiteY3" fmla="*/ 958608 h 2137703"/>
              <a:gd name="connsiteX0" fmla="*/ 2008439 w 2008439"/>
              <a:gd name="connsiteY0" fmla="*/ 2347300 h 2347300"/>
              <a:gd name="connsiteX1" fmla="*/ 1418891 w 2008439"/>
              <a:gd name="connsiteY1" fmla="*/ 1475966 h 2347300"/>
              <a:gd name="connsiteX2" fmla="*/ 605 w 2008439"/>
              <a:gd name="connsiteY2" fmla="*/ 5037 h 2347300"/>
              <a:gd name="connsiteX3" fmla="*/ 1226385 w 2008439"/>
              <a:gd name="connsiteY3" fmla="*/ 958608 h 2347300"/>
              <a:gd name="connsiteX0" fmla="*/ 2008439 w 2008439"/>
              <a:gd name="connsiteY0" fmla="*/ 2347300 h 2347300"/>
              <a:gd name="connsiteX1" fmla="*/ 757154 w 2008439"/>
              <a:gd name="connsiteY1" fmla="*/ 1192395 h 2347300"/>
              <a:gd name="connsiteX2" fmla="*/ 605 w 2008439"/>
              <a:gd name="connsiteY2" fmla="*/ 5037 h 2347300"/>
              <a:gd name="connsiteX3" fmla="*/ 1226385 w 2008439"/>
              <a:gd name="connsiteY3" fmla="*/ 958608 h 2347300"/>
              <a:gd name="connsiteX0" fmla="*/ 2024281 w 2024281"/>
              <a:gd name="connsiteY0" fmla="*/ 2347300 h 2347300"/>
              <a:gd name="connsiteX1" fmla="*/ 772996 w 2024281"/>
              <a:gd name="connsiteY1" fmla="*/ 1192395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24281 w 2024281"/>
              <a:gd name="connsiteY0" fmla="*/ 2347300 h 2347300"/>
              <a:gd name="connsiteX1" fmla="*/ 724870 w 2024281"/>
              <a:gd name="connsiteY1" fmla="*/ 1549942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69725 w 2069725"/>
              <a:gd name="connsiteY0" fmla="*/ 2436675 h 2436675"/>
              <a:gd name="connsiteX1" fmla="*/ 770314 w 2069725"/>
              <a:gd name="connsiteY1" fmla="*/ 1639317 h 2436675"/>
              <a:gd name="connsiteX2" fmla="*/ 350649 w 2069725"/>
              <a:gd name="connsiteY2" fmla="*/ 1462955 h 2436675"/>
              <a:gd name="connsiteX3" fmla="*/ 61891 w 2069725"/>
              <a:gd name="connsiteY3" fmla="*/ 94412 h 2436675"/>
              <a:gd name="connsiteX4" fmla="*/ 292 w 2069725"/>
              <a:gd name="connsiteY4" fmla="*/ 0 h 2436675"/>
              <a:gd name="connsiteX0" fmla="*/ 2069433 w 2069433"/>
              <a:gd name="connsiteY0" fmla="*/ 2436675 h 2436675"/>
              <a:gd name="connsiteX1" fmla="*/ 770022 w 2069433"/>
              <a:gd name="connsiteY1" fmla="*/ 1639317 h 2436675"/>
              <a:gd name="connsiteX2" fmla="*/ 350357 w 2069433"/>
              <a:gd name="connsiteY2" fmla="*/ 1462955 h 2436675"/>
              <a:gd name="connsiteX3" fmla="*/ 0 w 2069433"/>
              <a:gd name="connsiteY3" fmla="*/ 0 h 2436675"/>
              <a:gd name="connsiteX0" fmla="*/ 2021307 w 2021307"/>
              <a:gd name="connsiteY0" fmla="*/ 2387358 h 2387358"/>
              <a:gd name="connsiteX1" fmla="*/ 721896 w 2021307"/>
              <a:gd name="connsiteY1" fmla="*/ 1590000 h 2387358"/>
              <a:gd name="connsiteX2" fmla="*/ 302231 w 2021307"/>
              <a:gd name="connsiteY2" fmla="*/ 1413638 h 2387358"/>
              <a:gd name="connsiteX3" fmla="*/ 0 w 2021307"/>
              <a:gd name="connsiteY3" fmla="*/ 0 h 2387358"/>
              <a:gd name="connsiteX0" fmla="*/ 2034083 w 2034083"/>
              <a:gd name="connsiteY0" fmla="*/ 2387358 h 2387358"/>
              <a:gd name="connsiteX1" fmla="*/ 734672 w 2034083"/>
              <a:gd name="connsiteY1" fmla="*/ 1590000 h 2387358"/>
              <a:gd name="connsiteX2" fmla="*/ 315007 w 2034083"/>
              <a:gd name="connsiteY2" fmla="*/ 1413638 h 2387358"/>
              <a:gd name="connsiteX3" fmla="*/ 12776 w 2034083"/>
              <a:gd name="connsiteY3" fmla="*/ 0 h 2387358"/>
              <a:gd name="connsiteX0" fmla="*/ 2050839 w 2050839"/>
              <a:gd name="connsiteY0" fmla="*/ 2387358 h 2387358"/>
              <a:gd name="connsiteX1" fmla="*/ 751428 w 2050839"/>
              <a:gd name="connsiteY1" fmla="*/ 1590000 h 2387358"/>
              <a:gd name="connsiteX2" fmla="*/ 151289 w 2050839"/>
              <a:gd name="connsiteY2" fmla="*/ 1450625 h 2387358"/>
              <a:gd name="connsiteX3" fmla="*/ 29532 w 2050839"/>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829795 w 2044985"/>
              <a:gd name="connsiteY1" fmla="*/ 1614659 h 2387358"/>
              <a:gd name="connsiteX2" fmla="*/ 181529 w 2044985"/>
              <a:gd name="connsiteY2" fmla="*/ 1401307 h 2387358"/>
              <a:gd name="connsiteX3" fmla="*/ 23678 w 2044985"/>
              <a:gd name="connsiteY3" fmla="*/ 0 h 2387358"/>
              <a:gd name="connsiteX0" fmla="*/ 2065994 w 2065994"/>
              <a:gd name="connsiteY0" fmla="*/ 2387358 h 2387358"/>
              <a:gd name="connsiteX1" fmla="*/ 85080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2002482 w 2002482"/>
              <a:gd name="connsiteY0" fmla="*/ 2428099 h 2428099"/>
              <a:gd name="connsiteX1" fmla="*/ 925544 w 2002482"/>
              <a:gd name="connsiteY1" fmla="*/ 1628239 h 2428099"/>
              <a:gd name="connsiteX2" fmla="*/ 69900 w 2002482"/>
              <a:gd name="connsiteY2" fmla="*/ 1116128 h 2428099"/>
              <a:gd name="connsiteX3" fmla="*/ 42620 w 2002482"/>
              <a:gd name="connsiteY3" fmla="*/ 0 h 2428099"/>
              <a:gd name="connsiteX0" fmla="*/ 2004453 w 2004453"/>
              <a:gd name="connsiteY0" fmla="*/ 2428099 h 2428099"/>
              <a:gd name="connsiteX1" fmla="*/ 927515 w 2004453"/>
              <a:gd name="connsiteY1" fmla="*/ 1628239 h 2428099"/>
              <a:gd name="connsiteX2" fmla="*/ 71871 w 2004453"/>
              <a:gd name="connsiteY2" fmla="*/ 1116128 h 2428099"/>
              <a:gd name="connsiteX3" fmla="*/ 44591 w 2004453"/>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96171 w 1996171"/>
              <a:gd name="connsiteY0" fmla="*/ 2414519 h 2414519"/>
              <a:gd name="connsiteX1" fmla="*/ 919233 w 1996171"/>
              <a:gd name="connsiteY1" fmla="*/ 1614659 h 2414519"/>
              <a:gd name="connsiteX2" fmla="*/ 63589 w 1996171"/>
              <a:gd name="connsiteY2" fmla="*/ 1102548 h 2414519"/>
              <a:gd name="connsiteX3" fmla="*/ 59351 w 1996171"/>
              <a:gd name="connsiteY3" fmla="*/ 0 h 2414519"/>
              <a:gd name="connsiteX0" fmla="*/ 2001618 w 2001618"/>
              <a:gd name="connsiteY0" fmla="*/ 2414519 h 2414519"/>
              <a:gd name="connsiteX1" fmla="*/ 924680 w 2001618"/>
              <a:gd name="connsiteY1" fmla="*/ 1614659 h 2414519"/>
              <a:gd name="connsiteX2" fmla="*/ 69036 w 2001618"/>
              <a:gd name="connsiteY2" fmla="*/ 1102548 h 2414519"/>
              <a:gd name="connsiteX3" fmla="*/ 64798 w 2001618"/>
              <a:gd name="connsiteY3" fmla="*/ 0 h 2414519"/>
              <a:gd name="connsiteX0" fmla="*/ 1946612 w 1946612"/>
              <a:gd name="connsiteY0" fmla="*/ 2414519 h 2414519"/>
              <a:gd name="connsiteX1" fmla="*/ 869674 w 1946612"/>
              <a:gd name="connsiteY1" fmla="*/ 1614659 h 2414519"/>
              <a:gd name="connsiteX2" fmla="*/ 14030 w 1946612"/>
              <a:gd name="connsiteY2" fmla="*/ 1102548 h 2414519"/>
              <a:gd name="connsiteX3" fmla="*/ 9792 w 1946612"/>
              <a:gd name="connsiteY3" fmla="*/ 0 h 2414519"/>
              <a:gd name="connsiteX0" fmla="*/ 1949048 w 1949048"/>
              <a:gd name="connsiteY0" fmla="*/ 2414519 h 2414519"/>
              <a:gd name="connsiteX1" fmla="*/ 872110 w 1949048"/>
              <a:gd name="connsiteY1" fmla="*/ 1614659 h 2414519"/>
              <a:gd name="connsiteX2" fmla="*/ 16466 w 1949048"/>
              <a:gd name="connsiteY2" fmla="*/ 1102548 h 2414519"/>
              <a:gd name="connsiteX3" fmla="*/ 12228 w 1949048"/>
              <a:gd name="connsiteY3" fmla="*/ 0 h 2414519"/>
              <a:gd name="connsiteX0" fmla="*/ 1943021 w 1943021"/>
              <a:gd name="connsiteY0" fmla="*/ 2414519 h 2414519"/>
              <a:gd name="connsiteX1" fmla="*/ 866083 w 1943021"/>
              <a:gd name="connsiteY1" fmla="*/ 1614659 h 2414519"/>
              <a:gd name="connsiteX2" fmla="*/ 10439 w 1943021"/>
              <a:gd name="connsiteY2" fmla="*/ 1102548 h 2414519"/>
              <a:gd name="connsiteX3" fmla="*/ 6201 w 1943021"/>
              <a:gd name="connsiteY3" fmla="*/ 0 h 2414519"/>
              <a:gd name="connsiteX0" fmla="*/ 1937427 w 1937427"/>
              <a:gd name="connsiteY0" fmla="*/ 2414519 h 2414519"/>
              <a:gd name="connsiteX1" fmla="*/ 860489 w 1937427"/>
              <a:gd name="connsiteY1" fmla="*/ 1614659 h 2414519"/>
              <a:gd name="connsiteX2" fmla="*/ 4845 w 1937427"/>
              <a:gd name="connsiteY2" fmla="*/ 1102548 h 2414519"/>
              <a:gd name="connsiteX3" fmla="*/ 607 w 1937427"/>
              <a:gd name="connsiteY3" fmla="*/ 0 h 2414519"/>
            </a:gdLst>
            <a:ahLst/>
            <a:cxnLst>
              <a:cxn ang="0">
                <a:pos x="connsiteX0" y="connsiteY0"/>
              </a:cxn>
              <a:cxn ang="0">
                <a:pos x="connsiteX1" y="connsiteY1"/>
              </a:cxn>
              <a:cxn ang="0">
                <a:pos x="connsiteX2" y="connsiteY2"/>
              </a:cxn>
              <a:cxn ang="0">
                <a:pos x="connsiteX3" y="connsiteY3"/>
              </a:cxn>
            </a:cxnLst>
            <a:rect l="l" t="t" r="r" b="b"/>
            <a:pathLst>
              <a:path w="1937427" h="2414519">
                <a:moveTo>
                  <a:pt x="1937427" y="2414519"/>
                </a:moveTo>
                <a:cubicBezTo>
                  <a:pt x="1920722" y="1516598"/>
                  <a:pt x="1228670" y="1616040"/>
                  <a:pt x="860489" y="1614659"/>
                </a:cubicBezTo>
                <a:cubicBezTo>
                  <a:pt x="492308" y="1613278"/>
                  <a:pt x="11504" y="1666186"/>
                  <a:pt x="4845" y="1102548"/>
                </a:cubicBezTo>
                <a:cubicBezTo>
                  <a:pt x="-1814" y="538910"/>
                  <a:pt x="190" y="1012224"/>
                  <a:pt x="607"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endParaRPr lang="en-US">
              <a:solidFill>
                <a:srgbClr val="58585A"/>
              </a:solidFill>
            </a:endParaRPr>
          </a:p>
        </p:txBody>
      </p:sp>
      <p:sp>
        <p:nvSpPr>
          <p:cNvPr id="8" name="Freeform 57"/>
          <p:cNvSpPr/>
          <p:nvPr/>
        </p:nvSpPr>
        <p:spPr bwMode="auto">
          <a:xfrm flipH="1">
            <a:off x="4364918" y="3567680"/>
            <a:ext cx="3939189" cy="1179095"/>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28819 w 1828819"/>
              <a:gd name="connsiteY0" fmla="*/ 1179095 h 1179095"/>
              <a:gd name="connsiteX1" fmla="*/ 634446 w 1828819"/>
              <a:gd name="connsiteY1" fmla="*/ 649880 h 1179095"/>
              <a:gd name="connsiteX2" fmla="*/ 18 w 1828819"/>
              <a:gd name="connsiteY2" fmla="*/ 0 h 1179095"/>
              <a:gd name="connsiteX0" fmla="*/ 1828824 w 1828824"/>
              <a:gd name="connsiteY0" fmla="*/ 1179095 h 1179095"/>
              <a:gd name="connsiteX1" fmla="*/ 634451 w 1828824"/>
              <a:gd name="connsiteY1" fmla="*/ 649880 h 1179095"/>
              <a:gd name="connsiteX2" fmla="*/ 23 w 1828824"/>
              <a:gd name="connsiteY2" fmla="*/ 0 h 1179095"/>
              <a:gd name="connsiteX0" fmla="*/ 1828824 w 1828824"/>
              <a:gd name="connsiteY0" fmla="*/ 1179095 h 1179095"/>
              <a:gd name="connsiteX1" fmla="*/ 634451 w 1828824"/>
              <a:gd name="connsiteY1" fmla="*/ 649880 h 1179095"/>
              <a:gd name="connsiteX2" fmla="*/ 23 w 1828824"/>
              <a:gd name="connsiteY2" fmla="*/ 0 h 1179095"/>
              <a:gd name="connsiteX0" fmla="*/ 1828855 w 1828855"/>
              <a:gd name="connsiteY0" fmla="*/ 1179095 h 1179095"/>
              <a:gd name="connsiteX1" fmla="*/ 634482 w 1828855"/>
              <a:gd name="connsiteY1" fmla="*/ 649880 h 1179095"/>
              <a:gd name="connsiteX2" fmla="*/ 54 w 1828855"/>
              <a:gd name="connsiteY2" fmla="*/ 0 h 1179095"/>
              <a:gd name="connsiteX0" fmla="*/ 1828855 w 1828855"/>
              <a:gd name="connsiteY0" fmla="*/ 1179095 h 1179095"/>
              <a:gd name="connsiteX1" fmla="*/ 634482 w 1828855"/>
              <a:gd name="connsiteY1" fmla="*/ 649880 h 1179095"/>
              <a:gd name="connsiteX2" fmla="*/ 54 w 1828855"/>
              <a:gd name="connsiteY2" fmla="*/ 0 h 1179095"/>
            </a:gdLst>
            <a:ahLst/>
            <a:cxnLst>
              <a:cxn ang="0">
                <a:pos x="connsiteX0" y="connsiteY0"/>
              </a:cxn>
              <a:cxn ang="0">
                <a:pos x="connsiteX1" y="connsiteY1"/>
              </a:cxn>
              <a:cxn ang="0">
                <a:pos x="connsiteX2" y="connsiteY2"/>
              </a:cxn>
            </a:cxnLst>
            <a:rect l="l" t="t" r="r" b="b"/>
            <a:pathLst>
              <a:path w="1828855" h="1179095">
                <a:moveTo>
                  <a:pt x="1828855" y="1179095"/>
                </a:moveTo>
                <a:cubicBezTo>
                  <a:pt x="1819831" y="540833"/>
                  <a:pt x="1151185" y="700273"/>
                  <a:pt x="634482" y="649880"/>
                </a:cubicBezTo>
                <a:cubicBezTo>
                  <a:pt x="117779" y="599487"/>
                  <a:pt x="-2953" y="452513"/>
                  <a:pt x="54"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endParaRPr lang="en-US">
              <a:solidFill>
                <a:srgbClr val="58585A"/>
              </a:solidFill>
            </a:endParaRPr>
          </a:p>
        </p:txBody>
      </p:sp>
      <p:cxnSp>
        <p:nvCxnSpPr>
          <p:cNvPr id="9" name="Curved Connector 89"/>
          <p:cNvCxnSpPr>
            <a:stCxn id="53" idx="5"/>
          </p:cNvCxnSpPr>
          <p:nvPr/>
        </p:nvCxnSpPr>
        <p:spPr bwMode="auto">
          <a:xfrm rot="10800000" flipV="1">
            <a:off x="4351027" y="5984415"/>
            <a:ext cx="744327" cy="235668"/>
          </a:xfrm>
          <a:prstGeom prst="curvedConnector3">
            <a:avLst>
              <a:gd name="adj1" fmla="val 50000"/>
            </a:avLst>
          </a:prstGeom>
          <a:solidFill>
            <a:schemeClr val="accent1"/>
          </a:solidFill>
          <a:ln w="19050" cap="flat" cmpd="sng" algn="ctr">
            <a:solidFill>
              <a:srgbClr val="F08A00"/>
            </a:solidFill>
            <a:prstDash val="solid"/>
            <a:round/>
            <a:headEnd type="none" w="med" len="med"/>
            <a:tailEnd type="none" w="med" len="med"/>
          </a:ln>
          <a:effectLst/>
        </p:spPr>
      </p:cxnSp>
      <p:sp>
        <p:nvSpPr>
          <p:cNvPr id="10" name="テキスト ボックス 17"/>
          <p:cNvSpPr txBox="1">
            <a:spLocks noChangeArrowheads="1"/>
          </p:cNvSpPr>
          <p:nvPr/>
        </p:nvSpPr>
        <p:spPr bwMode="auto">
          <a:xfrm>
            <a:off x="2462746" y="2767492"/>
            <a:ext cx="18235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eaLnBrk="1" hangingPunct="1"/>
            <a:r>
              <a:rPr lang="en-US" altLang="ja-JP" sz="1400" dirty="0">
                <a:solidFill>
                  <a:srgbClr val="58585A"/>
                </a:solidFill>
              </a:rPr>
              <a:t>S1-Setup (MME-eNB): </a:t>
            </a:r>
            <a:br>
              <a:rPr lang="en-US" altLang="ja-JP" sz="1400" dirty="0">
                <a:solidFill>
                  <a:srgbClr val="58585A"/>
                </a:solidFill>
              </a:rPr>
            </a:br>
            <a:r>
              <a:rPr lang="en-US" altLang="ja-JP" sz="1400" dirty="0">
                <a:solidFill>
                  <a:srgbClr val="58585A"/>
                </a:solidFill>
              </a:rPr>
              <a:t>DCN-ID=1</a:t>
            </a:r>
            <a:endParaRPr lang="ja-JP" altLang="en-US" sz="1400" dirty="0">
              <a:solidFill>
                <a:srgbClr val="58585A"/>
              </a:solidFill>
            </a:endParaRPr>
          </a:p>
        </p:txBody>
      </p:sp>
      <p:sp>
        <p:nvSpPr>
          <p:cNvPr id="11" name="テキスト ボックス 17"/>
          <p:cNvSpPr txBox="1">
            <a:spLocks noChangeArrowheads="1"/>
          </p:cNvSpPr>
          <p:nvPr/>
        </p:nvSpPr>
        <p:spPr bwMode="auto">
          <a:xfrm>
            <a:off x="6284084" y="2754240"/>
            <a:ext cx="18235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eaLnBrk="1" hangingPunct="1"/>
            <a:r>
              <a:rPr lang="en-US" altLang="ja-JP" sz="1400" dirty="0">
                <a:solidFill>
                  <a:srgbClr val="58585A"/>
                </a:solidFill>
              </a:rPr>
              <a:t>S1-Setup (MME-eNB): </a:t>
            </a:r>
            <a:br>
              <a:rPr lang="en-US" altLang="ja-JP" sz="1400" dirty="0">
                <a:solidFill>
                  <a:srgbClr val="58585A"/>
                </a:solidFill>
              </a:rPr>
            </a:br>
            <a:r>
              <a:rPr lang="en-US" altLang="ja-JP" sz="1400" dirty="0">
                <a:solidFill>
                  <a:srgbClr val="58585A"/>
                </a:solidFill>
              </a:rPr>
              <a:t>DCN-ID=2</a:t>
            </a:r>
            <a:endParaRPr lang="ja-JP" altLang="en-US" sz="1400" dirty="0">
              <a:solidFill>
                <a:srgbClr val="58585A"/>
              </a:solidFill>
            </a:endParaRPr>
          </a:p>
        </p:txBody>
      </p:sp>
      <p:sp>
        <p:nvSpPr>
          <p:cNvPr id="12" name="Freeform 56"/>
          <p:cNvSpPr/>
          <p:nvPr/>
        </p:nvSpPr>
        <p:spPr bwMode="auto">
          <a:xfrm>
            <a:off x="5345405" y="2028520"/>
            <a:ext cx="3058146" cy="642510"/>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1885459 w 1885459"/>
              <a:gd name="connsiteY0" fmla="*/ 1347537 h 1347537"/>
              <a:gd name="connsiteX1" fmla="*/ 249164 w 1885459"/>
              <a:gd name="connsiteY1" fmla="*/ 685800 h 1347537"/>
              <a:gd name="connsiteX2" fmla="*/ 8532 w 1885459"/>
              <a:gd name="connsiteY2" fmla="*/ 0 h 1347537"/>
              <a:gd name="connsiteX0" fmla="*/ 1885459 w 1885459"/>
              <a:gd name="connsiteY0" fmla="*/ 1347537 h 1347537"/>
              <a:gd name="connsiteX1" fmla="*/ 249164 w 1885459"/>
              <a:gd name="connsiteY1" fmla="*/ 685800 h 1347537"/>
              <a:gd name="connsiteX2" fmla="*/ 8532 w 1885459"/>
              <a:gd name="connsiteY2" fmla="*/ 0 h 1347537"/>
              <a:gd name="connsiteX0" fmla="*/ 1890797 w 1890797"/>
              <a:gd name="connsiteY0" fmla="*/ 1347537 h 1347537"/>
              <a:gd name="connsiteX1" fmla="*/ 254502 w 1890797"/>
              <a:gd name="connsiteY1" fmla="*/ 685800 h 1347537"/>
              <a:gd name="connsiteX2" fmla="*/ 13870 w 1890797"/>
              <a:gd name="connsiteY2" fmla="*/ 0 h 1347537"/>
              <a:gd name="connsiteX0" fmla="*/ 1878384 w 1878384"/>
              <a:gd name="connsiteY0" fmla="*/ 1347537 h 1347537"/>
              <a:gd name="connsiteX1" fmla="*/ 398500 w 1878384"/>
              <a:gd name="connsiteY1" fmla="*/ 757991 h 1347537"/>
              <a:gd name="connsiteX2" fmla="*/ 1457 w 1878384"/>
              <a:gd name="connsiteY2" fmla="*/ 0 h 1347537"/>
              <a:gd name="connsiteX0" fmla="*/ 1879552 w 1879552"/>
              <a:gd name="connsiteY0" fmla="*/ 1347537 h 1347537"/>
              <a:gd name="connsiteX1" fmla="*/ 399668 w 1879552"/>
              <a:gd name="connsiteY1" fmla="*/ 757991 h 1347537"/>
              <a:gd name="connsiteX2" fmla="*/ 2625 w 1879552"/>
              <a:gd name="connsiteY2" fmla="*/ 0 h 1347537"/>
              <a:gd name="connsiteX0" fmla="*/ 1882549 w 1882549"/>
              <a:gd name="connsiteY0" fmla="*/ 1347537 h 1347537"/>
              <a:gd name="connsiteX1" fmla="*/ 351566 w 1882549"/>
              <a:gd name="connsiteY1" fmla="*/ 995755 h 1347537"/>
              <a:gd name="connsiteX2" fmla="*/ 5622 w 1882549"/>
              <a:gd name="connsiteY2" fmla="*/ 0 h 1347537"/>
              <a:gd name="connsiteX0" fmla="*/ 1857000 w 1857000"/>
              <a:gd name="connsiteY0" fmla="*/ 1551337 h 1551337"/>
              <a:gd name="connsiteX1" fmla="*/ 351566 w 1857000"/>
              <a:gd name="connsiteY1" fmla="*/ 995755 h 1551337"/>
              <a:gd name="connsiteX2" fmla="*/ 5622 w 1857000"/>
              <a:gd name="connsiteY2" fmla="*/ 0 h 1551337"/>
              <a:gd name="connsiteX0" fmla="*/ 1857000 w 1857000"/>
              <a:gd name="connsiteY0" fmla="*/ 1551337 h 1551337"/>
              <a:gd name="connsiteX1" fmla="*/ 351566 w 1857000"/>
              <a:gd name="connsiteY1" fmla="*/ 995755 h 1551337"/>
              <a:gd name="connsiteX2" fmla="*/ 5622 w 1857000"/>
              <a:gd name="connsiteY2" fmla="*/ 0 h 1551337"/>
              <a:gd name="connsiteX0" fmla="*/ 1857000 w 1857000"/>
              <a:gd name="connsiteY0" fmla="*/ 1551337 h 1551337"/>
              <a:gd name="connsiteX1" fmla="*/ 351566 w 1857000"/>
              <a:gd name="connsiteY1" fmla="*/ 995755 h 1551337"/>
              <a:gd name="connsiteX2" fmla="*/ 5622 w 1857000"/>
              <a:gd name="connsiteY2" fmla="*/ 0 h 1551337"/>
              <a:gd name="connsiteX0" fmla="*/ 1859758 w 1859758"/>
              <a:gd name="connsiteY0" fmla="*/ 1551337 h 1551337"/>
              <a:gd name="connsiteX1" fmla="*/ 354324 w 1859758"/>
              <a:gd name="connsiteY1" fmla="*/ 995755 h 1551337"/>
              <a:gd name="connsiteX2" fmla="*/ 8380 w 1859758"/>
              <a:gd name="connsiteY2" fmla="*/ 0 h 1551337"/>
              <a:gd name="connsiteX0" fmla="*/ 1852894 w 1852894"/>
              <a:gd name="connsiteY0" fmla="*/ 1551337 h 1551337"/>
              <a:gd name="connsiteX1" fmla="*/ 347460 w 1852894"/>
              <a:gd name="connsiteY1" fmla="*/ 995755 h 1551337"/>
              <a:gd name="connsiteX2" fmla="*/ 1516 w 1852894"/>
              <a:gd name="connsiteY2" fmla="*/ 0 h 1551337"/>
              <a:gd name="connsiteX0" fmla="*/ 1851378 w 1851378"/>
              <a:gd name="connsiteY0" fmla="*/ 1551337 h 1551337"/>
              <a:gd name="connsiteX1" fmla="*/ 345944 w 1851378"/>
              <a:gd name="connsiteY1" fmla="*/ 995755 h 1551337"/>
              <a:gd name="connsiteX2" fmla="*/ 0 w 1851378"/>
              <a:gd name="connsiteY2" fmla="*/ 0 h 1551337"/>
            </a:gdLst>
            <a:ahLst/>
            <a:cxnLst>
              <a:cxn ang="0">
                <a:pos x="connsiteX0" y="connsiteY0"/>
              </a:cxn>
              <a:cxn ang="0">
                <a:pos x="connsiteX1" y="connsiteY1"/>
              </a:cxn>
              <a:cxn ang="0">
                <a:pos x="connsiteX2" y="connsiteY2"/>
              </a:cxn>
            </a:cxnLst>
            <a:rect l="l" t="t" r="r" b="b"/>
            <a:pathLst>
              <a:path w="1851378" h="1551337">
                <a:moveTo>
                  <a:pt x="1851378" y="1551337"/>
                </a:moveTo>
                <a:cubicBezTo>
                  <a:pt x="1850871" y="673639"/>
                  <a:pt x="718923" y="1075963"/>
                  <a:pt x="345944" y="995755"/>
                </a:cubicBezTo>
                <a:cubicBezTo>
                  <a:pt x="-52584" y="949515"/>
                  <a:pt x="36061" y="826566"/>
                  <a:pt x="0" y="0"/>
                </a:cubicBezTo>
              </a:path>
            </a:pathLst>
          </a:custGeom>
          <a:noFill/>
          <a:ln w="38100" cap="flat" cmpd="sng" algn="ctr">
            <a:solidFill>
              <a:schemeClr val="tx1"/>
            </a:solidFill>
            <a:prstDash val="solid"/>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Rectangular Callout 62"/>
          <p:cNvSpPr/>
          <p:nvPr/>
        </p:nvSpPr>
        <p:spPr bwMode="auto">
          <a:xfrm>
            <a:off x="7610036" y="1599261"/>
            <a:ext cx="2089321" cy="551262"/>
          </a:xfrm>
          <a:prstGeom prst="wedgeRectCallout">
            <a:avLst>
              <a:gd name="adj1" fmla="val -50566"/>
              <a:gd name="adj2" fmla="val 88760"/>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r>
              <a:rPr lang="en-US" sz="1400" dirty="0">
                <a:solidFill>
                  <a:srgbClr val="58585A"/>
                </a:solidFill>
              </a:rPr>
              <a:t>Fetching UE Usage type</a:t>
            </a:r>
            <a:br>
              <a:rPr lang="en-US" sz="1400" dirty="0">
                <a:solidFill>
                  <a:srgbClr val="58585A"/>
                </a:solidFill>
              </a:rPr>
            </a:br>
            <a:r>
              <a:rPr lang="en-US" sz="1400" dirty="0">
                <a:solidFill>
                  <a:srgbClr val="58585A"/>
                </a:solidFill>
              </a:rPr>
              <a:t>(Conditional)</a:t>
            </a:r>
          </a:p>
        </p:txBody>
      </p:sp>
      <p:grpSp>
        <p:nvGrpSpPr>
          <p:cNvPr id="14" name="Group 45"/>
          <p:cNvGrpSpPr>
            <a:grpSpLocks noChangeAspect="1"/>
          </p:cNvGrpSpPr>
          <p:nvPr/>
        </p:nvGrpSpPr>
        <p:grpSpPr bwMode="auto">
          <a:xfrm>
            <a:off x="5078400" y="1263417"/>
            <a:ext cx="534010" cy="765103"/>
            <a:chOff x="1057" y="1587"/>
            <a:chExt cx="363" cy="520"/>
          </a:xfrm>
        </p:grpSpPr>
        <p:sp>
          <p:nvSpPr>
            <p:cNvPr id="15"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16"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17"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b="1" dirty="0">
                  <a:latin typeface="Segoe UI" panose="020B0502040204020203" pitchFamily="34" charset="0"/>
                  <a:ea typeface="Segoe UI" panose="020B0502040204020203" pitchFamily="34" charset="0"/>
                  <a:cs typeface="Segoe UI" panose="020B0502040204020203" pitchFamily="34" charset="0"/>
                </a:rPr>
                <a:t>HSS </a:t>
              </a:r>
            </a:p>
          </p:txBody>
        </p:sp>
        <p:sp>
          <p:nvSpPr>
            <p:cNvPr id="18"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19"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0" name="Group 557"/>
          <p:cNvGrpSpPr>
            <a:grpSpLocks noChangeAspect="1"/>
          </p:cNvGrpSpPr>
          <p:nvPr/>
        </p:nvGrpSpPr>
        <p:grpSpPr bwMode="auto">
          <a:xfrm>
            <a:off x="10174323" y="2783606"/>
            <a:ext cx="516970" cy="746394"/>
            <a:chOff x="3510" y="1858"/>
            <a:chExt cx="363" cy="520"/>
          </a:xfrm>
        </p:grpSpPr>
        <p:sp>
          <p:nvSpPr>
            <p:cNvPr id="21"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22"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23"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MME</a:t>
              </a:r>
            </a:p>
          </p:txBody>
        </p:sp>
        <p:sp>
          <p:nvSpPr>
            <p:cNvPr id="24"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25"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6" name="Group 278"/>
          <p:cNvGrpSpPr>
            <a:grpSpLocks noChangeAspect="1"/>
          </p:cNvGrpSpPr>
          <p:nvPr/>
        </p:nvGrpSpPr>
        <p:grpSpPr bwMode="auto">
          <a:xfrm>
            <a:off x="4004775" y="4804137"/>
            <a:ext cx="553824" cy="795180"/>
            <a:chOff x="3106" y="2389"/>
            <a:chExt cx="363" cy="520"/>
          </a:xfrm>
        </p:grpSpPr>
        <p:sp>
          <p:nvSpPr>
            <p:cNvPr id="2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 </a:t>
              </a:r>
              <a:r>
                <a:rPr lang="en-US" altLang="en-US" sz="1200" b="1" dirty="0" err="1">
                  <a:latin typeface="Segoe UI" panose="020B0502040204020203" pitchFamily="34" charset="0"/>
                  <a:ea typeface="Segoe UI" panose="020B0502040204020203" pitchFamily="34" charset="0"/>
                  <a:cs typeface="Segoe UI" panose="020B0502040204020203" pitchFamily="34" charset="0"/>
                </a:rPr>
                <a:t>eNB</a:t>
              </a:r>
              <a:endParaRPr lang="en-US" altLang="en-US" sz="1200" b="1" dirty="0">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32" name="Parallelogram 31"/>
          <p:cNvSpPr/>
          <p:nvPr/>
        </p:nvSpPr>
        <p:spPr bwMode="auto">
          <a:xfrm>
            <a:off x="5737455" y="1231235"/>
            <a:ext cx="2001152" cy="247500"/>
          </a:xfrm>
          <a:prstGeom prst="parallelogram">
            <a:avLst/>
          </a:prstGeom>
          <a:solidFill>
            <a:srgbClr val="F08A0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0" tIns="0" rIns="0" bIns="0" numCol="1" rtlCol="0" anchor="ctr" anchorCtr="1" compatLnSpc="1">
            <a:prstTxWarp prst="textNoShape">
              <a:avLst/>
            </a:prstTxWarp>
          </a:bodyPr>
          <a:lstStyle/>
          <a:p>
            <a:r>
              <a:rPr lang="en-US" sz="1400" b="1" dirty="0">
                <a:solidFill>
                  <a:srgbClr val="FFFFFF"/>
                </a:solidFill>
              </a:rPr>
              <a:t>UE Usage Type</a:t>
            </a:r>
          </a:p>
        </p:txBody>
      </p:sp>
      <p:cxnSp>
        <p:nvCxnSpPr>
          <p:cNvPr id="33" name="Curved Connector 77"/>
          <p:cNvCxnSpPr>
            <a:stCxn id="32" idx="5"/>
            <a:endCxn id="15" idx="3"/>
          </p:cNvCxnSpPr>
          <p:nvPr/>
        </p:nvCxnSpPr>
        <p:spPr bwMode="auto">
          <a:xfrm rot="10800000" flipV="1">
            <a:off x="5603585" y="1354985"/>
            <a:ext cx="164809" cy="395450"/>
          </a:xfrm>
          <a:prstGeom prst="curvedConnector3">
            <a:avLst>
              <a:gd name="adj1" fmla="val 50000"/>
            </a:avLst>
          </a:prstGeom>
          <a:solidFill>
            <a:schemeClr val="accent1"/>
          </a:solidFill>
          <a:ln w="19050" cap="flat" cmpd="sng" algn="ctr">
            <a:solidFill>
              <a:srgbClr val="F08A00"/>
            </a:solidFill>
            <a:prstDash val="solid"/>
            <a:round/>
            <a:headEnd type="none" w="med" len="med"/>
            <a:tailEnd type="none" w="med" len="med"/>
          </a:ln>
          <a:effectLst/>
        </p:spPr>
      </p:cxnSp>
      <p:grpSp>
        <p:nvGrpSpPr>
          <p:cNvPr id="34" name="Group 557"/>
          <p:cNvGrpSpPr>
            <a:grpSpLocks noChangeAspect="1"/>
          </p:cNvGrpSpPr>
          <p:nvPr/>
        </p:nvGrpSpPr>
        <p:grpSpPr bwMode="auto">
          <a:xfrm>
            <a:off x="8145066" y="2777662"/>
            <a:ext cx="516970" cy="746394"/>
            <a:chOff x="3510" y="1858"/>
            <a:chExt cx="363" cy="520"/>
          </a:xfrm>
        </p:grpSpPr>
        <p:sp>
          <p:nvSpPr>
            <p:cNvPr id="35"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6"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7"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MME</a:t>
              </a:r>
            </a:p>
          </p:txBody>
        </p:sp>
        <p:sp>
          <p:nvSpPr>
            <p:cNvPr id="38"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9"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40" name="Group 557"/>
          <p:cNvGrpSpPr>
            <a:grpSpLocks noChangeAspect="1"/>
          </p:cNvGrpSpPr>
          <p:nvPr/>
        </p:nvGrpSpPr>
        <p:grpSpPr bwMode="auto">
          <a:xfrm>
            <a:off x="1886891" y="2783606"/>
            <a:ext cx="516970" cy="746394"/>
            <a:chOff x="3510" y="1858"/>
            <a:chExt cx="363" cy="520"/>
          </a:xfrm>
        </p:grpSpPr>
        <p:sp>
          <p:nvSpPr>
            <p:cNvPr id="41"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2"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3"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b="1" dirty="0">
                  <a:latin typeface="Segoe UI" panose="020B0502040204020203" pitchFamily="34" charset="0"/>
                  <a:ea typeface="Segoe UI" panose="020B0502040204020203" pitchFamily="34" charset="0"/>
                  <a:cs typeface="Segoe UI" panose="020B0502040204020203" pitchFamily="34" charset="0"/>
                </a:rPr>
                <a:t>MME</a:t>
              </a:r>
            </a:p>
          </p:txBody>
        </p:sp>
        <p:sp>
          <p:nvSpPr>
            <p:cNvPr id="44"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45"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46" name="TextBox 45"/>
          <p:cNvSpPr txBox="1"/>
          <p:nvPr/>
        </p:nvSpPr>
        <p:spPr>
          <a:xfrm>
            <a:off x="1027866" y="2263852"/>
            <a:ext cx="1305171" cy="400110"/>
          </a:xfrm>
          <a:prstGeom prst="rect">
            <a:avLst/>
          </a:prstGeom>
          <a:noFill/>
        </p:spPr>
        <p:txBody>
          <a:bodyPr wrap="square">
            <a:spAutoFit/>
          </a:bodyPr>
          <a:lstStyle/>
          <a:p>
            <a:pPr algn="ctr">
              <a:defRPr/>
            </a:pPr>
            <a:r>
              <a:rPr lang="en-US" dirty="0">
                <a:solidFill>
                  <a:srgbClr val="FFFFFF">
                    <a:lumMod val="75000"/>
                  </a:srgbClr>
                </a:solidFill>
                <a:cs typeface="+mn-cs"/>
              </a:rPr>
              <a:t>Slice #1</a:t>
            </a:r>
          </a:p>
        </p:txBody>
      </p:sp>
      <p:sp>
        <p:nvSpPr>
          <p:cNvPr id="47" name="TextBox 46"/>
          <p:cNvSpPr txBox="1"/>
          <p:nvPr/>
        </p:nvSpPr>
        <p:spPr>
          <a:xfrm>
            <a:off x="10195268" y="2247977"/>
            <a:ext cx="1175995" cy="400110"/>
          </a:xfrm>
          <a:prstGeom prst="rect">
            <a:avLst/>
          </a:prstGeom>
          <a:noFill/>
        </p:spPr>
        <p:txBody>
          <a:bodyPr wrap="square">
            <a:spAutoFit/>
          </a:bodyPr>
          <a:lstStyle/>
          <a:p>
            <a:pPr algn="r">
              <a:defRPr/>
            </a:pPr>
            <a:r>
              <a:rPr lang="en-US" dirty="0">
                <a:solidFill>
                  <a:srgbClr val="FFFFFF">
                    <a:lumMod val="75000"/>
                  </a:srgbClr>
                </a:solidFill>
                <a:cs typeface="+mn-cs"/>
              </a:rPr>
              <a:t>Slice #3</a:t>
            </a:r>
          </a:p>
        </p:txBody>
      </p:sp>
      <p:sp>
        <p:nvSpPr>
          <p:cNvPr id="48" name="Freeform 50"/>
          <p:cNvSpPr/>
          <p:nvPr/>
        </p:nvSpPr>
        <p:spPr bwMode="auto">
          <a:xfrm flipV="1">
            <a:off x="4926397" y="3696819"/>
            <a:ext cx="5351372" cy="1227341"/>
          </a:xfrm>
          <a:custGeom>
            <a:avLst/>
            <a:gdLst>
              <a:gd name="connsiteX0" fmla="*/ 1660358 w 1660358"/>
              <a:gd name="connsiteY0" fmla="*/ 818147 h 818147"/>
              <a:gd name="connsiteX1" fmla="*/ 397042 w 1660358"/>
              <a:gd name="connsiteY1" fmla="*/ 445168 h 818147"/>
              <a:gd name="connsiteX2" fmla="*/ 0 w 1660358"/>
              <a:gd name="connsiteY2" fmla="*/ 0 h 818147"/>
              <a:gd name="connsiteX3" fmla="*/ 0 w 1660358"/>
              <a:gd name="connsiteY3" fmla="*/ 0 h 818147"/>
              <a:gd name="connsiteX4" fmla="*/ 0 w 1660358"/>
              <a:gd name="connsiteY4" fmla="*/ 0 h 818147"/>
              <a:gd name="connsiteX0" fmla="*/ 1669791 w 1669791"/>
              <a:gd name="connsiteY0" fmla="*/ 818147 h 818147"/>
              <a:gd name="connsiteX1" fmla="*/ 177875 w 1669791"/>
              <a:gd name="connsiteY1" fmla="*/ 324853 h 818147"/>
              <a:gd name="connsiteX2" fmla="*/ 9433 w 1669791"/>
              <a:gd name="connsiteY2" fmla="*/ 0 h 818147"/>
              <a:gd name="connsiteX3" fmla="*/ 9433 w 1669791"/>
              <a:gd name="connsiteY3" fmla="*/ 0 h 818147"/>
              <a:gd name="connsiteX4" fmla="*/ 9433 w 1669791"/>
              <a:gd name="connsiteY4" fmla="*/ 0 h 818147"/>
              <a:gd name="connsiteX0" fmla="*/ 1660358 w 1660358"/>
              <a:gd name="connsiteY0" fmla="*/ 818147 h 818147"/>
              <a:gd name="connsiteX1" fmla="*/ 1034717 w 1660358"/>
              <a:gd name="connsiteY1" fmla="*/ 625642 h 818147"/>
              <a:gd name="connsiteX2" fmla="*/ 168442 w 1660358"/>
              <a:gd name="connsiteY2" fmla="*/ 324853 h 818147"/>
              <a:gd name="connsiteX3" fmla="*/ 0 w 1660358"/>
              <a:gd name="connsiteY3" fmla="*/ 0 h 818147"/>
              <a:gd name="connsiteX4" fmla="*/ 0 w 1660358"/>
              <a:gd name="connsiteY4" fmla="*/ 0 h 818147"/>
              <a:gd name="connsiteX5" fmla="*/ 0 w 1660358"/>
              <a:gd name="connsiteY5" fmla="*/ 0 h 818147"/>
              <a:gd name="connsiteX0" fmla="*/ 1660601 w 1660601"/>
              <a:gd name="connsiteY0" fmla="*/ 818147 h 818147"/>
              <a:gd name="connsiteX1" fmla="*/ 1492160 w 1660601"/>
              <a:gd name="connsiteY1" fmla="*/ 577515 h 818147"/>
              <a:gd name="connsiteX2" fmla="*/ 168685 w 1660601"/>
              <a:gd name="connsiteY2" fmla="*/ 324853 h 818147"/>
              <a:gd name="connsiteX3" fmla="*/ 243 w 1660601"/>
              <a:gd name="connsiteY3" fmla="*/ 0 h 818147"/>
              <a:gd name="connsiteX4" fmla="*/ 243 w 1660601"/>
              <a:gd name="connsiteY4" fmla="*/ 0 h 818147"/>
              <a:gd name="connsiteX5" fmla="*/ 243 w 1660601"/>
              <a:gd name="connsiteY5" fmla="*/ 0 h 818147"/>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48127 w 1708485"/>
              <a:gd name="connsiteY4" fmla="*/ 385011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12032 w 1708485"/>
              <a:gd name="connsiteY4" fmla="*/ 397043 h 1203158"/>
              <a:gd name="connsiteX5" fmla="*/ 0 w 1708485"/>
              <a:gd name="connsiteY5"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48127 w 1708485"/>
              <a:gd name="connsiteY3" fmla="*/ 385011 h 1203158"/>
              <a:gd name="connsiteX4" fmla="*/ 0 w 1708485"/>
              <a:gd name="connsiteY4" fmla="*/ 0 h 1203158"/>
              <a:gd name="connsiteX0" fmla="*/ 1708485 w 1708485"/>
              <a:gd name="connsiteY0" fmla="*/ 1203158 h 1203158"/>
              <a:gd name="connsiteX1" fmla="*/ 1540044 w 1708485"/>
              <a:gd name="connsiteY1" fmla="*/ 962526 h 1203158"/>
              <a:gd name="connsiteX2" fmla="*/ 216569 w 1708485"/>
              <a:gd name="connsiteY2" fmla="*/ 709864 h 1203158"/>
              <a:gd name="connsiteX3" fmla="*/ 0 w 1708485"/>
              <a:gd name="connsiteY3" fmla="*/ 0 h 1203158"/>
              <a:gd name="connsiteX0" fmla="*/ 1660359 w 1660359"/>
              <a:gd name="connsiteY0" fmla="*/ 1179095 h 1179095"/>
              <a:gd name="connsiteX1" fmla="*/ 1491918 w 1660359"/>
              <a:gd name="connsiteY1" fmla="*/ 938463 h 1179095"/>
              <a:gd name="connsiteX2" fmla="*/ 168443 w 1660359"/>
              <a:gd name="connsiteY2" fmla="*/ 685801 h 1179095"/>
              <a:gd name="connsiteX3" fmla="*/ 0 w 1660359"/>
              <a:gd name="connsiteY3" fmla="*/ 0 h 1179095"/>
              <a:gd name="connsiteX0" fmla="*/ 1674002 w 1674002"/>
              <a:gd name="connsiteY0" fmla="*/ 1179095 h 1179095"/>
              <a:gd name="connsiteX1" fmla="*/ 1505561 w 1674002"/>
              <a:gd name="connsiteY1" fmla="*/ 938463 h 1179095"/>
              <a:gd name="connsiteX2" fmla="*/ 182086 w 1674002"/>
              <a:gd name="connsiteY2" fmla="*/ 685801 h 1179095"/>
              <a:gd name="connsiteX3" fmla="*/ 13643 w 1674002"/>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505561 w 1842444"/>
              <a:gd name="connsiteY1" fmla="*/ 938463 h 1179095"/>
              <a:gd name="connsiteX2" fmla="*/ 182086 w 1842444"/>
              <a:gd name="connsiteY2" fmla="*/ 685801 h 1179095"/>
              <a:gd name="connsiteX3" fmla="*/ 13643 w 1842444"/>
              <a:gd name="connsiteY3"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42444 w 1842444"/>
              <a:gd name="connsiteY0" fmla="*/ 1179095 h 1179095"/>
              <a:gd name="connsiteX1" fmla="*/ 182086 w 1842444"/>
              <a:gd name="connsiteY1" fmla="*/ 685801 h 1179095"/>
              <a:gd name="connsiteX2" fmla="*/ 13643 w 1842444"/>
              <a:gd name="connsiteY2" fmla="*/ 0 h 1179095"/>
              <a:gd name="connsiteX0" fmla="*/ 1835568 w 1835568"/>
              <a:gd name="connsiteY0" fmla="*/ 1179095 h 1179095"/>
              <a:gd name="connsiteX1" fmla="*/ 199273 w 1835568"/>
              <a:gd name="connsiteY1" fmla="*/ 517358 h 1179095"/>
              <a:gd name="connsiteX2" fmla="*/ 6767 w 1835568"/>
              <a:gd name="connsiteY2" fmla="*/ 0 h 1179095"/>
              <a:gd name="connsiteX0" fmla="*/ 3055186 w 3055186"/>
              <a:gd name="connsiteY0" fmla="*/ 2137703 h 2137703"/>
              <a:gd name="connsiteX1" fmla="*/ 1418891 w 3055186"/>
              <a:gd name="connsiteY1" fmla="*/ 1475966 h 2137703"/>
              <a:gd name="connsiteX2" fmla="*/ 605 w 3055186"/>
              <a:gd name="connsiteY2" fmla="*/ 5037 h 2137703"/>
              <a:gd name="connsiteX3" fmla="*/ 1226385 w 3055186"/>
              <a:gd name="connsiteY3" fmla="*/ 958608 h 2137703"/>
              <a:gd name="connsiteX0" fmla="*/ 2008439 w 2008439"/>
              <a:gd name="connsiteY0" fmla="*/ 2347300 h 2347300"/>
              <a:gd name="connsiteX1" fmla="*/ 1418891 w 2008439"/>
              <a:gd name="connsiteY1" fmla="*/ 1475966 h 2347300"/>
              <a:gd name="connsiteX2" fmla="*/ 605 w 2008439"/>
              <a:gd name="connsiteY2" fmla="*/ 5037 h 2347300"/>
              <a:gd name="connsiteX3" fmla="*/ 1226385 w 2008439"/>
              <a:gd name="connsiteY3" fmla="*/ 958608 h 2347300"/>
              <a:gd name="connsiteX0" fmla="*/ 2008439 w 2008439"/>
              <a:gd name="connsiteY0" fmla="*/ 2347300 h 2347300"/>
              <a:gd name="connsiteX1" fmla="*/ 757154 w 2008439"/>
              <a:gd name="connsiteY1" fmla="*/ 1192395 h 2347300"/>
              <a:gd name="connsiteX2" fmla="*/ 605 w 2008439"/>
              <a:gd name="connsiteY2" fmla="*/ 5037 h 2347300"/>
              <a:gd name="connsiteX3" fmla="*/ 1226385 w 2008439"/>
              <a:gd name="connsiteY3" fmla="*/ 958608 h 2347300"/>
              <a:gd name="connsiteX0" fmla="*/ 2024281 w 2024281"/>
              <a:gd name="connsiteY0" fmla="*/ 2347300 h 2347300"/>
              <a:gd name="connsiteX1" fmla="*/ 772996 w 2024281"/>
              <a:gd name="connsiteY1" fmla="*/ 1192395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24281 w 2024281"/>
              <a:gd name="connsiteY0" fmla="*/ 2347300 h 2347300"/>
              <a:gd name="connsiteX1" fmla="*/ 724870 w 2024281"/>
              <a:gd name="connsiteY1" fmla="*/ 1549942 h 2347300"/>
              <a:gd name="connsiteX2" fmla="*/ 305205 w 2024281"/>
              <a:gd name="connsiteY2" fmla="*/ 1373580 h 2347300"/>
              <a:gd name="connsiteX3" fmla="*/ 16447 w 2024281"/>
              <a:gd name="connsiteY3" fmla="*/ 5037 h 2347300"/>
              <a:gd name="connsiteX4" fmla="*/ 1242227 w 2024281"/>
              <a:gd name="connsiteY4" fmla="*/ 958608 h 2347300"/>
              <a:gd name="connsiteX0" fmla="*/ 2069725 w 2069725"/>
              <a:gd name="connsiteY0" fmla="*/ 2436675 h 2436675"/>
              <a:gd name="connsiteX1" fmla="*/ 770314 w 2069725"/>
              <a:gd name="connsiteY1" fmla="*/ 1639317 h 2436675"/>
              <a:gd name="connsiteX2" fmla="*/ 350649 w 2069725"/>
              <a:gd name="connsiteY2" fmla="*/ 1462955 h 2436675"/>
              <a:gd name="connsiteX3" fmla="*/ 61891 w 2069725"/>
              <a:gd name="connsiteY3" fmla="*/ 94412 h 2436675"/>
              <a:gd name="connsiteX4" fmla="*/ 292 w 2069725"/>
              <a:gd name="connsiteY4" fmla="*/ 0 h 2436675"/>
              <a:gd name="connsiteX0" fmla="*/ 2069433 w 2069433"/>
              <a:gd name="connsiteY0" fmla="*/ 2436675 h 2436675"/>
              <a:gd name="connsiteX1" fmla="*/ 770022 w 2069433"/>
              <a:gd name="connsiteY1" fmla="*/ 1639317 h 2436675"/>
              <a:gd name="connsiteX2" fmla="*/ 350357 w 2069433"/>
              <a:gd name="connsiteY2" fmla="*/ 1462955 h 2436675"/>
              <a:gd name="connsiteX3" fmla="*/ 0 w 2069433"/>
              <a:gd name="connsiteY3" fmla="*/ 0 h 2436675"/>
              <a:gd name="connsiteX0" fmla="*/ 2021307 w 2021307"/>
              <a:gd name="connsiteY0" fmla="*/ 2387358 h 2387358"/>
              <a:gd name="connsiteX1" fmla="*/ 721896 w 2021307"/>
              <a:gd name="connsiteY1" fmla="*/ 1590000 h 2387358"/>
              <a:gd name="connsiteX2" fmla="*/ 302231 w 2021307"/>
              <a:gd name="connsiteY2" fmla="*/ 1413638 h 2387358"/>
              <a:gd name="connsiteX3" fmla="*/ 0 w 2021307"/>
              <a:gd name="connsiteY3" fmla="*/ 0 h 2387358"/>
              <a:gd name="connsiteX0" fmla="*/ 2034083 w 2034083"/>
              <a:gd name="connsiteY0" fmla="*/ 2387358 h 2387358"/>
              <a:gd name="connsiteX1" fmla="*/ 734672 w 2034083"/>
              <a:gd name="connsiteY1" fmla="*/ 1590000 h 2387358"/>
              <a:gd name="connsiteX2" fmla="*/ 315007 w 2034083"/>
              <a:gd name="connsiteY2" fmla="*/ 1413638 h 2387358"/>
              <a:gd name="connsiteX3" fmla="*/ 12776 w 2034083"/>
              <a:gd name="connsiteY3" fmla="*/ 0 h 2387358"/>
              <a:gd name="connsiteX0" fmla="*/ 2050839 w 2050839"/>
              <a:gd name="connsiteY0" fmla="*/ 2387358 h 2387358"/>
              <a:gd name="connsiteX1" fmla="*/ 751428 w 2050839"/>
              <a:gd name="connsiteY1" fmla="*/ 1590000 h 2387358"/>
              <a:gd name="connsiteX2" fmla="*/ 151289 w 2050839"/>
              <a:gd name="connsiteY2" fmla="*/ 1450625 h 2387358"/>
              <a:gd name="connsiteX3" fmla="*/ 29532 w 2050839"/>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745574 w 2044985"/>
              <a:gd name="connsiteY1" fmla="*/ 1590000 h 2387358"/>
              <a:gd name="connsiteX2" fmla="*/ 181529 w 2044985"/>
              <a:gd name="connsiteY2" fmla="*/ 1401307 h 2387358"/>
              <a:gd name="connsiteX3" fmla="*/ 23678 w 2044985"/>
              <a:gd name="connsiteY3" fmla="*/ 0 h 2387358"/>
              <a:gd name="connsiteX0" fmla="*/ 2044985 w 2044985"/>
              <a:gd name="connsiteY0" fmla="*/ 2387358 h 2387358"/>
              <a:gd name="connsiteX1" fmla="*/ 829795 w 2044985"/>
              <a:gd name="connsiteY1" fmla="*/ 1614659 h 2387358"/>
              <a:gd name="connsiteX2" fmla="*/ 181529 w 2044985"/>
              <a:gd name="connsiteY2" fmla="*/ 1401307 h 2387358"/>
              <a:gd name="connsiteX3" fmla="*/ 23678 w 2044985"/>
              <a:gd name="connsiteY3" fmla="*/ 0 h 2387358"/>
              <a:gd name="connsiteX0" fmla="*/ 2065994 w 2065994"/>
              <a:gd name="connsiteY0" fmla="*/ 2387358 h 2387358"/>
              <a:gd name="connsiteX1" fmla="*/ 85080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65994 w 2065994"/>
              <a:gd name="connsiteY0" fmla="*/ 2387358 h 2387358"/>
              <a:gd name="connsiteX1" fmla="*/ 966014 w 2065994"/>
              <a:gd name="connsiteY1" fmla="*/ 1614659 h 2387358"/>
              <a:gd name="connsiteX2" fmla="*/ 110370 w 2065994"/>
              <a:gd name="connsiteY2" fmla="*/ 1102548 h 2387358"/>
              <a:gd name="connsiteX3" fmla="*/ 44687 w 2065994"/>
              <a:gd name="connsiteY3" fmla="*/ 0 h 2387358"/>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2042952 w 2042952"/>
              <a:gd name="connsiteY0" fmla="*/ 2414519 h 2414519"/>
              <a:gd name="connsiteX1" fmla="*/ 966014 w 2042952"/>
              <a:gd name="connsiteY1" fmla="*/ 1614659 h 2414519"/>
              <a:gd name="connsiteX2" fmla="*/ 110370 w 2042952"/>
              <a:gd name="connsiteY2" fmla="*/ 1102548 h 2414519"/>
              <a:gd name="connsiteX3" fmla="*/ 44687 w 2042952"/>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1998265 w 1998265"/>
              <a:gd name="connsiteY0" fmla="*/ 2414519 h 2414519"/>
              <a:gd name="connsiteX1" fmla="*/ 921327 w 1998265"/>
              <a:gd name="connsiteY1" fmla="*/ 1614659 h 2414519"/>
              <a:gd name="connsiteX2" fmla="*/ 65683 w 1998265"/>
              <a:gd name="connsiteY2" fmla="*/ 1102548 h 2414519"/>
              <a:gd name="connsiteX3" fmla="*/ 0 w 1998265"/>
              <a:gd name="connsiteY3" fmla="*/ 0 h 2414519"/>
              <a:gd name="connsiteX0" fmla="*/ 2002482 w 2002482"/>
              <a:gd name="connsiteY0" fmla="*/ 2428099 h 2428099"/>
              <a:gd name="connsiteX1" fmla="*/ 925544 w 2002482"/>
              <a:gd name="connsiteY1" fmla="*/ 1628239 h 2428099"/>
              <a:gd name="connsiteX2" fmla="*/ 69900 w 2002482"/>
              <a:gd name="connsiteY2" fmla="*/ 1116128 h 2428099"/>
              <a:gd name="connsiteX3" fmla="*/ 42620 w 2002482"/>
              <a:gd name="connsiteY3" fmla="*/ 0 h 2428099"/>
              <a:gd name="connsiteX0" fmla="*/ 2004453 w 2004453"/>
              <a:gd name="connsiteY0" fmla="*/ 2428099 h 2428099"/>
              <a:gd name="connsiteX1" fmla="*/ 927515 w 2004453"/>
              <a:gd name="connsiteY1" fmla="*/ 1628239 h 2428099"/>
              <a:gd name="connsiteX2" fmla="*/ 71871 w 2004453"/>
              <a:gd name="connsiteY2" fmla="*/ 1116128 h 2428099"/>
              <a:gd name="connsiteX3" fmla="*/ 44591 w 2004453"/>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59862 w 1959862"/>
              <a:gd name="connsiteY0" fmla="*/ 2428099 h 2428099"/>
              <a:gd name="connsiteX1" fmla="*/ 882924 w 1959862"/>
              <a:gd name="connsiteY1" fmla="*/ 1628239 h 2428099"/>
              <a:gd name="connsiteX2" fmla="*/ 27280 w 1959862"/>
              <a:gd name="connsiteY2" fmla="*/ 1116128 h 2428099"/>
              <a:gd name="connsiteX3" fmla="*/ 0 w 1959862"/>
              <a:gd name="connsiteY3" fmla="*/ 0 h 2428099"/>
              <a:gd name="connsiteX0" fmla="*/ 1996171 w 1996171"/>
              <a:gd name="connsiteY0" fmla="*/ 2414519 h 2414519"/>
              <a:gd name="connsiteX1" fmla="*/ 919233 w 1996171"/>
              <a:gd name="connsiteY1" fmla="*/ 1614659 h 2414519"/>
              <a:gd name="connsiteX2" fmla="*/ 63589 w 1996171"/>
              <a:gd name="connsiteY2" fmla="*/ 1102548 h 2414519"/>
              <a:gd name="connsiteX3" fmla="*/ 59351 w 1996171"/>
              <a:gd name="connsiteY3" fmla="*/ 0 h 2414519"/>
              <a:gd name="connsiteX0" fmla="*/ 2001618 w 2001618"/>
              <a:gd name="connsiteY0" fmla="*/ 2414519 h 2414519"/>
              <a:gd name="connsiteX1" fmla="*/ 924680 w 2001618"/>
              <a:gd name="connsiteY1" fmla="*/ 1614659 h 2414519"/>
              <a:gd name="connsiteX2" fmla="*/ 69036 w 2001618"/>
              <a:gd name="connsiteY2" fmla="*/ 1102548 h 2414519"/>
              <a:gd name="connsiteX3" fmla="*/ 64798 w 2001618"/>
              <a:gd name="connsiteY3" fmla="*/ 0 h 2414519"/>
              <a:gd name="connsiteX0" fmla="*/ 1946612 w 1946612"/>
              <a:gd name="connsiteY0" fmla="*/ 2414519 h 2414519"/>
              <a:gd name="connsiteX1" fmla="*/ 869674 w 1946612"/>
              <a:gd name="connsiteY1" fmla="*/ 1614659 h 2414519"/>
              <a:gd name="connsiteX2" fmla="*/ 14030 w 1946612"/>
              <a:gd name="connsiteY2" fmla="*/ 1102548 h 2414519"/>
              <a:gd name="connsiteX3" fmla="*/ 9792 w 1946612"/>
              <a:gd name="connsiteY3" fmla="*/ 0 h 2414519"/>
              <a:gd name="connsiteX0" fmla="*/ 1949048 w 1949048"/>
              <a:gd name="connsiteY0" fmla="*/ 2414519 h 2414519"/>
              <a:gd name="connsiteX1" fmla="*/ 872110 w 1949048"/>
              <a:gd name="connsiteY1" fmla="*/ 1614659 h 2414519"/>
              <a:gd name="connsiteX2" fmla="*/ 16466 w 1949048"/>
              <a:gd name="connsiteY2" fmla="*/ 1102548 h 2414519"/>
              <a:gd name="connsiteX3" fmla="*/ 12228 w 1949048"/>
              <a:gd name="connsiteY3" fmla="*/ 0 h 2414519"/>
              <a:gd name="connsiteX0" fmla="*/ 1943021 w 1943021"/>
              <a:gd name="connsiteY0" fmla="*/ 2414519 h 2414519"/>
              <a:gd name="connsiteX1" fmla="*/ 866083 w 1943021"/>
              <a:gd name="connsiteY1" fmla="*/ 1614659 h 2414519"/>
              <a:gd name="connsiteX2" fmla="*/ 10439 w 1943021"/>
              <a:gd name="connsiteY2" fmla="*/ 1102548 h 2414519"/>
              <a:gd name="connsiteX3" fmla="*/ 6201 w 1943021"/>
              <a:gd name="connsiteY3" fmla="*/ 0 h 2414519"/>
              <a:gd name="connsiteX0" fmla="*/ 1937427 w 1937427"/>
              <a:gd name="connsiteY0" fmla="*/ 2414519 h 2414519"/>
              <a:gd name="connsiteX1" fmla="*/ 860489 w 1937427"/>
              <a:gd name="connsiteY1" fmla="*/ 1614659 h 2414519"/>
              <a:gd name="connsiteX2" fmla="*/ 4845 w 1937427"/>
              <a:gd name="connsiteY2" fmla="*/ 1102548 h 2414519"/>
              <a:gd name="connsiteX3" fmla="*/ 607 w 1937427"/>
              <a:gd name="connsiteY3" fmla="*/ 0 h 2414519"/>
              <a:gd name="connsiteX0" fmla="*/ 1932602 w 1932602"/>
              <a:gd name="connsiteY0" fmla="*/ 1624033 h 1624033"/>
              <a:gd name="connsiteX1" fmla="*/ 855664 w 1932602"/>
              <a:gd name="connsiteY1" fmla="*/ 824173 h 1624033"/>
              <a:gd name="connsiteX2" fmla="*/ 20 w 1932602"/>
              <a:gd name="connsiteY2" fmla="*/ 312062 h 1624033"/>
              <a:gd name="connsiteX3" fmla="*/ 1685921 w 1932602"/>
              <a:gd name="connsiteY3" fmla="*/ 0 h 1624033"/>
              <a:gd name="connsiteX0" fmla="*/ 1932618 w 1932618"/>
              <a:gd name="connsiteY0" fmla="*/ 1709036 h 1709036"/>
              <a:gd name="connsiteX1" fmla="*/ 855680 w 1932618"/>
              <a:gd name="connsiteY1" fmla="*/ 909176 h 1709036"/>
              <a:gd name="connsiteX2" fmla="*/ 36 w 1932618"/>
              <a:gd name="connsiteY2" fmla="*/ 397065 h 1709036"/>
              <a:gd name="connsiteX3" fmla="*/ 1685937 w 1932618"/>
              <a:gd name="connsiteY3" fmla="*/ 85003 h 1709036"/>
              <a:gd name="connsiteX0" fmla="*/ 1837314 w 1837314"/>
              <a:gd name="connsiteY0" fmla="*/ 1684062 h 1684062"/>
              <a:gd name="connsiteX1" fmla="*/ 760376 w 1837314"/>
              <a:gd name="connsiteY1" fmla="*/ 884202 h 1684062"/>
              <a:gd name="connsiteX2" fmla="*/ 41 w 1837314"/>
              <a:gd name="connsiteY2" fmla="*/ 439846 h 1684062"/>
              <a:gd name="connsiteX3" fmla="*/ 1590633 w 1837314"/>
              <a:gd name="connsiteY3" fmla="*/ 60029 h 1684062"/>
              <a:gd name="connsiteX0" fmla="*/ 1837273 w 1837273"/>
              <a:gd name="connsiteY0" fmla="*/ 1637581 h 1637581"/>
              <a:gd name="connsiteX1" fmla="*/ 760335 w 1837273"/>
              <a:gd name="connsiteY1" fmla="*/ 837721 h 1637581"/>
              <a:gd name="connsiteX2" fmla="*/ 0 w 1837273"/>
              <a:gd name="connsiteY2" fmla="*/ 393365 h 1637581"/>
              <a:gd name="connsiteX3" fmla="*/ 1590592 w 1837273"/>
              <a:gd name="connsiteY3" fmla="*/ 13548 h 1637581"/>
              <a:gd name="connsiteX0" fmla="*/ 1912426 w 1912426"/>
              <a:gd name="connsiteY0" fmla="*/ 1637581 h 1637581"/>
              <a:gd name="connsiteX1" fmla="*/ 835488 w 1912426"/>
              <a:gd name="connsiteY1" fmla="*/ 837721 h 1637581"/>
              <a:gd name="connsiteX2" fmla="*/ 75153 w 1912426"/>
              <a:gd name="connsiteY2" fmla="*/ 393365 h 1637581"/>
              <a:gd name="connsiteX3" fmla="*/ 1665745 w 1912426"/>
              <a:gd name="connsiteY3" fmla="*/ 13548 h 1637581"/>
              <a:gd name="connsiteX0" fmla="*/ 1912426 w 1912426"/>
              <a:gd name="connsiteY0" fmla="*/ 1296871 h 1296871"/>
              <a:gd name="connsiteX1" fmla="*/ 835488 w 1912426"/>
              <a:gd name="connsiteY1" fmla="*/ 497011 h 1296871"/>
              <a:gd name="connsiteX2" fmla="*/ 75153 w 1912426"/>
              <a:gd name="connsiteY2" fmla="*/ 52655 h 1296871"/>
              <a:gd name="connsiteX3" fmla="*/ 1710222 w 1912426"/>
              <a:gd name="connsiteY3" fmla="*/ 463323 h 1296871"/>
              <a:gd name="connsiteX0" fmla="*/ 1912426 w 1912426"/>
              <a:gd name="connsiteY0" fmla="*/ 1345096 h 1345096"/>
              <a:gd name="connsiteX1" fmla="*/ 835488 w 1912426"/>
              <a:gd name="connsiteY1" fmla="*/ 545236 h 1345096"/>
              <a:gd name="connsiteX2" fmla="*/ 75153 w 1912426"/>
              <a:gd name="connsiteY2" fmla="*/ 100880 h 1345096"/>
              <a:gd name="connsiteX3" fmla="*/ 1710222 w 1912426"/>
              <a:gd name="connsiteY3" fmla="*/ 511548 h 1345096"/>
              <a:gd name="connsiteX0" fmla="*/ 1915580 w 1915580"/>
              <a:gd name="connsiteY0" fmla="*/ 1345096 h 1345096"/>
              <a:gd name="connsiteX1" fmla="*/ 838642 w 1915580"/>
              <a:gd name="connsiteY1" fmla="*/ 545236 h 1345096"/>
              <a:gd name="connsiteX2" fmla="*/ 78307 w 1915580"/>
              <a:gd name="connsiteY2" fmla="*/ 100880 h 1345096"/>
              <a:gd name="connsiteX3" fmla="*/ 1713376 w 1915580"/>
              <a:gd name="connsiteY3" fmla="*/ 511548 h 1345096"/>
              <a:gd name="connsiteX0" fmla="*/ 1886723 w 1886723"/>
              <a:gd name="connsiteY0" fmla="*/ 1446730 h 1446730"/>
              <a:gd name="connsiteX1" fmla="*/ 835201 w 1886723"/>
              <a:gd name="connsiteY1" fmla="*/ 545236 h 1446730"/>
              <a:gd name="connsiteX2" fmla="*/ 74866 w 1886723"/>
              <a:gd name="connsiteY2" fmla="*/ 100880 h 1446730"/>
              <a:gd name="connsiteX3" fmla="*/ 1709935 w 1886723"/>
              <a:gd name="connsiteY3" fmla="*/ 511548 h 1446730"/>
              <a:gd name="connsiteX0" fmla="*/ 1891268 w 1891268"/>
              <a:gd name="connsiteY0" fmla="*/ 1446730 h 1446730"/>
              <a:gd name="connsiteX1" fmla="*/ 839746 w 1891268"/>
              <a:gd name="connsiteY1" fmla="*/ 545236 h 1446730"/>
              <a:gd name="connsiteX2" fmla="*/ 79411 w 1891268"/>
              <a:gd name="connsiteY2" fmla="*/ 100880 h 1446730"/>
              <a:gd name="connsiteX3" fmla="*/ 1714480 w 1891268"/>
              <a:gd name="connsiteY3" fmla="*/ 511548 h 1446730"/>
              <a:gd name="connsiteX0" fmla="*/ 1891784 w 1891784"/>
              <a:gd name="connsiteY0" fmla="*/ 1446730 h 1446730"/>
              <a:gd name="connsiteX1" fmla="*/ 833908 w 1891784"/>
              <a:gd name="connsiteY1" fmla="*/ 477480 h 1446730"/>
              <a:gd name="connsiteX2" fmla="*/ 79927 w 1891784"/>
              <a:gd name="connsiteY2" fmla="*/ 100880 h 1446730"/>
              <a:gd name="connsiteX3" fmla="*/ 1714996 w 1891784"/>
              <a:gd name="connsiteY3" fmla="*/ 511548 h 1446730"/>
              <a:gd name="connsiteX0" fmla="*/ 1891784 w 1891784"/>
              <a:gd name="connsiteY0" fmla="*/ 1392138 h 1392138"/>
              <a:gd name="connsiteX1" fmla="*/ 833908 w 1891784"/>
              <a:gd name="connsiteY1" fmla="*/ 422888 h 1392138"/>
              <a:gd name="connsiteX2" fmla="*/ 79927 w 1891784"/>
              <a:gd name="connsiteY2" fmla="*/ 46288 h 1392138"/>
              <a:gd name="connsiteX3" fmla="*/ 1714996 w 1891784"/>
              <a:gd name="connsiteY3" fmla="*/ 456956 h 1392138"/>
              <a:gd name="connsiteX0" fmla="*/ 1907978 w 1907978"/>
              <a:gd name="connsiteY0" fmla="*/ 1392138 h 1392138"/>
              <a:gd name="connsiteX1" fmla="*/ 850102 w 1907978"/>
              <a:gd name="connsiteY1" fmla="*/ 422888 h 1392138"/>
              <a:gd name="connsiteX2" fmla="*/ 96121 w 1907978"/>
              <a:gd name="connsiteY2" fmla="*/ 46288 h 1392138"/>
              <a:gd name="connsiteX3" fmla="*/ 1731190 w 1907978"/>
              <a:gd name="connsiteY3" fmla="*/ 456956 h 1392138"/>
              <a:gd name="connsiteX0" fmla="*/ 1907978 w 2674745"/>
              <a:gd name="connsiteY0" fmla="*/ 1356371 h 1356371"/>
              <a:gd name="connsiteX1" fmla="*/ 850102 w 2674745"/>
              <a:gd name="connsiteY1" fmla="*/ 387121 h 1356371"/>
              <a:gd name="connsiteX2" fmla="*/ 96121 w 2674745"/>
              <a:gd name="connsiteY2" fmla="*/ 10521 h 1356371"/>
              <a:gd name="connsiteX3" fmla="*/ 2674745 w 2674745"/>
              <a:gd name="connsiteY3" fmla="*/ 1030992 h 1356371"/>
              <a:gd name="connsiteX0" fmla="*/ 1819659 w 2586426"/>
              <a:gd name="connsiteY0" fmla="*/ 1346540 h 1346540"/>
              <a:gd name="connsiteX1" fmla="*/ 761783 w 2586426"/>
              <a:gd name="connsiteY1" fmla="*/ 377290 h 1346540"/>
              <a:gd name="connsiteX2" fmla="*/ 7802 w 2586426"/>
              <a:gd name="connsiteY2" fmla="*/ 690 h 1346540"/>
              <a:gd name="connsiteX3" fmla="*/ 1203330 w 2586426"/>
              <a:gd name="connsiteY3" fmla="*/ 305247 h 1346540"/>
              <a:gd name="connsiteX4" fmla="*/ 2586426 w 2586426"/>
              <a:gd name="connsiteY4" fmla="*/ 1021161 h 1346540"/>
              <a:gd name="connsiteX0" fmla="*/ 1819659 w 2586426"/>
              <a:gd name="connsiteY0" fmla="*/ 1351952 h 1351952"/>
              <a:gd name="connsiteX1" fmla="*/ 761783 w 2586426"/>
              <a:gd name="connsiteY1" fmla="*/ 382702 h 1351952"/>
              <a:gd name="connsiteX2" fmla="*/ 7802 w 2586426"/>
              <a:gd name="connsiteY2" fmla="*/ 6102 h 1351952"/>
              <a:gd name="connsiteX3" fmla="*/ 1203330 w 2586426"/>
              <a:gd name="connsiteY3" fmla="*/ 152562 h 1351952"/>
              <a:gd name="connsiteX4" fmla="*/ 2586426 w 2586426"/>
              <a:gd name="connsiteY4" fmla="*/ 1026573 h 1351952"/>
              <a:gd name="connsiteX0" fmla="*/ 1819659 w 2586426"/>
              <a:gd name="connsiteY0" fmla="*/ 1351952 h 1351952"/>
              <a:gd name="connsiteX1" fmla="*/ 761783 w 2586426"/>
              <a:gd name="connsiteY1" fmla="*/ 382702 h 1351952"/>
              <a:gd name="connsiteX2" fmla="*/ 7802 w 2586426"/>
              <a:gd name="connsiteY2" fmla="*/ 6102 h 1351952"/>
              <a:gd name="connsiteX3" fmla="*/ 1203330 w 2586426"/>
              <a:gd name="connsiteY3" fmla="*/ 152562 h 1351952"/>
              <a:gd name="connsiteX4" fmla="*/ 2586426 w 2586426"/>
              <a:gd name="connsiteY4" fmla="*/ 1026573 h 1351952"/>
              <a:gd name="connsiteX0" fmla="*/ 1813016 w 2579783"/>
              <a:gd name="connsiteY0" fmla="*/ 1416509 h 1416509"/>
              <a:gd name="connsiteX1" fmla="*/ 755140 w 2579783"/>
              <a:gd name="connsiteY1" fmla="*/ 447259 h 1416509"/>
              <a:gd name="connsiteX2" fmla="*/ 1159 w 2579783"/>
              <a:gd name="connsiteY2" fmla="*/ 70659 h 1416509"/>
              <a:gd name="connsiteX3" fmla="*/ 1196687 w 2579783"/>
              <a:gd name="connsiteY3" fmla="*/ 217119 h 1416509"/>
              <a:gd name="connsiteX4" fmla="*/ 2579783 w 2579783"/>
              <a:gd name="connsiteY4" fmla="*/ 1091130 h 1416509"/>
              <a:gd name="connsiteX0" fmla="*/ 1813016 w 2579783"/>
              <a:gd name="connsiteY0" fmla="*/ 1416509 h 1416509"/>
              <a:gd name="connsiteX1" fmla="*/ 755140 w 2579783"/>
              <a:gd name="connsiteY1" fmla="*/ 447259 h 1416509"/>
              <a:gd name="connsiteX2" fmla="*/ 1159 w 2579783"/>
              <a:gd name="connsiteY2" fmla="*/ 70659 h 1416509"/>
              <a:gd name="connsiteX3" fmla="*/ 1196687 w 2579783"/>
              <a:gd name="connsiteY3" fmla="*/ 217119 h 1416509"/>
              <a:gd name="connsiteX4" fmla="*/ 2579783 w 2579783"/>
              <a:gd name="connsiteY4" fmla="*/ 1091130 h 1416509"/>
              <a:gd name="connsiteX0" fmla="*/ 1813016 w 2565487"/>
              <a:gd name="connsiteY0" fmla="*/ 1416509 h 1416509"/>
              <a:gd name="connsiteX1" fmla="*/ 755140 w 2565487"/>
              <a:gd name="connsiteY1" fmla="*/ 447259 h 1416509"/>
              <a:gd name="connsiteX2" fmla="*/ 1159 w 2565487"/>
              <a:gd name="connsiteY2" fmla="*/ 70659 h 1416509"/>
              <a:gd name="connsiteX3" fmla="*/ 1196687 w 2565487"/>
              <a:gd name="connsiteY3" fmla="*/ 217119 h 1416509"/>
              <a:gd name="connsiteX4" fmla="*/ 2565487 w 2565487"/>
              <a:gd name="connsiteY4" fmla="*/ 1226642 h 1416509"/>
              <a:gd name="connsiteX0" fmla="*/ 1813016 w 2565487"/>
              <a:gd name="connsiteY0" fmla="*/ 1416509 h 1416509"/>
              <a:gd name="connsiteX1" fmla="*/ 755140 w 2565487"/>
              <a:gd name="connsiteY1" fmla="*/ 447259 h 1416509"/>
              <a:gd name="connsiteX2" fmla="*/ 1159 w 2565487"/>
              <a:gd name="connsiteY2" fmla="*/ 70659 h 1416509"/>
              <a:gd name="connsiteX3" fmla="*/ 1196687 w 2565487"/>
              <a:gd name="connsiteY3" fmla="*/ 217119 h 1416509"/>
              <a:gd name="connsiteX4" fmla="*/ 2565487 w 2565487"/>
              <a:gd name="connsiteY4" fmla="*/ 1226642 h 1416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87" h="1416509">
                <a:moveTo>
                  <a:pt x="1813016" y="1416509"/>
                </a:moveTo>
                <a:cubicBezTo>
                  <a:pt x="1796311" y="518588"/>
                  <a:pt x="1120655" y="434422"/>
                  <a:pt x="755140" y="447259"/>
                </a:cubicBezTo>
                <a:cubicBezTo>
                  <a:pt x="389625" y="460096"/>
                  <a:pt x="-24778" y="229471"/>
                  <a:pt x="1159" y="70659"/>
                </a:cubicBezTo>
                <a:cubicBezTo>
                  <a:pt x="27096" y="-88153"/>
                  <a:pt x="766916" y="47041"/>
                  <a:pt x="1196687" y="217119"/>
                </a:cubicBezTo>
                <a:cubicBezTo>
                  <a:pt x="1626458" y="387197"/>
                  <a:pt x="2401687" y="892763"/>
                  <a:pt x="2565487" y="1226642"/>
                </a:cubicBezTo>
              </a:path>
            </a:pathLst>
          </a:custGeom>
          <a:noFill/>
          <a:ln w="38100" cap="flat" cmpd="sng" algn="ctr">
            <a:solidFill>
              <a:schemeClr val="bg2"/>
            </a:solidFill>
            <a:prstDash val="dash"/>
            <a:round/>
            <a:headEnd type="none" w="med" len="med"/>
            <a:tailEnd type="arrow" w="med" len="med"/>
          </a:ln>
          <a:effectLst/>
        </p:spPr>
        <p:txBody>
          <a:bodyPr vert="horz" wrap="none" lIns="72000" tIns="45720" rIns="72000" bIns="45720" numCol="1" rtlCol="0" anchor="t" anchorCtr="0" compatLnSpc="1">
            <a:prstTxWarp prst="textNoShape">
              <a:avLst/>
            </a:prstTxWarp>
          </a:bodyPr>
          <a:lstStyle/>
          <a:p>
            <a:endParaRPr lang="en-US">
              <a:solidFill>
                <a:srgbClr val="58585A"/>
              </a:solidFill>
            </a:endParaRPr>
          </a:p>
        </p:txBody>
      </p:sp>
      <p:sp>
        <p:nvSpPr>
          <p:cNvPr id="49" name="TextBox 48"/>
          <p:cNvSpPr txBox="1"/>
          <p:nvPr/>
        </p:nvSpPr>
        <p:spPr>
          <a:xfrm>
            <a:off x="8355650" y="2247977"/>
            <a:ext cx="1175995" cy="400110"/>
          </a:xfrm>
          <a:prstGeom prst="rect">
            <a:avLst/>
          </a:prstGeom>
          <a:noFill/>
        </p:spPr>
        <p:txBody>
          <a:bodyPr wrap="square">
            <a:spAutoFit/>
          </a:bodyPr>
          <a:lstStyle/>
          <a:p>
            <a:pPr algn="r">
              <a:defRPr/>
            </a:pPr>
            <a:r>
              <a:rPr lang="en-US">
                <a:solidFill>
                  <a:srgbClr val="FFFFFF">
                    <a:lumMod val="75000"/>
                  </a:srgbClr>
                </a:solidFill>
                <a:cs typeface="+mn-cs"/>
              </a:rPr>
              <a:t>Slice #</a:t>
            </a:r>
            <a:r>
              <a:rPr lang="en-US" dirty="0">
                <a:solidFill>
                  <a:srgbClr val="FFFFFF">
                    <a:lumMod val="75000"/>
                  </a:srgbClr>
                </a:solidFill>
                <a:cs typeface="+mn-cs"/>
              </a:rPr>
              <a:t>2</a:t>
            </a:r>
          </a:p>
        </p:txBody>
      </p:sp>
      <p:sp>
        <p:nvSpPr>
          <p:cNvPr id="50" name="Rounded Rectangle 53"/>
          <p:cNvSpPr/>
          <p:nvPr/>
        </p:nvSpPr>
        <p:spPr bwMode="auto">
          <a:xfrm>
            <a:off x="9773843" y="2278363"/>
            <a:ext cx="2203508" cy="3595023"/>
          </a:xfrm>
          <a:prstGeom prst="roundRect">
            <a:avLst/>
          </a:prstGeom>
          <a:noFill/>
          <a:ln w="38100" cap="flat" cmpd="sng" algn="ctr">
            <a:solidFill>
              <a:schemeClr val="bg1">
                <a:lumMod val="75000"/>
              </a:schemeClr>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dirty="0">
              <a:solidFill>
                <a:srgbClr val="58585A"/>
              </a:solidFill>
            </a:endParaRPr>
          </a:p>
        </p:txBody>
      </p:sp>
      <p:sp>
        <p:nvSpPr>
          <p:cNvPr id="51" name="Rectangular Callout 111"/>
          <p:cNvSpPr/>
          <p:nvPr/>
        </p:nvSpPr>
        <p:spPr bwMode="auto">
          <a:xfrm>
            <a:off x="8588588" y="4397676"/>
            <a:ext cx="3061545" cy="804051"/>
          </a:xfrm>
          <a:prstGeom prst="wedgeRectCallout">
            <a:avLst>
              <a:gd name="adj1" fmla="val -50340"/>
              <a:gd name="adj2" fmla="val -129579"/>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r>
              <a:rPr lang="en-US" sz="1400" dirty="0">
                <a:solidFill>
                  <a:srgbClr val="58585A"/>
                </a:solidFill>
              </a:rPr>
              <a:t>MME may evaluate the DCN selection towards UE Usage Type and possibly perform a NAS reroute</a:t>
            </a:r>
          </a:p>
        </p:txBody>
      </p:sp>
      <p:sp>
        <p:nvSpPr>
          <p:cNvPr id="52" name="Rectangular Callout 110"/>
          <p:cNvSpPr/>
          <p:nvPr/>
        </p:nvSpPr>
        <p:spPr bwMode="auto">
          <a:xfrm>
            <a:off x="515454" y="4652047"/>
            <a:ext cx="2742873" cy="705657"/>
          </a:xfrm>
          <a:prstGeom prst="wedgeRectCallout">
            <a:avLst>
              <a:gd name="adj1" fmla="val 84851"/>
              <a:gd name="adj2" fmla="val -25276"/>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r>
              <a:rPr lang="en-US" sz="1400" dirty="0">
                <a:solidFill>
                  <a:srgbClr val="58585A"/>
                </a:solidFill>
              </a:rPr>
              <a:t>NNSF selects a DCN based on CN Selection assistance parameter (DCN-ID)</a:t>
            </a:r>
            <a:endParaRPr lang="en-US" sz="1400" strike="sngStrike" dirty="0">
              <a:solidFill>
                <a:srgbClr val="58585A"/>
              </a:solidFill>
            </a:endParaRPr>
          </a:p>
        </p:txBody>
      </p:sp>
      <p:sp>
        <p:nvSpPr>
          <p:cNvPr id="53" name="Parallelogram 52"/>
          <p:cNvSpPr/>
          <p:nvPr/>
        </p:nvSpPr>
        <p:spPr bwMode="auto">
          <a:xfrm>
            <a:off x="4952362" y="5555444"/>
            <a:ext cx="1983532" cy="857943"/>
          </a:xfrm>
          <a:prstGeom prst="parallelogram">
            <a:avLst/>
          </a:prstGeom>
          <a:solidFill>
            <a:srgbClr val="F08A0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18000" tIns="18000" rIns="18000" bIns="18000" numCol="1" rtlCol="0" anchor="ctr" anchorCtr="1" compatLnSpc="1">
            <a:prstTxWarp prst="textNoShape">
              <a:avLst/>
            </a:prstTxWarp>
          </a:bodyPr>
          <a:lstStyle/>
          <a:p>
            <a:br>
              <a:rPr lang="en-US" sz="1200" b="1" dirty="0">
                <a:solidFill>
                  <a:srgbClr val="FFFFFF"/>
                </a:solidFill>
              </a:rPr>
            </a:br>
            <a:r>
              <a:rPr lang="en-US" sz="1200" b="1" dirty="0">
                <a:solidFill>
                  <a:srgbClr val="FFFFFF"/>
                </a:solidFill>
              </a:rPr>
              <a:t>CN Selection</a:t>
            </a:r>
            <a:br>
              <a:rPr lang="en-US" sz="1200" b="1" dirty="0">
                <a:solidFill>
                  <a:srgbClr val="FFFFFF"/>
                </a:solidFill>
              </a:rPr>
            </a:br>
            <a:r>
              <a:rPr lang="en-US" sz="1200" b="1" dirty="0">
                <a:solidFill>
                  <a:srgbClr val="FFFFFF"/>
                </a:solidFill>
              </a:rPr>
              <a:t>assistance</a:t>
            </a:r>
            <a:br>
              <a:rPr lang="en-US" sz="1200" b="1" dirty="0">
                <a:solidFill>
                  <a:srgbClr val="FFFFFF"/>
                </a:solidFill>
              </a:rPr>
            </a:br>
            <a:r>
              <a:rPr lang="en-US" sz="1200" b="1" dirty="0">
                <a:solidFill>
                  <a:srgbClr val="FFFFFF"/>
                </a:solidFill>
              </a:rPr>
              <a:t>parameter (DCN-ID)</a:t>
            </a:r>
            <a:br>
              <a:rPr lang="en-US" sz="1200" b="1" dirty="0">
                <a:solidFill>
                  <a:srgbClr val="FFFFFF"/>
                </a:solidFill>
              </a:rPr>
            </a:br>
            <a:endParaRPr lang="en-US" sz="1200" b="1" dirty="0">
              <a:solidFill>
                <a:srgbClr val="FFFFFF"/>
              </a:solidFill>
            </a:endParaRPr>
          </a:p>
        </p:txBody>
      </p:sp>
      <p:sp>
        <p:nvSpPr>
          <p:cNvPr id="54" name="TextBox 72"/>
          <p:cNvSpPr txBox="1">
            <a:spLocks noChangeArrowheads="1"/>
          </p:cNvSpPr>
          <p:nvPr/>
        </p:nvSpPr>
        <p:spPr bwMode="auto">
          <a:xfrm>
            <a:off x="215414" y="5923177"/>
            <a:ext cx="27286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400" dirty="0"/>
              <a:t>DCN = Dedicated Core Network</a:t>
            </a:r>
          </a:p>
        </p:txBody>
      </p:sp>
      <p:sp>
        <p:nvSpPr>
          <p:cNvPr id="55" name="Rectangular Callout 62"/>
          <p:cNvSpPr/>
          <p:nvPr/>
        </p:nvSpPr>
        <p:spPr bwMode="auto">
          <a:xfrm>
            <a:off x="7329657" y="5842509"/>
            <a:ext cx="2444185" cy="551262"/>
          </a:xfrm>
          <a:prstGeom prst="wedgeRectCallout">
            <a:avLst>
              <a:gd name="adj1" fmla="val -73884"/>
              <a:gd name="adj2" fmla="val 384"/>
            </a:avLst>
          </a:prstGeom>
          <a:solidFill>
            <a:srgbClr val="FFFF99"/>
          </a:solidFill>
          <a:ln w="127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4000" tIns="45720" rIns="18000" bIns="45720" numCol="1" rtlCol="0" anchor="t" anchorCtr="0" compatLnSpc="1">
            <a:prstTxWarp prst="textNoShape">
              <a:avLst/>
            </a:prstTxWarp>
            <a:noAutofit/>
          </a:bodyPr>
          <a:lstStyle/>
          <a:p>
            <a:r>
              <a:rPr lang="en-US" sz="1400" dirty="0">
                <a:solidFill>
                  <a:srgbClr val="58585A"/>
                </a:solidFill>
              </a:rPr>
              <a:t>Pre-configured (</a:t>
            </a:r>
            <a:r>
              <a:rPr lang="en-US" sz="1400" dirty="0" err="1">
                <a:solidFill>
                  <a:srgbClr val="58585A"/>
                </a:solidFill>
              </a:rPr>
              <a:t>std</a:t>
            </a:r>
            <a:r>
              <a:rPr lang="en-US" sz="1400" dirty="0">
                <a:solidFill>
                  <a:srgbClr val="58585A"/>
                </a:solidFill>
              </a:rPr>
              <a:t> value) or received at Attach/TAU</a:t>
            </a:r>
          </a:p>
        </p:txBody>
      </p:sp>
      <p:sp>
        <p:nvSpPr>
          <p:cNvPr id="56" name="Oval 33"/>
          <p:cNvSpPr>
            <a:spLocks noChangeArrowheads="1"/>
          </p:cNvSpPr>
          <p:nvPr/>
        </p:nvSpPr>
        <p:spPr bwMode="auto">
          <a:xfrm>
            <a:off x="3065847" y="329726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1</a:t>
            </a:r>
            <a:endParaRPr lang="en-US" altLang="en-US" sz="2000" b="1">
              <a:solidFill>
                <a:srgbClr val="FFFFFF"/>
              </a:solidFill>
            </a:endParaRPr>
          </a:p>
        </p:txBody>
      </p:sp>
      <p:sp>
        <p:nvSpPr>
          <p:cNvPr id="57" name="Oval 33"/>
          <p:cNvSpPr>
            <a:spLocks noChangeArrowheads="1"/>
          </p:cNvSpPr>
          <p:nvPr/>
        </p:nvSpPr>
        <p:spPr bwMode="auto">
          <a:xfrm>
            <a:off x="6935894" y="3277460"/>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1</a:t>
            </a:r>
            <a:endParaRPr lang="en-US" altLang="en-US" sz="2000" b="1">
              <a:solidFill>
                <a:srgbClr val="FFFFFF"/>
              </a:solidFill>
            </a:endParaRPr>
          </a:p>
        </p:txBody>
      </p:sp>
      <p:sp>
        <p:nvSpPr>
          <p:cNvPr id="58" name="Oval 33"/>
          <p:cNvSpPr>
            <a:spLocks noChangeArrowheads="1"/>
          </p:cNvSpPr>
          <p:nvPr/>
        </p:nvSpPr>
        <p:spPr bwMode="auto">
          <a:xfrm>
            <a:off x="4870951" y="6093087"/>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2</a:t>
            </a:r>
            <a:endParaRPr lang="en-US" altLang="en-US" sz="2000" b="1" dirty="0">
              <a:solidFill>
                <a:srgbClr val="FFFFFF"/>
              </a:solidFill>
            </a:endParaRPr>
          </a:p>
        </p:txBody>
      </p:sp>
      <p:cxnSp>
        <p:nvCxnSpPr>
          <p:cNvPr id="59" name="Straight Arrow Connector 58"/>
          <p:cNvCxnSpPr/>
          <p:nvPr/>
        </p:nvCxnSpPr>
        <p:spPr bwMode="auto">
          <a:xfrm flipV="1">
            <a:off x="4112770" y="5357704"/>
            <a:ext cx="0" cy="747581"/>
          </a:xfrm>
          <a:prstGeom prst="straightConnector1">
            <a:avLst/>
          </a:prstGeom>
          <a:noFill/>
          <a:ln w="38100" cap="flat" cmpd="sng" algn="ctr">
            <a:solidFill>
              <a:schemeClr val="tx1"/>
            </a:solidFill>
            <a:prstDash val="solid"/>
            <a:round/>
            <a:headEnd type="none" w="med" len="med"/>
            <a:tailEnd type="arrow" w="med" len="med"/>
          </a:ln>
          <a:effectLst/>
        </p:spPr>
      </p:cxnSp>
      <p:sp>
        <p:nvSpPr>
          <p:cNvPr id="60" name="Oval 33"/>
          <p:cNvSpPr>
            <a:spLocks noChangeArrowheads="1"/>
          </p:cNvSpPr>
          <p:nvPr/>
        </p:nvSpPr>
        <p:spPr bwMode="auto">
          <a:xfrm>
            <a:off x="3512120" y="5339715"/>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3</a:t>
            </a:r>
            <a:endParaRPr lang="en-US" altLang="en-US" sz="2000" b="1" dirty="0">
              <a:solidFill>
                <a:srgbClr val="FFFFFF"/>
              </a:solidFill>
            </a:endParaRPr>
          </a:p>
        </p:txBody>
      </p:sp>
      <p:sp>
        <p:nvSpPr>
          <p:cNvPr id="61" name="Oval 33"/>
          <p:cNvSpPr>
            <a:spLocks noChangeArrowheads="1"/>
          </p:cNvSpPr>
          <p:nvPr/>
        </p:nvSpPr>
        <p:spPr bwMode="auto">
          <a:xfrm>
            <a:off x="7738607" y="3683888"/>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4</a:t>
            </a:r>
            <a:endParaRPr lang="en-US" altLang="en-US" sz="2000" b="1" dirty="0">
              <a:solidFill>
                <a:srgbClr val="FFFFFF"/>
              </a:solidFill>
            </a:endParaRPr>
          </a:p>
        </p:txBody>
      </p:sp>
      <p:sp>
        <p:nvSpPr>
          <p:cNvPr id="62" name="Oval 33"/>
          <p:cNvSpPr>
            <a:spLocks noChangeArrowheads="1"/>
          </p:cNvSpPr>
          <p:nvPr/>
        </p:nvSpPr>
        <p:spPr bwMode="auto">
          <a:xfrm>
            <a:off x="6473926" y="2010864"/>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5</a:t>
            </a:r>
            <a:endParaRPr lang="en-US" altLang="en-US" sz="2000" b="1" dirty="0">
              <a:solidFill>
                <a:srgbClr val="FFFFFF"/>
              </a:solidFill>
            </a:endParaRPr>
          </a:p>
        </p:txBody>
      </p:sp>
      <p:sp>
        <p:nvSpPr>
          <p:cNvPr id="63" name="Oval 33"/>
          <p:cNvSpPr>
            <a:spLocks noChangeArrowheads="1"/>
          </p:cNvSpPr>
          <p:nvPr/>
        </p:nvSpPr>
        <p:spPr bwMode="auto">
          <a:xfrm>
            <a:off x="8677586" y="3501118"/>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6</a:t>
            </a:r>
            <a:endParaRPr lang="en-US" altLang="en-US" sz="2000" b="1" dirty="0">
              <a:solidFill>
                <a:srgbClr val="FFFFFF"/>
              </a:solidFill>
            </a:endParaRPr>
          </a:p>
        </p:txBody>
      </p:sp>
      <p:sp>
        <p:nvSpPr>
          <p:cNvPr id="64" name="Oval 33"/>
          <p:cNvSpPr>
            <a:spLocks noChangeArrowheads="1"/>
          </p:cNvSpPr>
          <p:nvPr/>
        </p:nvSpPr>
        <p:spPr bwMode="auto">
          <a:xfrm>
            <a:off x="9220511" y="4103988"/>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dirty="0">
                <a:solidFill>
                  <a:srgbClr val="FFFFFF"/>
                </a:solidFill>
              </a:rPr>
              <a:t>6</a:t>
            </a:r>
            <a:endParaRPr lang="en-US" altLang="en-US" sz="2000" b="1" dirty="0">
              <a:solidFill>
                <a:srgbClr val="FFFFFF"/>
              </a:solidFill>
            </a:endParaRPr>
          </a:p>
        </p:txBody>
      </p:sp>
      <p:sp>
        <p:nvSpPr>
          <p:cNvPr id="65" name="TextBox 72"/>
          <p:cNvSpPr txBox="1">
            <a:spLocks noChangeArrowheads="1"/>
          </p:cNvSpPr>
          <p:nvPr/>
        </p:nvSpPr>
        <p:spPr bwMode="auto">
          <a:xfrm>
            <a:off x="215414" y="6155424"/>
            <a:ext cx="35349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r>
              <a:rPr lang="en-US" altLang="en-US" sz="1400" dirty="0"/>
              <a:t>NNSF = Network Node Selection Function</a:t>
            </a:r>
          </a:p>
        </p:txBody>
      </p:sp>
      <p:sp>
        <p:nvSpPr>
          <p:cNvPr id="66" name="テキスト ボックス 17"/>
          <p:cNvSpPr txBox="1">
            <a:spLocks noChangeArrowheads="1"/>
          </p:cNvSpPr>
          <p:nvPr/>
        </p:nvSpPr>
        <p:spPr bwMode="auto">
          <a:xfrm>
            <a:off x="10259791" y="3509484"/>
            <a:ext cx="18235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libri" pitchFamily="34" charset="0"/>
                <a:ea typeface="ＭＳ Ｐゴシック" pitchFamily="34" charset="-128"/>
              </a:defRPr>
            </a:lvl1pPr>
            <a:lvl2pPr marL="742950" indent="-285750" eaLnBrk="0" hangingPunct="0">
              <a:defRPr kumimoji="1">
                <a:solidFill>
                  <a:schemeClr val="tx1"/>
                </a:solidFill>
                <a:latin typeface="Calibri" pitchFamily="34" charset="0"/>
                <a:ea typeface="ＭＳ Ｐゴシック" pitchFamily="34" charset="-128"/>
              </a:defRPr>
            </a:lvl2pPr>
            <a:lvl3pPr marL="1143000" indent="-228600" eaLnBrk="0" hangingPunct="0">
              <a:defRPr kumimoji="1">
                <a:solidFill>
                  <a:schemeClr val="tx1"/>
                </a:solidFill>
                <a:latin typeface="Calibri" pitchFamily="34" charset="0"/>
                <a:ea typeface="ＭＳ Ｐゴシック" pitchFamily="34" charset="-128"/>
              </a:defRPr>
            </a:lvl3pPr>
            <a:lvl4pPr marL="1600200" indent="-228600" eaLnBrk="0" hangingPunct="0">
              <a:defRPr kumimoji="1">
                <a:solidFill>
                  <a:schemeClr val="tx1"/>
                </a:solidFill>
                <a:latin typeface="Calibri" pitchFamily="34" charset="0"/>
                <a:ea typeface="ＭＳ Ｐゴシック" pitchFamily="34" charset="-128"/>
              </a:defRPr>
            </a:lvl4pPr>
            <a:lvl5pPr marL="2057400" indent="-228600" eaLnBrk="0" hangingPunct="0">
              <a:defRPr kumimoji="1">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34" charset="-128"/>
              </a:defRPr>
            </a:lvl9pPr>
          </a:lstStyle>
          <a:p>
            <a:pPr eaLnBrk="1" hangingPunct="1"/>
            <a:r>
              <a:rPr lang="en-US" altLang="ja-JP" sz="1400" dirty="0">
                <a:solidFill>
                  <a:srgbClr val="58585A"/>
                </a:solidFill>
              </a:rPr>
              <a:t>S1-Setup (MME-eNB): </a:t>
            </a:r>
            <a:br>
              <a:rPr lang="en-US" altLang="ja-JP" sz="1400" dirty="0">
                <a:solidFill>
                  <a:srgbClr val="58585A"/>
                </a:solidFill>
              </a:rPr>
            </a:br>
            <a:r>
              <a:rPr lang="en-US" altLang="ja-JP" sz="1400" dirty="0">
                <a:solidFill>
                  <a:srgbClr val="58585A"/>
                </a:solidFill>
              </a:rPr>
              <a:t>DCN-ID=3</a:t>
            </a:r>
            <a:endParaRPr lang="ja-JP" altLang="en-US" sz="1400" dirty="0">
              <a:solidFill>
                <a:srgbClr val="58585A"/>
              </a:solidFill>
            </a:endParaRPr>
          </a:p>
        </p:txBody>
      </p:sp>
      <p:sp>
        <p:nvSpPr>
          <p:cNvPr id="67" name="Oval 33"/>
          <p:cNvSpPr>
            <a:spLocks noChangeArrowheads="1"/>
          </p:cNvSpPr>
          <p:nvPr/>
        </p:nvSpPr>
        <p:spPr bwMode="auto">
          <a:xfrm>
            <a:off x="10712822" y="4019452"/>
            <a:ext cx="390525" cy="293688"/>
          </a:xfrm>
          <a:prstGeom prst="ellipse">
            <a:avLst/>
          </a:prstGeom>
          <a:solidFill>
            <a:srgbClr val="8F3F7B"/>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400" b="1">
                <a:solidFill>
                  <a:srgbClr val="FFFFFF"/>
                </a:solidFill>
              </a:rPr>
              <a:t>1</a:t>
            </a:r>
            <a:endParaRPr lang="en-US" altLang="en-US" sz="2000" b="1">
              <a:solidFill>
                <a:srgbClr val="FFFFFF"/>
              </a:solidFill>
            </a:endParaRPr>
          </a:p>
        </p:txBody>
      </p:sp>
    </p:spTree>
    <p:extLst>
      <p:ext uri="{BB962C8B-B14F-4D97-AF65-F5344CB8AC3E}">
        <p14:creationId xmlns:p14="http://schemas.microsoft.com/office/powerpoint/2010/main" val="2882031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p:bldP spid="12" grpId="0" animBg="1"/>
      <p:bldP spid="13" grpId="0" animBg="1"/>
      <p:bldP spid="32" grpId="0" animBg="1"/>
      <p:bldP spid="48" grpId="0" animBg="1"/>
      <p:bldP spid="51" grpId="0" animBg="1"/>
      <p:bldP spid="52" grpId="0" animBg="1"/>
      <p:bldP spid="53" grpId="0" animBg="1"/>
      <p:bldP spid="54" grpId="0"/>
      <p:bldP spid="55" grpId="0" animBg="1"/>
      <p:bldP spid="56" grpId="0" animBg="1"/>
      <p:bldP spid="57" grpId="0" animBg="1"/>
      <p:bldP spid="58" grpId="0" animBg="1"/>
      <p:bldP spid="60" grpId="0" animBg="1"/>
      <p:bldP spid="61" grpId="0" animBg="1"/>
      <p:bldP spid="62" grpId="0" animBg="1"/>
      <p:bldP spid="63" grpId="0" animBg="1"/>
      <p:bldP spid="64" grpId="0" animBg="1"/>
      <p:bldP spid="65" grpId="0"/>
      <p:bldP spid="66" grpId="0"/>
      <p:bldP spid="6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9935" y="1428995"/>
            <a:ext cx="11206110" cy="3563035"/>
          </a:xfrm>
        </p:spPr>
        <p:txBody>
          <a:bodyPr/>
          <a:lstStyle/>
          <a:p>
            <a:r>
              <a:rPr lang="en-US" sz="2000" dirty="0"/>
              <a:t>New use cases for the Networked Society brings …</a:t>
            </a:r>
          </a:p>
          <a:p>
            <a:pPr lvl="1"/>
            <a:r>
              <a:rPr lang="en-US" sz="1800" dirty="0"/>
              <a:t>… requirements on e.g. 1000x more data and 10x less latency (5G example)</a:t>
            </a:r>
          </a:p>
          <a:p>
            <a:pPr lvl="1"/>
            <a:r>
              <a:rPr lang="en-US" sz="1800" dirty="0"/>
              <a:t>… very different traffic models for different Use cases</a:t>
            </a:r>
          </a:p>
          <a:p>
            <a:pPr lvl="1"/>
            <a:endParaRPr lang="en-US" sz="1800" dirty="0"/>
          </a:p>
          <a:p>
            <a:r>
              <a:rPr lang="en-US" sz="2000" dirty="0"/>
              <a:t>Enhanced scaling</a:t>
            </a:r>
          </a:p>
          <a:p>
            <a:pPr lvl="1"/>
            <a:r>
              <a:rPr lang="en-US" sz="1800" dirty="0"/>
              <a:t>The increase of data volumes and varying traffic models requires the User Plane separate from the Control Plane for efficient scaling</a:t>
            </a:r>
          </a:p>
          <a:p>
            <a:pPr lvl="1"/>
            <a:endParaRPr lang="en-US" sz="1800" dirty="0"/>
          </a:p>
          <a:p>
            <a:r>
              <a:rPr lang="en-US" sz="2000" dirty="0"/>
              <a:t>Topology separation</a:t>
            </a:r>
          </a:p>
          <a:p>
            <a:pPr lvl="1"/>
            <a:r>
              <a:rPr lang="en-US" sz="1800" dirty="0"/>
              <a:t>Centralization of CP for operational reasons (should not be distributed)</a:t>
            </a:r>
          </a:p>
          <a:p>
            <a:pPr lvl="1"/>
            <a:r>
              <a:rPr lang="en-US" sz="1800" dirty="0"/>
              <a:t>Distribution of UP for lower latency and transport costs</a:t>
            </a:r>
          </a:p>
        </p:txBody>
      </p:sp>
      <p:sp>
        <p:nvSpPr>
          <p:cNvPr id="3" name="Title 2"/>
          <p:cNvSpPr>
            <a:spLocks noGrp="1"/>
          </p:cNvSpPr>
          <p:nvPr>
            <p:ph type="title"/>
          </p:nvPr>
        </p:nvSpPr>
        <p:spPr>
          <a:xfrm>
            <a:off x="524934" y="239714"/>
            <a:ext cx="10477845" cy="1085371"/>
          </a:xfrm>
        </p:spPr>
        <p:txBody>
          <a:bodyPr>
            <a:normAutofit/>
          </a:bodyPr>
          <a:lstStyle/>
          <a:p>
            <a:r>
              <a:rPr lang="en-US" dirty="0"/>
              <a:t>Core Network CP/UP split (CUPS)</a:t>
            </a:r>
            <a:br>
              <a:rPr lang="en-US" dirty="0"/>
            </a:br>
            <a:r>
              <a:rPr lang="en-US" sz="2800" dirty="0">
                <a:latin typeface="+mn-lt"/>
              </a:rPr>
              <a:t>Background and Drivers</a:t>
            </a:r>
            <a:endParaRPr lang="en-US" dirty="0">
              <a:latin typeface="+mn-lt"/>
            </a:endParaRPr>
          </a:p>
        </p:txBody>
      </p:sp>
      <p:grpSp>
        <p:nvGrpSpPr>
          <p:cNvPr id="13" name="Group 278"/>
          <p:cNvGrpSpPr>
            <a:grpSpLocks noChangeAspect="1"/>
          </p:cNvGrpSpPr>
          <p:nvPr/>
        </p:nvGrpSpPr>
        <p:grpSpPr bwMode="auto">
          <a:xfrm>
            <a:off x="6550448" y="5602560"/>
            <a:ext cx="553824" cy="795180"/>
            <a:chOff x="3106" y="2389"/>
            <a:chExt cx="363" cy="520"/>
          </a:xfrm>
        </p:grpSpPr>
        <p:sp>
          <p:nvSpPr>
            <p:cNvPr id="1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dirty="0">
                  <a:solidFill>
                    <a:srgbClr val="8F3F7B"/>
                  </a:solidFill>
                  <a:ea typeface="MS PGothic" pitchFamily="34" charset="-128"/>
                </a:rPr>
                <a:t> RAN</a:t>
              </a:r>
            </a:p>
          </p:txBody>
        </p:sp>
        <p:sp>
          <p:nvSpPr>
            <p:cNvPr id="1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9" name="Group 557"/>
          <p:cNvGrpSpPr>
            <a:grpSpLocks noChangeAspect="1"/>
          </p:cNvGrpSpPr>
          <p:nvPr/>
        </p:nvGrpSpPr>
        <p:grpSpPr bwMode="auto">
          <a:xfrm>
            <a:off x="9293436" y="4946395"/>
            <a:ext cx="536575" cy="774700"/>
            <a:chOff x="3510" y="1858"/>
            <a:chExt cx="363" cy="520"/>
          </a:xfrm>
        </p:grpSpPr>
        <p:sp>
          <p:nvSpPr>
            <p:cNvPr id="20"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1"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2"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8F3F7B"/>
                  </a:solidFill>
                  <a:ea typeface="ＭＳ Ｐゴシック" pitchFamily="34" charset="-128"/>
                </a:rPr>
                <a:t>PCRF</a:t>
              </a:r>
            </a:p>
          </p:txBody>
        </p:sp>
        <p:sp>
          <p:nvSpPr>
            <p:cNvPr id="23"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4" name="Freeform 11"/>
            <p:cNvSpPr>
              <a:spLocks noChangeAspect="1" noEditPoints="1"/>
            </p:cNvSpPr>
            <p:nvPr/>
          </p:nvSpPr>
          <p:spPr bwMode="auto">
            <a:xfrm>
              <a:off x="3510" y="1858"/>
              <a:ext cx="363" cy="519"/>
            </a:xfrm>
            <a:custGeom>
              <a:avLst/>
              <a:gdLst>
                <a:gd name="T0" fmla="*/ 44507 w 410"/>
                <a:gd name="T1" fmla="*/ 21353 h 589"/>
                <a:gd name="T2" fmla="*/ 43623 w 410"/>
                <a:gd name="T3" fmla="*/ 22099 h 589"/>
                <a:gd name="T4" fmla="*/ 43623 w 410"/>
                <a:gd name="T5" fmla="*/ 51192 h 589"/>
                <a:gd name="T6" fmla="*/ 40965 w 410"/>
                <a:gd name="T7" fmla="*/ 53431 h 589"/>
                <a:gd name="T8" fmla="*/ 4539 w 410"/>
                <a:gd name="T9" fmla="*/ 53431 h 589"/>
                <a:gd name="T10" fmla="*/ 1772 w 410"/>
                <a:gd name="T11" fmla="*/ 51192 h 589"/>
                <a:gd name="T12" fmla="*/ 1772 w 410"/>
                <a:gd name="T13" fmla="*/ 19116 h 589"/>
                <a:gd name="T14" fmla="*/ 22698 w 410"/>
                <a:gd name="T15" fmla="*/ 1493 h 589"/>
                <a:gd name="T16" fmla="*/ 43623 w 410"/>
                <a:gd name="T17" fmla="*/ 19116 h 589"/>
                <a:gd name="T18" fmla="*/ 44507 w 410"/>
                <a:gd name="T19" fmla="*/ 19862 h 589"/>
                <a:gd name="T20" fmla="*/ 45394 w 410"/>
                <a:gd name="T21" fmla="*/ 19116 h 589"/>
                <a:gd name="T22" fmla="*/ 45394 w 410"/>
                <a:gd name="T23" fmla="*/ 19116 h 589"/>
                <a:gd name="T24" fmla="*/ 22698 w 410"/>
                <a:gd name="T25" fmla="*/ 0 h 589"/>
                <a:gd name="T26" fmla="*/ 0 w 410"/>
                <a:gd name="T27" fmla="*/ 19116 h 589"/>
                <a:gd name="T28" fmla="*/ 0 w 410"/>
                <a:gd name="T29" fmla="*/ 19116 h 589"/>
                <a:gd name="T30" fmla="*/ 111 w 410"/>
                <a:gd name="T31" fmla="*/ 51192 h 589"/>
                <a:gd name="T32" fmla="*/ 4539 w 410"/>
                <a:gd name="T33" fmla="*/ 54922 h 589"/>
                <a:gd name="T34" fmla="*/ 40965 w 410"/>
                <a:gd name="T35" fmla="*/ 54922 h 589"/>
                <a:gd name="T36" fmla="*/ 45394 w 410"/>
                <a:gd name="T37" fmla="*/ 51192 h 589"/>
                <a:gd name="T38" fmla="*/ 45394 w 410"/>
                <a:gd name="T39" fmla="*/ 22099 h 589"/>
                <a:gd name="T40" fmla="*/ 44507 w 410"/>
                <a:gd name="T41" fmla="*/ 21353 h 589"/>
                <a:gd name="T42" fmla="*/ 22698 w 410"/>
                <a:gd name="T43" fmla="*/ 4942 h 589"/>
                <a:gd name="T44" fmla="*/ 21922 w 410"/>
                <a:gd name="T45" fmla="*/ 5409 h 589"/>
                <a:gd name="T46" fmla="*/ 8415 w 410"/>
                <a:gd name="T47" fmla="*/ 27135 h 589"/>
                <a:gd name="T48" fmla="*/ 8525 w 410"/>
                <a:gd name="T49" fmla="*/ 27881 h 589"/>
                <a:gd name="T50" fmla="*/ 9190 w 410"/>
                <a:gd name="T51" fmla="*/ 28254 h 589"/>
                <a:gd name="T52" fmla="*/ 36204 w 410"/>
                <a:gd name="T53" fmla="*/ 28254 h 589"/>
                <a:gd name="T54" fmla="*/ 36979 w 410"/>
                <a:gd name="T55" fmla="*/ 27881 h 589"/>
                <a:gd name="T56" fmla="*/ 36979 w 410"/>
                <a:gd name="T57" fmla="*/ 27135 h 589"/>
                <a:gd name="T58" fmla="*/ 23472 w 410"/>
                <a:gd name="T59" fmla="*/ 5409 h 589"/>
                <a:gd name="T60" fmla="*/ 22698 w 410"/>
                <a:gd name="T61" fmla="*/ 4942 h 589"/>
                <a:gd name="T62" fmla="*/ 10628 w 410"/>
                <a:gd name="T63" fmla="*/ 26762 h 589"/>
                <a:gd name="T64" fmla="*/ 22698 w 410"/>
                <a:gd name="T65" fmla="*/ 7366 h 589"/>
                <a:gd name="T66" fmla="*/ 34766 w 410"/>
                <a:gd name="T67" fmla="*/ 26762 h 589"/>
                <a:gd name="T68" fmla="*/ 10628 w 410"/>
                <a:gd name="T69" fmla="*/ 26762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25" name="Group 45"/>
          <p:cNvGrpSpPr>
            <a:grpSpLocks noChangeAspect="1"/>
          </p:cNvGrpSpPr>
          <p:nvPr/>
        </p:nvGrpSpPr>
        <p:grpSpPr bwMode="auto">
          <a:xfrm>
            <a:off x="8671191" y="4956824"/>
            <a:ext cx="534010" cy="765103"/>
            <a:chOff x="1057" y="1587"/>
            <a:chExt cx="363" cy="520"/>
          </a:xfrm>
        </p:grpSpPr>
        <p:sp>
          <p:nvSpPr>
            <p:cNvPr id="26"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7"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8"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00A9D4"/>
                  </a:solidFill>
                  <a:ea typeface="ＭＳ Ｐゴシック" pitchFamily="34" charset="-128"/>
                </a:rPr>
                <a:t>HSS </a:t>
              </a:r>
            </a:p>
          </p:txBody>
        </p:sp>
        <p:sp>
          <p:nvSpPr>
            <p:cNvPr id="29"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30"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31" name="Group 557"/>
          <p:cNvGrpSpPr>
            <a:grpSpLocks noChangeAspect="1"/>
          </p:cNvGrpSpPr>
          <p:nvPr/>
        </p:nvGrpSpPr>
        <p:grpSpPr bwMode="auto">
          <a:xfrm>
            <a:off x="8010748" y="4956824"/>
            <a:ext cx="516970" cy="746394"/>
            <a:chOff x="3510" y="1858"/>
            <a:chExt cx="363" cy="520"/>
          </a:xfrm>
        </p:grpSpPr>
        <p:sp>
          <p:nvSpPr>
            <p:cNvPr id="32"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3"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4"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200" dirty="0">
                  <a:solidFill>
                    <a:srgbClr val="8F3F7B"/>
                  </a:solidFill>
                  <a:ea typeface="MS PGothic" pitchFamily="34" charset="-128"/>
                </a:rPr>
                <a:t>MME</a:t>
              </a:r>
            </a:p>
          </p:txBody>
        </p:sp>
        <p:sp>
          <p:nvSpPr>
            <p:cNvPr id="35"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p>
          </p:txBody>
        </p:sp>
        <p:sp>
          <p:nvSpPr>
            <p:cNvPr id="36"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37" name="Group 261"/>
          <p:cNvGrpSpPr>
            <a:grpSpLocks noChangeAspect="1"/>
          </p:cNvGrpSpPr>
          <p:nvPr/>
        </p:nvGrpSpPr>
        <p:grpSpPr bwMode="auto">
          <a:xfrm>
            <a:off x="8276252" y="6023192"/>
            <a:ext cx="529464" cy="756823"/>
            <a:chOff x="239" y="1832"/>
            <a:chExt cx="363" cy="520"/>
          </a:xfrm>
        </p:grpSpPr>
        <p:sp>
          <p:nvSpPr>
            <p:cNvPr id="3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3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4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8F3F7B"/>
                  </a:solidFill>
                  <a:ea typeface="ＭＳ Ｐゴシック" pitchFamily="34" charset="-128"/>
                </a:rPr>
                <a:t>SGW</a:t>
              </a:r>
            </a:p>
          </p:txBody>
        </p:sp>
        <p:sp>
          <p:nvSpPr>
            <p:cNvPr id="4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4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49" name="Straight Connector 203"/>
          <p:cNvCxnSpPr>
            <a:cxnSpLocks noChangeShapeType="1"/>
            <a:stCxn id="34" idx="1"/>
            <a:endCxn id="16" idx="3"/>
          </p:cNvCxnSpPr>
          <p:nvPr/>
        </p:nvCxnSpPr>
        <p:spPr bwMode="auto">
          <a:xfrm flipH="1">
            <a:off x="7075284" y="5524515"/>
            <a:ext cx="959675" cy="682840"/>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65" name="Straight Connector 203"/>
          <p:cNvCxnSpPr>
            <a:cxnSpLocks noChangeShapeType="1"/>
            <a:stCxn id="32" idx="2"/>
            <a:endCxn id="39" idx="0"/>
          </p:cNvCxnSpPr>
          <p:nvPr/>
        </p:nvCxnSpPr>
        <p:spPr bwMode="auto">
          <a:xfrm>
            <a:off x="8269945" y="5694606"/>
            <a:ext cx="270310" cy="338774"/>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68" name="Straight Connector 203"/>
          <p:cNvCxnSpPr>
            <a:cxnSpLocks noChangeShapeType="1"/>
            <a:endCxn id="34" idx="3"/>
          </p:cNvCxnSpPr>
          <p:nvPr/>
        </p:nvCxnSpPr>
        <p:spPr bwMode="auto">
          <a:xfrm flipH="1" flipV="1">
            <a:off x="8500659" y="5524515"/>
            <a:ext cx="170532" cy="14229"/>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71" name="Straight Connector 203"/>
          <p:cNvCxnSpPr>
            <a:cxnSpLocks noChangeShapeType="1"/>
            <a:stCxn id="20" idx="2"/>
            <a:endCxn id="59" idx="0"/>
          </p:cNvCxnSpPr>
          <p:nvPr/>
        </p:nvCxnSpPr>
        <p:spPr bwMode="auto">
          <a:xfrm>
            <a:off x="9562463" y="5712157"/>
            <a:ext cx="328811" cy="331410"/>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74" name="Straight Connector 203"/>
          <p:cNvCxnSpPr>
            <a:cxnSpLocks noChangeShapeType="1"/>
            <a:stCxn id="20" idx="2"/>
            <a:endCxn id="53" idx="0"/>
          </p:cNvCxnSpPr>
          <p:nvPr/>
        </p:nvCxnSpPr>
        <p:spPr bwMode="auto">
          <a:xfrm flipH="1">
            <a:off x="9176521" y="5712157"/>
            <a:ext cx="385942" cy="331411"/>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77" name="Straight Connector 203"/>
          <p:cNvCxnSpPr>
            <a:cxnSpLocks noChangeShapeType="1"/>
            <a:stCxn id="40" idx="1"/>
            <a:endCxn id="16" idx="3"/>
          </p:cNvCxnSpPr>
          <p:nvPr/>
        </p:nvCxnSpPr>
        <p:spPr bwMode="auto">
          <a:xfrm flipH="1" flipV="1">
            <a:off x="7075284" y="6207355"/>
            <a:ext cx="1225764" cy="391459"/>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80" name="Straight Connector 203"/>
          <p:cNvCxnSpPr>
            <a:cxnSpLocks noChangeShapeType="1"/>
            <a:endCxn id="40" idx="3"/>
          </p:cNvCxnSpPr>
          <p:nvPr/>
        </p:nvCxnSpPr>
        <p:spPr bwMode="auto">
          <a:xfrm flipH="1" flipV="1">
            <a:off x="8778003" y="6598814"/>
            <a:ext cx="2053868" cy="10187"/>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grpSp>
        <p:nvGrpSpPr>
          <p:cNvPr id="51" name="Group 261"/>
          <p:cNvGrpSpPr>
            <a:grpSpLocks noChangeAspect="1"/>
          </p:cNvGrpSpPr>
          <p:nvPr/>
        </p:nvGrpSpPr>
        <p:grpSpPr bwMode="auto">
          <a:xfrm>
            <a:off x="8912518" y="6033380"/>
            <a:ext cx="529464" cy="756823"/>
            <a:chOff x="239" y="1832"/>
            <a:chExt cx="363" cy="520"/>
          </a:xfrm>
        </p:grpSpPr>
        <p:sp>
          <p:nvSpPr>
            <p:cNvPr id="52"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53"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54"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8F3F7B"/>
                  </a:solidFill>
                  <a:ea typeface="ＭＳ Ｐゴシック" pitchFamily="34" charset="-128"/>
                </a:rPr>
                <a:t>PGW</a:t>
              </a:r>
            </a:p>
          </p:txBody>
        </p:sp>
        <p:sp>
          <p:nvSpPr>
            <p:cNvPr id="55"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56"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57" name="Group 261"/>
          <p:cNvGrpSpPr>
            <a:grpSpLocks noChangeAspect="1"/>
          </p:cNvGrpSpPr>
          <p:nvPr/>
        </p:nvGrpSpPr>
        <p:grpSpPr bwMode="auto">
          <a:xfrm>
            <a:off x="9627271" y="6033379"/>
            <a:ext cx="529464" cy="756823"/>
            <a:chOff x="239" y="1832"/>
            <a:chExt cx="363" cy="520"/>
          </a:xfrm>
        </p:grpSpPr>
        <p:sp>
          <p:nvSpPr>
            <p:cNvPr id="58"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59"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60"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8F3F7B"/>
                  </a:solidFill>
                  <a:ea typeface="ＭＳ Ｐゴシック" pitchFamily="34" charset="-128"/>
                </a:rPr>
                <a:t>TDF</a:t>
              </a:r>
            </a:p>
          </p:txBody>
        </p:sp>
        <p:sp>
          <p:nvSpPr>
            <p:cNvPr id="61"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62"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83" name="Straight Connector 82"/>
          <p:cNvCxnSpPr/>
          <p:nvPr/>
        </p:nvCxnSpPr>
        <p:spPr bwMode="auto">
          <a:xfrm flipH="1">
            <a:off x="7644661" y="5892357"/>
            <a:ext cx="3121431" cy="0"/>
          </a:xfrm>
          <a:prstGeom prst="line">
            <a:avLst/>
          </a:prstGeom>
          <a:solidFill>
            <a:schemeClr val="accent1"/>
          </a:solidFill>
          <a:ln w="25400" cap="flat" cmpd="sng" algn="ctr">
            <a:solidFill>
              <a:srgbClr val="FE5C02"/>
            </a:solidFill>
            <a:prstDash val="lgDash"/>
            <a:round/>
            <a:headEnd type="none" w="med" len="med"/>
            <a:tailEnd type="none" w="med" len="med"/>
          </a:ln>
          <a:effectLst/>
        </p:spPr>
      </p:cxnSp>
      <p:sp>
        <p:nvSpPr>
          <p:cNvPr id="84" name="TextBox 56"/>
          <p:cNvSpPr txBox="1">
            <a:spLocks noChangeArrowheads="1"/>
          </p:cNvSpPr>
          <p:nvPr/>
        </p:nvSpPr>
        <p:spPr bwMode="auto">
          <a:xfrm>
            <a:off x="10831871" y="5622572"/>
            <a:ext cx="1360129" cy="528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 tIns="18000" rIns="18000" bIns="18000">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r>
              <a:rPr lang="en-US" altLang="sv-SE" sz="1600" dirty="0">
                <a:solidFill>
                  <a:srgbClr val="FE5C02"/>
                </a:solidFill>
              </a:rPr>
              <a:t>Current EPC </a:t>
            </a:r>
            <a:br>
              <a:rPr lang="en-US" altLang="sv-SE" sz="1600" dirty="0">
                <a:solidFill>
                  <a:srgbClr val="FE5C02"/>
                </a:solidFill>
              </a:rPr>
            </a:br>
            <a:r>
              <a:rPr lang="en-US" altLang="sv-SE" sz="1600" dirty="0">
                <a:solidFill>
                  <a:srgbClr val="FE5C02"/>
                </a:solidFill>
              </a:rPr>
              <a:t>“CP-UP split”</a:t>
            </a:r>
          </a:p>
        </p:txBody>
      </p:sp>
      <p:grpSp>
        <p:nvGrpSpPr>
          <p:cNvPr id="63" name="Group 45"/>
          <p:cNvGrpSpPr>
            <a:grpSpLocks noChangeAspect="1"/>
          </p:cNvGrpSpPr>
          <p:nvPr/>
        </p:nvGrpSpPr>
        <p:grpSpPr bwMode="auto">
          <a:xfrm>
            <a:off x="9960070" y="4939168"/>
            <a:ext cx="534010" cy="765103"/>
            <a:chOff x="1057" y="1587"/>
            <a:chExt cx="363" cy="520"/>
          </a:xfrm>
        </p:grpSpPr>
        <p:sp>
          <p:nvSpPr>
            <p:cNvPr id="64"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66"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67"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00A9D4"/>
                  </a:solidFill>
                  <a:ea typeface="ＭＳ Ｐゴシック" pitchFamily="34" charset="-128"/>
                </a:rPr>
                <a:t>OCS</a:t>
              </a:r>
            </a:p>
          </p:txBody>
        </p:sp>
        <p:sp>
          <p:nvSpPr>
            <p:cNvPr id="69"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70"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72" name="Straight Connector 203"/>
          <p:cNvCxnSpPr>
            <a:cxnSpLocks noChangeShapeType="1"/>
            <a:stCxn id="64" idx="2"/>
            <a:endCxn id="53" idx="0"/>
          </p:cNvCxnSpPr>
          <p:nvPr/>
        </p:nvCxnSpPr>
        <p:spPr bwMode="auto">
          <a:xfrm flipH="1">
            <a:off x="9176521" y="5695443"/>
            <a:ext cx="1051290" cy="348125"/>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73" name="Straight Connector 203"/>
          <p:cNvCxnSpPr>
            <a:cxnSpLocks noChangeShapeType="1"/>
            <a:stCxn id="64" idx="2"/>
            <a:endCxn id="59" idx="0"/>
          </p:cNvCxnSpPr>
          <p:nvPr/>
        </p:nvCxnSpPr>
        <p:spPr bwMode="auto">
          <a:xfrm flipH="1">
            <a:off x="9891274" y="5695443"/>
            <a:ext cx="336537" cy="348124"/>
          </a:xfrm>
          <a:prstGeom prst="line">
            <a:avLst/>
          </a:prstGeom>
          <a:noFill/>
          <a:ln w="12700">
            <a:solidFill>
              <a:schemeClr val="tx1"/>
            </a:solidFill>
            <a:prstDash val="sysDash"/>
            <a:round/>
            <a:headEnd/>
            <a:tailEnd/>
          </a:ln>
          <a:extLst>
            <a:ext uri="{909E8E84-426E-40DD-AFC4-6F175D3DCCD1}">
              <a14:hiddenFill xmlns:a14="http://schemas.microsoft.com/office/drawing/2010/main">
                <a:noFill/>
              </a14:hiddenFill>
            </a:ext>
          </a:extLst>
        </p:spPr>
      </p:cxnSp>
      <p:sp>
        <p:nvSpPr>
          <p:cNvPr id="5" name="TextBox 4"/>
          <p:cNvSpPr txBox="1"/>
          <p:nvPr/>
        </p:nvSpPr>
        <p:spPr>
          <a:xfrm>
            <a:off x="5219987" y="6534602"/>
            <a:ext cx="2310248" cy="276999"/>
          </a:xfrm>
          <a:prstGeom prst="rect">
            <a:avLst/>
          </a:prstGeom>
          <a:noFill/>
        </p:spPr>
        <p:txBody>
          <a:bodyPr wrap="none" rtlCol="0">
            <a:spAutoFit/>
          </a:bodyPr>
          <a:lstStyle/>
          <a:p>
            <a:r>
              <a:rPr lang="en-US" sz="1200" dirty="0"/>
              <a:t>TDF: Traffic Detection Function</a:t>
            </a:r>
          </a:p>
        </p:txBody>
      </p:sp>
    </p:spTree>
    <p:extLst>
      <p:ext uri="{BB962C8B-B14F-4D97-AF65-F5344CB8AC3E}">
        <p14:creationId xmlns:p14="http://schemas.microsoft.com/office/powerpoint/2010/main" val="855452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latin typeface="Ericsson Capital TT" pitchFamily="2" charset="0"/>
              </a:rPr>
              <a:t>CP/UP split standardization</a:t>
            </a:r>
            <a:br>
              <a:rPr lang="en-US" altLang="en-US" sz="3200" dirty="0">
                <a:latin typeface="Ericsson Capital TT" pitchFamily="2" charset="0"/>
              </a:rPr>
            </a:br>
            <a:r>
              <a:rPr lang="en-US" altLang="en-US" sz="2800" dirty="0"/>
              <a:t>Ongoing activities in 3GPP</a:t>
            </a:r>
            <a:endParaRPr lang="en-US" dirty="0"/>
          </a:p>
        </p:txBody>
      </p:sp>
      <p:sp>
        <p:nvSpPr>
          <p:cNvPr id="4" name="Content Placeholder 1"/>
          <p:cNvSpPr txBox="1">
            <a:spLocks/>
          </p:cNvSpPr>
          <p:nvPr/>
        </p:nvSpPr>
        <p:spPr bwMode="auto">
          <a:xfrm>
            <a:off x="525463" y="2190750"/>
            <a:ext cx="4697890" cy="622300"/>
          </a:xfrm>
          <a:prstGeom prst="rect">
            <a:avLst/>
          </a:prstGeom>
          <a:gradFill flip="none" rotWithShape="1">
            <a:gsLst>
              <a:gs pos="0">
                <a:schemeClr val="tx2">
                  <a:lumMod val="75000"/>
                  <a:lumOff val="25000"/>
                  <a:shade val="30000"/>
                  <a:satMod val="115000"/>
                </a:schemeClr>
              </a:gs>
              <a:gs pos="50000">
                <a:schemeClr val="tx2">
                  <a:lumMod val="75000"/>
                  <a:lumOff val="25000"/>
                  <a:shade val="67500"/>
                  <a:satMod val="115000"/>
                </a:schemeClr>
              </a:gs>
              <a:gs pos="100000">
                <a:schemeClr val="tx2">
                  <a:lumMod val="75000"/>
                  <a:lumOff val="25000"/>
                  <a:shade val="100000"/>
                  <a:satMod val="115000"/>
                </a:schemeClr>
              </a:gs>
            </a:gsLst>
            <a:lin ang="10800000" scaled="1"/>
            <a:tileRect/>
          </a:grad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buFont typeface="Arial" charset="0"/>
              <a:buNone/>
            </a:pPr>
            <a:r>
              <a:rPr lang="en-US" altLang="en-US" sz="2000" kern="0">
                <a:solidFill>
                  <a:schemeClr val="bg1"/>
                </a:solidFill>
              </a:rPr>
              <a:t>“CUPS” - CP-UP separation of SGW, PGW and TDF</a:t>
            </a:r>
            <a:endParaRPr lang="en-US" altLang="en-US" sz="2000" kern="0" dirty="0">
              <a:solidFill>
                <a:schemeClr val="bg1"/>
              </a:solidFill>
            </a:endParaRPr>
          </a:p>
        </p:txBody>
      </p:sp>
      <p:cxnSp>
        <p:nvCxnSpPr>
          <p:cNvPr id="5" name="Straight Connector 49"/>
          <p:cNvCxnSpPr>
            <a:cxnSpLocks noChangeShapeType="1"/>
          </p:cNvCxnSpPr>
          <p:nvPr/>
        </p:nvCxnSpPr>
        <p:spPr bwMode="auto">
          <a:xfrm>
            <a:off x="5541680" y="2255370"/>
            <a:ext cx="0" cy="4500563"/>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6" name="TextBox 71"/>
          <p:cNvSpPr txBox="1">
            <a:spLocks noChangeArrowheads="1"/>
          </p:cNvSpPr>
          <p:nvPr/>
        </p:nvSpPr>
        <p:spPr bwMode="auto">
          <a:xfrm>
            <a:off x="525463" y="1245466"/>
            <a:ext cx="11134725" cy="830263"/>
          </a:xfrm>
          <a:prstGeom prst="rect">
            <a:avLst/>
          </a:prstGeom>
          <a:gradFill flip="none" rotWithShape="1">
            <a:gsLst>
              <a:gs pos="0">
                <a:schemeClr val="tx2">
                  <a:lumMod val="75000"/>
                  <a:lumOff val="25000"/>
                  <a:shade val="30000"/>
                  <a:satMod val="115000"/>
                </a:schemeClr>
              </a:gs>
              <a:gs pos="50000">
                <a:schemeClr val="tx2">
                  <a:lumMod val="75000"/>
                  <a:lumOff val="25000"/>
                  <a:shade val="67500"/>
                  <a:satMod val="115000"/>
                </a:schemeClr>
              </a:gs>
              <a:gs pos="100000">
                <a:schemeClr val="tx2">
                  <a:lumMod val="75000"/>
                  <a:lumOff val="25000"/>
                  <a:shade val="100000"/>
                  <a:satMod val="115000"/>
                </a:schemeClr>
              </a:gs>
            </a:gsLst>
            <a:lin ang="10800000" scaled="1"/>
            <a:tileRect/>
          </a:gradFill>
          <a:ln>
            <a:noFill/>
          </a:ln>
          <a:extLst/>
        </p:spPr>
        <p:txBody>
          <a:bodyP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0"/>
              </a:spcBef>
              <a:buClrTx/>
              <a:buFontTx/>
              <a:buNone/>
            </a:pPr>
            <a:r>
              <a:rPr lang="en-US" altLang="en-US" dirty="0">
                <a:solidFill>
                  <a:schemeClr val="bg1"/>
                </a:solidFill>
              </a:rPr>
              <a:t>CP/UP split is being standardized for the EPC architecture (rel-14), and is also part of the 5G Work Item</a:t>
            </a:r>
          </a:p>
        </p:txBody>
      </p:sp>
      <p:sp>
        <p:nvSpPr>
          <p:cNvPr id="7" name="Content Placeholder 1"/>
          <p:cNvSpPr txBox="1">
            <a:spLocks/>
          </p:cNvSpPr>
          <p:nvPr/>
        </p:nvSpPr>
        <p:spPr>
          <a:xfrm>
            <a:off x="5837129" y="2797176"/>
            <a:ext cx="6096109" cy="3958758"/>
          </a:xfrm>
          <a:prstGeom prst="rect">
            <a:avLst/>
          </a:prstGeom>
          <a:noFill/>
        </p:spPr>
        <p:txBody>
          <a:bodyPr/>
          <a:lstStyle>
            <a:lvl1pPr marL="176213" indent="-176213" algn="l" rtl="0" eaLnBrk="0" fontAlgn="base" hangingPunct="0">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176213" lvl="1" indent="-176213">
              <a:buClr>
                <a:srgbClr val="00A9D4"/>
              </a:buClr>
              <a:buFont typeface="Arial" charset="0"/>
              <a:buChar char="›"/>
              <a:defRPr/>
            </a:pPr>
            <a:r>
              <a:rPr lang="en-US" sz="1600" kern="0" dirty="0"/>
              <a:t>Scope is to </a:t>
            </a:r>
            <a:r>
              <a:rPr lang="en-US" sz="1600" dirty="0"/>
              <a:t>design a system architecture for the next generation mobile networks</a:t>
            </a:r>
          </a:p>
          <a:p>
            <a:pPr lvl="1"/>
            <a:endParaRPr lang="en-US" sz="1200" dirty="0"/>
          </a:p>
          <a:p>
            <a:r>
              <a:rPr lang="en-US" sz="1600" dirty="0"/>
              <a:t>CP/UP split is one key component of the network architecture</a:t>
            </a:r>
          </a:p>
        </p:txBody>
      </p:sp>
      <p:sp>
        <p:nvSpPr>
          <p:cNvPr id="8" name="Content Placeholder 4"/>
          <p:cNvSpPr txBox="1">
            <a:spLocks/>
          </p:cNvSpPr>
          <p:nvPr/>
        </p:nvSpPr>
        <p:spPr bwMode="auto">
          <a:xfrm>
            <a:off x="5837129" y="2190750"/>
            <a:ext cx="5823059" cy="590550"/>
          </a:xfrm>
          <a:prstGeom prst="rect">
            <a:avLst/>
          </a:prstGeom>
          <a:gradFill flip="none" rotWithShape="1">
            <a:gsLst>
              <a:gs pos="0">
                <a:schemeClr val="tx2">
                  <a:lumMod val="75000"/>
                  <a:lumOff val="25000"/>
                  <a:shade val="30000"/>
                  <a:satMod val="115000"/>
                </a:schemeClr>
              </a:gs>
              <a:gs pos="50000">
                <a:schemeClr val="tx2">
                  <a:lumMod val="75000"/>
                  <a:lumOff val="25000"/>
                  <a:shade val="67500"/>
                  <a:satMod val="115000"/>
                </a:schemeClr>
              </a:gs>
              <a:gs pos="100000">
                <a:schemeClr val="tx2">
                  <a:lumMod val="75000"/>
                  <a:lumOff val="25000"/>
                  <a:shade val="100000"/>
                  <a:satMod val="115000"/>
                </a:schemeClr>
              </a:gs>
            </a:gsLst>
            <a:lin ang="10800000" scaled="1"/>
            <a:tileRect/>
          </a:gradFill>
          <a:ln w="9525">
            <a:noFill/>
            <a:miter lim="800000"/>
            <a:headEnd/>
            <a:tailEnd/>
          </a:ln>
        </p:spPr>
        <p:txBody>
          <a:bodyPr lIns="72000" tIns="0" rIns="72000" bIns="0"/>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buFont typeface="Arial" charset="0"/>
              <a:buNone/>
              <a:defRPr/>
            </a:pPr>
            <a:r>
              <a:rPr lang="en-US" sz="2000" kern="0" dirty="0">
                <a:solidFill>
                  <a:schemeClr val="bg1"/>
                </a:solidFill>
              </a:rPr>
              <a:t>5G (“Next Generation”) Network Architecture</a:t>
            </a:r>
          </a:p>
        </p:txBody>
      </p:sp>
      <p:pic>
        <p:nvPicPr>
          <p:cNvPr id="9" name="Picture 7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69336" y="2945606"/>
            <a:ext cx="2482850" cy="149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52700E"/>
                  </a:outerShdw>
                </a:effectLst>
              </a14:hiddenEffects>
            </a:ext>
          </a:extLst>
        </p:spPr>
      </p:pic>
      <p:sp>
        <p:nvSpPr>
          <p:cNvPr id="10" name="TextBox 73"/>
          <p:cNvSpPr txBox="1">
            <a:spLocks noChangeArrowheads="1"/>
          </p:cNvSpPr>
          <p:nvPr/>
        </p:nvSpPr>
        <p:spPr bwMode="auto">
          <a:xfrm>
            <a:off x="525462" y="2919413"/>
            <a:ext cx="4697891" cy="3490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defRPr/>
            </a:pPr>
            <a:r>
              <a:rPr lang="en-US" altLang="en-US" sz="1600" u="sng" dirty="0"/>
              <a:t>Drivers: </a:t>
            </a:r>
          </a:p>
          <a:p>
            <a:pPr marL="285750" indent="-285750" eaLnBrk="1" hangingPunct="1">
              <a:spcBef>
                <a:spcPct val="0"/>
              </a:spcBef>
              <a:buClr>
                <a:srgbClr val="00B0F0"/>
              </a:buClr>
              <a:defRPr/>
            </a:pPr>
            <a:r>
              <a:rPr lang="en-US" altLang="en-US" sz="1600" dirty="0"/>
              <a:t>Distributed UP, </a:t>
            </a:r>
            <a:br>
              <a:rPr lang="en-US" altLang="en-US" sz="1600" dirty="0"/>
            </a:br>
            <a:r>
              <a:rPr lang="en-US" altLang="en-US" sz="1600" dirty="0"/>
              <a:t>centralized CP</a:t>
            </a:r>
          </a:p>
          <a:p>
            <a:pPr marL="285750" indent="-285750" eaLnBrk="1" hangingPunct="1">
              <a:spcBef>
                <a:spcPct val="0"/>
              </a:spcBef>
              <a:buClr>
                <a:srgbClr val="00B0F0"/>
              </a:buClr>
              <a:defRPr/>
            </a:pPr>
            <a:r>
              <a:rPr lang="en-US" altLang="en-US" sz="1600" dirty="0"/>
              <a:t>Low UP latency</a:t>
            </a:r>
          </a:p>
          <a:p>
            <a:pPr marL="285750" indent="-285750" eaLnBrk="1" hangingPunct="1">
              <a:spcBef>
                <a:spcPct val="0"/>
              </a:spcBef>
              <a:buClr>
                <a:srgbClr val="00B0F0"/>
              </a:buClr>
              <a:defRPr/>
            </a:pPr>
            <a:r>
              <a:rPr lang="en-US" altLang="en-US" sz="1600" dirty="0"/>
              <a:t>Low cost UP</a:t>
            </a:r>
          </a:p>
          <a:p>
            <a:pPr eaLnBrk="1" hangingPunct="1">
              <a:spcBef>
                <a:spcPct val="0"/>
              </a:spcBef>
              <a:buClrTx/>
              <a:buFontTx/>
              <a:buNone/>
              <a:defRPr/>
            </a:pPr>
            <a:endParaRPr lang="en-US" altLang="en-US" sz="1600" u="sng" dirty="0"/>
          </a:p>
          <a:p>
            <a:pPr eaLnBrk="1" hangingPunct="1">
              <a:spcBef>
                <a:spcPct val="0"/>
              </a:spcBef>
              <a:buClrTx/>
              <a:buFontTx/>
              <a:buNone/>
              <a:defRPr/>
            </a:pPr>
            <a:br>
              <a:rPr lang="en-US" altLang="en-US" sz="1600" u="sng" dirty="0"/>
            </a:br>
            <a:r>
              <a:rPr lang="en-US" altLang="en-US" sz="1600" u="sng" dirty="0"/>
              <a:t>3GPP Reference:</a:t>
            </a:r>
          </a:p>
          <a:p>
            <a:pPr marL="285750" indent="-285750"/>
            <a:r>
              <a:rPr lang="en-US" altLang="en-US" sz="1600" dirty="0"/>
              <a:t>3GPP TR 23.714</a:t>
            </a:r>
            <a:endParaRPr lang="en-US" sz="1600" u="sng" dirty="0"/>
          </a:p>
          <a:p>
            <a:pPr>
              <a:buNone/>
            </a:pPr>
            <a:endParaRPr lang="en-US" sz="1600" u="sng" dirty="0"/>
          </a:p>
          <a:p>
            <a:pPr>
              <a:buNone/>
            </a:pPr>
            <a:r>
              <a:rPr lang="en-US" sz="1600" u="sng" dirty="0"/>
              <a:t>Time plan:</a:t>
            </a:r>
          </a:p>
          <a:p>
            <a:pPr marL="342900" indent="-342900"/>
            <a:r>
              <a:rPr lang="en-US" sz="1600" dirty="0"/>
              <a:t>Protocol work planned to be completed in June 2017  </a:t>
            </a:r>
            <a:endParaRPr lang="en-US" sz="2000" dirty="0"/>
          </a:p>
        </p:txBody>
      </p:sp>
      <p:sp>
        <p:nvSpPr>
          <p:cNvPr id="3" name="TextBox 2"/>
          <p:cNvSpPr txBox="1"/>
          <p:nvPr/>
        </p:nvSpPr>
        <p:spPr>
          <a:xfrm>
            <a:off x="2769477" y="3518194"/>
            <a:ext cx="734518" cy="307777"/>
          </a:xfrm>
          <a:prstGeom prst="rect">
            <a:avLst/>
          </a:prstGeom>
          <a:noFill/>
        </p:spPr>
        <p:txBody>
          <a:bodyPr wrap="square" rtlCol="0">
            <a:spAutoFit/>
          </a:bodyPr>
          <a:lstStyle/>
          <a:p>
            <a:r>
              <a:rPr lang="en-US" sz="1400" dirty="0" err="1">
                <a:solidFill>
                  <a:srgbClr val="FF0000"/>
                </a:solidFill>
              </a:rPr>
              <a:t>Sxa</a:t>
            </a:r>
            <a:endParaRPr lang="en-US" sz="1400" dirty="0">
              <a:solidFill>
                <a:srgbClr val="FF0000"/>
              </a:solidFill>
            </a:endParaRPr>
          </a:p>
        </p:txBody>
      </p:sp>
      <p:sp>
        <p:nvSpPr>
          <p:cNvPr id="11" name="TextBox 10"/>
          <p:cNvSpPr txBox="1"/>
          <p:nvPr/>
        </p:nvSpPr>
        <p:spPr>
          <a:xfrm>
            <a:off x="3735780" y="3518194"/>
            <a:ext cx="734518" cy="307777"/>
          </a:xfrm>
          <a:prstGeom prst="rect">
            <a:avLst/>
          </a:prstGeom>
          <a:noFill/>
        </p:spPr>
        <p:txBody>
          <a:bodyPr wrap="square" rtlCol="0">
            <a:spAutoFit/>
          </a:bodyPr>
          <a:lstStyle/>
          <a:p>
            <a:r>
              <a:rPr lang="en-US" sz="1400" dirty="0" err="1">
                <a:solidFill>
                  <a:srgbClr val="FF0000"/>
                </a:solidFill>
              </a:rPr>
              <a:t>Sxb</a:t>
            </a:r>
            <a:endParaRPr lang="en-US" sz="1400" dirty="0">
              <a:solidFill>
                <a:srgbClr val="FF0000"/>
              </a:solidFill>
            </a:endParaRPr>
          </a:p>
        </p:txBody>
      </p:sp>
      <p:sp>
        <p:nvSpPr>
          <p:cNvPr id="12" name="TextBox 11"/>
          <p:cNvSpPr txBox="1"/>
          <p:nvPr/>
        </p:nvSpPr>
        <p:spPr>
          <a:xfrm>
            <a:off x="4742620" y="3518194"/>
            <a:ext cx="734518" cy="307777"/>
          </a:xfrm>
          <a:prstGeom prst="rect">
            <a:avLst/>
          </a:prstGeom>
          <a:noFill/>
        </p:spPr>
        <p:txBody>
          <a:bodyPr wrap="square" rtlCol="0">
            <a:spAutoFit/>
          </a:bodyPr>
          <a:lstStyle/>
          <a:p>
            <a:r>
              <a:rPr lang="en-US" sz="1400" dirty="0" err="1">
                <a:solidFill>
                  <a:srgbClr val="FF0000"/>
                </a:solidFill>
              </a:rPr>
              <a:t>Sxc</a:t>
            </a:r>
            <a:endParaRPr lang="en-US" sz="1400" dirty="0">
              <a:solidFill>
                <a:srgbClr val="FF0000"/>
              </a:solidFill>
            </a:endParaRPr>
          </a:p>
        </p:txBody>
      </p:sp>
    </p:spTree>
    <p:extLst>
      <p:ext uri="{BB962C8B-B14F-4D97-AF65-F5344CB8AC3E}">
        <p14:creationId xmlns:p14="http://schemas.microsoft.com/office/powerpoint/2010/main" val="3100707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7435"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
          <p:cNvSpPr txBox="1">
            <a:spLocks/>
          </p:cNvSpPr>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sv-SE" kern="0" dirty="0">
                <a:solidFill>
                  <a:schemeClr val="bg1"/>
                </a:solidFill>
              </a:rPr>
              <a:t>SEPARATION of CP AND UP </a:t>
            </a:r>
            <a:r>
              <a:rPr lang="en-US" altLang="sv-SE" kern="0" dirty="0" err="1">
                <a:solidFill>
                  <a:schemeClr val="bg1"/>
                </a:solidFill>
              </a:rPr>
              <a:t>IMplementation</a:t>
            </a:r>
            <a:endParaRPr lang="en-US" altLang="en-US" kern="0" dirty="0">
              <a:solidFill>
                <a:schemeClr val="bg1"/>
              </a:solidFill>
            </a:endParaRPr>
          </a:p>
        </p:txBody>
      </p:sp>
      <p:cxnSp>
        <p:nvCxnSpPr>
          <p:cNvPr id="33" name="Straight Connector 71"/>
          <p:cNvCxnSpPr>
            <a:cxnSpLocks noChangeShapeType="1"/>
            <a:stCxn id="57" idx="0"/>
            <a:endCxn id="45" idx="2"/>
          </p:cNvCxnSpPr>
          <p:nvPr/>
        </p:nvCxnSpPr>
        <p:spPr bwMode="auto">
          <a:xfrm flipV="1">
            <a:off x="8056563" y="2890838"/>
            <a:ext cx="552450" cy="1670050"/>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34" name="Straight Connector 71"/>
          <p:cNvCxnSpPr>
            <a:cxnSpLocks noChangeShapeType="1"/>
            <a:stCxn id="44" idx="0"/>
            <a:endCxn id="45" idx="2"/>
          </p:cNvCxnSpPr>
          <p:nvPr/>
        </p:nvCxnSpPr>
        <p:spPr bwMode="auto">
          <a:xfrm flipH="1" flipV="1">
            <a:off x="8609013" y="2890838"/>
            <a:ext cx="1814512" cy="2720975"/>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35" name="Straight Connector 70"/>
          <p:cNvCxnSpPr>
            <a:cxnSpLocks noChangeShapeType="1"/>
          </p:cNvCxnSpPr>
          <p:nvPr/>
        </p:nvCxnSpPr>
        <p:spPr bwMode="auto">
          <a:xfrm>
            <a:off x="8050213" y="5961063"/>
            <a:ext cx="3511550"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cxnSp>
      <p:sp>
        <p:nvSpPr>
          <p:cNvPr id="36" name="TextBox 2"/>
          <p:cNvSpPr txBox="1">
            <a:spLocks noChangeArrowheads="1"/>
          </p:cNvSpPr>
          <p:nvPr/>
        </p:nvSpPr>
        <p:spPr bwMode="auto">
          <a:xfrm>
            <a:off x="4830763" y="3268663"/>
            <a:ext cx="289560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fontAlgn="auto" hangingPunct="1">
              <a:spcAft>
                <a:spcPts val="0"/>
              </a:spcAft>
              <a:buFont typeface="Arial" charset="0"/>
              <a:buNone/>
              <a:defRPr/>
            </a:pPr>
            <a:r>
              <a:rPr lang="en-US" altLang="en-US" sz="1400" i="1" kern="0" dirty="0">
                <a:solidFill>
                  <a:schemeClr val="bg1"/>
                </a:solidFill>
                <a:ea typeface="+mn-ea"/>
                <a:cs typeface="Arial" panose="020B0604020202020204" pitchFamily="34" charset="0"/>
              </a:rPr>
              <a:t>Allows for geographical separation of sites in the range of 1000’s of km</a:t>
            </a:r>
          </a:p>
        </p:txBody>
      </p:sp>
      <p:sp>
        <p:nvSpPr>
          <p:cNvPr id="37" name="TextBox 2"/>
          <p:cNvSpPr txBox="1">
            <a:spLocks noChangeArrowheads="1"/>
          </p:cNvSpPr>
          <p:nvPr/>
        </p:nvSpPr>
        <p:spPr bwMode="auto">
          <a:xfrm>
            <a:off x="9782175" y="3279775"/>
            <a:ext cx="23225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fontAlgn="auto" hangingPunct="1">
              <a:spcAft>
                <a:spcPts val="0"/>
              </a:spcAft>
              <a:buFont typeface="Arial" charset="0"/>
              <a:buNone/>
              <a:defRPr/>
            </a:pPr>
            <a:r>
              <a:rPr lang="en-US" altLang="en-US" sz="1400" i="1" kern="0" dirty="0" err="1">
                <a:solidFill>
                  <a:schemeClr val="bg1"/>
                </a:solidFill>
                <a:ea typeface="+mn-ea"/>
                <a:cs typeface="Arial" panose="020B0604020202020204" pitchFamily="34" charset="0"/>
              </a:rPr>
              <a:t>Sx</a:t>
            </a:r>
            <a:r>
              <a:rPr lang="en-US" altLang="en-US" sz="1400" i="1" kern="0" dirty="0">
                <a:solidFill>
                  <a:schemeClr val="bg1"/>
                </a:solidFill>
                <a:ea typeface="+mn-ea"/>
                <a:cs typeface="Arial" panose="020B0604020202020204" pitchFamily="34" charset="0"/>
              </a:rPr>
              <a:t> based (3GPP )</a:t>
            </a:r>
          </a:p>
        </p:txBody>
      </p:sp>
      <p:cxnSp>
        <p:nvCxnSpPr>
          <p:cNvPr id="38" name="Straight Arrow Connector 26"/>
          <p:cNvCxnSpPr>
            <a:cxnSpLocks noChangeShapeType="1"/>
          </p:cNvCxnSpPr>
          <p:nvPr/>
        </p:nvCxnSpPr>
        <p:spPr bwMode="auto">
          <a:xfrm flipV="1">
            <a:off x="7065963" y="2849563"/>
            <a:ext cx="919162" cy="414337"/>
          </a:xfrm>
          <a:prstGeom prst="straightConnector1">
            <a:avLst/>
          </a:prstGeom>
          <a:noFill/>
          <a:ln w="12700" algn="ctr">
            <a:solidFill>
              <a:schemeClr val="accent2">
                <a:lumMod val="60000"/>
                <a:lumOff val="40000"/>
              </a:schemeClr>
            </a:solidFill>
            <a:round/>
            <a:headEnd/>
            <a:tailEnd type="arrow" w="med" len="med"/>
          </a:ln>
          <a:extLst>
            <a:ext uri="{909E8E84-426E-40DD-AFC4-6F175D3DCCD1}">
              <a14:hiddenFill xmlns:a14="http://schemas.microsoft.com/office/drawing/2010/main">
                <a:noFill/>
              </a14:hiddenFill>
            </a:ext>
          </a:extLst>
        </p:spPr>
      </p:cxnSp>
      <p:cxnSp>
        <p:nvCxnSpPr>
          <p:cNvPr id="39" name="Straight Arrow Connector 79"/>
          <p:cNvCxnSpPr>
            <a:cxnSpLocks noChangeShapeType="1"/>
          </p:cNvCxnSpPr>
          <p:nvPr/>
        </p:nvCxnSpPr>
        <p:spPr bwMode="auto">
          <a:xfrm>
            <a:off x="6924675" y="3816350"/>
            <a:ext cx="565150" cy="636588"/>
          </a:xfrm>
          <a:prstGeom prst="straightConnector1">
            <a:avLst/>
          </a:prstGeom>
          <a:noFill/>
          <a:ln w="12700" algn="ctr">
            <a:solidFill>
              <a:schemeClr val="accent2">
                <a:lumMod val="60000"/>
                <a:lumOff val="40000"/>
              </a:schemeClr>
            </a:solidFill>
            <a:round/>
            <a:headEnd/>
            <a:tailEnd type="arrow" w="med" len="med"/>
          </a:ln>
          <a:extLst>
            <a:ext uri="{909E8E84-426E-40DD-AFC4-6F175D3DCCD1}">
              <a14:hiddenFill xmlns:a14="http://schemas.microsoft.com/office/drawing/2010/main">
                <a:noFill/>
              </a14:hiddenFill>
            </a:ext>
          </a:extLst>
        </p:spPr>
      </p:cxnSp>
      <p:cxnSp>
        <p:nvCxnSpPr>
          <p:cNvPr id="40" name="Straight Arrow Connector 82"/>
          <p:cNvCxnSpPr>
            <a:cxnSpLocks noChangeShapeType="1"/>
          </p:cNvCxnSpPr>
          <p:nvPr/>
        </p:nvCxnSpPr>
        <p:spPr bwMode="auto">
          <a:xfrm flipH="1">
            <a:off x="9090025" y="3446463"/>
            <a:ext cx="692150" cy="122237"/>
          </a:xfrm>
          <a:prstGeom prst="straightConnector1">
            <a:avLst/>
          </a:prstGeom>
          <a:noFill/>
          <a:ln w="12700" algn="ctr">
            <a:solidFill>
              <a:schemeClr val="accent2">
                <a:lumMod val="60000"/>
                <a:lumOff val="40000"/>
              </a:schemeClr>
            </a:solidFill>
            <a:round/>
            <a:headEnd/>
            <a:tailEnd type="arrow" w="med" len="med"/>
          </a:ln>
          <a:extLst>
            <a:ext uri="{909E8E84-426E-40DD-AFC4-6F175D3DCCD1}">
              <a14:hiddenFill xmlns:a14="http://schemas.microsoft.com/office/drawing/2010/main">
                <a:noFill/>
              </a14:hiddenFill>
            </a:ext>
          </a:extLst>
        </p:spPr>
      </p:cxnSp>
      <p:sp>
        <p:nvSpPr>
          <p:cNvPr id="41" name="TextBox 2"/>
          <p:cNvSpPr txBox="1">
            <a:spLocks noChangeArrowheads="1"/>
          </p:cNvSpPr>
          <p:nvPr/>
        </p:nvSpPr>
        <p:spPr bwMode="auto">
          <a:xfrm>
            <a:off x="9832975" y="2003425"/>
            <a:ext cx="23590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fontAlgn="auto" hangingPunct="1">
              <a:spcAft>
                <a:spcPts val="0"/>
              </a:spcAft>
              <a:buFont typeface="Arial" charset="0"/>
              <a:buNone/>
              <a:defRPr/>
            </a:pPr>
            <a:r>
              <a:rPr lang="en-US" altLang="en-US" sz="1400" i="1" kern="0" dirty="0">
                <a:solidFill>
                  <a:schemeClr val="bg1"/>
                </a:solidFill>
                <a:ea typeface="+mn-ea"/>
                <a:cs typeface="Arial" panose="020B0604020202020204" pitchFamily="34" charset="0"/>
              </a:rPr>
              <a:t>One GW-C can control multiple GW-Us</a:t>
            </a:r>
          </a:p>
        </p:txBody>
      </p:sp>
      <p:cxnSp>
        <p:nvCxnSpPr>
          <p:cNvPr id="42" name="Straight Arrow Connector 88"/>
          <p:cNvCxnSpPr>
            <a:cxnSpLocks noChangeShapeType="1"/>
          </p:cNvCxnSpPr>
          <p:nvPr/>
        </p:nvCxnSpPr>
        <p:spPr bwMode="auto">
          <a:xfrm flipH="1">
            <a:off x="9226550" y="2284413"/>
            <a:ext cx="684213" cy="234950"/>
          </a:xfrm>
          <a:prstGeom prst="straightConnector1">
            <a:avLst/>
          </a:prstGeom>
          <a:noFill/>
          <a:ln w="12700" algn="ctr">
            <a:solidFill>
              <a:schemeClr val="accent2">
                <a:lumMod val="60000"/>
                <a:lumOff val="40000"/>
              </a:schemeClr>
            </a:solidFill>
            <a:round/>
            <a:headEnd/>
            <a:tailEnd type="arrow" w="med" len="med"/>
          </a:ln>
          <a:extLst>
            <a:ext uri="{909E8E84-426E-40DD-AFC4-6F175D3DCCD1}">
              <a14:hiddenFill xmlns:a14="http://schemas.microsoft.com/office/drawing/2010/main">
                <a:noFill/>
              </a14:hiddenFill>
            </a:ext>
          </a:extLst>
        </p:spPr>
      </p:cxnSp>
      <p:sp>
        <p:nvSpPr>
          <p:cNvPr id="43" name="Content Placeholder 1"/>
          <p:cNvSpPr txBox="1">
            <a:spLocks/>
          </p:cNvSpPr>
          <p:nvPr/>
        </p:nvSpPr>
        <p:spPr bwMode="auto">
          <a:xfrm>
            <a:off x="520700" y="1609725"/>
            <a:ext cx="4049713" cy="4476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6213" indent="-176213">
              <a:spcBef>
                <a:spcPct val="20000"/>
              </a:spcBef>
              <a:buClr>
                <a:srgbClr val="00A9D4"/>
              </a:buClr>
              <a:buFont typeface="Arial" charset="0"/>
              <a:buChar char="›"/>
              <a:defRPr sz="2000">
                <a:solidFill>
                  <a:schemeClr val="tx1"/>
                </a:solidFill>
                <a:latin typeface="Arial" charset="0"/>
              </a:defRPr>
            </a:lvl1pPr>
            <a:lvl2pPr marL="533400" indent="-177800">
              <a:spcBef>
                <a:spcPct val="20000"/>
              </a:spcBef>
              <a:buClr>
                <a:schemeClr val="tx1"/>
              </a:buClr>
              <a:buFont typeface="Ericsson Capital TT" charset="0"/>
              <a:buChar char="–"/>
              <a:defRPr>
                <a:solidFill>
                  <a:schemeClr val="tx1"/>
                </a:solidFill>
                <a:latin typeface="Arial" charset="0"/>
              </a:defRPr>
            </a:lvl2pPr>
            <a:lvl3pPr marL="892175" indent="-179388">
              <a:spcBef>
                <a:spcPct val="20000"/>
              </a:spcBef>
              <a:buClr>
                <a:srgbClr val="92CCE5"/>
              </a:buClr>
              <a:buFont typeface="Ericsson Capital TT" charset="0"/>
              <a:buChar char="›"/>
              <a:defRPr>
                <a:solidFill>
                  <a:schemeClr val="tx1"/>
                </a:solidFill>
                <a:latin typeface="Arial" charset="0"/>
              </a:defRPr>
            </a:lvl3pPr>
            <a:lvl4pPr marL="1252538" indent="-180975">
              <a:spcBef>
                <a:spcPct val="20000"/>
              </a:spcBef>
              <a:buClr>
                <a:schemeClr val="tx1"/>
              </a:buClr>
              <a:buFont typeface="Ericsson Capital TT" charset="0"/>
              <a:buChar char="-"/>
              <a:defRPr>
                <a:solidFill>
                  <a:schemeClr val="tx1"/>
                </a:solidFill>
                <a:latin typeface="Arial" charset="0"/>
              </a:defRPr>
            </a:lvl4pPr>
            <a:lvl5pPr marL="1614488" indent="-180975">
              <a:spcBef>
                <a:spcPct val="20000"/>
              </a:spcBef>
              <a:buClr>
                <a:schemeClr val="tx1"/>
              </a:buClr>
              <a:buFont typeface="Ericsson Capital TT" charset="0"/>
              <a:buChar char="›"/>
              <a:defRPr>
                <a:solidFill>
                  <a:schemeClr val="tx1"/>
                </a:solidFill>
                <a:latin typeface="Arial" charset="0"/>
              </a:defRPr>
            </a:lvl5pPr>
            <a:lvl6pPr marL="2071688" indent="-180975"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528888" indent="-180975"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2986088" indent="-180975"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443288" indent="-180975"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ts val="600"/>
              </a:spcBef>
              <a:spcAft>
                <a:spcPts val="600"/>
              </a:spcAft>
              <a:buClr>
                <a:schemeClr val="bg1"/>
              </a:buClr>
              <a:buFont typeface="Wingdings" charset="2"/>
              <a:buChar char="§"/>
            </a:pPr>
            <a:r>
              <a:rPr lang="en-US" altLang="x-none" dirty="0">
                <a:solidFill>
                  <a:schemeClr val="bg1"/>
                </a:solidFill>
              </a:rPr>
              <a:t>First step in a general network evolution direction</a:t>
            </a:r>
          </a:p>
          <a:p>
            <a:pPr lvl="1" eaLnBrk="1" hangingPunct="1">
              <a:spcBef>
                <a:spcPts val="600"/>
              </a:spcBef>
              <a:spcAft>
                <a:spcPts val="600"/>
              </a:spcAft>
              <a:buClr>
                <a:schemeClr val="bg1"/>
              </a:buClr>
              <a:buFont typeface="Wingdings" charset="2"/>
              <a:buChar char="§"/>
            </a:pPr>
            <a:r>
              <a:rPr lang="en-US" altLang="x-none" sz="1600" dirty="0">
                <a:solidFill>
                  <a:schemeClr val="bg1"/>
                </a:solidFill>
              </a:rPr>
              <a:t>Centralized deployment of control plane for operational efficiency, facilitating a migration to 5G Core</a:t>
            </a:r>
          </a:p>
          <a:p>
            <a:pPr lvl="1" eaLnBrk="1" hangingPunct="1">
              <a:spcBef>
                <a:spcPts val="600"/>
              </a:spcBef>
              <a:spcAft>
                <a:spcPts val="600"/>
              </a:spcAft>
              <a:buClr>
                <a:schemeClr val="bg1"/>
              </a:buClr>
              <a:buFont typeface="Wingdings" charset="2"/>
              <a:buChar char="§"/>
            </a:pPr>
            <a:r>
              <a:rPr lang="en-US" altLang="x-none" sz="1600" dirty="0">
                <a:solidFill>
                  <a:schemeClr val="bg1"/>
                </a:solidFill>
              </a:rPr>
              <a:t>Distributed deployment of user plane optimized for latency/transport efficiency or security</a:t>
            </a:r>
            <a:endParaRPr lang="en-US" altLang="x-none" dirty="0">
              <a:solidFill>
                <a:schemeClr val="bg1"/>
              </a:solidFill>
            </a:endParaRPr>
          </a:p>
          <a:p>
            <a:pPr eaLnBrk="1" hangingPunct="1">
              <a:spcBef>
                <a:spcPts val="600"/>
              </a:spcBef>
              <a:spcAft>
                <a:spcPts val="600"/>
              </a:spcAft>
              <a:buClr>
                <a:schemeClr val="bg1"/>
              </a:buClr>
              <a:buFont typeface="Wingdings" charset="2"/>
              <a:buChar char="§"/>
            </a:pPr>
            <a:r>
              <a:rPr lang="en-US" altLang="x-none" dirty="0">
                <a:solidFill>
                  <a:schemeClr val="bg1"/>
                </a:solidFill>
              </a:rPr>
              <a:t>Independent scalability across the two domains</a:t>
            </a:r>
          </a:p>
          <a:p>
            <a:pPr eaLnBrk="1" hangingPunct="1">
              <a:spcBef>
                <a:spcPts val="600"/>
              </a:spcBef>
              <a:spcAft>
                <a:spcPts val="600"/>
              </a:spcAft>
              <a:buClr>
                <a:schemeClr val="bg1"/>
              </a:buClr>
              <a:buFont typeface="Wingdings" charset="2"/>
              <a:buChar char="§"/>
            </a:pPr>
            <a:r>
              <a:rPr lang="en-US" altLang="x-none" dirty="0">
                <a:solidFill>
                  <a:schemeClr val="bg1"/>
                </a:solidFill>
              </a:rPr>
              <a:t>Cost optimization through 1:N relationship between CP and UP</a:t>
            </a:r>
          </a:p>
        </p:txBody>
      </p:sp>
      <p:sp>
        <p:nvSpPr>
          <p:cNvPr id="44" name="Rounded Rectangle 67"/>
          <p:cNvSpPr>
            <a:spLocks noChangeArrowheads="1"/>
          </p:cNvSpPr>
          <p:nvPr/>
        </p:nvSpPr>
        <p:spPr bwMode="auto">
          <a:xfrm>
            <a:off x="9877425" y="5611813"/>
            <a:ext cx="1092200" cy="692150"/>
          </a:xfrm>
          <a:prstGeom prst="roundRect">
            <a:avLst>
              <a:gd name="adj" fmla="val 16667"/>
            </a:avLst>
          </a:prstGeom>
          <a:solidFill>
            <a:srgbClr val="92CCE5"/>
          </a:solidFill>
          <a:ln w="12700">
            <a:solidFill>
              <a:srgbClr val="92CCE5"/>
            </a:solidFill>
            <a:round/>
            <a:headEnd/>
            <a:tailEnd/>
          </a:ln>
        </p:spPr>
        <p:txBody>
          <a:bodyPr wrap="none" lIns="72000" rIns="72000" anchor="ctr"/>
          <a:lstStyle>
            <a:lvl1pPr>
              <a:spcBef>
                <a:spcPct val="20000"/>
              </a:spcBef>
              <a:buClr>
                <a:srgbClr val="00A9D4"/>
              </a:buClr>
              <a:buFont typeface="Arial" charset="0"/>
              <a:buChar char="›"/>
              <a:defRPr sz="2000">
                <a:solidFill>
                  <a:schemeClr val="tx1"/>
                </a:solidFill>
                <a:latin typeface="Arial" charset="0"/>
              </a:defRPr>
            </a:lvl1pPr>
            <a:lvl2pPr marL="742950" indent="-285750">
              <a:spcBef>
                <a:spcPct val="20000"/>
              </a:spcBef>
              <a:buClr>
                <a:schemeClr val="tx1"/>
              </a:buClr>
              <a:buFont typeface="Ericsson Capital TT" charset="0"/>
              <a:buChar char="–"/>
              <a:defRPr>
                <a:solidFill>
                  <a:schemeClr val="tx1"/>
                </a:solidFill>
                <a:latin typeface="Arial" charset="0"/>
              </a:defRPr>
            </a:lvl2pPr>
            <a:lvl3pPr marL="1143000" indent="-228600">
              <a:spcBef>
                <a:spcPct val="20000"/>
              </a:spcBef>
              <a:buClr>
                <a:srgbClr val="92CCE5"/>
              </a:buClr>
              <a:buFont typeface="Ericsson Capital TT" charset="0"/>
              <a:buChar char="›"/>
              <a:defRPr>
                <a:solidFill>
                  <a:schemeClr val="tx1"/>
                </a:solidFill>
                <a:latin typeface="Arial" charset="0"/>
              </a:defRPr>
            </a:lvl3pPr>
            <a:lvl4pPr marL="1600200" indent="-228600">
              <a:spcBef>
                <a:spcPct val="20000"/>
              </a:spcBef>
              <a:buClr>
                <a:schemeClr val="tx1"/>
              </a:buClr>
              <a:buFont typeface="Ericsson Capital TT" charset="0"/>
              <a:buChar char="-"/>
              <a:defRPr>
                <a:solidFill>
                  <a:schemeClr val="tx1"/>
                </a:solidFill>
                <a:latin typeface="Arial" charset="0"/>
              </a:defRPr>
            </a:lvl4pPr>
            <a:lvl5pPr marL="2057400" indent="-22860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sv-SE" sz="1800" dirty="0">
                <a:solidFill>
                  <a:srgbClr val="2E4275"/>
                </a:solidFill>
              </a:rPr>
              <a:t>GW-U</a:t>
            </a:r>
          </a:p>
        </p:txBody>
      </p:sp>
      <p:sp>
        <p:nvSpPr>
          <p:cNvPr id="45" name="Rounded Rectangle 67"/>
          <p:cNvSpPr>
            <a:spLocks noChangeArrowheads="1"/>
          </p:cNvSpPr>
          <p:nvPr/>
        </p:nvSpPr>
        <p:spPr bwMode="auto">
          <a:xfrm>
            <a:off x="8061325" y="2197100"/>
            <a:ext cx="1093788" cy="693738"/>
          </a:xfrm>
          <a:prstGeom prst="roundRect">
            <a:avLst>
              <a:gd name="adj" fmla="val 16667"/>
            </a:avLst>
          </a:prstGeom>
          <a:solidFill>
            <a:srgbClr val="92CCE5"/>
          </a:solidFill>
          <a:ln w="12700">
            <a:solidFill>
              <a:srgbClr val="92CCE5"/>
            </a:solidFill>
            <a:round/>
            <a:headEnd/>
            <a:tailEnd/>
          </a:ln>
        </p:spPr>
        <p:txBody>
          <a:bodyPr wrap="none" lIns="72000" rIns="72000" anchor="ctr"/>
          <a:lstStyle>
            <a:lvl1pPr>
              <a:spcBef>
                <a:spcPct val="20000"/>
              </a:spcBef>
              <a:buClr>
                <a:srgbClr val="00A9D4"/>
              </a:buClr>
              <a:buFont typeface="Arial" charset="0"/>
              <a:buChar char="›"/>
              <a:defRPr sz="2000">
                <a:solidFill>
                  <a:schemeClr val="tx1"/>
                </a:solidFill>
                <a:latin typeface="Arial" charset="0"/>
              </a:defRPr>
            </a:lvl1pPr>
            <a:lvl2pPr marL="742950" indent="-285750">
              <a:spcBef>
                <a:spcPct val="20000"/>
              </a:spcBef>
              <a:buClr>
                <a:schemeClr val="tx1"/>
              </a:buClr>
              <a:buFont typeface="Ericsson Capital TT" charset="0"/>
              <a:buChar char="–"/>
              <a:defRPr>
                <a:solidFill>
                  <a:schemeClr val="tx1"/>
                </a:solidFill>
                <a:latin typeface="Arial" charset="0"/>
              </a:defRPr>
            </a:lvl2pPr>
            <a:lvl3pPr marL="1143000" indent="-228600">
              <a:spcBef>
                <a:spcPct val="20000"/>
              </a:spcBef>
              <a:buClr>
                <a:srgbClr val="92CCE5"/>
              </a:buClr>
              <a:buFont typeface="Ericsson Capital TT" charset="0"/>
              <a:buChar char="›"/>
              <a:defRPr>
                <a:solidFill>
                  <a:schemeClr val="tx1"/>
                </a:solidFill>
                <a:latin typeface="Arial" charset="0"/>
              </a:defRPr>
            </a:lvl3pPr>
            <a:lvl4pPr marL="1600200" indent="-228600">
              <a:spcBef>
                <a:spcPct val="20000"/>
              </a:spcBef>
              <a:buClr>
                <a:schemeClr val="tx1"/>
              </a:buClr>
              <a:buFont typeface="Ericsson Capital TT" charset="0"/>
              <a:buChar char="-"/>
              <a:defRPr>
                <a:solidFill>
                  <a:schemeClr val="tx1"/>
                </a:solidFill>
                <a:latin typeface="Arial" charset="0"/>
              </a:defRPr>
            </a:lvl4pPr>
            <a:lvl5pPr marL="2057400" indent="-22860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sv-SE" sz="1800" dirty="0">
                <a:solidFill>
                  <a:srgbClr val="2E4275"/>
                </a:solidFill>
              </a:rPr>
              <a:t>GW-C</a:t>
            </a:r>
          </a:p>
        </p:txBody>
      </p:sp>
      <p:cxnSp>
        <p:nvCxnSpPr>
          <p:cNvPr id="46" name="Straight Connector 2"/>
          <p:cNvCxnSpPr>
            <a:cxnSpLocks noChangeShapeType="1"/>
            <a:stCxn id="45" idx="0"/>
          </p:cNvCxnSpPr>
          <p:nvPr/>
        </p:nvCxnSpPr>
        <p:spPr bwMode="auto">
          <a:xfrm flipH="1" flipV="1">
            <a:off x="8596313" y="1576388"/>
            <a:ext cx="12700" cy="620712"/>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47" name="Straight Connector 21"/>
          <p:cNvCxnSpPr>
            <a:cxnSpLocks noChangeShapeType="1"/>
          </p:cNvCxnSpPr>
          <p:nvPr/>
        </p:nvCxnSpPr>
        <p:spPr bwMode="auto">
          <a:xfrm flipH="1" flipV="1">
            <a:off x="8861425" y="1571625"/>
            <a:ext cx="12700" cy="620713"/>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48" name="Straight Connector 22"/>
          <p:cNvCxnSpPr>
            <a:cxnSpLocks noChangeShapeType="1"/>
          </p:cNvCxnSpPr>
          <p:nvPr/>
        </p:nvCxnSpPr>
        <p:spPr bwMode="auto">
          <a:xfrm flipH="1" flipV="1">
            <a:off x="8718550" y="1566863"/>
            <a:ext cx="11113" cy="620712"/>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49" name="Straight Connector 23"/>
          <p:cNvCxnSpPr>
            <a:cxnSpLocks noChangeShapeType="1"/>
          </p:cNvCxnSpPr>
          <p:nvPr/>
        </p:nvCxnSpPr>
        <p:spPr bwMode="auto">
          <a:xfrm flipH="1" flipV="1">
            <a:off x="8274050" y="1576388"/>
            <a:ext cx="11113" cy="620712"/>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50" name="TextBox 3"/>
          <p:cNvSpPr txBox="1">
            <a:spLocks noChangeArrowheads="1"/>
          </p:cNvSpPr>
          <p:nvPr/>
        </p:nvSpPr>
        <p:spPr bwMode="auto">
          <a:xfrm>
            <a:off x="7524750" y="1260475"/>
            <a:ext cx="1049338"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ea typeface="Arial" charset="0"/>
                <a:cs typeface="Arial" charset="0"/>
              </a:defRPr>
            </a:lvl1pPr>
            <a:lvl2pPr marL="742950" indent="-285750">
              <a:defRPr sz="2000">
                <a:solidFill>
                  <a:schemeClr val="tx1"/>
                </a:solidFill>
                <a:latin typeface="Arial" charset="0"/>
                <a:ea typeface="Arial" charset="0"/>
                <a:cs typeface="Arial" charset="0"/>
              </a:defRPr>
            </a:lvl2pPr>
            <a:lvl3pPr marL="1143000" indent="-228600">
              <a:defRPr sz="2000">
                <a:solidFill>
                  <a:schemeClr val="tx1"/>
                </a:solidFill>
                <a:latin typeface="Arial" charset="0"/>
                <a:ea typeface="Arial" charset="0"/>
                <a:cs typeface="Arial" charset="0"/>
              </a:defRPr>
            </a:lvl3pPr>
            <a:lvl4pPr marL="1600200" indent="-228600">
              <a:defRPr sz="2000">
                <a:solidFill>
                  <a:schemeClr val="tx1"/>
                </a:solidFill>
                <a:latin typeface="Arial" charset="0"/>
                <a:ea typeface="Arial" charset="0"/>
                <a:cs typeface="Arial" charset="0"/>
              </a:defRPr>
            </a:lvl4pPr>
            <a:lvl5pPr marL="2057400" indent="-22860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r>
              <a:rPr lang="en-US" altLang="en-US" sz="1400" dirty="0">
                <a:solidFill>
                  <a:schemeClr val="bg1"/>
                </a:solidFill>
              </a:rPr>
              <a:t>S11/S4/</a:t>
            </a:r>
            <a:r>
              <a:rPr lang="en-US" altLang="en-US" sz="1400" dirty="0" err="1">
                <a:solidFill>
                  <a:schemeClr val="bg1"/>
                </a:solidFill>
              </a:rPr>
              <a:t>Gn</a:t>
            </a:r>
            <a:endParaRPr lang="en-US" altLang="en-US" sz="1400" dirty="0">
              <a:solidFill>
                <a:schemeClr val="bg1"/>
              </a:solidFill>
            </a:endParaRPr>
          </a:p>
        </p:txBody>
      </p:sp>
      <p:sp>
        <p:nvSpPr>
          <p:cNvPr id="51" name="TextBox 25"/>
          <p:cNvSpPr txBox="1">
            <a:spLocks noChangeArrowheads="1"/>
          </p:cNvSpPr>
          <p:nvPr/>
        </p:nvSpPr>
        <p:spPr bwMode="auto">
          <a:xfrm>
            <a:off x="8462963" y="1263650"/>
            <a:ext cx="9715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ea typeface="Arial" charset="0"/>
                <a:cs typeface="Arial" charset="0"/>
              </a:defRPr>
            </a:lvl1pPr>
            <a:lvl2pPr marL="742950" indent="-285750">
              <a:defRPr sz="2000">
                <a:solidFill>
                  <a:schemeClr val="tx1"/>
                </a:solidFill>
                <a:latin typeface="Arial" charset="0"/>
                <a:ea typeface="Arial" charset="0"/>
                <a:cs typeface="Arial" charset="0"/>
              </a:defRPr>
            </a:lvl2pPr>
            <a:lvl3pPr marL="1143000" indent="-228600">
              <a:defRPr sz="2000">
                <a:solidFill>
                  <a:schemeClr val="tx1"/>
                </a:solidFill>
                <a:latin typeface="Arial" charset="0"/>
                <a:ea typeface="Arial" charset="0"/>
                <a:cs typeface="Arial" charset="0"/>
              </a:defRPr>
            </a:lvl3pPr>
            <a:lvl4pPr marL="1600200" indent="-228600">
              <a:defRPr sz="2000">
                <a:solidFill>
                  <a:schemeClr val="tx1"/>
                </a:solidFill>
                <a:latin typeface="Arial" charset="0"/>
                <a:ea typeface="Arial" charset="0"/>
                <a:cs typeface="Arial" charset="0"/>
              </a:defRPr>
            </a:lvl4pPr>
            <a:lvl5pPr marL="2057400" indent="-22860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r>
              <a:rPr lang="en-US" altLang="en-US" sz="1400" dirty="0" err="1">
                <a:solidFill>
                  <a:schemeClr val="bg1"/>
                </a:solidFill>
              </a:rPr>
              <a:t>Gx</a:t>
            </a:r>
            <a:r>
              <a:rPr lang="en-US" altLang="en-US" sz="1400" dirty="0">
                <a:solidFill>
                  <a:schemeClr val="bg1"/>
                </a:solidFill>
              </a:rPr>
              <a:t>/</a:t>
            </a:r>
            <a:r>
              <a:rPr lang="en-US" altLang="en-US" sz="1400" dirty="0" err="1">
                <a:solidFill>
                  <a:schemeClr val="bg1"/>
                </a:solidFill>
              </a:rPr>
              <a:t>Gy</a:t>
            </a:r>
            <a:r>
              <a:rPr lang="en-US" altLang="en-US" sz="1400" dirty="0">
                <a:solidFill>
                  <a:schemeClr val="bg1"/>
                </a:solidFill>
              </a:rPr>
              <a:t>/</a:t>
            </a:r>
            <a:r>
              <a:rPr lang="en-US" altLang="en-US" sz="1400" dirty="0" err="1">
                <a:solidFill>
                  <a:schemeClr val="bg1"/>
                </a:solidFill>
              </a:rPr>
              <a:t>Gz</a:t>
            </a:r>
            <a:endParaRPr lang="en-US" altLang="en-US" sz="1400" dirty="0">
              <a:solidFill>
                <a:schemeClr val="bg1"/>
              </a:solidFill>
            </a:endParaRPr>
          </a:p>
        </p:txBody>
      </p:sp>
      <p:cxnSp>
        <p:nvCxnSpPr>
          <p:cNvPr id="52" name="Straight Connector 26"/>
          <p:cNvCxnSpPr>
            <a:cxnSpLocks noChangeShapeType="1"/>
          </p:cNvCxnSpPr>
          <p:nvPr/>
        </p:nvCxnSpPr>
        <p:spPr bwMode="auto">
          <a:xfrm flipH="1" flipV="1">
            <a:off x="8437563" y="1568450"/>
            <a:ext cx="11112" cy="620713"/>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53" name="TextBox 2"/>
          <p:cNvSpPr txBox="1">
            <a:spLocks noChangeArrowheads="1"/>
          </p:cNvSpPr>
          <p:nvPr/>
        </p:nvSpPr>
        <p:spPr bwMode="auto">
          <a:xfrm>
            <a:off x="5691188" y="1644650"/>
            <a:ext cx="2322512"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fontAlgn="auto" hangingPunct="1">
              <a:spcAft>
                <a:spcPts val="0"/>
              </a:spcAft>
              <a:buFont typeface="Arial" charset="0"/>
              <a:buNone/>
              <a:defRPr/>
            </a:pPr>
            <a:r>
              <a:rPr lang="en-US" altLang="en-US" sz="1400" i="1" kern="0" dirty="0">
                <a:solidFill>
                  <a:schemeClr val="bg1"/>
                </a:solidFill>
                <a:ea typeface="+mn-ea"/>
                <a:cs typeface="Arial" panose="020B0604020202020204" pitchFamily="34" charset="0"/>
              </a:rPr>
              <a:t>3GPP compliance on SGW/PGW-external interfaces</a:t>
            </a:r>
          </a:p>
        </p:txBody>
      </p:sp>
      <p:cxnSp>
        <p:nvCxnSpPr>
          <p:cNvPr id="54" name="Straight Arrow Connector 79"/>
          <p:cNvCxnSpPr>
            <a:cxnSpLocks noChangeShapeType="1"/>
          </p:cNvCxnSpPr>
          <p:nvPr/>
        </p:nvCxnSpPr>
        <p:spPr bwMode="auto">
          <a:xfrm flipV="1">
            <a:off x="7477125" y="1801813"/>
            <a:ext cx="630238" cy="274637"/>
          </a:xfrm>
          <a:prstGeom prst="straightConnector1">
            <a:avLst/>
          </a:prstGeom>
          <a:noFill/>
          <a:ln w="12700" algn="ctr">
            <a:solidFill>
              <a:schemeClr val="accent2">
                <a:lumMod val="60000"/>
                <a:lumOff val="40000"/>
              </a:schemeClr>
            </a:solidFill>
            <a:round/>
            <a:headEnd/>
            <a:tailEnd type="arrow" w="med" len="med"/>
          </a:ln>
          <a:extLst>
            <a:ext uri="{909E8E84-426E-40DD-AFC4-6F175D3DCCD1}">
              <a14:hiddenFill xmlns:a14="http://schemas.microsoft.com/office/drawing/2010/main">
                <a:noFill/>
              </a14:hiddenFill>
            </a:ext>
          </a:extLst>
        </p:spPr>
      </p:cxnSp>
      <p:cxnSp>
        <p:nvCxnSpPr>
          <p:cNvPr id="55" name="Straight Connector 70"/>
          <p:cNvCxnSpPr>
            <a:cxnSpLocks noChangeShapeType="1"/>
          </p:cNvCxnSpPr>
          <p:nvPr/>
        </p:nvCxnSpPr>
        <p:spPr bwMode="auto">
          <a:xfrm>
            <a:off x="7399338" y="5426075"/>
            <a:ext cx="3511550"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cxnSp>
      <p:cxnSp>
        <p:nvCxnSpPr>
          <p:cNvPr id="56" name="Straight Connector 70"/>
          <p:cNvCxnSpPr>
            <a:cxnSpLocks noChangeShapeType="1"/>
          </p:cNvCxnSpPr>
          <p:nvPr/>
        </p:nvCxnSpPr>
        <p:spPr bwMode="auto">
          <a:xfrm>
            <a:off x="6227763" y="4908550"/>
            <a:ext cx="3513137"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cxnSp>
      <p:sp>
        <p:nvSpPr>
          <p:cNvPr id="57" name="Rounded Rectangle 67"/>
          <p:cNvSpPr>
            <a:spLocks noChangeArrowheads="1"/>
          </p:cNvSpPr>
          <p:nvPr/>
        </p:nvSpPr>
        <p:spPr bwMode="auto">
          <a:xfrm>
            <a:off x="7510463" y="4560888"/>
            <a:ext cx="1093787" cy="695325"/>
          </a:xfrm>
          <a:prstGeom prst="roundRect">
            <a:avLst>
              <a:gd name="adj" fmla="val 16667"/>
            </a:avLst>
          </a:prstGeom>
          <a:solidFill>
            <a:srgbClr val="92CCE5"/>
          </a:solidFill>
          <a:ln w="12700">
            <a:solidFill>
              <a:srgbClr val="92CCE5"/>
            </a:solidFill>
            <a:round/>
            <a:headEnd/>
            <a:tailEnd/>
          </a:ln>
        </p:spPr>
        <p:txBody>
          <a:bodyPr wrap="none" lIns="72000" rIns="72000" anchor="ctr"/>
          <a:lstStyle>
            <a:lvl1pPr>
              <a:spcBef>
                <a:spcPct val="20000"/>
              </a:spcBef>
              <a:buClr>
                <a:srgbClr val="00A9D4"/>
              </a:buClr>
              <a:buFont typeface="Arial" charset="0"/>
              <a:buChar char="›"/>
              <a:defRPr sz="2000">
                <a:solidFill>
                  <a:schemeClr val="tx1"/>
                </a:solidFill>
                <a:latin typeface="Arial" charset="0"/>
              </a:defRPr>
            </a:lvl1pPr>
            <a:lvl2pPr marL="742950" indent="-285750">
              <a:spcBef>
                <a:spcPct val="20000"/>
              </a:spcBef>
              <a:buClr>
                <a:schemeClr val="tx1"/>
              </a:buClr>
              <a:buFont typeface="Ericsson Capital TT" charset="0"/>
              <a:buChar char="–"/>
              <a:defRPr>
                <a:solidFill>
                  <a:schemeClr val="tx1"/>
                </a:solidFill>
                <a:latin typeface="Arial" charset="0"/>
              </a:defRPr>
            </a:lvl2pPr>
            <a:lvl3pPr marL="1143000" indent="-228600">
              <a:spcBef>
                <a:spcPct val="20000"/>
              </a:spcBef>
              <a:buClr>
                <a:srgbClr val="92CCE5"/>
              </a:buClr>
              <a:buFont typeface="Ericsson Capital TT" charset="0"/>
              <a:buChar char="›"/>
              <a:defRPr>
                <a:solidFill>
                  <a:schemeClr val="tx1"/>
                </a:solidFill>
                <a:latin typeface="Arial" charset="0"/>
              </a:defRPr>
            </a:lvl3pPr>
            <a:lvl4pPr marL="1600200" indent="-228600">
              <a:spcBef>
                <a:spcPct val="20000"/>
              </a:spcBef>
              <a:buClr>
                <a:schemeClr val="tx1"/>
              </a:buClr>
              <a:buFont typeface="Ericsson Capital TT" charset="0"/>
              <a:buChar char="-"/>
              <a:defRPr>
                <a:solidFill>
                  <a:schemeClr val="tx1"/>
                </a:solidFill>
                <a:latin typeface="Arial" charset="0"/>
              </a:defRPr>
            </a:lvl4pPr>
            <a:lvl5pPr marL="2057400" indent="-22860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sv-SE" sz="1800" dirty="0">
                <a:solidFill>
                  <a:srgbClr val="2E4275"/>
                </a:solidFill>
              </a:rPr>
              <a:t>GW-U</a:t>
            </a:r>
          </a:p>
        </p:txBody>
      </p:sp>
      <p:sp>
        <p:nvSpPr>
          <p:cNvPr id="58" name="Rounded Rectangle 67"/>
          <p:cNvSpPr>
            <a:spLocks noChangeArrowheads="1"/>
          </p:cNvSpPr>
          <p:nvPr/>
        </p:nvSpPr>
        <p:spPr bwMode="auto">
          <a:xfrm>
            <a:off x="8689975" y="5078413"/>
            <a:ext cx="1092200" cy="693737"/>
          </a:xfrm>
          <a:prstGeom prst="roundRect">
            <a:avLst>
              <a:gd name="adj" fmla="val 16667"/>
            </a:avLst>
          </a:prstGeom>
          <a:solidFill>
            <a:srgbClr val="92CCE5"/>
          </a:solidFill>
          <a:ln w="12700">
            <a:solidFill>
              <a:srgbClr val="92CCE5"/>
            </a:solidFill>
            <a:round/>
            <a:headEnd/>
            <a:tailEnd/>
          </a:ln>
        </p:spPr>
        <p:txBody>
          <a:bodyPr wrap="none" lIns="72000" rIns="72000" anchor="ctr"/>
          <a:lstStyle>
            <a:lvl1pPr>
              <a:spcBef>
                <a:spcPct val="20000"/>
              </a:spcBef>
              <a:buClr>
                <a:srgbClr val="00A9D4"/>
              </a:buClr>
              <a:buFont typeface="Arial" charset="0"/>
              <a:buChar char="›"/>
              <a:defRPr sz="2000">
                <a:solidFill>
                  <a:schemeClr val="tx1"/>
                </a:solidFill>
                <a:latin typeface="Arial" charset="0"/>
              </a:defRPr>
            </a:lvl1pPr>
            <a:lvl2pPr marL="742950" indent="-285750">
              <a:spcBef>
                <a:spcPct val="20000"/>
              </a:spcBef>
              <a:buClr>
                <a:schemeClr val="tx1"/>
              </a:buClr>
              <a:buFont typeface="Ericsson Capital TT" charset="0"/>
              <a:buChar char="–"/>
              <a:defRPr>
                <a:solidFill>
                  <a:schemeClr val="tx1"/>
                </a:solidFill>
                <a:latin typeface="Arial" charset="0"/>
              </a:defRPr>
            </a:lvl2pPr>
            <a:lvl3pPr marL="1143000" indent="-228600">
              <a:spcBef>
                <a:spcPct val="20000"/>
              </a:spcBef>
              <a:buClr>
                <a:srgbClr val="92CCE5"/>
              </a:buClr>
              <a:buFont typeface="Ericsson Capital TT" charset="0"/>
              <a:buChar char="›"/>
              <a:defRPr>
                <a:solidFill>
                  <a:schemeClr val="tx1"/>
                </a:solidFill>
                <a:latin typeface="Arial" charset="0"/>
              </a:defRPr>
            </a:lvl3pPr>
            <a:lvl4pPr marL="1600200" indent="-228600">
              <a:spcBef>
                <a:spcPct val="20000"/>
              </a:spcBef>
              <a:buClr>
                <a:schemeClr val="tx1"/>
              </a:buClr>
              <a:buFont typeface="Ericsson Capital TT" charset="0"/>
              <a:buChar char="-"/>
              <a:defRPr>
                <a:solidFill>
                  <a:schemeClr val="tx1"/>
                </a:solidFill>
                <a:latin typeface="Arial" charset="0"/>
              </a:defRPr>
            </a:lvl4pPr>
            <a:lvl5pPr marL="2057400" indent="-22860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sv-SE" sz="1800" dirty="0">
                <a:solidFill>
                  <a:srgbClr val="2E4275"/>
                </a:solidFill>
              </a:rPr>
              <a:t>GW-U</a:t>
            </a:r>
          </a:p>
        </p:txBody>
      </p:sp>
      <p:cxnSp>
        <p:nvCxnSpPr>
          <p:cNvPr id="59" name="Straight Connector 71"/>
          <p:cNvCxnSpPr>
            <a:cxnSpLocks noChangeShapeType="1"/>
            <a:stCxn id="58" idx="0"/>
            <a:endCxn id="45" idx="2"/>
          </p:cNvCxnSpPr>
          <p:nvPr/>
        </p:nvCxnSpPr>
        <p:spPr bwMode="auto">
          <a:xfrm flipH="1" flipV="1">
            <a:off x="8609013" y="2890838"/>
            <a:ext cx="627062" cy="2187575"/>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5656450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p</a:t>
            </a:r>
            <a:r>
              <a:rPr lang="en-US" dirty="0"/>
              <a:t> PROTOCOL STACK OVER </a:t>
            </a:r>
            <a:r>
              <a:rPr lang="en-US" dirty="0" err="1"/>
              <a:t>s</a:t>
            </a:r>
            <a:r>
              <a:rPr lang="en-US" sz="2800" dirty="0" err="1"/>
              <a:t>X</a:t>
            </a:r>
            <a:endParaRPr lang="en-US" sz="2800" dirty="0"/>
          </a:p>
        </p:txBody>
      </p:sp>
      <p:pic>
        <p:nvPicPr>
          <p:cNvPr id="5" name="Picture 4"/>
          <p:cNvPicPr>
            <a:picLocks noChangeAspect="1"/>
          </p:cNvPicPr>
          <p:nvPr/>
        </p:nvPicPr>
        <p:blipFill>
          <a:blip r:embed="rId3"/>
          <a:stretch>
            <a:fillRect/>
          </a:stretch>
        </p:blipFill>
        <p:spPr>
          <a:xfrm>
            <a:off x="4527025" y="1308640"/>
            <a:ext cx="7277057" cy="4864005"/>
          </a:xfrm>
          <a:prstGeom prst="rect">
            <a:avLst/>
          </a:prstGeom>
        </p:spPr>
      </p:pic>
      <p:sp>
        <p:nvSpPr>
          <p:cNvPr id="6" name="TextBox 5"/>
          <p:cNvSpPr txBox="1"/>
          <p:nvPr/>
        </p:nvSpPr>
        <p:spPr>
          <a:xfrm>
            <a:off x="212670" y="5925739"/>
            <a:ext cx="3589444" cy="523220"/>
          </a:xfrm>
          <a:prstGeom prst="rect">
            <a:avLst/>
          </a:prstGeom>
          <a:noFill/>
        </p:spPr>
        <p:txBody>
          <a:bodyPr wrap="none" rtlCol="0">
            <a:spAutoFit/>
          </a:bodyPr>
          <a:lstStyle/>
          <a:p>
            <a:r>
              <a:rPr lang="en-US" sz="1400" dirty="0"/>
              <a:t>PFCP: Packet Forwarding Control Protocol</a:t>
            </a:r>
            <a:br>
              <a:rPr lang="en-US" sz="1400" dirty="0"/>
            </a:br>
            <a:r>
              <a:rPr lang="en-US" sz="1400" dirty="0"/>
              <a:t>3GPP TS 29.244</a:t>
            </a:r>
          </a:p>
        </p:txBody>
      </p:sp>
      <p:sp>
        <p:nvSpPr>
          <p:cNvPr id="7" name="Rectangle 6"/>
          <p:cNvSpPr/>
          <p:nvPr/>
        </p:nvSpPr>
        <p:spPr bwMode="auto">
          <a:xfrm>
            <a:off x="4943961" y="1765537"/>
            <a:ext cx="6460760" cy="599606"/>
          </a:xfrm>
          <a:prstGeom prst="rect">
            <a:avLst/>
          </a:prstGeom>
          <a:noFill/>
          <a:ln w="38100"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9" name="Straight Connector 8"/>
          <p:cNvCxnSpPr>
            <a:stCxn id="7" idx="1"/>
          </p:cNvCxnSpPr>
          <p:nvPr/>
        </p:nvCxnSpPr>
        <p:spPr bwMode="auto">
          <a:xfrm flipH="1">
            <a:off x="4209443" y="2065340"/>
            <a:ext cx="734518" cy="299803"/>
          </a:xfrm>
          <a:prstGeom prst="line">
            <a:avLst/>
          </a:prstGeom>
          <a:solidFill>
            <a:schemeClr val="accent1"/>
          </a:solidFill>
          <a:ln w="12700" cap="flat" cmpd="sng" algn="ctr">
            <a:solidFill>
              <a:srgbClr val="FF0000"/>
            </a:solidFill>
            <a:prstDash val="solid"/>
            <a:round/>
            <a:headEnd type="arrow" w="med" len="med"/>
            <a:tailEnd type="none" w="med" len="med"/>
          </a:ln>
          <a:effectLst/>
        </p:spPr>
      </p:cxnSp>
      <p:sp>
        <p:nvSpPr>
          <p:cNvPr id="10" name="TextBox 9"/>
          <p:cNvSpPr txBox="1"/>
          <p:nvPr/>
        </p:nvSpPr>
        <p:spPr>
          <a:xfrm>
            <a:off x="2955917" y="2335164"/>
            <a:ext cx="1710725" cy="400110"/>
          </a:xfrm>
          <a:prstGeom prst="rect">
            <a:avLst/>
          </a:prstGeom>
          <a:noFill/>
        </p:spPr>
        <p:txBody>
          <a:bodyPr wrap="none" rtlCol="0">
            <a:spAutoFit/>
          </a:bodyPr>
          <a:lstStyle/>
          <a:p>
            <a:r>
              <a:rPr lang="en-US" dirty="0">
                <a:solidFill>
                  <a:srgbClr val="FF0000"/>
                </a:solidFill>
              </a:rPr>
              <a:t>New Protocol</a:t>
            </a:r>
          </a:p>
        </p:txBody>
      </p:sp>
      <p:grpSp>
        <p:nvGrpSpPr>
          <p:cNvPr id="27" name="Group 26"/>
          <p:cNvGrpSpPr/>
          <p:nvPr/>
        </p:nvGrpSpPr>
        <p:grpSpPr>
          <a:xfrm>
            <a:off x="422173" y="3247064"/>
            <a:ext cx="3864600" cy="2043659"/>
            <a:chOff x="269823" y="3477716"/>
            <a:chExt cx="3864600" cy="2043659"/>
          </a:xfrm>
        </p:grpSpPr>
        <p:sp>
          <p:nvSpPr>
            <p:cNvPr id="11" name="Rectangle 10"/>
            <p:cNvSpPr/>
            <p:nvPr/>
          </p:nvSpPr>
          <p:spPr bwMode="auto">
            <a:xfrm>
              <a:off x="1528995" y="3477716"/>
              <a:ext cx="914400" cy="644577"/>
            </a:xfrm>
            <a:prstGeom prst="rect">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CP</a:t>
              </a:r>
            </a:p>
          </p:txBody>
        </p:sp>
        <p:sp>
          <p:nvSpPr>
            <p:cNvPr id="12" name="Rectangle 11"/>
            <p:cNvSpPr/>
            <p:nvPr/>
          </p:nvSpPr>
          <p:spPr bwMode="auto">
            <a:xfrm>
              <a:off x="1528995" y="4756878"/>
              <a:ext cx="914400" cy="644577"/>
            </a:xfrm>
            <a:prstGeom prst="rect">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dirty="0"/>
                <a:t>UP</a:t>
              </a:r>
              <a:endParaRPr kumimoji="0" lang="en-US" sz="2000" b="0" i="0" u="none" strike="noStrike" cap="none" normalizeH="0" baseline="0" dirty="0">
                <a:ln>
                  <a:noFill/>
                </a:ln>
                <a:solidFill>
                  <a:schemeClr val="tx1"/>
                </a:solidFill>
                <a:effectLst/>
                <a:latin typeface="Arial" charset="0"/>
              </a:endParaRPr>
            </a:p>
          </p:txBody>
        </p:sp>
        <p:sp>
          <p:nvSpPr>
            <p:cNvPr id="13" name="Rectangle 12"/>
            <p:cNvSpPr/>
            <p:nvPr/>
          </p:nvSpPr>
          <p:spPr bwMode="auto">
            <a:xfrm>
              <a:off x="269823" y="4826833"/>
              <a:ext cx="464695" cy="529652"/>
            </a:xfrm>
            <a:prstGeom prst="rect">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UE</a:t>
              </a:r>
            </a:p>
          </p:txBody>
        </p:sp>
        <p:sp>
          <p:nvSpPr>
            <p:cNvPr id="14" name="Oval 13"/>
            <p:cNvSpPr/>
            <p:nvPr/>
          </p:nvSpPr>
          <p:spPr bwMode="auto">
            <a:xfrm>
              <a:off x="3109063" y="4876798"/>
              <a:ext cx="1025360" cy="644577"/>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PDN</a:t>
              </a:r>
            </a:p>
          </p:txBody>
        </p:sp>
        <p:sp>
          <p:nvSpPr>
            <p:cNvPr id="15" name="Cylinder 14"/>
            <p:cNvSpPr/>
            <p:nvPr/>
          </p:nvSpPr>
          <p:spPr bwMode="auto">
            <a:xfrm rot="5400000">
              <a:off x="1797515" y="4194165"/>
              <a:ext cx="194875" cy="2038665"/>
            </a:xfrm>
            <a:prstGeom prst="can">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17" name="Straight Arrow Connector 16"/>
            <p:cNvCxnSpPr/>
            <p:nvPr/>
          </p:nvCxnSpPr>
          <p:spPr bwMode="auto">
            <a:xfrm flipV="1">
              <a:off x="779488" y="5154116"/>
              <a:ext cx="2284605" cy="12493"/>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cxnSp>
          <p:nvCxnSpPr>
            <p:cNvPr id="18" name="Straight Arrow Connector 17"/>
            <p:cNvCxnSpPr/>
            <p:nvPr/>
          </p:nvCxnSpPr>
          <p:spPr bwMode="auto">
            <a:xfrm flipH="1" flipV="1">
              <a:off x="766998" y="5246556"/>
              <a:ext cx="2284605" cy="12493"/>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cxnSp>
          <p:nvCxnSpPr>
            <p:cNvPr id="20" name="Straight Arrow Connector 19"/>
            <p:cNvCxnSpPr/>
            <p:nvPr/>
          </p:nvCxnSpPr>
          <p:spPr bwMode="auto">
            <a:xfrm>
              <a:off x="1918740" y="4122293"/>
              <a:ext cx="0" cy="63458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1" name="Straight Arrow Connector 20"/>
            <p:cNvCxnSpPr/>
            <p:nvPr/>
          </p:nvCxnSpPr>
          <p:spPr bwMode="auto">
            <a:xfrm flipV="1">
              <a:off x="2071140" y="4109803"/>
              <a:ext cx="0" cy="634585"/>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22" name="Oval 21"/>
            <p:cNvSpPr/>
            <p:nvPr/>
          </p:nvSpPr>
          <p:spPr bwMode="auto">
            <a:xfrm>
              <a:off x="1768839" y="4427095"/>
              <a:ext cx="434715" cy="45719"/>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24" name="Straight Connector 23"/>
            <p:cNvCxnSpPr>
              <a:stCxn id="22" idx="2"/>
            </p:cNvCxnSpPr>
            <p:nvPr/>
          </p:nvCxnSpPr>
          <p:spPr bwMode="auto">
            <a:xfrm flipH="1" flipV="1">
              <a:off x="1049311" y="4122293"/>
              <a:ext cx="719528" cy="327662"/>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 name="TextBox 24"/>
            <p:cNvSpPr txBox="1"/>
            <p:nvPr/>
          </p:nvSpPr>
          <p:spPr>
            <a:xfrm>
              <a:off x="558628" y="3882346"/>
              <a:ext cx="663964" cy="307777"/>
            </a:xfrm>
            <a:prstGeom prst="rect">
              <a:avLst/>
            </a:prstGeom>
            <a:noFill/>
          </p:spPr>
          <p:txBody>
            <a:bodyPr wrap="none" rtlCol="0">
              <a:spAutoFit/>
            </a:bodyPr>
            <a:lstStyle/>
            <a:p>
              <a:r>
                <a:rPr lang="en-US" sz="1400" dirty="0"/>
                <a:t>PFCP</a:t>
              </a:r>
            </a:p>
          </p:txBody>
        </p:sp>
      </p:grpSp>
      <p:sp>
        <p:nvSpPr>
          <p:cNvPr id="28" name="Rectangle 27"/>
          <p:cNvSpPr/>
          <p:nvPr/>
        </p:nvSpPr>
        <p:spPr bwMode="auto">
          <a:xfrm>
            <a:off x="212670" y="3000159"/>
            <a:ext cx="4314355" cy="2555450"/>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043554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ynamic Mobility Switching </a:t>
            </a:r>
          </a:p>
        </p:txBody>
      </p:sp>
      <p:sp>
        <p:nvSpPr>
          <p:cNvPr id="3" name="Text Placeholder 2"/>
          <p:cNvSpPr>
            <a:spLocks noGrp="1"/>
          </p:cNvSpPr>
          <p:nvPr>
            <p:ph type="body" idx="1"/>
          </p:nvPr>
        </p:nvSpPr>
        <p:spPr>
          <a:xfrm>
            <a:off x="529167" y="2020520"/>
            <a:ext cx="7505561" cy="3852000"/>
          </a:xfrm>
        </p:spPr>
        <p:txBody>
          <a:bodyPr/>
          <a:lstStyle/>
          <a:p>
            <a:r>
              <a:rPr lang="en-US" dirty="0"/>
              <a:t>Feature to support option 3A</a:t>
            </a:r>
          </a:p>
          <a:p>
            <a:pPr lvl="1"/>
            <a:r>
              <a:rPr lang="en-US" dirty="0"/>
              <a:t>“LTE assisted NR” with EPC CN</a:t>
            </a:r>
          </a:p>
          <a:p>
            <a:pPr lvl="2"/>
            <a:r>
              <a:rPr lang="en-US" sz="1800" dirty="0"/>
              <a:t>User plane can be connected via LTE or NR to 5G EPC</a:t>
            </a:r>
          </a:p>
          <a:p>
            <a:pPr lvl="2"/>
            <a:r>
              <a:rPr lang="en-US" sz="1800" dirty="0"/>
              <a:t>Support in MME for handling the multiple user planes for this option</a:t>
            </a:r>
          </a:p>
          <a:p>
            <a:pPr lvl="2"/>
            <a:r>
              <a:rPr lang="en-US" sz="1800" dirty="0"/>
              <a:t>Concept based on the LTE dual connectivity spec. TS 23.401</a:t>
            </a:r>
          </a:p>
          <a:p>
            <a:pPr lvl="3"/>
            <a:r>
              <a:rPr lang="en-US" sz="1600" dirty="0"/>
              <a:t>It enables changing the U-plane termination point in LTE</a:t>
            </a:r>
            <a:br>
              <a:rPr lang="en-US" sz="1600" dirty="0"/>
            </a:br>
            <a:r>
              <a:rPr lang="en-US" sz="1600" dirty="0"/>
              <a:t>by means of S1-MME signaling without changing the</a:t>
            </a:r>
            <a:br>
              <a:rPr lang="en-US" sz="1600" dirty="0"/>
            </a:br>
            <a:r>
              <a:rPr lang="en-US" sz="1600" dirty="0"/>
              <a:t>S1-MME termination point</a:t>
            </a:r>
          </a:p>
          <a:p>
            <a:pPr lvl="3"/>
            <a:endParaRPr lang="en-US" sz="1800" dirty="0"/>
          </a:p>
        </p:txBody>
      </p:sp>
      <p:grpSp>
        <p:nvGrpSpPr>
          <p:cNvPr id="44" name="Group 43"/>
          <p:cNvGrpSpPr/>
          <p:nvPr/>
        </p:nvGrpSpPr>
        <p:grpSpPr>
          <a:xfrm>
            <a:off x="9084673" y="4834863"/>
            <a:ext cx="1871073" cy="630942"/>
            <a:chOff x="8784866" y="5459894"/>
            <a:chExt cx="1871073" cy="630942"/>
          </a:xfrm>
        </p:grpSpPr>
        <p:cxnSp>
          <p:nvCxnSpPr>
            <p:cNvPr id="45" name="Straight Connector 44"/>
            <p:cNvCxnSpPr/>
            <p:nvPr/>
          </p:nvCxnSpPr>
          <p:spPr bwMode="auto">
            <a:xfrm>
              <a:off x="8791490" y="5618922"/>
              <a:ext cx="503545" cy="0"/>
            </a:xfrm>
            <a:prstGeom prst="line">
              <a:avLst/>
            </a:prstGeom>
            <a:noFill/>
            <a:ln w="38100" cap="flat" cmpd="sng" algn="ctr">
              <a:solidFill>
                <a:schemeClr val="tx2">
                  <a:lumMod val="75000"/>
                  <a:lumOff val="25000"/>
                </a:schemeClr>
              </a:solidFill>
              <a:prstDash val="solid"/>
              <a:round/>
              <a:headEnd type="none" w="med" len="med"/>
              <a:tailEnd type="none" w="med" len="med"/>
            </a:ln>
            <a:effectLst/>
          </p:spPr>
        </p:cxnSp>
        <p:cxnSp>
          <p:nvCxnSpPr>
            <p:cNvPr id="46" name="Straight Connector 45"/>
            <p:cNvCxnSpPr/>
            <p:nvPr/>
          </p:nvCxnSpPr>
          <p:spPr bwMode="auto">
            <a:xfrm>
              <a:off x="8784866" y="5943598"/>
              <a:ext cx="503545" cy="0"/>
            </a:xfrm>
            <a:prstGeom prst="line">
              <a:avLst/>
            </a:pr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cxnSp>
        <p:sp>
          <p:nvSpPr>
            <p:cNvPr id="47" name="TextBox 46"/>
            <p:cNvSpPr txBox="1"/>
            <p:nvPr/>
          </p:nvSpPr>
          <p:spPr>
            <a:xfrm>
              <a:off x="9386040" y="5459894"/>
              <a:ext cx="1269899" cy="630942"/>
            </a:xfrm>
            <a:prstGeom prst="rect">
              <a:avLst/>
            </a:prstGeom>
            <a:noFill/>
          </p:spPr>
          <p:txBody>
            <a:bodyPr wrap="none" rtlCol="0">
              <a:spAutoFit/>
            </a:bodyPr>
            <a:lstStyle/>
            <a:p>
              <a:r>
                <a:rPr lang="en-US" sz="1400" dirty="0">
                  <a:latin typeface="+mn-lt"/>
                </a:rPr>
                <a:t>Control Plane</a:t>
              </a:r>
            </a:p>
            <a:p>
              <a:r>
                <a:rPr lang="en-US" sz="1400" dirty="0">
                  <a:latin typeface="+mn-lt"/>
                </a:rPr>
                <a:t>User Plane</a:t>
              </a:r>
            </a:p>
          </p:txBody>
        </p:sp>
      </p:grpSp>
      <p:grpSp>
        <p:nvGrpSpPr>
          <p:cNvPr id="87" name="Group 86"/>
          <p:cNvGrpSpPr/>
          <p:nvPr/>
        </p:nvGrpSpPr>
        <p:grpSpPr>
          <a:xfrm>
            <a:off x="8963786" y="1785761"/>
            <a:ext cx="1685843" cy="2589124"/>
            <a:chOff x="10356686" y="2622606"/>
            <a:chExt cx="1622449" cy="2614668"/>
          </a:xfrm>
        </p:grpSpPr>
        <p:grpSp>
          <p:nvGrpSpPr>
            <p:cNvPr id="53" name="Group 52"/>
            <p:cNvGrpSpPr>
              <a:grpSpLocks noChangeAspect="1"/>
            </p:cNvGrpSpPr>
            <p:nvPr/>
          </p:nvGrpSpPr>
          <p:grpSpPr bwMode="auto">
            <a:xfrm>
              <a:off x="11393795" y="3917652"/>
              <a:ext cx="585340" cy="829118"/>
              <a:chOff x="3106" y="2389"/>
              <a:chExt cx="363" cy="520"/>
            </a:xfrm>
          </p:grpSpPr>
          <p:sp>
            <p:nvSpPr>
              <p:cNvPr id="54"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5"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6"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NR</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57"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58"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grpSp>
          <p:nvGrpSpPr>
            <p:cNvPr id="59" name="Group 9"/>
            <p:cNvGrpSpPr>
              <a:grpSpLocks/>
            </p:cNvGrpSpPr>
            <p:nvPr/>
          </p:nvGrpSpPr>
          <p:grpSpPr bwMode="auto">
            <a:xfrm>
              <a:off x="11038980" y="4876285"/>
              <a:ext cx="239369" cy="360989"/>
              <a:chOff x="416" y="1332"/>
              <a:chExt cx="408" cy="737"/>
            </a:xfrm>
          </p:grpSpPr>
          <p:sp>
            <p:nvSpPr>
              <p:cNvPr id="60" name="Rectangle 10"/>
              <p:cNvSpPr>
                <a:spLocks noChangeArrowheads="1"/>
              </p:cNvSpPr>
              <p:nvPr/>
            </p:nvSpPr>
            <p:spPr bwMode="auto">
              <a:xfrm>
                <a:off x="519" y="1446"/>
                <a:ext cx="0" cy="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altLang="es-ES_tradnl" sz="800" b="1" i="0" u="none" strike="noStrike" kern="0" cap="none" spc="0" normalizeH="0" baseline="0" noProof="0" dirty="0">
                  <a:ln>
                    <a:noFill/>
                  </a:ln>
                  <a:solidFill>
                    <a:srgbClr val="00A9D4"/>
                  </a:solidFill>
                  <a:effectLst/>
                  <a:uLnTx/>
                  <a:uFillTx/>
                  <a:latin typeface="Arial"/>
                  <a:ea typeface="+mn-ea"/>
                  <a:cs typeface="Arial" charset="0"/>
                </a:endParaRPr>
              </a:p>
            </p:txBody>
          </p:sp>
          <p:grpSp>
            <p:nvGrpSpPr>
              <p:cNvPr id="61" name="Group 11"/>
              <p:cNvGrpSpPr>
                <a:grpSpLocks/>
              </p:cNvGrpSpPr>
              <p:nvPr/>
            </p:nvGrpSpPr>
            <p:grpSpPr bwMode="auto">
              <a:xfrm>
                <a:off x="416" y="1332"/>
                <a:ext cx="408" cy="737"/>
                <a:chOff x="518" y="1338"/>
                <a:chExt cx="357" cy="568"/>
              </a:xfrm>
            </p:grpSpPr>
            <p:sp>
              <p:nvSpPr>
                <p:cNvPr id="62" name="Rectangle 12"/>
                <p:cNvSpPr>
                  <a:spLocks noChangeArrowheads="1"/>
                </p:cNvSpPr>
                <p:nvPr/>
              </p:nvSpPr>
              <p:spPr bwMode="auto">
                <a:xfrm>
                  <a:off x="582" y="1486"/>
                  <a:ext cx="1" cy="170"/>
                </a:xfrm>
                <a:prstGeom prst="rect">
                  <a:avLst/>
                </a:prstGeom>
                <a:solidFill>
                  <a:srgbClr val="00A9D4"/>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br>
                    <a:rPr kumimoji="0" lang="de-DE" altLang="es-ES_tradnl" sz="2400" b="0" i="0" u="none" strike="noStrike" kern="0" cap="none" spc="0" normalizeH="0" baseline="0" noProof="0">
                      <a:ln>
                        <a:noFill/>
                      </a:ln>
                      <a:solidFill>
                        <a:srgbClr val="58585A"/>
                      </a:solidFill>
                      <a:effectLst/>
                      <a:uLnTx/>
                      <a:uFillTx/>
                      <a:latin typeface="Arial"/>
                      <a:ea typeface="+mn-ea"/>
                      <a:cs typeface="Arial" charset="0"/>
                    </a:rPr>
                  </a:br>
                  <a:endParaRPr kumimoji="0" lang="en-US" altLang="es-ES_tradnl" sz="2400" b="0" i="0" u="none" strike="noStrike" kern="0" cap="none" spc="0" normalizeH="0" baseline="0" noProof="0">
                    <a:ln>
                      <a:noFill/>
                    </a:ln>
                    <a:solidFill>
                      <a:srgbClr val="58585A"/>
                    </a:solidFill>
                    <a:effectLst/>
                    <a:uLnTx/>
                    <a:uFillTx/>
                    <a:latin typeface="Arial"/>
                    <a:ea typeface="+mn-ea"/>
                    <a:cs typeface="Arial" charset="0"/>
                  </a:endParaRPr>
                </a:p>
              </p:txBody>
            </p:sp>
            <p:sp>
              <p:nvSpPr>
                <p:cNvPr id="63" name="Freeform 28"/>
                <p:cNvSpPr>
                  <a:spLocks noChangeAspect="1" noEditPoints="1"/>
                </p:cNvSpPr>
                <p:nvPr/>
              </p:nvSpPr>
              <p:spPr bwMode="auto">
                <a:xfrm>
                  <a:off x="518" y="1338"/>
                  <a:ext cx="357" cy="568"/>
                </a:xfrm>
                <a:custGeom>
                  <a:avLst/>
                  <a:gdLst>
                    <a:gd name="T0" fmla="*/ 1293829 w 275"/>
                    <a:gd name="T1" fmla="*/ 3496 h 503"/>
                    <a:gd name="T2" fmla="*/ 1258544 w 275"/>
                    <a:gd name="T3" fmla="*/ 3349 h 503"/>
                    <a:gd name="T4" fmla="*/ 253622 w 275"/>
                    <a:gd name="T5" fmla="*/ 3349 h 503"/>
                    <a:gd name="T6" fmla="*/ 208223 w 275"/>
                    <a:gd name="T7" fmla="*/ 3496 h 503"/>
                    <a:gd name="T8" fmla="*/ 166645 w 275"/>
                    <a:gd name="T9" fmla="*/ 22063 h 503"/>
                    <a:gd name="T10" fmla="*/ 270311 w 275"/>
                    <a:gd name="T11" fmla="*/ 23136 h 503"/>
                    <a:gd name="T12" fmla="*/ 1236606 w 275"/>
                    <a:gd name="T13" fmla="*/ 23136 h 503"/>
                    <a:gd name="T14" fmla="*/ 1344240 w 275"/>
                    <a:gd name="T15" fmla="*/ 22063 h 503"/>
                    <a:gd name="T16" fmla="*/ 1254466 w 275"/>
                    <a:gd name="T17" fmla="*/ 22063 h 503"/>
                    <a:gd name="T18" fmla="*/ 1236606 w 275"/>
                    <a:gd name="T19" fmla="*/ 22282 h 503"/>
                    <a:gd name="T20" fmla="*/ 753757 w 275"/>
                    <a:gd name="T21" fmla="*/ 22308 h 503"/>
                    <a:gd name="T22" fmla="*/ 258860 w 275"/>
                    <a:gd name="T23" fmla="*/ 22254 h 503"/>
                    <a:gd name="T24" fmla="*/ 253622 w 275"/>
                    <a:gd name="T25" fmla="*/ 4271 h 503"/>
                    <a:gd name="T26" fmla="*/ 260753 w 275"/>
                    <a:gd name="T27" fmla="*/ 4232 h 503"/>
                    <a:gd name="T28" fmla="*/ 1083193 w 275"/>
                    <a:gd name="T29" fmla="*/ 4154 h 503"/>
                    <a:gd name="T30" fmla="*/ 1254466 w 275"/>
                    <a:gd name="T31" fmla="*/ 4271 h 503"/>
                    <a:gd name="T32" fmla="*/ 1254466 w 275"/>
                    <a:gd name="T33" fmla="*/ 22063 h 503"/>
                    <a:gd name="T34" fmla="*/ 566332 w 275"/>
                    <a:gd name="T35" fmla="*/ 25706 h 503"/>
                    <a:gd name="T36" fmla="*/ 904330 w 275"/>
                    <a:gd name="T37" fmla="*/ 26092 h 503"/>
                    <a:gd name="T38" fmla="*/ 904330 w 275"/>
                    <a:gd name="T39" fmla="*/ 25191 h 503"/>
                    <a:gd name="T40" fmla="*/ 1290799 w 275"/>
                    <a:gd name="T41" fmla="*/ 24696 h 503"/>
                    <a:gd name="T42" fmla="*/ 996647 w 275"/>
                    <a:gd name="T43" fmla="*/ 25706 h 503"/>
                    <a:gd name="T44" fmla="*/ 1050724 w 275"/>
                    <a:gd name="T45" fmla="*/ 26018 h 503"/>
                    <a:gd name="T46" fmla="*/ 1344240 w 275"/>
                    <a:gd name="T47" fmla="*/ 25051 h 503"/>
                    <a:gd name="T48" fmla="*/ 216336 w 275"/>
                    <a:gd name="T49" fmla="*/ 24696 h 503"/>
                    <a:gd name="T50" fmla="*/ 200860 w 275"/>
                    <a:gd name="T51" fmla="*/ 25542 h 503"/>
                    <a:gd name="T52" fmla="*/ 461776 w 275"/>
                    <a:gd name="T53" fmla="*/ 26018 h 503"/>
                    <a:gd name="T54" fmla="*/ 473298 w 275"/>
                    <a:gd name="T55" fmla="*/ 25130 h 503"/>
                    <a:gd name="T56" fmla="*/ 1462902 w 275"/>
                    <a:gd name="T57" fmla="*/ 5446 h 503"/>
                    <a:gd name="T58" fmla="*/ 1419879 w 275"/>
                    <a:gd name="T59" fmla="*/ 26339 h 503"/>
                    <a:gd name="T60" fmla="*/ 1388746 w 275"/>
                    <a:gd name="T61" fmla="*/ 26758 h 503"/>
                    <a:gd name="T62" fmla="*/ 1380062 w 275"/>
                    <a:gd name="T63" fmla="*/ 26775 h 503"/>
                    <a:gd name="T64" fmla="*/ 128368 w 275"/>
                    <a:gd name="T65" fmla="*/ 26775 h 503"/>
                    <a:gd name="T66" fmla="*/ 86359 w 275"/>
                    <a:gd name="T67" fmla="*/ 26339 h 503"/>
                    <a:gd name="T68" fmla="*/ 98883 w 275"/>
                    <a:gd name="T69" fmla="*/ 1255 h 503"/>
                    <a:gd name="T70" fmla="*/ 110277 w 275"/>
                    <a:gd name="T71" fmla="*/ 1246 h 503"/>
                    <a:gd name="T72" fmla="*/ 481124 w 275"/>
                    <a:gd name="T73" fmla="*/ 984 h 503"/>
                    <a:gd name="T74" fmla="*/ 1019550 w 275"/>
                    <a:gd name="T75" fmla="*/ 984 h 503"/>
                    <a:gd name="T76" fmla="*/ 1414477 w 275"/>
                    <a:gd name="T77" fmla="*/ 1255 h 503"/>
                    <a:gd name="T78" fmla="*/ 1419879 w 275"/>
                    <a:gd name="T79" fmla="*/ 3782 h 503"/>
                    <a:gd name="T80" fmla="*/ 1506299 w 275"/>
                    <a:gd name="T81" fmla="*/ 3782 h 503"/>
                    <a:gd name="T82" fmla="*/ 1506299 w 275"/>
                    <a:gd name="T83" fmla="*/ 1407 h 503"/>
                    <a:gd name="T84" fmla="*/ 1414477 w 275"/>
                    <a:gd name="T85" fmla="*/ 330 h 503"/>
                    <a:gd name="T86" fmla="*/ 753757 w 275"/>
                    <a:gd name="T87" fmla="*/ 0 h 503"/>
                    <a:gd name="T88" fmla="*/ 95175 w 275"/>
                    <a:gd name="T89" fmla="*/ 330 h 503"/>
                    <a:gd name="T90" fmla="*/ 0 w 275"/>
                    <a:gd name="T91" fmla="*/ 1407 h 503"/>
                    <a:gd name="T92" fmla="*/ 66523 w 275"/>
                    <a:gd name="T93" fmla="*/ 27482 h 503"/>
                    <a:gd name="T94" fmla="*/ 753757 w 275"/>
                    <a:gd name="T95" fmla="*/ 27741 h 503"/>
                    <a:gd name="T96" fmla="*/ 1439420 w 275"/>
                    <a:gd name="T97" fmla="*/ 27482 h 503"/>
                    <a:gd name="T98" fmla="*/ 1506299 w 275"/>
                    <a:gd name="T99" fmla="*/ 5979 h 503"/>
                    <a:gd name="T100" fmla="*/ 753757 w 275"/>
                    <a:gd name="T101" fmla="*/ 871 h 503"/>
                    <a:gd name="T102" fmla="*/ 753757 w 275"/>
                    <a:gd name="T103" fmla="*/ 1471 h 503"/>
                    <a:gd name="T104" fmla="*/ 753757 w 275"/>
                    <a:gd name="T105" fmla="*/ 871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4"/>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cxnSp>
          <p:nvCxnSpPr>
            <p:cNvPr id="64" name="Straight Connector 63"/>
            <p:cNvCxnSpPr>
              <a:stCxn id="78" idx="1"/>
              <a:endCxn id="69" idx="2"/>
            </p:cNvCxnSpPr>
            <p:nvPr/>
          </p:nvCxnSpPr>
          <p:spPr bwMode="auto">
            <a:xfrm flipV="1">
              <a:off x="10449201" y="3439033"/>
              <a:ext cx="318384" cy="586755"/>
            </a:xfrm>
            <a:prstGeom prst="line">
              <a:avLst/>
            </a:prstGeom>
            <a:solidFill>
              <a:schemeClr val="accent1"/>
            </a:solidFill>
            <a:ln w="25400" cap="flat" cmpd="sng" algn="ctr">
              <a:solidFill>
                <a:schemeClr val="tx1"/>
              </a:solidFill>
              <a:prstDash val="sysDash"/>
              <a:round/>
              <a:headEnd type="none" w="med" len="med"/>
              <a:tailEnd type="none" w="med" len="med"/>
            </a:ln>
            <a:effectLst/>
          </p:spPr>
        </p:cxnSp>
        <p:cxnSp>
          <p:nvCxnSpPr>
            <p:cNvPr id="65" name="Straight Connector 64"/>
            <p:cNvCxnSpPr>
              <a:stCxn id="78" idx="7"/>
              <a:endCxn id="69" idx="2"/>
            </p:cNvCxnSpPr>
            <p:nvPr/>
          </p:nvCxnSpPr>
          <p:spPr bwMode="auto">
            <a:xfrm flipH="1" flipV="1">
              <a:off x="10767585" y="3439033"/>
              <a:ext cx="88820" cy="586755"/>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6" name="Straight Connector 65"/>
            <p:cNvCxnSpPr>
              <a:endCxn id="56" idx="2"/>
            </p:cNvCxnSpPr>
            <p:nvPr/>
          </p:nvCxnSpPr>
          <p:spPr bwMode="auto">
            <a:xfrm flipV="1">
              <a:off x="11220105" y="4727637"/>
              <a:ext cx="464748" cy="186378"/>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7" name="Straight Connector 66"/>
            <p:cNvCxnSpPr/>
            <p:nvPr/>
          </p:nvCxnSpPr>
          <p:spPr bwMode="auto">
            <a:xfrm flipH="1" flipV="1">
              <a:off x="10674545" y="4610972"/>
              <a:ext cx="364436" cy="321151"/>
            </a:xfrm>
            <a:prstGeom prst="line">
              <a:avLst/>
            </a:prstGeom>
            <a:solidFill>
              <a:schemeClr val="accent1"/>
            </a:solidFill>
            <a:ln w="25400" cap="flat" cmpd="sng" algn="ctr">
              <a:solidFill>
                <a:schemeClr val="tx1"/>
              </a:solidFill>
              <a:prstDash val="sysDash"/>
              <a:round/>
              <a:headEnd type="none" w="med" len="med"/>
              <a:tailEnd type="none" w="med" len="med"/>
            </a:ln>
            <a:effectLst/>
          </p:spPr>
        </p:cxnSp>
        <p:grpSp>
          <p:nvGrpSpPr>
            <p:cNvPr id="68" name="Group 261"/>
            <p:cNvGrpSpPr>
              <a:grpSpLocks/>
            </p:cNvGrpSpPr>
            <p:nvPr/>
          </p:nvGrpSpPr>
          <p:grpSpPr bwMode="auto">
            <a:xfrm>
              <a:off x="10461245" y="2622606"/>
              <a:ext cx="610997" cy="825957"/>
              <a:chOff x="239" y="1832"/>
              <a:chExt cx="363" cy="520"/>
            </a:xfrm>
          </p:grpSpPr>
          <p:sp>
            <p:nvSpPr>
              <p:cNvPr id="6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7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7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altLang="en-US" sz="1100" b="1" i="0" u="none" strike="noStrike" kern="0" cap="none" spc="0" normalizeH="0" baseline="0" noProof="0" dirty="0">
                    <a:ln>
                      <a:noFill/>
                    </a:ln>
                    <a:solidFill>
                      <a:srgbClr val="8F3F7B"/>
                    </a:solidFill>
                    <a:effectLst/>
                    <a:uLnTx/>
                    <a:uFillTx/>
                    <a:latin typeface="Arial"/>
                    <a:ea typeface="ＭＳ Ｐゴシック" pitchFamily="34" charset="-128"/>
                    <a:cs typeface="Arial" charset="0"/>
                  </a:rPr>
                  <a:t>5G EPC</a:t>
                </a:r>
              </a:p>
            </p:txBody>
          </p:sp>
          <p:sp>
            <p:nvSpPr>
              <p:cNvPr id="7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altLang="en-US" sz="400" b="0" i="0" u="none" strike="noStrike" kern="0" cap="none" spc="0" normalizeH="0" baseline="0" noProof="0">
                  <a:ln>
                    <a:noFill/>
                  </a:ln>
                  <a:solidFill>
                    <a:srgbClr val="58585A"/>
                  </a:solidFill>
                  <a:effectLst/>
                  <a:uLnTx/>
                  <a:uFillTx/>
                  <a:latin typeface="Arial"/>
                  <a:ea typeface="+mn-ea"/>
                  <a:cs typeface="Arial" charset="0"/>
                </a:endParaRPr>
              </a:p>
            </p:txBody>
          </p:sp>
          <p:sp>
            <p:nvSpPr>
              <p:cNvPr id="73"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74" name="Straight Connector 73"/>
            <p:cNvCxnSpPr>
              <a:endCxn id="77" idx="2"/>
            </p:cNvCxnSpPr>
            <p:nvPr/>
          </p:nvCxnSpPr>
          <p:spPr bwMode="auto">
            <a:xfrm flipH="1" flipV="1">
              <a:off x="10654439" y="4761857"/>
              <a:ext cx="368600" cy="128829"/>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75" name="Straight Connector 74"/>
            <p:cNvCxnSpPr>
              <a:stCxn id="56" idx="1"/>
              <a:endCxn id="79" idx="3"/>
            </p:cNvCxnSpPr>
            <p:nvPr/>
          </p:nvCxnSpPr>
          <p:spPr bwMode="auto">
            <a:xfrm flipH="1">
              <a:off x="10919472" y="4548261"/>
              <a:ext cx="501736" cy="21899"/>
            </a:xfrm>
            <a:prstGeom prst="line">
              <a:avLst/>
            </a:prstGeom>
            <a:solidFill>
              <a:schemeClr val="accent1"/>
            </a:solidFill>
            <a:ln w="25400" cap="flat" cmpd="sng" algn="ctr">
              <a:solidFill>
                <a:schemeClr val="tx1"/>
              </a:solidFill>
              <a:prstDash val="solid"/>
              <a:round/>
              <a:headEnd type="none" w="med" len="med"/>
              <a:tailEnd type="none" w="med" len="med"/>
            </a:ln>
            <a:effectLst/>
          </p:spPr>
        </p:cxnSp>
        <p:grpSp>
          <p:nvGrpSpPr>
            <p:cNvPr id="76" name="Group 75"/>
            <p:cNvGrpSpPr>
              <a:grpSpLocks noChangeAspect="1"/>
            </p:cNvGrpSpPr>
            <p:nvPr/>
          </p:nvGrpSpPr>
          <p:grpSpPr bwMode="auto">
            <a:xfrm>
              <a:off x="10356686" y="3930362"/>
              <a:ext cx="593870" cy="841201"/>
              <a:chOff x="3106" y="2389"/>
              <a:chExt cx="363" cy="520"/>
            </a:xfrm>
          </p:grpSpPr>
          <p:sp>
            <p:nvSpPr>
              <p:cNvPr id="77"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78"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79"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altLang="en-US" sz="12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rPr>
                  <a:t>LTE</a:t>
                </a:r>
                <a:endParaRPr kumimoji="0" lang="en-US" altLang="en-US" sz="900" b="1" i="0" u="none" strike="noStrike" kern="0" cap="none" spc="0" normalizeH="0" baseline="0" noProof="0" dirty="0">
                  <a:ln>
                    <a:noFill/>
                  </a:ln>
                  <a:solidFill>
                    <a:srgbClr val="8F3F7B"/>
                  </a:solidFill>
                  <a:effectLst/>
                  <a:uLnTx/>
                  <a:uFillTx/>
                  <a:latin typeface="Arial"/>
                  <a:ea typeface="Segoe UI" panose="020B0502040204020203" pitchFamily="34" charset="0"/>
                  <a:cs typeface="Segoe UI" panose="020B0502040204020203" pitchFamily="34" charset="0"/>
                </a:endParaRPr>
              </a:p>
            </p:txBody>
          </p:sp>
          <p:sp>
            <p:nvSpPr>
              <p:cNvPr id="80"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altLang="en-US" sz="1000" b="0" i="0" u="none" strike="noStrike" kern="0" cap="none" spc="0" normalizeH="0" baseline="0" noProof="0">
                  <a:ln>
                    <a:noFill/>
                  </a:ln>
                  <a:solidFill>
                    <a:srgbClr val="58585A"/>
                  </a:solidFill>
                  <a:effectLst/>
                  <a:uLnTx/>
                  <a:uFillTx/>
                  <a:latin typeface="Arial"/>
                  <a:ea typeface="+mn-ea"/>
                  <a:cs typeface="+mn-cs"/>
                </a:endParaRPr>
              </a:p>
            </p:txBody>
          </p:sp>
          <p:sp>
            <p:nvSpPr>
              <p:cNvPr id="81"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85A"/>
                  </a:solidFill>
                  <a:effectLst/>
                  <a:uLnTx/>
                  <a:uFillTx/>
                  <a:latin typeface="Arial"/>
                  <a:ea typeface="+mn-ea"/>
                  <a:cs typeface="+mn-cs"/>
                </a:endParaRPr>
              </a:p>
            </p:txBody>
          </p:sp>
        </p:grpSp>
        <p:cxnSp>
          <p:nvCxnSpPr>
            <p:cNvPr id="82" name="Straight Connector 81"/>
            <p:cNvCxnSpPr>
              <a:stCxn id="55" idx="0"/>
              <a:endCxn id="69" idx="2"/>
            </p:cNvCxnSpPr>
            <p:nvPr/>
          </p:nvCxnSpPr>
          <p:spPr bwMode="auto">
            <a:xfrm flipH="1" flipV="1">
              <a:off x="10767585" y="3439033"/>
              <a:ext cx="918074" cy="489780"/>
            </a:xfrm>
            <a:prstGeom prst="line">
              <a:avLst/>
            </a:prstGeom>
            <a:solidFill>
              <a:schemeClr val="accent1"/>
            </a:solidFill>
            <a:ln w="25400" cap="flat" cmpd="sng" algn="ctr">
              <a:solidFill>
                <a:schemeClr val="tx1">
                  <a:lumMod val="60000"/>
                  <a:lumOff val="40000"/>
                </a:schemeClr>
              </a:solidFill>
              <a:prstDash val="solid"/>
              <a:round/>
              <a:headEnd type="none" w="med" len="med"/>
              <a:tailEnd type="none" w="med" len="med"/>
            </a:ln>
            <a:effectLst/>
          </p:spPr>
        </p:cxnSp>
        <p:sp>
          <p:nvSpPr>
            <p:cNvPr id="83" name="Freeform: Shape 82"/>
            <p:cNvSpPr/>
            <p:nvPr/>
          </p:nvSpPr>
          <p:spPr bwMode="auto">
            <a:xfrm>
              <a:off x="10525043" y="3445451"/>
              <a:ext cx="576973" cy="1600204"/>
            </a:xfrm>
            <a:custGeom>
              <a:avLst/>
              <a:gdLst>
                <a:gd name="connsiteX0" fmla="*/ 573068 w 573068"/>
                <a:gd name="connsiteY0" fmla="*/ 1865376 h 1865376"/>
                <a:gd name="connsiteX1" fmla="*/ 44 w 573068"/>
                <a:gd name="connsiteY1" fmla="*/ 1353312 h 1865376"/>
                <a:gd name="connsiteX2" fmla="*/ 548684 w 573068"/>
                <a:gd name="connsiteY2" fmla="*/ 0 h 1865376"/>
                <a:gd name="connsiteX0" fmla="*/ 574530 w 574530"/>
                <a:gd name="connsiteY0" fmla="*/ 1817648 h 1817648"/>
                <a:gd name="connsiteX1" fmla="*/ 1506 w 574530"/>
                <a:gd name="connsiteY1" fmla="*/ 1305584 h 1817648"/>
                <a:gd name="connsiteX2" fmla="*/ 259496 w 574530"/>
                <a:gd name="connsiteY2" fmla="*/ 0 h 1817648"/>
                <a:gd name="connsiteX0" fmla="*/ 573968 w 573968"/>
                <a:gd name="connsiteY0" fmla="*/ 1817648 h 1817648"/>
                <a:gd name="connsiteX1" fmla="*/ 944 w 573968"/>
                <a:gd name="connsiteY1" fmla="*/ 1305584 h 1817648"/>
                <a:gd name="connsiteX2" fmla="*/ 258934 w 573968"/>
                <a:gd name="connsiteY2" fmla="*/ 0 h 1817648"/>
                <a:gd name="connsiteX0" fmla="*/ 480883 w 480883"/>
                <a:gd name="connsiteY0" fmla="*/ 1817648 h 1817648"/>
                <a:gd name="connsiteX1" fmla="*/ 35745 w 480883"/>
                <a:gd name="connsiteY1" fmla="*/ 1241947 h 1817648"/>
                <a:gd name="connsiteX2" fmla="*/ 165849 w 480883"/>
                <a:gd name="connsiteY2" fmla="*/ 0 h 1817648"/>
                <a:gd name="connsiteX0" fmla="*/ 457631 w 457631"/>
                <a:gd name="connsiteY0" fmla="*/ 1754010 h 1754010"/>
                <a:gd name="connsiteX1" fmla="*/ 35745 w 457631"/>
                <a:gd name="connsiteY1" fmla="*/ 1241947 h 1754010"/>
                <a:gd name="connsiteX2" fmla="*/ 165849 w 457631"/>
                <a:gd name="connsiteY2" fmla="*/ 0 h 1754010"/>
                <a:gd name="connsiteX0" fmla="*/ 457631 w 457631"/>
                <a:gd name="connsiteY0" fmla="*/ 1754010 h 1754010"/>
                <a:gd name="connsiteX1" fmla="*/ 35745 w 457631"/>
                <a:gd name="connsiteY1" fmla="*/ 1241947 h 1754010"/>
                <a:gd name="connsiteX2" fmla="*/ 165849 w 457631"/>
                <a:gd name="connsiteY2" fmla="*/ 0 h 1754010"/>
                <a:gd name="connsiteX0" fmla="*/ 422987 w 422987"/>
                <a:gd name="connsiteY0" fmla="*/ 1754010 h 1754010"/>
                <a:gd name="connsiteX1" fmla="*/ 1101 w 422987"/>
                <a:gd name="connsiteY1" fmla="*/ 1241947 h 1754010"/>
                <a:gd name="connsiteX2" fmla="*/ 131205 w 422987"/>
                <a:gd name="connsiteY2" fmla="*/ 0 h 175401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37257 w 437257"/>
                <a:gd name="connsiteY0" fmla="*/ 1761490 h 1761490"/>
                <a:gd name="connsiteX1" fmla="*/ 15371 w 437257"/>
                <a:gd name="connsiteY1" fmla="*/ 1249427 h 1761490"/>
                <a:gd name="connsiteX2" fmla="*/ 97123 w 437257"/>
                <a:gd name="connsiteY2" fmla="*/ 132652 h 1761490"/>
                <a:gd name="connsiteX3" fmla="*/ 145475 w 437257"/>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442629 w 442629"/>
                <a:gd name="connsiteY0" fmla="*/ 1761490 h 1761490"/>
                <a:gd name="connsiteX1" fmla="*/ 20743 w 442629"/>
                <a:gd name="connsiteY1" fmla="*/ 1249427 h 1761490"/>
                <a:gd name="connsiteX2" fmla="*/ 102495 w 442629"/>
                <a:gd name="connsiteY2" fmla="*/ 132652 h 1761490"/>
                <a:gd name="connsiteX3" fmla="*/ 150847 w 442629"/>
                <a:gd name="connsiteY3" fmla="*/ 7480 h 1761490"/>
                <a:gd name="connsiteX0" fmla="*/ 661436 w 661436"/>
                <a:gd name="connsiteY0" fmla="*/ 1761490 h 1761490"/>
                <a:gd name="connsiteX1" fmla="*/ 7029 w 661436"/>
                <a:gd name="connsiteY1" fmla="*/ 1360793 h 1761490"/>
                <a:gd name="connsiteX2" fmla="*/ 321302 w 661436"/>
                <a:gd name="connsiteY2" fmla="*/ 132652 h 1761490"/>
                <a:gd name="connsiteX3" fmla="*/ 369654 w 661436"/>
                <a:gd name="connsiteY3" fmla="*/ 7480 h 1761490"/>
                <a:gd name="connsiteX0" fmla="*/ 475392 w 475392"/>
                <a:gd name="connsiteY0" fmla="*/ 1761490 h 1761490"/>
                <a:gd name="connsiteX1" fmla="*/ 15908 w 475392"/>
                <a:gd name="connsiteY1" fmla="*/ 1150635 h 1761490"/>
                <a:gd name="connsiteX2" fmla="*/ 135258 w 475392"/>
                <a:gd name="connsiteY2" fmla="*/ 132652 h 1761490"/>
                <a:gd name="connsiteX3" fmla="*/ 183610 w 475392"/>
                <a:gd name="connsiteY3" fmla="*/ 7480 h 1761490"/>
                <a:gd name="connsiteX0" fmla="*/ 467710 w 467710"/>
                <a:gd name="connsiteY0" fmla="*/ 1754010 h 1754010"/>
                <a:gd name="connsiteX1" fmla="*/ 8226 w 467710"/>
                <a:gd name="connsiteY1" fmla="*/ 1143155 h 1754010"/>
                <a:gd name="connsiteX2" fmla="*/ 175928 w 467710"/>
                <a:gd name="connsiteY2" fmla="*/ 0 h 1754010"/>
                <a:gd name="connsiteX0" fmla="*/ 467710 w 467710"/>
                <a:gd name="connsiteY0" fmla="*/ 1754010 h 1754010"/>
                <a:gd name="connsiteX1" fmla="*/ 8226 w 467710"/>
                <a:gd name="connsiteY1" fmla="*/ 1143155 h 1754010"/>
                <a:gd name="connsiteX2" fmla="*/ 175928 w 467710"/>
                <a:gd name="connsiteY2" fmla="*/ 0 h 1754010"/>
                <a:gd name="connsiteX0" fmla="*/ 459484 w 459484"/>
                <a:gd name="connsiteY0" fmla="*/ 1754010 h 1754010"/>
                <a:gd name="connsiteX1" fmla="*/ 0 w 459484"/>
                <a:gd name="connsiteY1" fmla="*/ 1143155 h 1754010"/>
                <a:gd name="connsiteX2" fmla="*/ 167702 w 459484"/>
                <a:gd name="connsiteY2" fmla="*/ 0 h 1754010"/>
                <a:gd name="connsiteX0" fmla="*/ 484890 w 484890"/>
                <a:gd name="connsiteY0" fmla="*/ 1754010 h 1754010"/>
                <a:gd name="connsiteX1" fmla="*/ 25406 w 484890"/>
                <a:gd name="connsiteY1" fmla="*/ 1143155 h 1754010"/>
                <a:gd name="connsiteX2" fmla="*/ 193108 w 48489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71110 w 471110"/>
                <a:gd name="connsiteY0" fmla="*/ 1754010 h 1754010"/>
                <a:gd name="connsiteX1" fmla="*/ 11626 w 471110"/>
                <a:gd name="connsiteY1" fmla="*/ 1143155 h 1754010"/>
                <a:gd name="connsiteX2" fmla="*/ 179328 w 471110"/>
                <a:gd name="connsiteY2" fmla="*/ 0 h 1754010"/>
                <a:gd name="connsiteX0" fmla="*/ 462157 w 462157"/>
                <a:gd name="connsiteY0" fmla="*/ 1754010 h 1754010"/>
                <a:gd name="connsiteX1" fmla="*/ 2673 w 462157"/>
                <a:gd name="connsiteY1" fmla="*/ 1143155 h 1754010"/>
                <a:gd name="connsiteX2" fmla="*/ 170375 w 462157"/>
                <a:gd name="connsiteY2" fmla="*/ 0 h 1754010"/>
                <a:gd name="connsiteX0" fmla="*/ 462157 w 462157"/>
                <a:gd name="connsiteY0" fmla="*/ 1754010 h 1754010"/>
                <a:gd name="connsiteX1" fmla="*/ 2673 w 462157"/>
                <a:gd name="connsiteY1" fmla="*/ 1143155 h 1754010"/>
                <a:gd name="connsiteX2" fmla="*/ 170375 w 462157"/>
                <a:gd name="connsiteY2" fmla="*/ 0 h 1754010"/>
              </a:gdLst>
              <a:ahLst/>
              <a:cxnLst>
                <a:cxn ang="0">
                  <a:pos x="connsiteX0" y="connsiteY0"/>
                </a:cxn>
                <a:cxn ang="0">
                  <a:pos x="connsiteX1" y="connsiteY1"/>
                </a:cxn>
                <a:cxn ang="0">
                  <a:pos x="connsiteX2" y="connsiteY2"/>
                </a:cxn>
              </a:cxnLst>
              <a:rect l="l" t="t" r="r" b="b"/>
              <a:pathLst>
                <a:path w="462157" h="1754010">
                  <a:moveTo>
                    <a:pt x="462157" y="1754010"/>
                  </a:moveTo>
                  <a:cubicBezTo>
                    <a:pt x="227556" y="1537825"/>
                    <a:pt x="27675" y="1289996"/>
                    <a:pt x="2673" y="1143155"/>
                  </a:cubicBezTo>
                  <a:cubicBezTo>
                    <a:pt x="-22329" y="996314"/>
                    <a:pt x="135437" y="238157"/>
                    <a:pt x="170375" y="0"/>
                  </a:cubicBezTo>
                </a:path>
              </a:pathLst>
            </a:custGeom>
            <a:noFill/>
            <a:ln w="38100" cap="flat" cmpd="sng" algn="ctr">
              <a:solidFill>
                <a:schemeClr val="tx2">
                  <a:lumMod val="75000"/>
                  <a:lumOff val="25000"/>
                </a:schemeClr>
              </a:solidFill>
              <a:prstDash val="solid"/>
              <a:round/>
              <a:headEnd type="none" w="med" len="med"/>
              <a:tailEnd type="none" w="med" len="med"/>
            </a:ln>
            <a:effectLst/>
          </p:spPr>
          <p:txBody>
            <a:bodyPr wrap="none" lIns="72000" rIns="72000"/>
            <a:lstStyle/>
            <a:p>
              <a:pPr marL="0" marR="0" lvl="0" indent="0" algn="l" defTabSz="914400" rtl="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84" name="Freeform: Shape 8"/>
            <p:cNvSpPr>
              <a:spLocks/>
            </p:cNvSpPr>
            <p:nvPr/>
          </p:nvSpPr>
          <p:spPr bwMode="auto">
            <a:xfrm>
              <a:off x="10701199" y="3471419"/>
              <a:ext cx="406732" cy="1480820"/>
            </a:xfrm>
            <a:custGeom>
              <a:avLst/>
              <a:gdLst>
                <a:gd name="T0" fmla="*/ 524571 w 524571"/>
                <a:gd name="T1" fmla="*/ 1731264 h 1731264"/>
                <a:gd name="T2" fmla="*/ 315 w 524571"/>
                <a:gd name="T3" fmla="*/ 1414272 h 1731264"/>
                <a:gd name="T4" fmla="*/ 463611 w 524571"/>
                <a:gd name="T5" fmla="*/ 0 h 1731264"/>
                <a:gd name="T6" fmla="*/ 0 60000 65536"/>
                <a:gd name="T7" fmla="*/ 0 60000 65536"/>
                <a:gd name="T8" fmla="*/ 0 60000 65536"/>
                <a:gd name="connsiteX0" fmla="*/ 117546 w 412104"/>
                <a:gd name="connsiteY0" fmla="*/ 1731264 h 1731264"/>
                <a:gd name="connsiteX1" fmla="*/ 411969 w 412104"/>
                <a:gd name="connsiteY1" fmla="*/ 1023503 h 1731264"/>
                <a:gd name="connsiteX2" fmla="*/ 56586 w 412104"/>
                <a:gd name="connsiteY2" fmla="*/ 0 h 1731264"/>
                <a:gd name="connsiteX0" fmla="*/ 155846 w 155845"/>
                <a:gd name="connsiteY0" fmla="*/ 1731264 h 1731264"/>
                <a:gd name="connsiteX1" fmla="*/ 147874 w 155845"/>
                <a:gd name="connsiteY1" fmla="*/ 912907 h 1731264"/>
                <a:gd name="connsiteX2" fmla="*/ 94886 w 155845"/>
                <a:gd name="connsiteY2" fmla="*/ 0 h 1731264"/>
                <a:gd name="connsiteX0" fmla="*/ 114053 w 114053"/>
                <a:gd name="connsiteY0" fmla="*/ 1731264 h 1731264"/>
                <a:gd name="connsiteX1" fmla="*/ 106081 w 114053"/>
                <a:gd name="connsiteY1" fmla="*/ 912907 h 1731264"/>
                <a:gd name="connsiteX2" fmla="*/ 53093 w 114053"/>
                <a:gd name="connsiteY2" fmla="*/ 0 h 1731264"/>
                <a:gd name="connsiteX0" fmla="*/ 114053 w 114053"/>
                <a:gd name="connsiteY0" fmla="*/ 1723891 h 1723891"/>
                <a:gd name="connsiteX1" fmla="*/ 106081 w 114053"/>
                <a:gd name="connsiteY1" fmla="*/ 905534 h 1723891"/>
                <a:gd name="connsiteX2" fmla="*/ 23591 w 114053"/>
                <a:gd name="connsiteY2" fmla="*/ 0 h 1723891"/>
                <a:gd name="connsiteX0" fmla="*/ 114053 w 114053"/>
                <a:gd name="connsiteY0" fmla="*/ 1723891 h 1723891"/>
                <a:gd name="connsiteX1" fmla="*/ 106081 w 114053"/>
                <a:gd name="connsiteY1" fmla="*/ 905534 h 1723891"/>
                <a:gd name="connsiteX2" fmla="*/ 23591 w 114053"/>
                <a:gd name="connsiteY2" fmla="*/ 0 h 1723891"/>
                <a:gd name="connsiteX0" fmla="*/ 129214 w 129214"/>
                <a:gd name="connsiteY0" fmla="*/ 1723891 h 1723891"/>
                <a:gd name="connsiteX1" fmla="*/ 69613 w 129214"/>
                <a:gd name="connsiteY1" fmla="*/ 890788 h 1723891"/>
                <a:gd name="connsiteX2" fmla="*/ 38752 w 129214"/>
                <a:gd name="connsiteY2" fmla="*/ 0 h 1723891"/>
                <a:gd name="connsiteX0" fmla="*/ 348605 w 348605"/>
                <a:gd name="connsiteY0" fmla="*/ 1480582 h 1480582"/>
                <a:gd name="connsiteX1" fmla="*/ 30861 w 348605"/>
                <a:gd name="connsiteY1" fmla="*/ 890788 h 1480582"/>
                <a:gd name="connsiteX2" fmla="*/ 0 w 348605"/>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 name="connsiteX0" fmla="*/ 406804 w 406804"/>
                <a:gd name="connsiteY0" fmla="*/ 1480582 h 1480582"/>
                <a:gd name="connsiteX1" fmla="*/ 555 w 406804"/>
                <a:gd name="connsiteY1" fmla="*/ 964518 h 1480582"/>
                <a:gd name="connsiteX2" fmla="*/ 58199 w 406804"/>
                <a:gd name="connsiteY2" fmla="*/ 0 h 1480582"/>
              </a:gdLst>
              <a:ahLst/>
              <a:cxnLst>
                <a:cxn ang="0">
                  <a:pos x="connsiteX0" y="connsiteY0"/>
                </a:cxn>
                <a:cxn ang="0">
                  <a:pos x="connsiteX1" y="connsiteY1"/>
                </a:cxn>
                <a:cxn ang="0">
                  <a:pos x="connsiteX2" y="connsiteY2"/>
                </a:cxn>
              </a:cxnLst>
              <a:rect l="l" t="t" r="r" b="b"/>
              <a:pathLst>
                <a:path w="406804" h="1480582">
                  <a:moveTo>
                    <a:pt x="406804" y="1480582"/>
                  </a:moveTo>
                  <a:cubicBezTo>
                    <a:pt x="135005" y="1289406"/>
                    <a:pt x="10715" y="1253062"/>
                    <a:pt x="555" y="964518"/>
                  </a:cubicBezTo>
                  <a:cubicBezTo>
                    <a:pt x="-9605" y="675974"/>
                    <a:pt x="123865" y="525998"/>
                    <a:pt x="581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85" name="TextBox 84"/>
            <p:cNvSpPr txBox="1"/>
            <p:nvPr/>
          </p:nvSpPr>
          <p:spPr>
            <a:xfrm>
              <a:off x="10838248" y="3819732"/>
              <a:ext cx="7072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Arial"/>
                  <a:ea typeface="+mn-ea"/>
                  <a:cs typeface="+mn-cs"/>
                </a:rPr>
                <a:t>Opt. 3a</a:t>
              </a:r>
            </a:p>
          </p:txBody>
        </p:sp>
        <p:sp>
          <p:nvSpPr>
            <p:cNvPr id="86" name="Freeform: Shape 9"/>
            <p:cNvSpPr>
              <a:spLocks/>
            </p:cNvSpPr>
            <p:nvPr/>
          </p:nvSpPr>
          <p:spPr bwMode="auto">
            <a:xfrm>
              <a:off x="10849316" y="3433585"/>
              <a:ext cx="952265" cy="1518654"/>
            </a:xfrm>
            <a:custGeom>
              <a:avLst/>
              <a:gdLst>
                <a:gd name="T0" fmla="*/ 628752 w 1109177"/>
                <a:gd name="T1" fmla="*/ 987552 h 987552"/>
                <a:gd name="T2" fmla="*/ 1092048 w 1109177"/>
                <a:gd name="T3" fmla="*/ 719328 h 987552"/>
                <a:gd name="T4" fmla="*/ 92304 w 1109177"/>
                <a:gd name="T5" fmla="*/ 512064 h 987552"/>
                <a:gd name="T6" fmla="*/ 104496 w 1109177"/>
                <a:gd name="T7" fmla="*/ 0 h 987552"/>
                <a:gd name="T8" fmla="*/ 0 60000 65536"/>
                <a:gd name="T9" fmla="*/ 0 60000 65536"/>
                <a:gd name="T10" fmla="*/ 0 60000 65536"/>
                <a:gd name="T11" fmla="*/ 0 60000 65536"/>
                <a:gd name="connsiteX0" fmla="*/ 1052433 w 1532858"/>
                <a:gd name="connsiteY0" fmla="*/ 1201370 h 1201370"/>
                <a:gd name="connsiteX1" fmla="*/ 1515729 w 1532858"/>
                <a:gd name="connsiteY1" fmla="*/ 933146 h 1201370"/>
                <a:gd name="connsiteX2" fmla="*/ 515985 w 1532858"/>
                <a:gd name="connsiteY2" fmla="*/ 725882 h 1201370"/>
                <a:gd name="connsiteX3" fmla="*/ 11893 w 1532858"/>
                <a:gd name="connsiteY3" fmla="*/ 0 h 1201370"/>
                <a:gd name="connsiteX0" fmla="*/ 1047798 w 1515022"/>
                <a:gd name="connsiteY0" fmla="*/ 1201370 h 1201370"/>
                <a:gd name="connsiteX1" fmla="*/ 1511094 w 1515022"/>
                <a:gd name="connsiteY1" fmla="*/ 933146 h 1201370"/>
                <a:gd name="connsiteX2" fmla="*/ 828497 w 1515022"/>
                <a:gd name="connsiteY2" fmla="*/ 622660 h 1201370"/>
                <a:gd name="connsiteX3" fmla="*/ 7258 w 1515022"/>
                <a:gd name="connsiteY3" fmla="*/ 0 h 1201370"/>
                <a:gd name="connsiteX0" fmla="*/ 1047798 w 1132579"/>
                <a:gd name="connsiteY0" fmla="*/ 1201370 h 1201370"/>
                <a:gd name="connsiteX1" fmla="*/ 803047 w 1132579"/>
                <a:gd name="connsiteY1" fmla="*/ 1073234 h 1201370"/>
                <a:gd name="connsiteX2" fmla="*/ 828497 w 1132579"/>
                <a:gd name="connsiteY2" fmla="*/ 622660 h 1201370"/>
                <a:gd name="connsiteX3" fmla="*/ 7258 w 1132579"/>
                <a:gd name="connsiteY3" fmla="*/ 0 h 120137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874 w 915946"/>
                <a:gd name="connsiteY0" fmla="*/ 1518410 h 1518410"/>
                <a:gd name="connsiteX1" fmla="*/ 803047 w 915946"/>
                <a:gd name="connsiteY1" fmla="*/ 1073234 h 1518410"/>
                <a:gd name="connsiteX2" fmla="*/ 828497 w 915946"/>
                <a:gd name="connsiteY2" fmla="*/ 622660 h 1518410"/>
                <a:gd name="connsiteX3" fmla="*/ 7258 w 915946"/>
                <a:gd name="connsiteY3" fmla="*/ 0 h 1518410"/>
                <a:gd name="connsiteX0" fmla="*/ 302615 w 937741"/>
                <a:gd name="connsiteY0" fmla="*/ 1518410 h 1518410"/>
                <a:gd name="connsiteX1" fmla="*/ 802788 w 937741"/>
                <a:gd name="connsiteY1" fmla="*/ 1073234 h 1518410"/>
                <a:gd name="connsiteX2" fmla="*/ 858223 w 937741"/>
                <a:gd name="connsiteY2" fmla="*/ 517746 h 1518410"/>
                <a:gd name="connsiteX3" fmla="*/ 6999 w 937741"/>
                <a:gd name="connsiteY3" fmla="*/ 0 h 1518410"/>
                <a:gd name="connsiteX0" fmla="*/ 302615 w 952432"/>
                <a:gd name="connsiteY0" fmla="*/ 1518410 h 1518410"/>
                <a:gd name="connsiteX1" fmla="*/ 847767 w 952432"/>
                <a:gd name="connsiteY1" fmla="*/ 1133186 h 1518410"/>
                <a:gd name="connsiteX2" fmla="*/ 858223 w 952432"/>
                <a:gd name="connsiteY2" fmla="*/ 517746 h 1518410"/>
                <a:gd name="connsiteX3" fmla="*/ 6999 w 952432"/>
                <a:gd name="connsiteY3" fmla="*/ 0 h 1518410"/>
              </a:gdLst>
              <a:ahLst/>
              <a:cxnLst>
                <a:cxn ang="0">
                  <a:pos x="connsiteX0" y="connsiteY0"/>
                </a:cxn>
                <a:cxn ang="0">
                  <a:pos x="connsiteX1" y="connsiteY1"/>
                </a:cxn>
                <a:cxn ang="0">
                  <a:pos x="connsiteX2" y="connsiteY2"/>
                </a:cxn>
                <a:cxn ang="0">
                  <a:pos x="connsiteX3" y="connsiteY3"/>
                </a:cxn>
              </a:cxnLst>
              <a:rect l="l" t="t" r="r" b="b"/>
              <a:pathLst>
                <a:path w="952432" h="1518410">
                  <a:moveTo>
                    <a:pt x="302615" y="1518410"/>
                  </a:moveTo>
                  <a:cubicBezTo>
                    <a:pt x="704350" y="1232224"/>
                    <a:pt x="755166" y="1299963"/>
                    <a:pt x="847767" y="1133186"/>
                  </a:cubicBezTo>
                  <a:cubicBezTo>
                    <a:pt x="940368" y="966409"/>
                    <a:pt x="1022815" y="637634"/>
                    <a:pt x="858223" y="517746"/>
                  </a:cubicBezTo>
                  <a:cubicBezTo>
                    <a:pt x="693631" y="397858"/>
                    <a:pt x="-81393" y="196088"/>
                    <a:pt x="6999" y="0"/>
                  </a:cubicBezTo>
                </a:path>
              </a:pathLst>
            </a:custGeom>
            <a:noFill/>
            <a:ln w="38100" cap="flat" cmpd="sng" algn="ctr">
              <a:solidFill>
                <a:srgbClr val="89BA17"/>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mn-ea"/>
                <a:cs typeface="+mn-cs"/>
              </a:endParaRPr>
            </a:p>
          </p:txBody>
        </p:sp>
      </p:grpSp>
    </p:spTree>
    <p:extLst>
      <p:ext uri="{BB962C8B-B14F-4D97-AF65-F5344CB8AC3E}">
        <p14:creationId xmlns:p14="http://schemas.microsoft.com/office/powerpoint/2010/main" val="41080559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B-IOT Core NW Separation</a:t>
            </a:r>
          </a:p>
        </p:txBody>
      </p:sp>
      <p:sp>
        <p:nvSpPr>
          <p:cNvPr id="4" name="Rounded Rectangle 111"/>
          <p:cNvSpPr/>
          <p:nvPr/>
        </p:nvSpPr>
        <p:spPr bwMode="auto">
          <a:xfrm>
            <a:off x="2809486" y="2274045"/>
            <a:ext cx="1322535" cy="1672561"/>
          </a:xfrm>
          <a:prstGeom prst="roundRect">
            <a:avLst/>
          </a:prstGeom>
          <a:solidFill>
            <a:schemeClr val="tx2">
              <a:lumMod val="10000"/>
              <a:lumOff val="90000"/>
            </a:schemeClr>
          </a:solidFill>
          <a:ln w="12700" cap="flat" cmpd="sng" algn="ctr">
            <a:noFill/>
            <a:prstDash val="solid"/>
            <a:round/>
            <a:headEnd type="none" w="med" len="med"/>
            <a:tailEnd type="none" w="med" len="med"/>
          </a:ln>
          <a:effectLst/>
        </p:spPr>
        <p:txBody>
          <a:bodyPr vert="horz" wrap="none" lIns="71996" tIns="45718" rIns="71996" bIns="45718" numCol="1" rtlCol="0" anchor="t" anchorCtr="0" compatLnSpc="1">
            <a:prstTxWarp prst="textNoShape">
              <a:avLst/>
            </a:prstTxWarp>
          </a:bodyPr>
          <a:lstStyle/>
          <a:p>
            <a:pPr algn="ctr" defTabSz="914332">
              <a:spcBef>
                <a:spcPct val="50000"/>
              </a:spcBef>
            </a:pPr>
            <a:r>
              <a:rPr lang="en-US" sz="1200" dirty="0" err="1">
                <a:latin typeface="Arial" charset="0"/>
              </a:rPr>
              <a:t>IoT</a:t>
            </a:r>
            <a:r>
              <a:rPr lang="en-US" sz="1200" dirty="0">
                <a:latin typeface="Arial" charset="0"/>
              </a:rPr>
              <a:t> VNS</a:t>
            </a:r>
          </a:p>
        </p:txBody>
      </p:sp>
      <p:sp>
        <p:nvSpPr>
          <p:cNvPr id="5" name="Rounded Rectangle 1"/>
          <p:cNvSpPr/>
          <p:nvPr/>
        </p:nvSpPr>
        <p:spPr bwMode="auto">
          <a:xfrm>
            <a:off x="1390447" y="2267291"/>
            <a:ext cx="1322535" cy="1672561"/>
          </a:xfrm>
          <a:prstGeom prst="roundRect">
            <a:avLst/>
          </a:prstGeom>
          <a:solidFill>
            <a:schemeClr val="tx2">
              <a:lumMod val="10000"/>
              <a:lumOff val="90000"/>
            </a:schemeClr>
          </a:solidFill>
          <a:ln w="12700" cap="flat" cmpd="sng" algn="ctr">
            <a:noFill/>
            <a:prstDash val="solid"/>
            <a:round/>
            <a:headEnd type="none" w="med" len="med"/>
            <a:tailEnd type="none" w="med" len="med"/>
          </a:ln>
          <a:effectLst/>
        </p:spPr>
        <p:txBody>
          <a:bodyPr vert="horz" wrap="none" lIns="71996" tIns="45718" rIns="71996" bIns="45718" numCol="1" rtlCol="0" anchor="t" anchorCtr="0" compatLnSpc="1">
            <a:prstTxWarp prst="textNoShape">
              <a:avLst/>
            </a:prstTxWarp>
          </a:bodyPr>
          <a:lstStyle/>
          <a:p>
            <a:pPr algn="ctr" defTabSz="914332">
              <a:spcBef>
                <a:spcPct val="50000"/>
              </a:spcBef>
            </a:pPr>
            <a:r>
              <a:rPr lang="en-US" sz="1200" dirty="0">
                <a:latin typeface="Arial" charset="0"/>
              </a:rPr>
              <a:t>MBB VNS</a:t>
            </a:r>
          </a:p>
        </p:txBody>
      </p:sp>
      <p:sp>
        <p:nvSpPr>
          <p:cNvPr id="6" name="Content Placeholder 45"/>
          <p:cNvSpPr txBox="1">
            <a:spLocks/>
          </p:cNvSpPr>
          <p:nvPr/>
        </p:nvSpPr>
        <p:spPr>
          <a:xfrm>
            <a:off x="7145930" y="1508006"/>
            <a:ext cx="4725525" cy="4893647"/>
          </a:xfrm>
          <a:prstGeom prst="rect">
            <a:avLst/>
          </a:prstGeom>
        </p:spPr>
        <p:txBody>
          <a:bodyPr wrap="square">
            <a:spAutoFit/>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spcBef>
                <a:spcPts val="1800"/>
              </a:spcBef>
            </a:pPr>
            <a:r>
              <a:rPr lang="en-US" sz="2000" kern="0" dirty="0"/>
              <a:t>CN separation for:</a:t>
            </a:r>
          </a:p>
          <a:p>
            <a:pPr lvl="1">
              <a:spcBef>
                <a:spcPts val="1800"/>
              </a:spcBef>
            </a:pPr>
            <a:r>
              <a:rPr lang="en-US" sz="1900" kern="0" dirty="0"/>
              <a:t>Security differentiation</a:t>
            </a:r>
          </a:p>
          <a:p>
            <a:pPr lvl="1">
              <a:spcBef>
                <a:spcPts val="1800"/>
              </a:spcBef>
            </a:pPr>
            <a:r>
              <a:rPr lang="en-US" sz="1900" kern="0" dirty="0"/>
              <a:t>Characteristics</a:t>
            </a:r>
          </a:p>
          <a:p>
            <a:pPr lvl="1">
              <a:spcBef>
                <a:spcPts val="1800"/>
              </a:spcBef>
            </a:pPr>
            <a:r>
              <a:rPr lang="en-US" sz="1900" kern="0" dirty="0"/>
              <a:t>Individual scaling for growth</a:t>
            </a:r>
          </a:p>
          <a:p>
            <a:pPr lvl="1">
              <a:spcBef>
                <a:spcPts val="1800"/>
              </a:spcBef>
            </a:pPr>
            <a:r>
              <a:rPr lang="en-US" sz="1900" kern="0" dirty="0"/>
              <a:t>Fast TTM of new specific services</a:t>
            </a:r>
          </a:p>
          <a:p>
            <a:pPr lvl="1">
              <a:spcBef>
                <a:spcPts val="1800"/>
              </a:spcBef>
            </a:pPr>
            <a:r>
              <a:rPr lang="en-US" sz="1900" kern="0" dirty="0"/>
              <a:t>Individual life cycle</a:t>
            </a:r>
          </a:p>
          <a:p>
            <a:pPr lvl="1">
              <a:spcBef>
                <a:spcPts val="1800"/>
              </a:spcBef>
            </a:pPr>
            <a:r>
              <a:rPr lang="en-US" sz="1900" kern="0" dirty="0"/>
              <a:t>Functionality differentiation</a:t>
            </a:r>
          </a:p>
          <a:p>
            <a:pPr lvl="1">
              <a:spcBef>
                <a:spcPts val="1800"/>
              </a:spcBef>
            </a:pPr>
            <a:r>
              <a:rPr lang="en-US" sz="1900" kern="0" dirty="0"/>
              <a:t>Mission criticality</a:t>
            </a:r>
          </a:p>
          <a:p>
            <a:pPr lvl="1">
              <a:spcBef>
                <a:spcPts val="1800"/>
              </a:spcBef>
            </a:pPr>
            <a:r>
              <a:rPr lang="en-US" sz="1900" kern="0" dirty="0"/>
              <a:t>Operator organizational aspects</a:t>
            </a:r>
          </a:p>
          <a:p>
            <a:pPr lvl="1">
              <a:spcBef>
                <a:spcPts val="600"/>
              </a:spcBef>
            </a:pPr>
            <a:endParaRPr lang="en-US" sz="1500" kern="0" dirty="0"/>
          </a:p>
        </p:txBody>
      </p:sp>
      <p:sp>
        <p:nvSpPr>
          <p:cNvPr id="7" name="TextBox 6"/>
          <p:cNvSpPr txBox="1"/>
          <p:nvPr/>
        </p:nvSpPr>
        <p:spPr>
          <a:xfrm>
            <a:off x="1819373" y="1779613"/>
            <a:ext cx="1845123" cy="442675"/>
          </a:xfrm>
          <a:prstGeom prst="roundRect">
            <a:avLst/>
          </a:prstGeom>
          <a:solidFill>
            <a:schemeClr val="tx2"/>
          </a:solidFill>
        </p:spPr>
        <p:txBody>
          <a:bodyPr wrap="none" lIns="91434" tIns="45718" rIns="91434" bIns="45718" rtlCol="0">
            <a:spAutoFit/>
          </a:bodyPr>
          <a:lstStyle/>
          <a:p>
            <a:r>
              <a:rPr lang="sv-SE" dirty="0">
                <a:solidFill>
                  <a:schemeClr val="bg1"/>
                </a:solidFill>
              </a:rPr>
              <a:t>Separated CN</a:t>
            </a:r>
          </a:p>
        </p:txBody>
      </p:sp>
      <p:sp>
        <p:nvSpPr>
          <p:cNvPr id="8" name="Cloud 129"/>
          <p:cNvSpPr/>
          <p:nvPr/>
        </p:nvSpPr>
        <p:spPr bwMode="auto">
          <a:xfrm>
            <a:off x="2904514" y="2553112"/>
            <a:ext cx="1172095" cy="931025"/>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lIns="91434" tIns="45718" rIns="91434" bIns="45718"/>
          <a:lstStyle/>
          <a:p>
            <a:pPr eaLnBrk="0" hangingPunct="0">
              <a:spcBef>
                <a:spcPct val="0"/>
              </a:spcBef>
              <a:defRPr/>
            </a:pPr>
            <a:endParaRPr lang="sv-SE" sz="2400">
              <a:latin typeface="Arial" charset="0"/>
            </a:endParaRPr>
          </a:p>
        </p:txBody>
      </p:sp>
      <p:sp>
        <p:nvSpPr>
          <p:cNvPr id="9" name="AutoShape 340"/>
          <p:cNvSpPr>
            <a:spLocks noChangeAspect="1" noChangeArrowheads="1"/>
          </p:cNvSpPr>
          <p:nvPr/>
        </p:nvSpPr>
        <p:spPr bwMode="auto">
          <a:xfrm>
            <a:off x="3420367" y="3283292"/>
            <a:ext cx="317948" cy="462669"/>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45718" rIns="0" bIns="45718"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endParaRPr lang="sv-SE" altLang="sv-SE" sz="100">
              <a:ea typeface="MS PGothic" pitchFamily="34" charset="-128"/>
            </a:endParaRPr>
          </a:p>
        </p:txBody>
      </p:sp>
      <p:sp>
        <p:nvSpPr>
          <p:cNvPr id="10" name="Freeform 341"/>
          <p:cNvSpPr>
            <a:spLocks noChangeAspect="1" noEditPoints="1"/>
          </p:cNvSpPr>
          <p:nvPr/>
        </p:nvSpPr>
        <p:spPr bwMode="auto">
          <a:xfrm>
            <a:off x="3413865" y="3276797"/>
            <a:ext cx="330611" cy="475663"/>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91434" tIns="45718" rIns="91434" bIns="45718"/>
          <a:lstStyle/>
          <a:p>
            <a:endParaRPr lang="sv-SE" sz="1100"/>
          </a:p>
        </p:txBody>
      </p:sp>
      <p:sp>
        <p:nvSpPr>
          <p:cNvPr id="11" name="Text Box 5"/>
          <p:cNvSpPr txBox="1">
            <a:spLocks noChangeAspect="1" noChangeArrowheads="1"/>
          </p:cNvSpPr>
          <p:nvPr/>
        </p:nvSpPr>
        <p:spPr bwMode="auto">
          <a:xfrm>
            <a:off x="3438849" y="3572244"/>
            <a:ext cx="280643"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lnSpc>
                <a:spcPct val="80000"/>
              </a:lnSpc>
              <a:spcBef>
                <a:spcPct val="0"/>
              </a:spcBef>
            </a:pPr>
            <a:r>
              <a:rPr lang="en-US" altLang="sv-SE" sz="700" dirty="0" err="1">
                <a:solidFill>
                  <a:srgbClr val="000000"/>
                </a:solidFill>
                <a:ea typeface="MS PGothic" pitchFamily="34" charset="-128"/>
              </a:rPr>
              <a:t>IoT</a:t>
            </a:r>
            <a:r>
              <a:rPr lang="en-US" altLang="sv-SE" sz="700" dirty="0">
                <a:solidFill>
                  <a:srgbClr val="000000"/>
                </a:solidFill>
                <a:ea typeface="MS PGothic" pitchFamily="34" charset="-128"/>
              </a:rPr>
              <a:t> Core</a:t>
            </a:r>
            <a:endParaRPr lang="sv-SE" altLang="sv-SE" sz="700" dirty="0">
              <a:solidFill>
                <a:srgbClr val="000000"/>
              </a:solidFill>
              <a:ea typeface="MS PGothic" pitchFamily="34" charset="-128"/>
            </a:endParaRPr>
          </a:p>
        </p:txBody>
      </p:sp>
      <p:sp>
        <p:nvSpPr>
          <p:cNvPr id="12" name="AutoShape 343"/>
          <p:cNvSpPr>
            <a:spLocks noChangeAspect="1" noChangeArrowheads="1"/>
          </p:cNvSpPr>
          <p:nvPr/>
        </p:nvSpPr>
        <p:spPr bwMode="auto">
          <a:xfrm>
            <a:off x="3414209" y="3276792"/>
            <a:ext cx="329927" cy="474637"/>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tIns="45718" rIns="0" bIns="45718"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endParaRPr lang="sv-SE" altLang="sv-SE" sz="100">
              <a:ea typeface="MS PGothic" pitchFamily="34" charset="-128"/>
            </a:endParaRPr>
          </a:p>
        </p:txBody>
      </p:sp>
      <p:sp>
        <p:nvSpPr>
          <p:cNvPr id="13" name="Cloud 129"/>
          <p:cNvSpPr/>
          <p:nvPr/>
        </p:nvSpPr>
        <p:spPr bwMode="auto">
          <a:xfrm>
            <a:off x="1422034" y="2579168"/>
            <a:ext cx="1172095" cy="931025"/>
          </a:xfrm>
          <a:prstGeom prst="cloud">
            <a:avLst/>
          </a:prstGeom>
          <a:solidFill>
            <a:schemeClr val="bg1"/>
          </a:solidFill>
          <a:ln w="15875" cap="flat" cmpd="sng" algn="ctr">
            <a:solidFill>
              <a:schemeClr val="tx2"/>
            </a:solidFill>
            <a:prstDash val="solid"/>
            <a:round/>
            <a:headEnd type="none" w="med" len="med"/>
            <a:tailEnd type="none" w="med" len="med"/>
          </a:ln>
          <a:effectLst/>
        </p:spPr>
        <p:txBody>
          <a:bodyPr lIns="91434" tIns="45718" rIns="91434" bIns="45718"/>
          <a:lstStyle/>
          <a:p>
            <a:pPr eaLnBrk="0" hangingPunct="0"/>
            <a:endParaRPr lang="sv-SE" sz="2400">
              <a:latin typeface="Arial" charset="0"/>
            </a:endParaRPr>
          </a:p>
        </p:txBody>
      </p:sp>
      <p:sp>
        <p:nvSpPr>
          <p:cNvPr id="14" name="AutoShape 340"/>
          <p:cNvSpPr>
            <a:spLocks noChangeAspect="1" noChangeArrowheads="1"/>
          </p:cNvSpPr>
          <p:nvPr/>
        </p:nvSpPr>
        <p:spPr bwMode="auto">
          <a:xfrm>
            <a:off x="1705123" y="3284408"/>
            <a:ext cx="317948" cy="462669"/>
          </a:xfrm>
          <a:prstGeom prst="roundRect">
            <a:avLst>
              <a:gd name="adj" fmla="val 7889"/>
            </a:avLst>
          </a:prstGeom>
          <a:solidFill>
            <a:srgbClr val="FFFF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45718" rIns="0" bIns="45718"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endParaRPr lang="sv-SE" altLang="sv-SE" sz="100">
              <a:ea typeface="MS PGothic" pitchFamily="34" charset="-128"/>
            </a:endParaRPr>
          </a:p>
        </p:txBody>
      </p:sp>
      <p:sp>
        <p:nvSpPr>
          <p:cNvPr id="15" name="Freeform 341"/>
          <p:cNvSpPr>
            <a:spLocks noChangeAspect="1" noEditPoints="1"/>
          </p:cNvSpPr>
          <p:nvPr/>
        </p:nvSpPr>
        <p:spPr bwMode="auto">
          <a:xfrm>
            <a:off x="1698621" y="3277914"/>
            <a:ext cx="330611" cy="475663"/>
          </a:xfrm>
          <a:custGeom>
            <a:avLst/>
            <a:gdLst>
              <a:gd name="T0" fmla="*/ 966 w 409"/>
              <a:gd name="T1" fmla="*/ 94 h 589"/>
              <a:gd name="T2" fmla="*/ 0 w 409"/>
              <a:gd name="T3" fmla="*/ 94 h 589"/>
              <a:gd name="T4" fmla="*/ 872 w 409"/>
              <a:gd name="T5" fmla="*/ 1391 h 589"/>
              <a:gd name="T6" fmla="*/ 947 w 409"/>
              <a:gd name="T7" fmla="*/ 196 h 589"/>
              <a:gd name="T8" fmla="*/ 872 w 409"/>
              <a:gd name="T9" fmla="*/ 1353 h 589"/>
              <a:gd name="T10" fmla="*/ 38 w 409"/>
              <a:gd name="T11" fmla="*/ 94 h 589"/>
              <a:gd name="T12" fmla="*/ 928 w 409"/>
              <a:gd name="T13" fmla="*/ 94 h 589"/>
              <a:gd name="T14" fmla="*/ 350 w 409"/>
              <a:gd name="T15" fmla="*/ 404 h 589"/>
              <a:gd name="T16" fmla="*/ 635 w 409"/>
              <a:gd name="T17" fmla="*/ 378 h 589"/>
              <a:gd name="T18" fmla="*/ 468 w 409"/>
              <a:gd name="T19" fmla="*/ 109 h 589"/>
              <a:gd name="T20" fmla="*/ 350 w 409"/>
              <a:gd name="T21" fmla="*/ 404 h 589"/>
              <a:gd name="T22" fmla="*/ 380 w 409"/>
              <a:gd name="T23" fmla="*/ 366 h 589"/>
              <a:gd name="T24" fmla="*/ 744 w 409"/>
              <a:gd name="T25" fmla="*/ 791 h 589"/>
              <a:gd name="T26" fmla="*/ 831 w 409"/>
              <a:gd name="T27" fmla="*/ 711 h 589"/>
              <a:gd name="T28" fmla="*/ 834 w 409"/>
              <a:gd name="T29" fmla="*/ 706 h 589"/>
              <a:gd name="T30" fmla="*/ 836 w 409"/>
              <a:gd name="T31" fmla="*/ 699 h 589"/>
              <a:gd name="T32" fmla="*/ 836 w 409"/>
              <a:gd name="T33" fmla="*/ 694 h 589"/>
              <a:gd name="T34" fmla="*/ 834 w 409"/>
              <a:gd name="T35" fmla="*/ 690 h 589"/>
              <a:gd name="T36" fmla="*/ 756 w 409"/>
              <a:gd name="T37" fmla="*/ 612 h 589"/>
              <a:gd name="T38" fmla="*/ 772 w 409"/>
              <a:gd name="T39" fmla="*/ 680 h 589"/>
              <a:gd name="T40" fmla="*/ 350 w 409"/>
              <a:gd name="T41" fmla="*/ 718 h 589"/>
              <a:gd name="T42" fmla="*/ 730 w 409"/>
              <a:gd name="T43" fmla="*/ 786 h 589"/>
              <a:gd name="T44" fmla="*/ 836 w 409"/>
              <a:gd name="T45" fmla="*/ 486 h 589"/>
              <a:gd name="T46" fmla="*/ 834 w 409"/>
              <a:gd name="T47" fmla="*/ 482 h 589"/>
              <a:gd name="T48" fmla="*/ 730 w 409"/>
              <a:gd name="T49" fmla="*/ 406 h 589"/>
              <a:gd name="T50" fmla="*/ 350 w 409"/>
              <a:gd name="T51" fmla="*/ 475 h 589"/>
              <a:gd name="T52" fmla="*/ 772 w 409"/>
              <a:gd name="T53" fmla="*/ 512 h 589"/>
              <a:gd name="T54" fmla="*/ 730 w 409"/>
              <a:gd name="T55" fmla="*/ 579 h 589"/>
              <a:gd name="T56" fmla="*/ 831 w 409"/>
              <a:gd name="T57" fmla="*/ 505 h 589"/>
              <a:gd name="T58" fmla="*/ 834 w 409"/>
              <a:gd name="T59" fmla="*/ 501 h 589"/>
              <a:gd name="T60" fmla="*/ 836 w 409"/>
              <a:gd name="T61" fmla="*/ 494 h 589"/>
              <a:gd name="T62" fmla="*/ 638 w 409"/>
              <a:gd name="T63" fmla="*/ 803 h 589"/>
              <a:gd name="T64" fmla="*/ 236 w 409"/>
              <a:gd name="T65" fmla="*/ 742 h 589"/>
              <a:gd name="T66" fmla="*/ 137 w 409"/>
              <a:gd name="T67" fmla="*/ 789 h 589"/>
              <a:gd name="T68" fmla="*/ 132 w 409"/>
              <a:gd name="T69" fmla="*/ 796 h 589"/>
              <a:gd name="T70" fmla="*/ 132 w 409"/>
              <a:gd name="T71" fmla="*/ 801 h 589"/>
              <a:gd name="T72" fmla="*/ 132 w 409"/>
              <a:gd name="T73" fmla="*/ 805 h 589"/>
              <a:gd name="T74" fmla="*/ 135 w 409"/>
              <a:gd name="T75" fmla="*/ 810 h 589"/>
              <a:gd name="T76" fmla="*/ 137 w 409"/>
              <a:gd name="T77" fmla="*/ 815 h 589"/>
              <a:gd name="T78" fmla="*/ 236 w 409"/>
              <a:gd name="T79" fmla="*/ 890 h 589"/>
              <a:gd name="T80" fmla="*/ 619 w 409"/>
              <a:gd name="T81" fmla="*/ 822 h 589"/>
              <a:gd name="T82" fmla="*/ 210 w 409"/>
              <a:gd name="T83" fmla="*/ 508 h 589"/>
              <a:gd name="T84" fmla="*/ 135 w 409"/>
              <a:gd name="T85" fmla="*/ 586 h 589"/>
              <a:gd name="T86" fmla="*/ 132 w 409"/>
              <a:gd name="T87" fmla="*/ 593 h 589"/>
              <a:gd name="T88" fmla="*/ 132 w 409"/>
              <a:gd name="T89" fmla="*/ 597 h 589"/>
              <a:gd name="T90" fmla="*/ 132 w 409"/>
              <a:gd name="T91" fmla="*/ 602 h 589"/>
              <a:gd name="T92" fmla="*/ 137 w 409"/>
              <a:gd name="T93" fmla="*/ 609 h 589"/>
              <a:gd name="T94" fmla="*/ 236 w 409"/>
              <a:gd name="T95" fmla="*/ 683 h 589"/>
              <a:gd name="T96" fmla="*/ 196 w 409"/>
              <a:gd name="T97" fmla="*/ 614 h 589"/>
              <a:gd name="T98" fmla="*/ 619 w 409"/>
              <a:gd name="T99" fmla="*/ 576 h 589"/>
              <a:gd name="T100" fmla="*/ 236 w 409"/>
              <a:gd name="T101" fmla="*/ 508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91434" tIns="45718" rIns="91434" bIns="45718"/>
          <a:lstStyle/>
          <a:p>
            <a:endParaRPr lang="sv-SE" sz="1100"/>
          </a:p>
        </p:txBody>
      </p:sp>
      <p:sp>
        <p:nvSpPr>
          <p:cNvPr id="16" name="Text Box 5"/>
          <p:cNvSpPr txBox="1">
            <a:spLocks noChangeAspect="1" noChangeArrowheads="1"/>
          </p:cNvSpPr>
          <p:nvPr/>
        </p:nvSpPr>
        <p:spPr bwMode="auto">
          <a:xfrm>
            <a:off x="1723605" y="3616450"/>
            <a:ext cx="280643" cy="8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lnSpc>
                <a:spcPct val="80000"/>
              </a:lnSpc>
              <a:spcBef>
                <a:spcPct val="0"/>
              </a:spcBef>
            </a:pPr>
            <a:r>
              <a:rPr lang="en-US" altLang="sv-SE" sz="700" dirty="0">
                <a:solidFill>
                  <a:srgbClr val="000000"/>
                </a:solidFill>
                <a:ea typeface="MS PGothic" pitchFamily="34" charset="-128"/>
              </a:rPr>
              <a:t>MME</a:t>
            </a:r>
            <a:endParaRPr lang="sv-SE" altLang="sv-SE" sz="700" dirty="0">
              <a:solidFill>
                <a:srgbClr val="000000"/>
              </a:solidFill>
              <a:ea typeface="MS PGothic" pitchFamily="34" charset="-128"/>
            </a:endParaRPr>
          </a:p>
        </p:txBody>
      </p:sp>
      <p:sp>
        <p:nvSpPr>
          <p:cNvPr id="17" name="AutoShape 343"/>
          <p:cNvSpPr>
            <a:spLocks noChangeAspect="1" noChangeArrowheads="1"/>
          </p:cNvSpPr>
          <p:nvPr/>
        </p:nvSpPr>
        <p:spPr bwMode="auto">
          <a:xfrm>
            <a:off x="1698965" y="3277912"/>
            <a:ext cx="329927" cy="474637"/>
          </a:xfrm>
          <a:prstGeom prst="roundRect">
            <a:avLst>
              <a:gd name="adj" fmla="val 954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0" tIns="45718" rIns="0" bIns="45718"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endParaRPr lang="sv-SE" altLang="sv-SE" sz="100">
              <a:ea typeface="MS PGothic" pitchFamily="34" charset="-128"/>
            </a:endParaRPr>
          </a:p>
        </p:txBody>
      </p:sp>
      <p:sp>
        <p:nvSpPr>
          <p:cNvPr id="18" name="Sexhörning 63"/>
          <p:cNvSpPr/>
          <p:nvPr/>
        </p:nvSpPr>
        <p:spPr bwMode="auto">
          <a:xfrm>
            <a:off x="1899335" y="5166372"/>
            <a:ext cx="673233" cy="550287"/>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4" tIns="45718" rIns="71984" bIns="45718" numCol="1" rtlCol="0" anchor="t" anchorCtr="0" compatLnSpc="1">
            <a:prstTxWarp prst="textNoShape">
              <a:avLst/>
            </a:prstTxWarp>
          </a:bodyPr>
          <a:lstStyle/>
          <a:p>
            <a:pPr defTabSz="914128"/>
            <a:endParaRPr lang="sv-SE" dirty="0"/>
          </a:p>
        </p:txBody>
      </p:sp>
      <p:sp>
        <p:nvSpPr>
          <p:cNvPr id="19" name="Freeform 61"/>
          <p:cNvSpPr>
            <a:spLocks noChangeAspect="1" noEditPoints="1"/>
          </p:cNvSpPr>
          <p:nvPr/>
        </p:nvSpPr>
        <p:spPr bwMode="auto">
          <a:xfrm>
            <a:off x="2080685" y="5219104"/>
            <a:ext cx="284163" cy="430849"/>
          </a:xfrm>
          <a:custGeom>
            <a:avLst/>
            <a:gdLst>
              <a:gd name="T0" fmla="*/ 350 w 292"/>
              <a:gd name="T1" fmla="*/ 484 h 444"/>
              <a:gd name="T2" fmla="*/ 16 w 292"/>
              <a:gd name="T3" fmla="*/ 484 h 444"/>
              <a:gd name="T4" fmla="*/ 16 w 292"/>
              <a:gd name="T5" fmla="*/ 101 h 444"/>
              <a:gd name="T6" fmla="*/ 350 w 292"/>
              <a:gd name="T7" fmla="*/ 101 h 444"/>
              <a:gd name="T8" fmla="*/ 370 w 292"/>
              <a:gd name="T9" fmla="*/ 142 h 444"/>
              <a:gd name="T10" fmla="*/ 338 w 292"/>
              <a:gd name="T11" fmla="*/ 16 h 444"/>
              <a:gd name="T12" fmla="*/ 261 w 292"/>
              <a:gd name="T13" fmla="*/ 16 h 444"/>
              <a:gd name="T14" fmla="*/ 0 w 292"/>
              <a:gd name="T15" fmla="*/ 101 h 444"/>
              <a:gd name="T16" fmla="*/ 0 w 292"/>
              <a:gd name="T17" fmla="*/ 484 h 444"/>
              <a:gd name="T18" fmla="*/ 370 w 292"/>
              <a:gd name="T19" fmla="*/ 484 h 444"/>
              <a:gd name="T20" fmla="*/ 335 w 292"/>
              <a:gd name="T21" fmla="*/ 239 h 444"/>
              <a:gd name="T22" fmla="*/ 296 w 292"/>
              <a:gd name="T23" fmla="*/ 68 h 444"/>
              <a:gd name="T24" fmla="*/ 37 w 292"/>
              <a:gd name="T25" fmla="*/ 110 h 444"/>
              <a:gd name="T26" fmla="*/ 77 w 292"/>
              <a:gd name="T27" fmla="*/ 279 h 444"/>
              <a:gd name="T28" fmla="*/ 335 w 292"/>
              <a:gd name="T29" fmla="*/ 239 h 444"/>
              <a:gd name="T30" fmla="*/ 296 w 292"/>
              <a:gd name="T31" fmla="*/ 259 h 444"/>
              <a:gd name="T32" fmla="*/ 53 w 292"/>
              <a:gd name="T33" fmla="*/ 239 h 444"/>
              <a:gd name="T34" fmla="*/ 77 w 292"/>
              <a:gd name="T35" fmla="*/ 94 h 444"/>
              <a:gd name="T36" fmla="*/ 315 w 292"/>
              <a:gd name="T37" fmla="*/ 110 h 444"/>
              <a:gd name="T38" fmla="*/ 151 w 292"/>
              <a:gd name="T39" fmla="*/ 511 h 444"/>
              <a:gd name="T40" fmla="*/ 143 w 292"/>
              <a:gd name="T41" fmla="*/ 502 h 444"/>
              <a:gd name="T42" fmla="*/ 195 w 292"/>
              <a:gd name="T43" fmla="*/ 502 h 444"/>
              <a:gd name="T44" fmla="*/ 219 w 292"/>
              <a:gd name="T45" fmla="*/ 511 h 444"/>
              <a:gd name="T46" fmla="*/ 209 w 292"/>
              <a:gd name="T47" fmla="*/ 502 h 444"/>
              <a:gd name="T48" fmla="*/ 104 w 292"/>
              <a:gd name="T49" fmla="*/ 299 h 444"/>
              <a:gd name="T50" fmla="*/ 51 w 292"/>
              <a:gd name="T51" fmla="*/ 330 h 444"/>
              <a:gd name="T52" fmla="*/ 127 w 292"/>
              <a:gd name="T53" fmla="*/ 330 h 444"/>
              <a:gd name="T54" fmla="*/ 204 w 292"/>
              <a:gd name="T55" fmla="*/ 350 h 444"/>
              <a:gd name="T56" fmla="*/ 204 w 292"/>
              <a:gd name="T57" fmla="*/ 299 h 444"/>
              <a:gd name="T58" fmla="*/ 147 w 292"/>
              <a:gd name="T59" fmla="*/ 330 h 444"/>
              <a:gd name="T60" fmla="*/ 302 w 292"/>
              <a:gd name="T61" fmla="*/ 299 h 444"/>
              <a:gd name="T62" fmla="*/ 246 w 292"/>
              <a:gd name="T63" fmla="*/ 330 h 444"/>
              <a:gd name="T64" fmla="*/ 322 w 292"/>
              <a:gd name="T65" fmla="*/ 330 h 444"/>
              <a:gd name="T66" fmla="*/ 104 w 292"/>
              <a:gd name="T67" fmla="*/ 363 h 444"/>
              <a:gd name="T68" fmla="*/ 51 w 292"/>
              <a:gd name="T69" fmla="*/ 395 h 444"/>
              <a:gd name="T70" fmla="*/ 127 w 292"/>
              <a:gd name="T71" fmla="*/ 395 h 444"/>
              <a:gd name="T72" fmla="*/ 168 w 292"/>
              <a:gd name="T73" fmla="*/ 413 h 444"/>
              <a:gd name="T74" fmla="*/ 224 w 292"/>
              <a:gd name="T75" fmla="*/ 382 h 444"/>
              <a:gd name="T76" fmla="*/ 147 w 292"/>
              <a:gd name="T77" fmla="*/ 382 h 444"/>
              <a:gd name="T78" fmla="*/ 302 w 292"/>
              <a:gd name="T79" fmla="*/ 363 h 444"/>
              <a:gd name="T80" fmla="*/ 246 w 292"/>
              <a:gd name="T81" fmla="*/ 395 h 444"/>
              <a:gd name="T82" fmla="*/ 322 w 292"/>
              <a:gd name="T83" fmla="*/ 395 h 444"/>
              <a:gd name="T84" fmla="*/ 71 w 292"/>
              <a:gd name="T85" fmla="*/ 426 h 444"/>
              <a:gd name="T86" fmla="*/ 71 w 292"/>
              <a:gd name="T87" fmla="*/ 476 h 444"/>
              <a:gd name="T88" fmla="*/ 127 w 292"/>
              <a:gd name="T89" fmla="*/ 447 h 444"/>
              <a:gd name="T90" fmla="*/ 224 w 292"/>
              <a:gd name="T91" fmla="*/ 447 h 444"/>
              <a:gd name="T92" fmla="*/ 147 w 292"/>
              <a:gd name="T93" fmla="*/ 447 h 444"/>
              <a:gd name="T94" fmla="*/ 204 w 292"/>
              <a:gd name="T95" fmla="*/ 476 h 444"/>
              <a:gd name="T96" fmla="*/ 266 w 292"/>
              <a:gd name="T97" fmla="*/ 426 h 444"/>
              <a:gd name="T98" fmla="*/ 266 w 292"/>
              <a:gd name="T99" fmla="*/ 476 h 444"/>
              <a:gd name="T100" fmla="*/ 322 w 292"/>
              <a:gd name="T101" fmla="*/ 447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tx2"/>
          </a:solidFill>
          <a:ln w="6350">
            <a:noFill/>
            <a:round/>
            <a:headEnd/>
            <a:tailEnd/>
          </a:ln>
        </p:spPr>
        <p:txBody>
          <a:bodyPr lIns="91434" tIns="45718" rIns="91434" bIns="45718"/>
          <a:lstStyle/>
          <a:p>
            <a:endParaRPr lang="sv-SE"/>
          </a:p>
        </p:txBody>
      </p:sp>
      <p:sp>
        <p:nvSpPr>
          <p:cNvPr id="20" name="Freeform 3"/>
          <p:cNvSpPr>
            <a:spLocks noChangeAspect="1" noEditPoints="1"/>
          </p:cNvSpPr>
          <p:nvPr/>
        </p:nvSpPr>
        <p:spPr bwMode="auto">
          <a:xfrm>
            <a:off x="2814658" y="5329510"/>
            <a:ext cx="529735" cy="245840"/>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tx2"/>
          </a:solidFill>
          <a:ln w="12700">
            <a:noFill/>
          </a:ln>
          <a:extLst/>
        </p:spPr>
        <p:txBody>
          <a:bodyPr lIns="91416" tIns="45718" rIns="91416" bIns="45718"/>
          <a:lstStyle/>
          <a:p>
            <a:endParaRPr lang="en-US" dirty="0"/>
          </a:p>
        </p:txBody>
      </p:sp>
      <p:sp>
        <p:nvSpPr>
          <p:cNvPr id="21" name="Sexhörning 63"/>
          <p:cNvSpPr/>
          <p:nvPr/>
        </p:nvSpPr>
        <p:spPr bwMode="auto">
          <a:xfrm>
            <a:off x="2743266" y="5207938"/>
            <a:ext cx="673233" cy="550287"/>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4" tIns="45718" rIns="71984" bIns="45718" numCol="1" rtlCol="0" anchor="t" anchorCtr="0" compatLnSpc="1">
            <a:prstTxWarp prst="textNoShape">
              <a:avLst/>
            </a:prstTxWarp>
          </a:bodyPr>
          <a:lstStyle/>
          <a:p>
            <a:pPr defTabSz="914128"/>
            <a:endParaRPr lang="sv-SE" dirty="0"/>
          </a:p>
        </p:txBody>
      </p:sp>
      <p:sp>
        <p:nvSpPr>
          <p:cNvPr id="22" name="Freeform 3"/>
          <p:cNvSpPr>
            <a:spLocks noChangeAspect="1" noEditPoints="1"/>
          </p:cNvSpPr>
          <p:nvPr/>
        </p:nvSpPr>
        <p:spPr bwMode="auto">
          <a:xfrm>
            <a:off x="3433321" y="5030772"/>
            <a:ext cx="429167" cy="447908"/>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tx2"/>
          </a:solidFill>
          <a:ln w="12700">
            <a:noFill/>
          </a:ln>
          <a:extLst/>
        </p:spPr>
        <p:txBody>
          <a:bodyPr lIns="91416" tIns="45718" rIns="91416" bIns="45718"/>
          <a:lstStyle/>
          <a:p>
            <a:endParaRPr lang="en-US" dirty="0"/>
          </a:p>
        </p:txBody>
      </p:sp>
      <p:sp>
        <p:nvSpPr>
          <p:cNvPr id="23" name="Sexhörning 63"/>
          <p:cNvSpPr/>
          <p:nvPr/>
        </p:nvSpPr>
        <p:spPr bwMode="auto">
          <a:xfrm>
            <a:off x="3311286" y="4957367"/>
            <a:ext cx="673233" cy="550287"/>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4" tIns="45718" rIns="71984" bIns="45718" numCol="1" rtlCol="0" anchor="t" anchorCtr="0" compatLnSpc="1">
            <a:prstTxWarp prst="textNoShape">
              <a:avLst/>
            </a:prstTxWarp>
          </a:bodyPr>
          <a:lstStyle/>
          <a:p>
            <a:pPr defTabSz="914128"/>
            <a:endParaRPr lang="sv-SE" dirty="0"/>
          </a:p>
        </p:txBody>
      </p:sp>
      <p:sp>
        <p:nvSpPr>
          <p:cNvPr id="24" name="Freeform 6"/>
          <p:cNvSpPr>
            <a:spLocks noChangeAspect="1" noEditPoints="1"/>
          </p:cNvSpPr>
          <p:nvPr/>
        </p:nvSpPr>
        <p:spPr bwMode="auto">
          <a:xfrm>
            <a:off x="3405167" y="5538630"/>
            <a:ext cx="448532" cy="449011"/>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tx2"/>
          </a:solidFill>
          <a:ln w="12700">
            <a:noFill/>
          </a:ln>
          <a:extLst/>
        </p:spPr>
        <p:txBody>
          <a:bodyPr lIns="91416" tIns="45718" rIns="91416" bIns="45718"/>
          <a:lstStyle/>
          <a:p>
            <a:endParaRPr lang="en-US" dirty="0"/>
          </a:p>
        </p:txBody>
      </p:sp>
      <p:sp>
        <p:nvSpPr>
          <p:cNvPr id="25" name="Sexhörning 63"/>
          <p:cNvSpPr/>
          <p:nvPr/>
        </p:nvSpPr>
        <p:spPr bwMode="auto">
          <a:xfrm>
            <a:off x="3296650" y="5502272"/>
            <a:ext cx="673233" cy="550287"/>
          </a:xfrm>
          <a:prstGeom prst="hexagon">
            <a:avLst/>
          </a:prstGeom>
          <a:solidFill>
            <a:schemeClr val="bg1">
              <a:alpha val="11000"/>
            </a:schemeClr>
          </a:solidFill>
          <a:ln w="6350" cap="flat" cmpd="sng" algn="ctr">
            <a:solidFill>
              <a:schemeClr val="tx2"/>
            </a:solidFill>
            <a:prstDash val="solid"/>
            <a:round/>
            <a:headEnd type="none" w="med" len="med"/>
            <a:tailEnd type="none" w="med" len="med"/>
          </a:ln>
          <a:effectLst/>
        </p:spPr>
        <p:txBody>
          <a:bodyPr vert="horz" wrap="none" lIns="71984" tIns="45718" rIns="71984" bIns="45718" numCol="1" rtlCol="0" anchor="t" anchorCtr="0" compatLnSpc="1">
            <a:prstTxWarp prst="textNoShape">
              <a:avLst/>
            </a:prstTxWarp>
          </a:bodyPr>
          <a:lstStyle/>
          <a:p>
            <a:pPr defTabSz="914128"/>
            <a:endParaRPr lang="sv-SE" dirty="0"/>
          </a:p>
        </p:txBody>
      </p:sp>
      <p:sp>
        <p:nvSpPr>
          <p:cNvPr id="26" name="Rectangle 255"/>
          <p:cNvSpPr>
            <a:spLocks noChangeArrowheads="1"/>
          </p:cNvSpPr>
          <p:nvPr/>
        </p:nvSpPr>
        <p:spPr bwMode="auto">
          <a:xfrm>
            <a:off x="1490288" y="2704292"/>
            <a:ext cx="93096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1996" tIns="45718" rIns="71996" bIns="45718">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r>
              <a:rPr lang="sv-SE" altLang="sv-SE" sz="1200" dirty="0"/>
              <a:t>Core Network #1</a:t>
            </a:r>
            <a:endParaRPr lang="en-US" altLang="sv-SE" sz="1200" dirty="0"/>
          </a:p>
        </p:txBody>
      </p:sp>
      <p:sp>
        <p:nvSpPr>
          <p:cNvPr id="27" name="Rectangle 255"/>
          <p:cNvSpPr>
            <a:spLocks noChangeArrowheads="1"/>
          </p:cNvSpPr>
          <p:nvPr/>
        </p:nvSpPr>
        <p:spPr bwMode="auto">
          <a:xfrm>
            <a:off x="2956142" y="2678233"/>
            <a:ext cx="9309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71996" tIns="45718" rIns="71996" bIns="45718">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r>
              <a:rPr lang="sv-SE" altLang="sv-SE" sz="1200" dirty="0"/>
              <a:t>Core Network #2 (NB-IoT)</a:t>
            </a:r>
            <a:endParaRPr lang="en-US" altLang="sv-SE" sz="1200" dirty="0"/>
          </a:p>
        </p:txBody>
      </p:sp>
      <p:sp>
        <p:nvSpPr>
          <p:cNvPr id="28" name="Oval 27"/>
          <p:cNvSpPr/>
          <p:nvPr/>
        </p:nvSpPr>
        <p:spPr bwMode="auto">
          <a:xfrm>
            <a:off x="1671103" y="4503580"/>
            <a:ext cx="2216004" cy="430212"/>
          </a:xfrm>
          <a:prstGeom prst="ellipse">
            <a:avLst/>
          </a:prstGeom>
          <a:solidFill>
            <a:schemeClr val="tx1">
              <a:lumMod val="20000"/>
              <a:lumOff val="80000"/>
            </a:schemeClr>
          </a:solid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lIns="71996" tIns="45718" rIns="71996" bIns="45718" anchor="ctr" anchorCtr="0"/>
          <a:lstStyle/>
          <a:p>
            <a:pPr algn="ctr">
              <a:defRPr/>
            </a:pPr>
            <a:r>
              <a:rPr lang="sv-SE" sz="1100" dirty="0">
                <a:solidFill>
                  <a:schemeClr val="tx1"/>
                </a:solidFill>
              </a:rPr>
              <a:t>Common LTE Access</a:t>
            </a:r>
          </a:p>
        </p:txBody>
      </p:sp>
      <p:grpSp>
        <p:nvGrpSpPr>
          <p:cNvPr id="29" name="Group 28"/>
          <p:cNvGrpSpPr/>
          <p:nvPr/>
        </p:nvGrpSpPr>
        <p:grpSpPr>
          <a:xfrm>
            <a:off x="2024597" y="3809448"/>
            <a:ext cx="1317677" cy="1284737"/>
            <a:chOff x="2024597" y="3809448"/>
            <a:chExt cx="1317677" cy="917167"/>
          </a:xfrm>
        </p:grpSpPr>
        <p:sp>
          <p:nvSpPr>
            <p:cNvPr id="30" name="Freeform 144"/>
            <p:cNvSpPr/>
            <p:nvPr/>
          </p:nvSpPr>
          <p:spPr bwMode="auto">
            <a:xfrm>
              <a:off x="2973171" y="3809448"/>
              <a:ext cx="369103" cy="906088"/>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1996" tIns="45718" rIns="71996" bIns="45718" numCol="1" rtlCol="0" anchor="t" anchorCtr="0" compatLnSpc="1">
              <a:prstTxWarp prst="textNoShape">
                <a:avLst/>
              </a:prstTxWarp>
            </a:bodyPr>
            <a:lstStyle/>
            <a:p>
              <a:pPr>
                <a:spcBef>
                  <a:spcPct val="50000"/>
                </a:spcBef>
              </a:pPr>
              <a:endParaRPr lang="sv-SE">
                <a:latin typeface="Arial" charset="0"/>
              </a:endParaRPr>
            </a:p>
          </p:txBody>
        </p:sp>
        <p:sp>
          <p:nvSpPr>
            <p:cNvPr id="31" name="Freeform 145"/>
            <p:cNvSpPr/>
            <p:nvPr/>
          </p:nvSpPr>
          <p:spPr bwMode="auto">
            <a:xfrm flipH="1">
              <a:off x="2024597" y="3820527"/>
              <a:ext cx="369427" cy="906088"/>
            </a:xfrm>
            <a:custGeom>
              <a:avLst/>
              <a:gdLst>
                <a:gd name="connsiteX0" fmla="*/ 369102 w 369102"/>
                <a:gd name="connsiteY0" fmla="*/ 0 h 906088"/>
                <a:gd name="connsiteX1" fmla="*/ 3342 w 369102"/>
                <a:gd name="connsiteY1" fmla="*/ 274320 h 906088"/>
                <a:gd name="connsiteX2" fmla="*/ 177909 w 369102"/>
                <a:gd name="connsiteY2" fmla="*/ 906088 h 906088"/>
                <a:gd name="connsiteX3" fmla="*/ 177909 w 369102"/>
                <a:gd name="connsiteY3" fmla="*/ 906088 h 906088"/>
              </a:gdLst>
              <a:ahLst/>
              <a:cxnLst>
                <a:cxn ang="0">
                  <a:pos x="connsiteX0" y="connsiteY0"/>
                </a:cxn>
                <a:cxn ang="0">
                  <a:pos x="connsiteX1" y="connsiteY1"/>
                </a:cxn>
                <a:cxn ang="0">
                  <a:pos x="connsiteX2" y="connsiteY2"/>
                </a:cxn>
                <a:cxn ang="0">
                  <a:pos x="connsiteX3" y="connsiteY3"/>
                </a:cxn>
              </a:cxnLst>
              <a:rect l="l" t="t" r="r" b="b"/>
              <a:pathLst>
                <a:path w="369102" h="906088">
                  <a:moveTo>
                    <a:pt x="369102" y="0"/>
                  </a:moveTo>
                  <a:cubicBezTo>
                    <a:pt x="202154" y="61652"/>
                    <a:pt x="35207" y="123305"/>
                    <a:pt x="3342" y="274320"/>
                  </a:cubicBezTo>
                  <a:cubicBezTo>
                    <a:pt x="-28523" y="425335"/>
                    <a:pt x="177909" y="906088"/>
                    <a:pt x="177909" y="906088"/>
                  </a:cubicBezTo>
                  <a:lnTo>
                    <a:pt x="177909" y="906088"/>
                  </a:lnTo>
                </a:path>
              </a:pathLst>
            </a:custGeom>
            <a:noFill/>
            <a:ln w="12700" cap="flat" cmpd="sng" algn="ctr">
              <a:solidFill>
                <a:schemeClr val="tx2"/>
              </a:solidFill>
              <a:prstDash val="solid"/>
              <a:round/>
              <a:headEnd type="stealth" w="lg" len="lg"/>
              <a:tailEnd type="stealth" w="lg" len="lg"/>
            </a:ln>
            <a:effectLst/>
          </p:spPr>
          <p:txBody>
            <a:bodyPr vert="horz" wrap="none" lIns="71996" tIns="45718" rIns="71996" bIns="45718" numCol="1" rtlCol="0" anchor="t" anchorCtr="0" compatLnSpc="1">
              <a:prstTxWarp prst="textNoShape">
                <a:avLst/>
              </a:prstTxWarp>
            </a:bodyPr>
            <a:lstStyle/>
            <a:p>
              <a:pPr defTabSz="914332">
                <a:spcBef>
                  <a:spcPct val="50000"/>
                </a:spcBef>
              </a:pPr>
              <a:endParaRPr lang="sv-SE">
                <a:latin typeface="Arial" charset="0"/>
              </a:endParaRPr>
            </a:p>
          </p:txBody>
        </p:sp>
      </p:grpSp>
      <p:sp>
        <p:nvSpPr>
          <p:cNvPr id="32" name="Freeform 147"/>
          <p:cNvSpPr>
            <a:spLocks noChangeAspect="1" noEditPoints="1"/>
          </p:cNvSpPr>
          <p:nvPr/>
        </p:nvSpPr>
        <p:spPr bwMode="auto">
          <a:xfrm>
            <a:off x="2591209" y="3309733"/>
            <a:ext cx="300691" cy="4314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tx2"/>
          </a:solidFill>
          <a:ln w="9525">
            <a:noFill/>
            <a:round/>
            <a:headEnd/>
            <a:tailEnd/>
          </a:ln>
        </p:spPr>
        <p:txBody>
          <a:bodyPr lIns="91434" tIns="45718" rIns="91434" bIns="45718" anchor="ctr"/>
          <a:lstStyle/>
          <a:p>
            <a:endParaRPr lang="sv-SE"/>
          </a:p>
        </p:txBody>
      </p:sp>
      <p:sp>
        <p:nvSpPr>
          <p:cNvPr id="33" name="Text Box 22"/>
          <p:cNvSpPr txBox="1">
            <a:spLocks noChangeAspect="1" noChangeArrowheads="1"/>
          </p:cNvSpPr>
          <p:nvPr/>
        </p:nvSpPr>
        <p:spPr bwMode="auto">
          <a:xfrm>
            <a:off x="2615570" y="3610972"/>
            <a:ext cx="254623" cy="8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algn="ctr" eaLnBrk="1" hangingPunct="1">
              <a:lnSpc>
                <a:spcPct val="80000"/>
              </a:lnSpc>
              <a:spcBef>
                <a:spcPct val="0"/>
              </a:spcBef>
            </a:pPr>
            <a:r>
              <a:rPr lang="en-US" altLang="sv-SE" sz="700" dirty="0">
                <a:solidFill>
                  <a:schemeClr val="tx1">
                    <a:lumMod val="50000"/>
                  </a:schemeClr>
                </a:solidFill>
              </a:rPr>
              <a:t>HSS</a:t>
            </a:r>
            <a:endParaRPr lang="sv-SE" altLang="sv-SE" sz="700" dirty="0">
              <a:solidFill>
                <a:schemeClr val="tx1">
                  <a:lumMod val="50000"/>
                </a:schemeClr>
              </a:solidFill>
            </a:endParaRPr>
          </a:p>
        </p:txBody>
      </p:sp>
      <p:sp>
        <p:nvSpPr>
          <p:cNvPr id="34" name="Left-Right Arrow 167"/>
          <p:cNvSpPr/>
          <p:nvPr/>
        </p:nvSpPr>
        <p:spPr bwMode="auto">
          <a:xfrm>
            <a:off x="2179417" y="3498490"/>
            <a:ext cx="270031" cy="163959"/>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1996" tIns="45718" rIns="71996" bIns="45718" numCol="1" rtlCol="0" anchor="t" anchorCtr="0" compatLnSpc="1">
            <a:prstTxWarp prst="textNoShape">
              <a:avLst/>
            </a:prstTxWarp>
          </a:bodyPr>
          <a:lstStyle/>
          <a:p>
            <a:pPr defTabSz="914332">
              <a:spcBef>
                <a:spcPct val="50000"/>
              </a:spcBef>
            </a:pPr>
            <a:endParaRPr lang="sv-SE">
              <a:latin typeface="Arial" charset="0"/>
            </a:endParaRPr>
          </a:p>
        </p:txBody>
      </p:sp>
      <p:sp>
        <p:nvSpPr>
          <p:cNvPr id="35" name="Left-Right Arrow 168"/>
          <p:cNvSpPr/>
          <p:nvPr/>
        </p:nvSpPr>
        <p:spPr bwMode="auto">
          <a:xfrm>
            <a:off x="2973171" y="3482429"/>
            <a:ext cx="270031" cy="163959"/>
          </a:xfrm>
          <a:prstGeom prst="leftRightArrow">
            <a:avLst/>
          </a:prstGeom>
          <a:noFill/>
          <a:ln w="12700" cap="flat" cmpd="sng" algn="ctr">
            <a:solidFill>
              <a:srgbClr val="002060"/>
            </a:solidFill>
            <a:prstDash val="solid"/>
            <a:round/>
            <a:headEnd type="none" w="med" len="med"/>
            <a:tailEnd type="none" w="med" len="med"/>
          </a:ln>
          <a:effectLst/>
        </p:spPr>
        <p:txBody>
          <a:bodyPr vert="horz" wrap="none" lIns="71996" tIns="45718" rIns="71996" bIns="45718" numCol="1" rtlCol="0" anchor="t" anchorCtr="0" compatLnSpc="1">
            <a:prstTxWarp prst="textNoShape">
              <a:avLst/>
            </a:prstTxWarp>
          </a:bodyPr>
          <a:lstStyle/>
          <a:p>
            <a:pPr defTabSz="914332">
              <a:spcBef>
                <a:spcPct val="50000"/>
              </a:spcBef>
            </a:pPr>
            <a:endParaRPr lang="sv-SE">
              <a:latin typeface="Arial" charset="0"/>
            </a:endParaRPr>
          </a:p>
        </p:txBody>
      </p:sp>
      <p:sp>
        <p:nvSpPr>
          <p:cNvPr id="36" name="Line Callout 1 4"/>
          <p:cNvSpPr/>
          <p:nvPr/>
        </p:nvSpPr>
        <p:spPr bwMode="auto">
          <a:xfrm>
            <a:off x="4583215" y="2868037"/>
            <a:ext cx="2295256" cy="830993"/>
          </a:xfrm>
          <a:prstGeom prst="borderCallout1">
            <a:avLst>
              <a:gd name="adj1" fmla="val 18750"/>
              <a:gd name="adj2" fmla="val -8333"/>
              <a:gd name="adj3" fmla="val 89628"/>
              <a:gd name="adj4" fmla="val -35638"/>
            </a:avLst>
          </a:prstGeom>
          <a:solidFill>
            <a:schemeClr val="accent2">
              <a:lumMod val="20000"/>
              <a:lumOff val="80000"/>
            </a:schemeClr>
          </a:solidFill>
          <a:ln w="15875" cap="flat" cmpd="sng" algn="ctr">
            <a:solidFill>
              <a:schemeClr val="tx1"/>
            </a:solidFill>
            <a:prstDash val="solid"/>
            <a:round/>
            <a:headEnd type="none" w="lg" len="lg"/>
            <a:tailEnd type="triangle" w="lg" len="lg"/>
          </a:ln>
          <a:effectLst/>
        </p:spPr>
        <p:txBody>
          <a:bodyPr vert="horz" wrap="square" lIns="71996" tIns="45718" rIns="71996" bIns="45718" numCol="1" rtlCol="0" anchor="t" anchorCtr="0" compatLnSpc="1">
            <a:prstTxWarp prst="textNoShape">
              <a:avLst/>
            </a:prstTxWarp>
            <a:spAutoFit/>
          </a:bodyPr>
          <a:lstStyle/>
          <a:p>
            <a:pPr defTabSz="914332">
              <a:spcBef>
                <a:spcPts val="1200"/>
              </a:spcBef>
            </a:pPr>
            <a:r>
              <a:rPr lang="en-US" sz="1200" dirty="0">
                <a:latin typeface="Arial" charset="0"/>
              </a:rPr>
              <a:t>Virtualized, standalone deployment, tailored for NB-IoT functions, interfaces and characteristics</a:t>
            </a:r>
          </a:p>
        </p:txBody>
      </p:sp>
      <p:sp>
        <p:nvSpPr>
          <p:cNvPr id="37" name="Line Callout 1 81"/>
          <p:cNvSpPr/>
          <p:nvPr/>
        </p:nvSpPr>
        <p:spPr bwMode="auto">
          <a:xfrm>
            <a:off x="4583215" y="4153384"/>
            <a:ext cx="2295256" cy="830993"/>
          </a:xfrm>
          <a:prstGeom prst="borderCallout1">
            <a:avLst>
              <a:gd name="adj1" fmla="val 18750"/>
              <a:gd name="adj2" fmla="val -8333"/>
              <a:gd name="adj3" fmla="val -13225"/>
              <a:gd name="adj4" fmla="val -65646"/>
            </a:avLst>
          </a:prstGeom>
          <a:solidFill>
            <a:schemeClr val="accent2">
              <a:lumMod val="20000"/>
              <a:lumOff val="80000"/>
            </a:schemeClr>
          </a:solidFill>
          <a:ln w="15875" cap="flat" cmpd="sng" algn="ctr">
            <a:solidFill>
              <a:schemeClr val="tx1"/>
            </a:solidFill>
            <a:prstDash val="solid"/>
            <a:round/>
            <a:headEnd type="none" w="lg" len="lg"/>
            <a:tailEnd type="triangle" w="lg" len="lg"/>
          </a:ln>
          <a:effectLst/>
        </p:spPr>
        <p:txBody>
          <a:bodyPr vert="horz" wrap="square" lIns="71996" tIns="45718" rIns="71996" bIns="45718" numCol="1" rtlCol="0" anchor="t" anchorCtr="0" compatLnSpc="1">
            <a:prstTxWarp prst="textNoShape">
              <a:avLst/>
            </a:prstTxWarp>
            <a:spAutoFit/>
          </a:bodyPr>
          <a:lstStyle/>
          <a:p>
            <a:pPr defTabSz="914332">
              <a:spcBef>
                <a:spcPct val="50000"/>
              </a:spcBef>
            </a:pPr>
            <a:r>
              <a:rPr lang="en-US" sz="1200" dirty="0">
                <a:latin typeface="Arial" charset="0"/>
              </a:rPr>
              <a:t>CN Selection mechanism support by CN and RAN (MOCN, RAN based or DECOR/</a:t>
            </a:r>
            <a:r>
              <a:rPr lang="en-US" sz="1200" dirty="0" err="1">
                <a:latin typeface="Arial" charset="0"/>
              </a:rPr>
              <a:t>eDECOR</a:t>
            </a:r>
            <a:r>
              <a:rPr lang="en-US" sz="1200" dirty="0">
                <a:latin typeface="Arial" charset="0"/>
              </a:rPr>
              <a:t>)</a:t>
            </a:r>
          </a:p>
        </p:txBody>
      </p:sp>
      <p:sp>
        <p:nvSpPr>
          <p:cNvPr id="38" name="TextBox 37"/>
          <p:cNvSpPr txBox="1"/>
          <p:nvPr/>
        </p:nvSpPr>
        <p:spPr>
          <a:xfrm>
            <a:off x="1409761" y="5790946"/>
            <a:ext cx="1234621" cy="261606"/>
          </a:xfrm>
          <a:prstGeom prst="rect">
            <a:avLst/>
          </a:prstGeom>
          <a:noFill/>
        </p:spPr>
        <p:txBody>
          <a:bodyPr wrap="none" lIns="91434" tIns="45718" rIns="91434" bIns="45718" rtlCol="0">
            <a:spAutoFit/>
          </a:bodyPr>
          <a:lstStyle/>
          <a:p>
            <a:r>
              <a:rPr lang="en-US" sz="1100" dirty="0"/>
              <a:t>Cat-1 and higher</a:t>
            </a:r>
          </a:p>
        </p:txBody>
      </p:sp>
      <p:sp>
        <p:nvSpPr>
          <p:cNvPr id="39" name="TextBox 38"/>
          <p:cNvSpPr txBox="1"/>
          <p:nvPr/>
        </p:nvSpPr>
        <p:spPr>
          <a:xfrm>
            <a:off x="2765632" y="6092714"/>
            <a:ext cx="1681871" cy="261611"/>
          </a:xfrm>
          <a:prstGeom prst="rect">
            <a:avLst/>
          </a:prstGeom>
          <a:noFill/>
        </p:spPr>
        <p:txBody>
          <a:bodyPr wrap="none" lIns="91434" tIns="45718" rIns="91434" bIns="45718" rtlCol="0">
            <a:spAutoFit/>
          </a:bodyPr>
          <a:lstStyle/>
          <a:p>
            <a:r>
              <a:rPr lang="en-US" sz="1100" dirty="0"/>
              <a:t>Cat-M and Cat “NB-</a:t>
            </a:r>
            <a:r>
              <a:rPr lang="en-US" sz="1100" dirty="0" err="1"/>
              <a:t>IoT</a:t>
            </a:r>
            <a:r>
              <a:rPr lang="en-US" sz="1100" dirty="0"/>
              <a:t>”</a:t>
            </a:r>
          </a:p>
        </p:txBody>
      </p:sp>
      <p:sp>
        <p:nvSpPr>
          <p:cNvPr id="40" name="Freeform 3"/>
          <p:cNvSpPr>
            <a:spLocks noChangeAspect="1" noEditPoints="1"/>
          </p:cNvSpPr>
          <p:nvPr/>
        </p:nvSpPr>
        <p:spPr bwMode="auto">
          <a:xfrm>
            <a:off x="11346385" y="5654820"/>
            <a:ext cx="599030" cy="429475"/>
          </a:xfrm>
          <a:custGeom>
            <a:avLst/>
            <a:gdLst>
              <a:gd name="T0" fmla="*/ 2147483647 w 522"/>
              <a:gd name="T1" fmla="*/ 2147483647 h 374"/>
              <a:gd name="T2" fmla="*/ 2147483647 w 522"/>
              <a:gd name="T3" fmla="*/ 2147483647 h 374"/>
              <a:gd name="T4" fmla="*/ 2147483647 w 522"/>
              <a:gd name="T5" fmla="*/ 2147483647 h 374"/>
              <a:gd name="T6" fmla="*/ 2147483647 w 522"/>
              <a:gd name="T7" fmla="*/ 2055615073 h 374"/>
              <a:gd name="T8" fmla="*/ 2147483647 w 522"/>
              <a:gd name="T9" fmla="*/ 1478354180 h 374"/>
              <a:gd name="T10" fmla="*/ 2147483647 w 522"/>
              <a:gd name="T11" fmla="*/ 1182682593 h 374"/>
              <a:gd name="T12" fmla="*/ 2147483647 w 522"/>
              <a:gd name="T13" fmla="*/ 0 h 374"/>
              <a:gd name="T14" fmla="*/ 2147483647 w 522"/>
              <a:gd name="T15" fmla="*/ 760296757 h 374"/>
              <a:gd name="T16" fmla="*/ 2147483647 w 522"/>
              <a:gd name="T17" fmla="*/ 1478354180 h 374"/>
              <a:gd name="T18" fmla="*/ 2147483647 w 522"/>
              <a:gd name="T19" fmla="*/ 1590989902 h 374"/>
              <a:gd name="T20" fmla="*/ 1293600320 w 522"/>
              <a:gd name="T21" fmla="*/ 2147483647 h 374"/>
              <a:gd name="T22" fmla="*/ 2147483647 w 522"/>
              <a:gd name="T23" fmla="*/ 2147483647 h 374"/>
              <a:gd name="T24" fmla="*/ 998323617 w 522"/>
              <a:gd name="T25" fmla="*/ 2147483647 h 374"/>
              <a:gd name="T26" fmla="*/ 435886086 w 522"/>
              <a:gd name="T27" fmla="*/ 2147483647 h 374"/>
              <a:gd name="T28" fmla="*/ 435886086 w 522"/>
              <a:gd name="T29" fmla="*/ 2147483647 h 374"/>
              <a:gd name="T30" fmla="*/ 2147483647 w 522"/>
              <a:gd name="T31" fmla="*/ 2147483647 h 374"/>
              <a:gd name="T32" fmla="*/ 1181114314 w 522"/>
              <a:gd name="T33" fmla="*/ 2147483647 h 374"/>
              <a:gd name="T34" fmla="*/ 2147483647 w 522"/>
              <a:gd name="T35" fmla="*/ 2147483647 h 374"/>
              <a:gd name="T36" fmla="*/ 2147483647 w 522"/>
              <a:gd name="T37" fmla="*/ 2147483647 h 374"/>
              <a:gd name="T38" fmla="*/ 2147483647 w 522"/>
              <a:gd name="T39" fmla="*/ 2147483647 h 374"/>
              <a:gd name="T40" fmla="*/ 2147483647 w 522"/>
              <a:gd name="T41" fmla="*/ 2147483647 h 374"/>
              <a:gd name="T42" fmla="*/ 2147483647 w 522"/>
              <a:gd name="T43" fmla="*/ 2147483647 h 374"/>
              <a:gd name="T44" fmla="*/ 2147483647 w 522"/>
              <a:gd name="T45" fmla="*/ 2147483647 h 374"/>
              <a:gd name="T46" fmla="*/ 2147483647 w 522"/>
              <a:gd name="T47" fmla="*/ 2147483647 h 374"/>
              <a:gd name="T48" fmla="*/ 2147483647 w 522"/>
              <a:gd name="T49" fmla="*/ 2147483647 h 374"/>
              <a:gd name="T50" fmla="*/ 2147483647 w 522"/>
              <a:gd name="T51" fmla="*/ 2147483647 h 374"/>
              <a:gd name="T52" fmla="*/ 2147483647 w 522"/>
              <a:gd name="T53" fmla="*/ 2147483647 h 374"/>
              <a:gd name="T54" fmla="*/ 2147483647 w 522"/>
              <a:gd name="T55" fmla="*/ 2147483647 h 374"/>
              <a:gd name="T56" fmla="*/ 2147483647 w 522"/>
              <a:gd name="T57" fmla="*/ 2147483647 h 374"/>
              <a:gd name="T58" fmla="*/ 2147483647 w 522"/>
              <a:gd name="T59" fmla="*/ 2147483647 h 374"/>
              <a:gd name="T60" fmla="*/ 1926338792 w 522"/>
              <a:gd name="T61" fmla="*/ 2147483647 h 374"/>
              <a:gd name="T62" fmla="*/ 435886086 w 522"/>
              <a:gd name="T63" fmla="*/ 2147483647 h 374"/>
              <a:gd name="T64" fmla="*/ 435886086 w 522"/>
              <a:gd name="T65" fmla="*/ 2147483647 h 374"/>
              <a:gd name="T66" fmla="*/ 2147483647 w 522"/>
              <a:gd name="T67" fmla="*/ 760296757 h 374"/>
              <a:gd name="T68" fmla="*/ 2147483647 w 522"/>
              <a:gd name="T69" fmla="*/ 225271445 h 374"/>
              <a:gd name="T70" fmla="*/ 2147483647 w 522"/>
              <a:gd name="T71" fmla="*/ 957411148 h 374"/>
              <a:gd name="T72" fmla="*/ 1518576083 w 522"/>
              <a:gd name="T73" fmla="*/ 2147483647 h 374"/>
              <a:gd name="T74" fmla="*/ 2147483647 w 522"/>
              <a:gd name="T75" fmla="*/ 2147483647 h 374"/>
              <a:gd name="T76" fmla="*/ 2147483647 w 522"/>
              <a:gd name="T77" fmla="*/ 2147483647 h 374"/>
              <a:gd name="T78" fmla="*/ 2147483647 w 522"/>
              <a:gd name="T79" fmla="*/ 2147483647 h 374"/>
              <a:gd name="T80" fmla="*/ 2147483647 w 522"/>
              <a:gd name="T81" fmla="*/ 2147483647 h 374"/>
              <a:gd name="T82" fmla="*/ 2147483647 w 522"/>
              <a:gd name="T83" fmla="*/ 2147483647 h 374"/>
              <a:gd name="T84" fmla="*/ 2147483647 w 522"/>
              <a:gd name="T85" fmla="*/ 2147483647 h 374"/>
              <a:gd name="T86" fmla="*/ 2147483647 w 522"/>
              <a:gd name="T87" fmla="*/ 2147483647 h 374"/>
              <a:gd name="T88" fmla="*/ 2147483647 w 522"/>
              <a:gd name="T89" fmla="*/ 2147483647 h 374"/>
              <a:gd name="T90" fmla="*/ 2147483647 w 522"/>
              <a:gd name="T91" fmla="*/ 1703625625 h 374"/>
              <a:gd name="T92" fmla="*/ 2147483647 w 522"/>
              <a:gd name="T93" fmla="*/ 2055615073 h 374"/>
              <a:gd name="T94" fmla="*/ 2147483647 w 522"/>
              <a:gd name="T95" fmla="*/ 2147483647 h 374"/>
              <a:gd name="T96" fmla="*/ 2147483647 w 522"/>
              <a:gd name="T97" fmla="*/ 2147483647 h 374"/>
              <a:gd name="T98" fmla="*/ 2147483647 w 522"/>
              <a:gd name="T99" fmla="*/ 2147483647 h 374"/>
              <a:gd name="T100" fmla="*/ 2147483647 w 522"/>
              <a:gd name="T101" fmla="*/ 2147483647 h 374"/>
              <a:gd name="T102" fmla="*/ 2147483647 w 522"/>
              <a:gd name="T103" fmla="*/ 2147483647 h 3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22" h="374">
                <a:moveTo>
                  <a:pt x="492" y="289"/>
                </a:moveTo>
                <a:cubicBezTo>
                  <a:pt x="457" y="289"/>
                  <a:pt x="457" y="289"/>
                  <a:pt x="457" y="289"/>
                </a:cubicBezTo>
                <a:cubicBezTo>
                  <a:pt x="457" y="257"/>
                  <a:pt x="457" y="257"/>
                  <a:pt x="457" y="257"/>
                </a:cubicBezTo>
                <a:cubicBezTo>
                  <a:pt x="457" y="255"/>
                  <a:pt x="456" y="253"/>
                  <a:pt x="455" y="252"/>
                </a:cubicBezTo>
                <a:cubicBezTo>
                  <a:pt x="454" y="250"/>
                  <a:pt x="451" y="249"/>
                  <a:pt x="449" y="249"/>
                </a:cubicBezTo>
                <a:cubicBezTo>
                  <a:pt x="364" y="249"/>
                  <a:pt x="364" y="249"/>
                  <a:pt x="364" y="249"/>
                </a:cubicBezTo>
                <a:cubicBezTo>
                  <a:pt x="364" y="230"/>
                  <a:pt x="364" y="230"/>
                  <a:pt x="364" y="230"/>
                </a:cubicBezTo>
                <a:cubicBezTo>
                  <a:pt x="399" y="230"/>
                  <a:pt x="399" y="230"/>
                  <a:pt x="399" y="230"/>
                </a:cubicBezTo>
                <a:cubicBezTo>
                  <a:pt x="416" y="230"/>
                  <a:pt x="430" y="216"/>
                  <a:pt x="430" y="199"/>
                </a:cubicBezTo>
                <a:cubicBezTo>
                  <a:pt x="430" y="176"/>
                  <a:pt x="430" y="176"/>
                  <a:pt x="430" y="176"/>
                </a:cubicBezTo>
                <a:cubicBezTo>
                  <a:pt x="430" y="159"/>
                  <a:pt x="416" y="146"/>
                  <a:pt x="399" y="146"/>
                </a:cubicBezTo>
                <a:cubicBezTo>
                  <a:pt x="362" y="146"/>
                  <a:pt x="362" y="146"/>
                  <a:pt x="362" y="146"/>
                </a:cubicBezTo>
                <a:cubicBezTo>
                  <a:pt x="362" y="113"/>
                  <a:pt x="362" y="113"/>
                  <a:pt x="362" y="113"/>
                </a:cubicBezTo>
                <a:cubicBezTo>
                  <a:pt x="362" y="111"/>
                  <a:pt x="361" y="109"/>
                  <a:pt x="359" y="107"/>
                </a:cubicBezTo>
                <a:cubicBezTo>
                  <a:pt x="358" y="106"/>
                  <a:pt x="356" y="105"/>
                  <a:pt x="354" y="105"/>
                </a:cubicBezTo>
                <a:cubicBezTo>
                  <a:pt x="268" y="105"/>
                  <a:pt x="268" y="105"/>
                  <a:pt x="268" y="105"/>
                </a:cubicBezTo>
                <a:cubicBezTo>
                  <a:pt x="268" y="84"/>
                  <a:pt x="268" y="84"/>
                  <a:pt x="268" y="84"/>
                </a:cubicBezTo>
                <a:cubicBezTo>
                  <a:pt x="307" y="84"/>
                  <a:pt x="307" y="84"/>
                  <a:pt x="307" y="84"/>
                </a:cubicBezTo>
                <a:cubicBezTo>
                  <a:pt x="324" y="84"/>
                  <a:pt x="338" y="71"/>
                  <a:pt x="338" y="54"/>
                </a:cubicBezTo>
                <a:cubicBezTo>
                  <a:pt x="338" y="31"/>
                  <a:pt x="338" y="31"/>
                  <a:pt x="338" y="31"/>
                </a:cubicBezTo>
                <a:cubicBezTo>
                  <a:pt x="338" y="14"/>
                  <a:pt x="324" y="0"/>
                  <a:pt x="307" y="0"/>
                </a:cubicBezTo>
                <a:cubicBezTo>
                  <a:pt x="216" y="0"/>
                  <a:pt x="216" y="0"/>
                  <a:pt x="216" y="0"/>
                </a:cubicBezTo>
                <a:cubicBezTo>
                  <a:pt x="199" y="0"/>
                  <a:pt x="185" y="14"/>
                  <a:pt x="185" y="31"/>
                </a:cubicBezTo>
                <a:cubicBezTo>
                  <a:pt x="185" y="54"/>
                  <a:pt x="185" y="54"/>
                  <a:pt x="185" y="54"/>
                </a:cubicBezTo>
                <a:cubicBezTo>
                  <a:pt x="185" y="71"/>
                  <a:pt x="199" y="84"/>
                  <a:pt x="216" y="84"/>
                </a:cubicBezTo>
                <a:cubicBezTo>
                  <a:pt x="252" y="84"/>
                  <a:pt x="252" y="84"/>
                  <a:pt x="252" y="84"/>
                </a:cubicBezTo>
                <a:cubicBezTo>
                  <a:pt x="252" y="105"/>
                  <a:pt x="252" y="105"/>
                  <a:pt x="252" y="105"/>
                </a:cubicBezTo>
                <a:cubicBezTo>
                  <a:pt x="167" y="105"/>
                  <a:pt x="167" y="105"/>
                  <a:pt x="167" y="105"/>
                </a:cubicBezTo>
                <a:cubicBezTo>
                  <a:pt x="165" y="105"/>
                  <a:pt x="163" y="106"/>
                  <a:pt x="161" y="107"/>
                </a:cubicBezTo>
                <a:cubicBezTo>
                  <a:pt x="160" y="109"/>
                  <a:pt x="159" y="111"/>
                  <a:pt x="159" y="113"/>
                </a:cubicBezTo>
                <a:cubicBezTo>
                  <a:pt x="159" y="146"/>
                  <a:pt x="159" y="146"/>
                  <a:pt x="159" y="146"/>
                </a:cubicBezTo>
                <a:cubicBezTo>
                  <a:pt x="123" y="146"/>
                  <a:pt x="123" y="146"/>
                  <a:pt x="123" y="146"/>
                </a:cubicBezTo>
                <a:cubicBezTo>
                  <a:pt x="106" y="146"/>
                  <a:pt x="92" y="159"/>
                  <a:pt x="92" y="176"/>
                </a:cubicBezTo>
                <a:cubicBezTo>
                  <a:pt x="92" y="199"/>
                  <a:pt x="92" y="199"/>
                  <a:pt x="92" y="199"/>
                </a:cubicBezTo>
                <a:cubicBezTo>
                  <a:pt x="92" y="216"/>
                  <a:pt x="106" y="230"/>
                  <a:pt x="123" y="230"/>
                </a:cubicBezTo>
                <a:cubicBezTo>
                  <a:pt x="162" y="230"/>
                  <a:pt x="162" y="230"/>
                  <a:pt x="162" y="230"/>
                </a:cubicBezTo>
                <a:cubicBezTo>
                  <a:pt x="162" y="249"/>
                  <a:pt x="162" y="249"/>
                  <a:pt x="162" y="249"/>
                </a:cubicBezTo>
                <a:cubicBezTo>
                  <a:pt x="76" y="249"/>
                  <a:pt x="76" y="249"/>
                  <a:pt x="76" y="249"/>
                </a:cubicBezTo>
                <a:cubicBezTo>
                  <a:pt x="74" y="249"/>
                  <a:pt x="72" y="250"/>
                  <a:pt x="71" y="252"/>
                </a:cubicBezTo>
                <a:cubicBezTo>
                  <a:pt x="69" y="253"/>
                  <a:pt x="68" y="255"/>
                  <a:pt x="68" y="257"/>
                </a:cubicBezTo>
                <a:cubicBezTo>
                  <a:pt x="68" y="289"/>
                  <a:pt x="68" y="289"/>
                  <a:pt x="68" y="289"/>
                </a:cubicBezTo>
                <a:cubicBezTo>
                  <a:pt x="31" y="289"/>
                  <a:pt x="31" y="289"/>
                  <a:pt x="31" y="289"/>
                </a:cubicBezTo>
                <a:cubicBezTo>
                  <a:pt x="14" y="289"/>
                  <a:pt x="0" y="303"/>
                  <a:pt x="0" y="320"/>
                </a:cubicBezTo>
                <a:cubicBezTo>
                  <a:pt x="0" y="343"/>
                  <a:pt x="0" y="343"/>
                  <a:pt x="0" y="343"/>
                </a:cubicBezTo>
                <a:cubicBezTo>
                  <a:pt x="0" y="360"/>
                  <a:pt x="14" y="374"/>
                  <a:pt x="31" y="374"/>
                </a:cubicBezTo>
                <a:cubicBezTo>
                  <a:pt x="122" y="374"/>
                  <a:pt x="122" y="374"/>
                  <a:pt x="122" y="374"/>
                </a:cubicBezTo>
                <a:cubicBezTo>
                  <a:pt x="139" y="374"/>
                  <a:pt x="153" y="360"/>
                  <a:pt x="153" y="343"/>
                </a:cubicBezTo>
                <a:cubicBezTo>
                  <a:pt x="153" y="320"/>
                  <a:pt x="153" y="320"/>
                  <a:pt x="153" y="320"/>
                </a:cubicBezTo>
                <a:cubicBezTo>
                  <a:pt x="153" y="303"/>
                  <a:pt x="139" y="289"/>
                  <a:pt x="122" y="289"/>
                </a:cubicBezTo>
                <a:cubicBezTo>
                  <a:pt x="84" y="289"/>
                  <a:pt x="84" y="289"/>
                  <a:pt x="84" y="289"/>
                </a:cubicBezTo>
                <a:cubicBezTo>
                  <a:pt x="84" y="265"/>
                  <a:pt x="84" y="265"/>
                  <a:pt x="84" y="265"/>
                </a:cubicBezTo>
                <a:cubicBezTo>
                  <a:pt x="170" y="265"/>
                  <a:pt x="170" y="265"/>
                  <a:pt x="170" y="265"/>
                </a:cubicBezTo>
                <a:cubicBezTo>
                  <a:pt x="170" y="265"/>
                  <a:pt x="170" y="265"/>
                  <a:pt x="170" y="265"/>
                </a:cubicBezTo>
                <a:cubicBezTo>
                  <a:pt x="255" y="265"/>
                  <a:pt x="255" y="265"/>
                  <a:pt x="255" y="265"/>
                </a:cubicBezTo>
                <a:cubicBezTo>
                  <a:pt x="255" y="289"/>
                  <a:pt x="255" y="289"/>
                  <a:pt x="255" y="289"/>
                </a:cubicBezTo>
                <a:cubicBezTo>
                  <a:pt x="216" y="289"/>
                  <a:pt x="216" y="289"/>
                  <a:pt x="216" y="289"/>
                </a:cubicBezTo>
                <a:cubicBezTo>
                  <a:pt x="199" y="289"/>
                  <a:pt x="185" y="303"/>
                  <a:pt x="185" y="320"/>
                </a:cubicBezTo>
                <a:cubicBezTo>
                  <a:pt x="185" y="343"/>
                  <a:pt x="185" y="343"/>
                  <a:pt x="185" y="343"/>
                </a:cubicBezTo>
                <a:cubicBezTo>
                  <a:pt x="185" y="360"/>
                  <a:pt x="199" y="374"/>
                  <a:pt x="216" y="374"/>
                </a:cubicBezTo>
                <a:cubicBezTo>
                  <a:pt x="307" y="374"/>
                  <a:pt x="307" y="374"/>
                  <a:pt x="307" y="374"/>
                </a:cubicBezTo>
                <a:cubicBezTo>
                  <a:pt x="324" y="374"/>
                  <a:pt x="338" y="360"/>
                  <a:pt x="338" y="343"/>
                </a:cubicBezTo>
                <a:cubicBezTo>
                  <a:pt x="338" y="320"/>
                  <a:pt x="338" y="320"/>
                  <a:pt x="338" y="320"/>
                </a:cubicBezTo>
                <a:cubicBezTo>
                  <a:pt x="338" y="303"/>
                  <a:pt x="324" y="289"/>
                  <a:pt x="307" y="289"/>
                </a:cubicBezTo>
                <a:cubicBezTo>
                  <a:pt x="271" y="289"/>
                  <a:pt x="271" y="289"/>
                  <a:pt x="271" y="289"/>
                </a:cubicBezTo>
                <a:cubicBezTo>
                  <a:pt x="271" y="265"/>
                  <a:pt x="271" y="265"/>
                  <a:pt x="271" y="265"/>
                </a:cubicBezTo>
                <a:cubicBezTo>
                  <a:pt x="356" y="265"/>
                  <a:pt x="356" y="265"/>
                  <a:pt x="356" y="265"/>
                </a:cubicBezTo>
                <a:cubicBezTo>
                  <a:pt x="356" y="265"/>
                  <a:pt x="356" y="265"/>
                  <a:pt x="356" y="265"/>
                </a:cubicBezTo>
                <a:cubicBezTo>
                  <a:pt x="441" y="265"/>
                  <a:pt x="441" y="265"/>
                  <a:pt x="441" y="265"/>
                </a:cubicBezTo>
                <a:cubicBezTo>
                  <a:pt x="441" y="289"/>
                  <a:pt x="441" y="289"/>
                  <a:pt x="441" y="289"/>
                </a:cubicBezTo>
                <a:cubicBezTo>
                  <a:pt x="400" y="289"/>
                  <a:pt x="400" y="289"/>
                  <a:pt x="400" y="289"/>
                </a:cubicBezTo>
                <a:cubicBezTo>
                  <a:pt x="383" y="289"/>
                  <a:pt x="370" y="303"/>
                  <a:pt x="370" y="320"/>
                </a:cubicBezTo>
                <a:cubicBezTo>
                  <a:pt x="370" y="343"/>
                  <a:pt x="370" y="343"/>
                  <a:pt x="370" y="343"/>
                </a:cubicBezTo>
                <a:cubicBezTo>
                  <a:pt x="370" y="360"/>
                  <a:pt x="383" y="374"/>
                  <a:pt x="400" y="374"/>
                </a:cubicBezTo>
                <a:cubicBezTo>
                  <a:pt x="453" y="374"/>
                  <a:pt x="453" y="374"/>
                  <a:pt x="453" y="374"/>
                </a:cubicBezTo>
                <a:cubicBezTo>
                  <a:pt x="458" y="374"/>
                  <a:pt x="461" y="370"/>
                  <a:pt x="461" y="366"/>
                </a:cubicBezTo>
                <a:cubicBezTo>
                  <a:pt x="461" y="361"/>
                  <a:pt x="458" y="358"/>
                  <a:pt x="453" y="358"/>
                </a:cubicBezTo>
                <a:cubicBezTo>
                  <a:pt x="400" y="358"/>
                  <a:pt x="400" y="358"/>
                  <a:pt x="400" y="358"/>
                </a:cubicBezTo>
                <a:cubicBezTo>
                  <a:pt x="392" y="358"/>
                  <a:pt x="386" y="351"/>
                  <a:pt x="386" y="343"/>
                </a:cubicBezTo>
                <a:cubicBezTo>
                  <a:pt x="386" y="320"/>
                  <a:pt x="386" y="320"/>
                  <a:pt x="386" y="320"/>
                </a:cubicBezTo>
                <a:cubicBezTo>
                  <a:pt x="386" y="312"/>
                  <a:pt x="392" y="305"/>
                  <a:pt x="400" y="305"/>
                </a:cubicBezTo>
                <a:cubicBezTo>
                  <a:pt x="492" y="305"/>
                  <a:pt x="492" y="305"/>
                  <a:pt x="492" y="305"/>
                </a:cubicBezTo>
                <a:cubicBezTo>
                  <a:pt x="500" y="305"/>
                  <a:pt x="506" y="312"/>
                  <a:pt x="506" y="320"/>
                </a:cubicBezTo>
                <a:cubicBezTo>
                  <a:pt x="506" y="343"/>
                  <a:pt x="506" y="343"/>
                  <a:pt x="506" y="343"/>
                </a:cubicBezTo>
                <a:cubicBezTo>
                  <a:pt x="506" y="351"/>
                  <a:pt x="500" y="358"/>
                  <a:pt x="492" y="358"/>
                </a:cubicBezTo>
                <a:cubicBezTo>
                  <a:pt x="486" y="358"/>
                  <a:pt x="486" y="358"/>
                  <a:pt x="486" y="358"/>
                </a:cubicBezTo>
                <a:cubicBezTo>
                  <a:pt x="481" y="358"/>
                  <a:pt x="478" y="361"/>
                  <a:pt x="478" y="366"/>
                </a:cubicBezTo>
                <a:cubicBezTo>
                  <a:pt x="478" y="370"/>
                  <a:pt x="481" y="374"/>
                  <a:pt x="486" y="374"/>
                </a:cubicBezTo>
                <a:cubicBezTo>
                  <a:pt x="492" y="374"/>
                  <a:pt x="492" y="374"/>
                  <a:pt x="492" y="374"/>
                </a:cubicBezTo>
                <a:cubicBezTo>
                  <a:pt x="509" y="374"/>
                  <a:pt x="522" y="360"/>
                  <a:pt x="522" y="343"/>
                </a:cubicBezTo>
                <a:cubicBezTo>
                  <a:pt x="522" y="320"/>
                  <a:pt x="522" y="320"/>
                  <a:pt x="522" y="320"/>
                </a:cubicBezTo>
                <a:cubicBezTo>
                  <a:pt x="522" y="303"/>
                  <a:pt x="509" y="289"/>
                  <a:pt x="492" y="289"/>
                </a:cubicBezTo>
                <a:close/>
                <a:moveTo>
                  <a:pt x="122" y="305"/>
                </a:moveTo>
                <a:cubicBezTo>
                  <a:pt x="130" y="305"/>
                  <a:pt x="137" y="312"/>
                  <a:pt x="137" y="320"/>
                </a:cubicBezTo>
                <a:cubicBezTo>
                  <a:pt x="137" y="343"/>
                  <a:pt x="137" y="343"/>
                  <a:pt x="137" y="343"/>
                </a:cubicBezTo>
                <a:cubicBezTo>
                  <a:pt x="137" y="351"/>
                  <a:pt x="130" y="358"/>
                  <a:pt x="122" y="358"/>
                </a:cubicBezTo>
                <a:cubicBezTo>
                  <a:pt x="31" y="358"/>
                  <a:pt x="31" y="358"/>
                  <a:pt x="31" y="358"/>
                </a:cubicBezTo>
                <a:cubicBezTo>
                  <a:pt x="23" y="358"/>
                  <a:pt x="16" y="351"/>
                  <a:pt x="16" y="343"/>
                </a:cubicBezTo>
                <a:cubicBezTo>
                  <a:pt x="16" y="320"/>
                  <a:pt x="16" y="320"/>
                  <a:pt x="16" y="320"/>
                </a:cubicBezTo>
                <a:cubicBezTo>
                  <a:pt x="16" y="312"/>
                  <a:pt x="23" y="305"/>
                  <a:pt x="31" y="305"/>
                </a:cubicBezTo>
                <a:lnTo>
                  <a:pt x="122" y="305"/>
                </a:lnTo>
                <a:close/>
                <a:moveTo>
                  <a:pt x="216" y="68"/>
                </a:moveTo>
                <a:cubicBezTo>
                  <a:pt x="207" y="68"/>
                  <a:pt x="201" y="62"/>
                  <a:pt x="201" y="54"/>
                </a:cubicBezTo>
                <a:cubicBezTo>
                  <a:pt x="201" y="31"/>
                  <a:pt x="201" y="31"/>
                  <a:pt x="201" y="31"/>
                </a:cubicBezTo>
                <a:cubicBezTo>
                  <a:pt x="201" y="23"/>
                  <a:pt x="207" y="16"/>
                  <a:pt x="216" y="16"/>
                </a:cubicBezTo>
                <a:cubicBezTo>
                  <a:pt x="307" y="16"/>
                  <a:pt x="307" y="16"/>
                  <a:pt x="307" y="16"/>
                </a:cubicBezTo>
                <a:cubicBezTo>
                  <a:pt x="315" y="16"/>
                  <a:pt x="322" y="23"/>
                  <a:pt x="322" y="31"/>
                </a:cubicBezTo>
                <a:cubicBezTo>
                  <a:pt x="322" y="54"/>
                  <a:pt x="322" y="54"/>
                  <a:pt x="322" y="54"/>
                </a:cubicBezTo>
                <a:cubicBezTo>
                  <a:pt x="322" y="62"/>
                  <a:pt x="315" y="68"/>
                  <a:pt x="307" y="68"/>
                </a:cubicBezTo>
                <a:lnTo>
                  <a:pt x="216" y="68"/>
                </a:lnTo>
                <a:close/>
                <a:moveTo>
                  <a:pt x="123" y="214"/>
                </a:moveTo>
                <a:cubicBezTo>
                  <a:pt x="115" y="214"/>
                  <a:pt x="108" y="207"/>
                  <a:pt x="108" y="199"/>
                </a:cubicBezTo>
                <a:cubicBezTo>
                  <a:pt x="108" y="176"/>
                  <a:pt x="108" y="176"/>
                  <a:pt x="108" y="176"/>
                </a:cubicBezTo>
                <a:cubicBezTo>
                  <a:pt x="108" y="168"/>
                  <a:pt x="115" y="162"/>
                  <a:pt x="123" y="162"/>
                </a:cubicBezTo>
                <a:cubicBezTo>
                  <a:pt x="214" y="162"/>
                  <a:pt x="214" y="162"/>
                  <a:pt x="214" y="162"/>
                </a:cubicBezTo>
                <a:cubicBezTo>
                  <a:pt x="223" y="162"/>
                  <a:pt x="229" y="168"/>
                  <a:pt x="229" y="176"/>
                </a:cubicBezTo>
                <a:cubicBezTo>
                  <a:pt x="229" y="199"/>
                  <a:pt x="229" y="199"/>
                  <a:pt x="229" y="199"/>
                </a:cubicBezTo>
                <a:cubicBezTo>
                  <a:pt x="229" y="199"/>
                  <a:pt x="229" y="199"/>
                  <a:pt x="229" y="199"/>
                </a:cubicBezTo>
                <a:cubicBezTo>
                  <a:pt x="229" y="207"/>
                  <a:pt x="223" y="214"/>
                  <a:pt x="214" y="214"/>
                </a:cubicBezTo>
                <a:lnTo>
                  <a:pt x="123" y="214"/>
                </a:lnTo>
                <a:close/>
                <a:moveTo>
                  <a:pt x="307" y="305"/>
                </a:moveTo>
                <a:cubicBezTo>
                  <a:pt x="315" y="305"/>
                  <a:pt x="322" y="312"/>
                  <a:pt x="322" y="320"/>
                </a:cubicBezTo>
                <a:cubicBezTo>
                  <a:pt x="322" y="343"/>
                  <a:pt x="322" y="343"/>
                  <a:pt x="322" y="343"/>
                </a:cubicBezTo>
                <a:cubicBezTo>
                  <a:pt x="322" y="351"/>
                  <a:pt x="315" y="358"/>
                  <a:pt x="307" y="358"/>
                </a:cubicBezTo>
                <a:cubicBezTo>
                  <a:pt x="216" y="358"/>
                  <a:pt x="216" y="358"/>
                  <a:pt x="216" y="358"/>
                </a:cubicBezTo>
                <a:cubicBezTo>
                  <a:pt x="207" y="358"/>
                  <a:pt x="201" y="351"/>
                  <a:pt x="201" y="343"/>
                </a:cubicBezTo>
                <a:cubicBezTo>
                  <a:pt x="201" y="320"/>
                  <a:pt x="201" y="320"/>
                  <a:pt x="201" y="320"/>
                </a:cubicBezTo>
                <a:cubicBezTo>
                  <a:pt x="201" y="312"/>
                  <a:pt x="207" y="305"/>
                  <a:pt x="216" y="305"/>
                </a:cubicBezTo>
                <a:lnTo>
                  <a:pt x="307" y="305"/>
                </a:lnTo>
                <a:close/>
                <a:moveTo>
                  <a:pt x="348" y="249"/>
                </a:moveTo>
                <a:cubicBezTo>
                  <a:pt x="178" y="249"/>
                  <a:pt x="178" y="249"/>
                  <a:pt x="178" y="249"/>
                </a:cubicBezTo>
                <a:cubicBezTo>
                  <a:pt x="178" y="230"/>
                  <a:pt x="178" y="230"/>
                  <a:pt x="178" y="230"/>
                </a:cubicBezTo>
                <a:cubicBezTo>
                  <a:pt x="214" y="230"/>
                  <a:pt x="214" y="230"/>
                  <a:pt x="214" y="230"/>
                </a:cubicBezTo>
                <a:cubicBezTo>
                  <a:pt x="231" y="230"/>
                  <a:pt x="245" y="216"/>
                  <a:pt x="245" y="199"/>
                </a:cubicBezTo>
                <a:cubicBezTo>
                  <a:pt x="245" y="199"/>
                  <a:pt x="245" y="199"/>
                  <a:pt x="245" y="199"/>
                </a:cubicBezTo>
                <a:cubicBezTo>
                  <a:pt x="245" y="176"/>
                  <a:pt x="245" y="176"/>
                  <a:pt x="245" y="176"/>
                </a:cubicBezTo>
                <a:cubicBezTo>
                  <a:pt x="245" y="159"/>
                  <a:pt x="231" y="146"/>
                  <a:pt x="214" y="146"/>
                </a:cubicBezTo>
                <a:cubicBezTo>
                  <a:pt x="175" y="146"/>
                  <a:pt x="175" y="146"/>
                  <a:pt x="175" y="146"/>
                </a:cubicBezTo>
                <a:cubicBezTo>
                  <a:pt x="175" y="121"/>
                  <a:pt x="175" y="121"/>
                  <a:pt x="175" y="121"/>
                </a:cubicBezTo>
                <a:cubicBezTo>
                  <a:pt x="260" y="121"/>
                  <a:pt x="260" y="121"/>
                  <a:pt x="260" y="121"/>
                </a:cubicBezTo>
                <a:cubicBezTo>
                  <a:pt x="346" y="121"/>
                  <a:pt x="346" y="121"/>
                  <a:pt x="346" y="121"/>
                </a:cubicBezTo>
                <a:cubicBezTo>
                  <a:pt x="346" y="146"/>
                  <a:pt x="346" y="146"/>
                  <a:pt x="346" y="146"/>
                </a:cubicBezTo>
                <a:cubicBezTo>
                  <a:pt x="308" y="146"/>
                  <a:pt x="308" y="146"/>
                  <a:pt x="308" y="146"/>
                </a:cubicBezTo>
                <a:cubicBezTo>
                  <a:pt x="291" y="146"/>
                  <a:pt x="277" y="159"/>
                  <a:pt x="277" y="176"/>
                </a:cubicBezTo>
                <a:cubicBezTo>
                  <a:pt x="277" y="199"/>
                  <a:pt x="277" y="199"/>
                  <a:pt x="277" y="199"/>
                </a:cubicBezTo>
                <a:cubicBezTo>
                  <a:pt x="277" y="216"/>
                  <a:pt x="291" y="230"/>
                  <a:pt x="308" y="230"/>
                </a:cubicBezTo>
                <a:cubicBezTo>
                  <a:pt x="348" y="230"/>
                  <a:pt x="348" y="230"/>
                  <a:pt x="348" y="230"/>
                </a:cubicBezTo>
                <a:lnTo>
                  <a:pt x="348" y="249"/>
                </a:lnTo>
                <a:close/>
                <a:moveTo>
                  <a:pt x="308" y="214"/>
                </a:moveTo>
                <a:cubicBezTo>
                  <a:pt x="300" y="214"/>
                  <a:pt x="293" y="207"/>
                  <a:pt x="293" y="199"/>
                </a:cubicBezTo>
                <a:cubicBezTo>
                  <a:pt x="293" y="176"/>
                  <a:pt x="293" y="176"/>
                  <a:pt x="293" y="176"/>
                </a:cubicBezTo>
                <a:cubicBezTo>
                  <a:pt x="293" y="168"/>
                  <a:pt x="300" y="162"/>
                  <a:pt x="308" y="162"/>
                </a:cubicBezTo>
                <a:cubicBezTo>
                  <a:pt x="399" y="162"/>
                  <a:pt x="399" y="162"/>
                  <a:pt x="399" y="162"/>
                </a:cubicBezTo>
                <a:cubicBezTo>
                  <a:pt x="407" y="162"/>
                  <a:pt x="414" y="168"/>
                  <a:pt x="414" y="176"/>
                </a:cubicBezTo>
                <a:cubicBezTo>
                  <a:pt x="414" y="199"/>
                  <a:pt x="414" y="199"/>
                  <a:pt x="414" y="199"/>
                </a:cubicBezTo>
                <a:cubicBezTo>
                  <a:pt x="414" y="207"/>
                  <a:pt x="407" y="214"/>
                  <a:pt x="399" y="214"/>
                </a:cubicBezTo>
                <a:lnTo>
                  <a:pt x="308" y="214"/>
                </a:ln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3"/>
          <p:cNvSpPr>
            <a:spLocks noChangeAspect="1" noEditPoints="1"/>
          </p:cNvSpPr>
          <p:nvPr/>
        </p:nvSpPr>
        <p:spPr bwMode="auto">
          <a:xfrm>
            <a:off x="10356275" y="1988840"/>
            <a:ext cx="332167" cy="436295"/>
          </a:xfrm>
          <a:custGeom>
            <a:avLst/>
            <a:gdLst>
              <a:gd name="T0" fmla="*/ 1491583626 w 270"/>
              <a:gd name="T1" fmla="*/ 2147483647 h 355"/>
              <a:gd name="T2" fmla="*/ 1590082733 w 270"/>
              <a:gd name="T3" fmla="*/ 2147483647 h 355"/>
              <a:gd name="T4" fmla="*/ 2147483647 w 270"/>
              <a:gd name="T5" fmla="*/ 2147483647 h 355"/>
              <a:gd name="T6" fmla="*/ 2147483647 w 270"/>
              <a:gd name="T7" fmla="*/ 2147483647 h 355"/>
              <a:gd name="T8" fmla="*/ 1899658321 w 270"/>
              <a:gd name="T9" fmla="*/ 2147483647 h 355"/>
              <a:gd name="T10" fmla="*/ 1590082733 w 270"/>
              <a:gd name="T11" fmla="*/ 2147483647 h 355"/>
              <a:gd name="T12" fmla="*/ 2147483647 w 270"/>
              <a:gd name="T13" fmla="*/ 2147483647 h 355"/>
              <a:gd name="T14" fmla="*/ 1970015898 w 270"/>
              <a:gd name="T15" fmla="*/ 2147483647 h 355"/>
              <a:gd name="T16" fmla="*/ 1730797886 w 270"/>
              <a:gd name="T17" fmla="*/ 2147483647 h 355"/>
              <a:gd name="T18" fmla="*/ 1758939417 w 270"/>
              <a:gd name="T19" fmla="*/ 2147483647 h 355"/>
              <a:gd name="T20" fmla="*/ 1899658321 w 270"/>
              <a:gd name="T21" fmla="*/ 2147483647 h 355"/>
              <a:gd name="T22" fmla="*/ 2147483647 w 270"/>
              <a:gd name="T23" fmla="*/ 1980059477 h 355"/>
              <a:gd name="T24" fmla="*/ 2147483647 w 270"/>
              <a:gd name="T25" fmla="*/ 1474509746 h 355"/>
              <a:gd name="T26" fmla="*/ 2147483647 w 270"/>
              <a:gd name="T27" fmla="*/ 926835554 h 355"/>
              <a:gd name="T28" fmla="*/ 2147483647 w 270"/>
              <a:gd name="T29" fmla="*/ 1488554980 h 355"/>
              <a:gd name="T30" fmla="*/ 2147483647 w 270"/>
              <a:gd name="T31" fmla="*/ 1980059477 h 355"/>
              <a:gd name="T32" fmla="*/ 2147483647 w 270"/>
              <a:gd name="T33" fmla="*/ 1488554980 h 355"/>
              <a:gd name="T34" fmla="*/ 1899658321 w 270"/>
              <a:gd name="T35" fmla="*/ 421289569 h 355"/>
              <a:gd name="T36" fmla="*/ 830220155 w 270"/>
              <a:gd name="T37" fmla="*/ 1980059477 h 355"/>
              <a:gd name="T38" fmla="*/ 605076660 w 270"/>
              <a:gd name="T39" fmla="*/ 1488554980 h 355"/>
              <a:gd name="T40" fmla="*/ 1899658321 w 270"/>
              <a:gd name="T41" fmla="*/ 224686271 h 355"/>
              <a:gd name="T42" fmla="*/ 2147483647 w 270"/>
              <a:gd name="T43" fmla="*/ 730236003 h 355"/>
              <a:gd name="T44" fmla="*/ 1899658321 w 270"/>
              <a:gd name="T45" fmla="*/ 0 h 355"/>
              <a:gd name="T46" fmla="*/ 379933165 w 270"/>
              <a:gd name="T47" fmla="*/ 1488554980 h 355"/>
              <a:gd name="T48" fmla="*/ 197001965 w 270"/>
              <a:gd name="T49" fmla="*/ 1980059477 h 355"/>
              <a:gd name="T50" fmla="*/ 0 w 270"/>
              <a:gd name="T51" fmla="*/ 2147483647 h 355"/>
              <a:gd name="T52" fmla="*/ 2147483647 w 270"/>
              <a:gd name="T53" fmla="*/ 2147483647 h 355"/>
              <a:gd name="T54" fmla="*/ 2147483647 w 270"/>
              <a:gd name="T55" fmla="*/ 2147483647 h 355"/>
              <a:gd name="T56" fmla="*/ 1055363650 w 270"/>
              <a:gd name="T57" fmla="*/ 1488554980 h 355"/>
              <a:gd name="T58" fmla="*/ 2147483647 w 270"/>
              <a:gd name="T59" fmla="*/ 940877040 h 355"/>
              <a:gd name="T60" fmla="*/ 2147483647 w 270"/>
              <a:gd name="T61" fmla="*/ 1980059477 h 355"/>
              <a:gd name="T62" fmla="*/ 1055363650 w 270"/>
              <a:gd name="T63" fmla="*/ 1488554980 h 355"/>
              <a:gd name="T64" fmla="*/ 225143495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3"/>
          <p:cNvSpPr>
            <a:spLocks noChangeAspect="1" noEditPoints="1"/>
          </p:cNvSpPr>
          <p:nvPr/>
        </p:nvSpPr>
        <p:spPr bwMode="auto">
          <a:xfrm>
            <a:off x="10862790" y="4554125"/>
            <a:ext cx="393585" cy="393585"/>
          </a:xfrm>
          <a:custGeom>
            <a:avLst/>
            <a:gdLst>
              <a:gd name="T0" fmla="*/ 2147483647 w 294"/>
              <a:gd name="T1" fmla="*/ 957660673 h 294"/>
              <a:gd name="T2" fmla="*/ 2147483647 w 294"/>
              <a:gd name="T3" fmla="*/ 929496169 h 294"/>
              <a:gd name="T4" fmla="*/ 2147483647 w 294"/>
              <a:gd name="T5" fmla="*/ 1084410321 h 294"/>
              <a:gd name="T6" fmla="*/ 2147483647 w 294"/>
              <a:gd name="T7" fmla="*/ 2070239250 h 294"/>
              <a:gd name="T8" fmla="*/ 2070239250 w 294"/>
              <a:gd name="T9" fmla="*/ 2147483647 h 294"/>
              <a:gd name="T10" fmla="*/ 225331040 w 294"/>
              <a:gd name="T11" fmla="*/ 2070239250 h 294"/>
              <a:gd name="T12" fmla="*/ 2070239250 w 294"/>
              <a:gd name="T13" fmla="*/ 225331040 h 294"/>
              <a:gd name="T14" fmla="*/ 2147483647 w 294"/>
              <a:gd name="T15" fmla="*/ 760494137 h 294"/>
              <a:gd name="T16" fmla="*/ 2147483647 w 294"/>
              <a:gd name="T17" fmla="*/ 760494137 h 294"/>
              <a:gd name="T18" fmla="*/ 2147483647 w 294"/>
              <a:gd name="T19" fmla="*/ 605579985 h 294"/>
              <a:gd name="T20" fmla="*/ 2070239250 w 294"/>
              <a:gd name="T21" fmla="*/ 0 h 294"/>
              <a:gd name="T22" fmla="*/ 0 w 294"/>
              <a:gd name="T23" fmla="*/ 2070239250 h 294"/>
              <a:gd name="T24" fmla="*/ 2070239250 w 294"/>
              <a:gd name="T25" fmla="*/ 2147483647 h 294"/>
              <a:gd name="T26" fmla="*/ 2147483647 w 294"/>
              <a:gd name="T27" fmla="*/ 2070239250 h 294"/>
              <a:gd name="T28" fmla="*/ 2147483647 w 294"/>
              <a:gd name="T29" fmla="*/ 957660673 h 294"/>
              <a:gd name="T30" fmla="*/ 1436491009 w 294"/>
              <a:gd name="T31" fmla="*/ 1070326193 h 294"/>
              <a:gd name="T32" fmla="*/ 1436491009 w 294"/>
              <a:gd name="T33" fmla="*/ 2147483647 h 294"/>
              <a:gd name="T34" fmla="*/ 1647741674 w 294"/>
              <a:gd name="T35" fmla="*/ 2147483647 h 294"/>
              <a:gd name="T36" fmla="*/ 2147483647 w 294"/>
              <a:gd name="T37" fmla="*/ 2147483647 h 294"/>
              <a:gd name="T38" fmla="*/ 2147483647 w 294"/>
              <a:gd name="T39" fmla="*/ 2070239250 h 294"/>
              <a:gd name="T40" fmla="*/ 2147483647 w 294"/>
              <a:gd name="T41" fmla="*/ 1873072714 h 294"/>
              <a:gd name="T42" fmla="*/ 1647741674 w 294"/>
              <a:gd name="T43" fmla="*/ 943576545 h 294"/>
              <a:gd name="T44" fmla="*/ 1436491009 w 294"/>
              <a:gd name="T45" fmla="*/ 1070326193 h 29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94" h="294">
                <a:moveTo>
                  <a:pt x="271" y="68"/>
                </a:moveTo>
                <a:cubicBezTo>
                  <a:pt x="269" y="64"/>
                  <a:pt x="264" y="63"/>
                  <a:pt x="260" y="66"/>
                </a:cubicBezTo>
                <a:cubicBezTo>
                  <a:pt x="257" y="68"/>
                  <a:pt x="255" y="73"/>
                  <a:pt x="258" y="77"/>
                </a:cubicBezTo>
                <a:cubicBezTo>
                  <a:pt x="271" y="97"/>
                  <a:pt x="278" y="121"/>
                  <a:pt x="278" y="147"/>
                </a:cubicBezTo>
                <a:cubicBezTo>
                  <a:pt x="278" y="219"/>
                  <a:pt x="220" y="278"/>
                  <a:pt x="147" y="278"/>
                </a:cubicBezTo>
                <a:cubicBezTo>
                  <a:pt x="75" y="278"/>
                  <a:pt x="16" y="219"/>
                  <a:pt x="16" y="147"/>
                </a:cubicBezTo>
                <a:cubicBezTo>
                  <a:pt x="16" y="75"/>
                  <a:pt x="75" y="16"/>
                  <a:pt x="147" y="16"/>
                </a:cubicBezTo>
                <a:cubicBezTo>
                  <a:pt x="183" y="16"/>
                  <a:pt x="216" y="30"/>
                  <a:pt x="239" y="54"/>
                </a:cubicBezTo>
                <a:cubicBezTo>
                  <a:pt x="243" y="57"/>
                  <a:pt x="248" y="57"/>
                  <a:pt x="251" y="54"/>
                </a:cubicBezTo>
                <a:cubicBezTo>
                  <a:pt x="254" y="51"/>
                  <a:pt x="254" y="46"/>
                  <a:pt x="251" y="43"/>
                </a:cubicBezTo>
                <a:cubicBezTo>
                  <a:pt x="224" y="16"/>
                  <a:pt x="188" y="0"/>
                  <a:pt x="147" y="0"/>
                </a:cubicBezTo>
                <a:cubicBezTo>
                  <a:pt x="66" y="0"/>
                  <a:pt x="0" y="66"/>
                  <a:pt x="0" y="147"/>
                </a:cubicBezTo>
                <a:cubicBezTo>
                  <a:pt x="0" y="228"/>
                  <a:pt x="66" y="294"/>
                  <a:pt x="147" y="294"/>
                </a:cubicBezTo>
                <a:cubicBezTo>
                  <a:pt x="228" y="294"/>
                  <a:pt x="294" y="228"/>
                  <a:pt x="294" y="147"/>
                </a:cubicBezTo>
                <a:cubicBezTo>
                  <a:pt x="294" y="118"/>
                  <a:pt x="286" y="91"/>
                  <a:pt x="271" y="68"/>
                </a:cubicBezTo>
                <a:close/>
                <a:moveTo>
                  <a:pt x="102" y="76"/>
                </a:moveTo>
                <a:cubicBezTo>
                  <a:pt x="102" y="217"/>
                  <a:pt x="102" y="217"/>
                  <a:pt x="102" y="217"/>
                </a:cubicBezTo>
                <a:cubicBezTo>
                  <a:pt x="102" y="231"/>
                  <a:pt x="112" y="231"/>
                  <a:pt x="117" y="227"/>
                </a:cubicBezTo>
                <a:cubicBezTo>
                  <a:pt x="122" y="222"/>
                  <a:pt x="203" y="166"/>
                  <a:pt x="208" y="161"/>
                </a:cubicBezTo>
                <a:cubicBezTo>
                  <a:pt x="212" y="157"/>
                  <a:pt x="215" y="153"/>
                  <a:pt x="215" y="147"/>
                </a:cubicBezTo>
                <a:cubicBezTo>
                  <a:pt x="215" y="141"/>
                  <a:pt x="212" y="137"/>
                  <a:pt x="208" y="133"/>
                </a:cubicBezTo>
                <a:cubicBezTo>
                  <a:pt x="206" y="131"/>
                  <a:pt x="118" y="69"/>
                  <a:pt x="117" y="67"/>
                </a:cubicBezTo>
                <a:cubicBezTo>
                  <a:pt x="112" y="62"/>
                  <a:pt x="102" y="62"/>
                  <a:pt x="102" y="7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3"/>
          <p:cNvSpPr>
            <a:spLocks noChangeAspect="1" noEditPoints="1"/>
          </p:cNvSpPr>
          <p:nvPr/>
        </p:nvSpPr>
        <p:spPr bwMode="auto">
          <a:xfrm>
            <a:off x="9636195" y="2528900"/>
            <a:ext cx="363892" cy="365561"/>
          </a:xfrm>
          <a:custGeom>
            <a:avLst/>
            <a:gdLst>
              <a:gd name="T0" fmla="*/ 2147483647 w 277"/>
              <a:gd name="T1" fmla="*/ 0 h 278"/>
              <a:gd name="T2" fmla="*/ 2147483647 w 277"/>
              <a:gd name="T3" fmla="*/ 0 h 278"/>
              <a:gd name="T4" fmla="*/ 2147483647 w 277"/>
              <a:gd name="T5" fmla="*/ 2147483647 h 278"/>
              <a:gd name="T6" fmla="*/ 2147483647 w 277"/>
              <a:gd name="T7" fmla="*/ 2147483647 h 278"/>
              <a:gd name="T8" fmla="*/ 2147483647 w 277"/>
              <a:gd name="T9" fmla="*/ 2147483647 h 278"/>
              <a:gd name="T10" fmla="*/ 2147483647 w 277"/>
              <a:gd name="T11" fmla="*/ 2147483647 h 278"/>
              <a:gd name="T12" fmla="*/ 2147483647 w 277"/>
              <a:gd name="T13" fmla="*/ 2147483647 h 278"/>
              <a:gd name="T14" fmla="*/ 2147483647 w 277"/>
              <a:gd name="T15" fmla="*/ 2147483647 h 278"/>
              <a:gd name="T16" fmla="*/ 2147483647 w 277"/>
              <a:gd name="T17" fmla="*/ 0 h 278"/>
              <a:gd name="T18" fmla="*/ 2147483647 w 277"/>
              <a:gd name="T19" fmla="*/ 2147483647 h 278"/>
              <a:gd name="T20" fmla="*/ 2147483647 w 277"/>
              <a:gd name="T21" fmla="*/ 2147483647 h 278"/>
              <a:gd name="T22" fmla="*/ 2147483647 w 277"/>
              <a:gd name="T23" fmla="*/ 2147483647 h 278"/>
              <a:gd name="T24" fmla="*/ 2147483647 w 277"/>
              <a:gd name="T25" fmla="*/ 2147483647 h 278"/>
              <a:gd name="T26" fmla="*/ 2147483647 w 277"/>
              <a:gd name="T27" fmla="*/ 2147483647 h 278"/>
              <a:gd name="T28" fmla="*/ 2147483647 w 277"/>
              <a:gd name="T29" fmla="*/ 2147483647 h 278"/>
              <a:gd name="T30" fmla="*/ 2147483647 w 277"/>
              <a:gd name="T31" fmla="*/ 2147483647 h 278"/>
              <a:gd name="T32" fmla="*/ 2147483647 w 277"/>
              <a:gd name="T33" fmla="*/ 2147483647 h 278"/>
              <a:gd name="T34" fmla="*/ 2147483647 w 277"/>
              <a:gd name="T35" fmla="*/ 2147483647 h 278"/>
              <a:gd name="T36" fmla="*/ 2147483647 w 277"/>
              <a:gd name="T37" fmla="*/ 2147483647 h 278"/>
              <a:gd name="T38" fmla="*/ 2147483647 w 277"/>
              <a:gd name="T39" fmla="*/ 2147483647 h 278"/>
              <a:gd name="T40" fmla="*/ 0 w 277"/>
              <a:gd name="T41" fmla="*/ 2147483647 h 278"/>
              <a:gd name="T42" fmla="*/ 0 w 277"/>
              <a:gd name="T43" fmla="*/ 2147483647 h 278"/>
              <a:gd name="T44" fmla="*/ 2147483647 w 277"/>
              <a:gd name="T45" fmla="*/ 2147483647 h 278"/>
              <a:gd name="T46" fmla="*/ 2147483647 w 277"/>
              <a:gd name="T47" fmla="*/ 2147483647 h 278"/>
              <a:gd name="T48" fmla="*/ 2147483647 w 277"/>
              <a:gd name="T49" fmla="*/ 2147483647 h 278"/>
              <a:gd name="T50" fmla="*/ 2147483647 w 277"/>
              <a:gd name="T51" fmla="*/ 2147483647 h 278"/>
              <a:gd name="T52" fmla="*/ 2147483647 w 277"/>
              <a:gd name="T53" fmla="*/ 2147483647 h 278"/>
              <a:gd name="T54" fmla="*/ 2147483647 w 277"/>
              <a:gd name="T55" fmla="*/ 2147483647 h 278"/>
              <a:gd name="T56" fmla="*/ 2147483647 w 277"/>
              <a:gd name="T57" fmla="*/ 2147483647 h 278"/>
              <a:gd name="T58" fmla="*/ 2147483647 w 277"/>
              <a:gd name="T59" fmla="*/ 2147483647 h 278"/>
              <a:gd name="T60" fmla="*/ 2147483647 w 277"/>
              <a:gd name="T61" fmla="*/ 2147483647 h 278"/>
              <a:gd name="T62" fmla="*/ 2147483647 w 277"/>
              <a:gd name="T63" fmla="*/ 2147483647 h 278"/>
              <a:gd name="T64" fmla="*/ 2147483647 w 277"/>
              <a:gd name="T65" fmla="*/ 2147483647 h 278"/>
              <a:gd name="T66" fmla="*/ 2147483647 w 277"/>
              <a:gd name="T67" fmla="*/ 2147483647 h 278"/>
              <a:gd name="T68" fmla="*/ 2147483647 w 277"/>
              <a:gd name="T69" fmla="*/ 2147483647 h 278"/>
              <a:gd name="T70" fmla="*/ 2147483647 w 277"/>
              <a:gd name="T71" fmla="*/ 2147483647 h 278"/>
              <a:gd name="T72" fmla="*/ 2147483647 w 277"/>
              <a:gd name="T73" fmla="*/ 2147483647 h 278"/>
              <a:gd name="T74" fmla="*/ 2147483647 w 277"/>
              <a:gd name="T75" fmla="*/ 2147483647 h 278"/>
              <a:gd name="T76" fmla="*/ 2147483647 w 277"/>
              <a:gd name="T77" fmla="*/ 2147483647 h 278"/>
              <a:gd name="T78" fmla="*/ 2147483647 w 277"/>
              <a:gd name="T79" fmla="*/ 2147483647 h 278"/>
              <a:gd name="T80" fmla="*/ 2147483647 w 277"/>
              <a:gd name="T81" fmla="*/ 2147483647 h 278"/>
              <a:gd name="T82" fmla="*/ 2147483647 w 277"/>
              <a:gd name="T83" fmla="*/ 2147483647 h 278"/>
              <a:gd name="T84" fmla="*/ 2147483647 w 277"/>
              <a:gd name="T85" fmla="*/ 2147483647 h 278"/>
              <a:gd name="T86" fmla="*/ 2147483647 w 277"/>
              <a:gd name="T87" fmla="*/ 2147483647 h 278"/>
              <a:gd name="T88" fmla="*/ 2147483647 w 277"/>
              <a:gd name="T89" fmla="*/ 2147483647 h 2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77" h="278">
                <a:moveTo>
                  <a:pt x="84" y="0"/>
                </a:moveTo>
                <a:cubicBezTo>
                  <a:pt x="72" y="0"/>
                  <a:pt x="72" y="0"/>
                  <a:pt x="72" y="0"/>
                </a:cubicBezTo>
                <a:cubicBezTo>
                  <a:pt x="65" y="0"/>
                  <a:pt x="60" y="6"/>
                  <a:pt x="60" y="13"/>
                </a:cubicBezTo>
                <a:cubicBezTo>
                  <a:pt x="60" y="265"/>
                  <a:pt x="60" y="265"/>
                  <a:pt x="60" y="265"/>
                </a:cubicBezTo>
                <a:cubicBezTo>
                  <a:pt x="60" y="272"/>
                  <a:pt x="65" y="278"/>
                  <a:pt x="72" y="278"/>
                </a:cubicBezTo>
                <a:cubicBezTo>
                  <a:pt x="84" y="278"/>
                  <a:pt x="84" y="278"/>
                  <a:pt x="84" y="278"/>
                </a:cubicBezTo>
                <a:cubicBezTo>
                  <a:pt x="92" y="278"/>
                  <a:pt x="97" y="272"/>
                  <a:pt x="97" y="265"/>
                </a:cubicBezTo>
                <a:cubicBezTo>
                  <a:pt x="97" y="13"/>
                  <a:pt x="97" y="13"/>
                  <a:pt x="97" y="13"/>
                </a:cubicBezTo>
                <a:cubicBezTo>
                  <a:pt x="97" y="6"/>
                  <a:pt x="92" y="0"/>
                  <a:pt x="84" y="0"/>
                </a:cubicBezTo>
                <a:close/>
                <a:moveTo>
                  <a:pt x="144" y="98"/>
                </a:moveTo>
                <a:cubicBezTo>
                  <a:pt x="132" y="98"/>
                  <a:pt x="132" y="98"/>
                  <a:pt x="132" y="98"/>
                </a:cubicBezTo>
                <a:cubicBezTo>
                  <a:pt x="125" y="98"/>
                  <a:pt x="119" y="104"/>
                  <a:pt x="119" y="111"/>
                </a:cubicBezTo>
                <a:cubicBezTo>
                  <a:pt x="119" y="265"/>
                  <a:pt x="119" y="265"/>
                  <a:pt x="119" y="265"/>
                </a:cubicBezTo>
                <a:cubicBezTo>
                  <a:pt x="119" y="272"/>
                  <a:pt x="125" y="278"/>
                  <a:pt x="132" y="278"/>
                </a:cubicBezTo>
                <a:cubicBezTo>
                  <a:pt x="144" y="278"/>
                  <a:pt x="144" y="278"/>
                  <a:pt x="144" y="278"/>
                </a:cubicBezTo>
                <a:cubicBezTo>
                  <a:pt x="151" y="278"/>
                  <a:pt x="157" y="272"/>
                  <a:pt x="157" y="265"/>
                </a:cubicBezTo>
                <a:cubicBezTo>
                  <a:pt x="157" y="111"/>
                  <a:pt x="157" y="111"/>
                  <a:pt x="157" y="111"/>
                </a:cubicBezTo>
                <a:cubicBezTo>
                  <a:pt x="157" y="104"/>
                  <a:pt x="151" y="98"/>
                  <a:pt x="144" y="98"/>
                </a:cubicBezTo>
                <a:close/>
                <a:moveTo>
                  <a:pt x="25" y="144"/>
                </a:moveTo>
                <a:cubicBezTo>
                  <a:pt x="13" y="144"/>
                  <a:pt x="13" y="144"/>
                  <a:pt x="13" y="144"/>
                </a:cubicBezTo>
                <a:cubicBezTo>
                  <a:pt x="6" y="144"/>
                  <a:pt x="0" y="149"/>
                  <a:pt x="0" y="157"/>
                </a:cubicBezTo>
                <a:cubicBezTo>
                  <a:pt x="0" y="265"/>
                  <a:pt x="0" y="265"/>
                  <a:pt x="0" y="265"/>
                </a:cubicBezTo>
                <a:cubicBezTo>
                  <a:pt x="0" y="272"/>
                  <a:pt x="6" y="278"/>
                  <a:pt x="13" y="278"/>
                </a:cubicBezTo>
                <a:cubicBezTo>
                  <a:pt x="25" y="278"/>
                  <a:pt x="25" y="278"/>
                  <a:pt x="25" y="278"/>
                </a:cubicBezTo>
                <a:cubicBezTo>
                  <a:pt x="32" y="278"/>
                  <a:pt x="38" y="272"/>
                  <a:pt x="38" y="265"/>
                </a:cubicBezTo>
                <a:cubicBezTo>
                  <a:pt x="38" y="157"/>
                  <a:pt x="38" y="157"/>
                  <a:pt x="38" y="157"/>
                </a:cubicBezTo>
                <a:cubicBezTo>
                  <a:pt x="38" y="149"/>
                  <a:pt x="32" y="144"/>
                  <a:pt x="25" y="144"/>
                </a:cubicBezTo>
                <a:close/>
                <a:moveTo>
                  <a:pt x="204" y="184"/>
                </a:moveTo>
                <a:cubicBezTo>
                  <a:pt x="192" y="184"/>
                  <a:pt x="192" y="184"/>
                  <a:pt x="192" y="184"/>
                </a:cubicBezTo>
                <a:cubicBezTo>
                  <a:pt x="185" y="184"/>
                  <a:pt x="179" y="190"/>
                  <a:pt x="179" y="197"/>
                </a:cubicBezTo>
                <a:cubicBezTo>
                  <a:pt x="179" y="265"/>
                  <a:pt x="179" y="265"/>
                  <a:pt x="179" y="265"/>
                </a:cubicBezTo>
                <a:cubicBezTo>
                  <a:pt x="179" y="272"/>
                  <a:pt x="185" y="278"/>
                  <a:pt x="192" y="278"/>
                </a:cubicBezTo>
                <a:cubicBezTo>
                  <a:pt x="204" y="278"/>
                  <a:pt x="204" y="278"/>
                  <a:pt x="204" y="278"/>
                </a:cubicBezTo>
                <a:cubicBezTo>
                  <a:pt x="211" y="278"/>
                  <a:pt x="217" y="272"/>
                  <a:pt x="217" y="265"/>
                </a:cubicBezTo>
                <a:cubicBezTo>
                  <a:pt x="217" y="197"/>
                  <a:pt x="217" y="197"/>
                  <a:pt x="217" y="197"/>
                </a:cubicBezTo>
                <a:cubicBezTo>
                  <a:pt x="217" y="190"/>
                  <a:pt x="211" y="184"/>
                  <a:pt x="204" y="184"/>
                </a:cubicBezTo>
                <a:close/>
                <a:moveTo>
                  <a:pt x="264" y="52"/>
                </a:moveTo>
                <a:cubicBezTo>
                  <a:pt x="252" y="52"/>
                  <a:pt x="252" y="52"/>
                  <a:pt x="252" y="52"/>
                </a:cubicBezTo>
                <a:cubicBezTo>
                  <a:pt x="244" y="52"/>
                  <a:pt x="239" y="58"/>
                  <a:pt x="239" y="65"/>
                </a:cubicBezTo>
                <a:cubicBezTo>
                  <a:pt x="239" y="265"/>
                  <a:pt x="239" y="265"/>
                  <a:pt x="239" y="265"/>
                </a:cubicBezTo>
                <a:cubicBezTo>
                  <a:pt x="239" y="272"/>
                  <a:pt x="244" y="278"/>
                  <a:pt x="252" y="278"/>
                </a:cubicBezTo>
                <a:cubicBezTo>
                  <a:pt x="264" y="278"/>
                  <a:pt x="264" y="278"/>
                  <a:pt x="264" y="278"/>
                </a:cubicBezTo>
                <a:cubicBezTo>
                  <a:pt x="271" y="278"/>
                  <a:pt x="277" y="272"/>
                  <a:pt x="277" y="265"/>
                </a:cubicBezTo>
                <a:cubicBezTo>
                  <a:pt x="277" y="65"/>
                  <a:pt x="277" y="65"/>
                  <a:pt x="277" y="65"/>
                </a:cubicBezTo>
                <a:cubicBezTo>
                  <a:pt x="277" y="58"/>
                  <a:pt x="271" y="52"/>
                  <a:pt x="264" y="52"/>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3"/>
          <p:cNvSpPr>
            <a:spLocks noChangeAspect="1" noEditPoints="1"/>
          </p:cNvSpPr>
          <p:nvPr/>
        </p:nvSpPr>
        <p:spPr bwMode="auto">
          <a:xfrm>
            <a:off x="10086245" y="4059953"/>
            <a:ext cx="463047" cy="424000"/>
          </a:xfrm>
          <a:custGeom>
            <a:avLst/>
            <a:gdLst>
              <a:gd name="T0" fmla="*/ 2147483647 w 462"/>
              <a:gd name="T1" fmla="*/ 2147483647 h 423"/>
              <a:gd name="T2" fmla="*/ 2147483647 w 462"/>
              <a:gd name="T3" fmla="*/ 2147483647 h 423"/>
              <a:gd name="T4" fmla="*/ 2147483647 w 462"/>
              <a:gd name="T5" fmla="*/ 2147483647 h 423"/>
              <a:gd name="T6" fmla="*/ 2147483647 w 462"/>
              <a:gd name="T7" fmla="*/ 2147483647 h 423"/>
              <a:gd name="T8" fmla="*/ 2147483647 w 462"/>
              <a:gd name="T9" fmla="*/ 2147483647 h 423"/>
              <a:gd name="T10" fmla="*/ 2147483647 w 462"/>
              <a:gd name="T11" fmla="*/ 2147483647 h 423"/>
              <a:gd name="T12" fmla="*/ 2147483647 w 462"/>
              <a:gd name="T13" fmla="*/ 2147483647 h 423"/>
              <a:gd name="T14" fmla="*/ 2147483647 w 462"/>
              <a:gd name="T15" fmla="*/ 2147483647 h 423"/>
              <a:gd name="T16" fmla="*/ 2147483647 w 462"/>
              <a:gd name="T17" fmla="*/ 2147483647 h 423"/>
              <a:gd name="T18" fmla="*/ 2147483647 w 462"/>
              <a:gd name="T19" fmla="*/ 2147483647 h 423"/>
              <a:gd name="T20" fmla="*/ 2147483647 w 462"/>
              <a:gd name="T21" fmla="*/ 2147483647 h 423"/>
              <a:gd name="T22" fmla="*/ 2147483647 w 462"/>
              <a:gd name="T23" fmla="*/ 2147483647 h 423"/>
              <a:gd name="T24" fmla="*/ 2147483647 w 462"/>
              <a:gd name="T25" fmla="*/ 2147483647 h 423"/>
              <a:gd name="T26" fmla="*/ 2147483647 w 462"/>
              <a:gd name="T27" fmla="*/ 2147483647 h 423"/>
              <a:gd name="T28" fmla="*/ 2147483647 w 462"/>
              <a:gd name="T29" fmla="*/ 2147483647 h 423"/>
              <a:gd name="T30" fmla="*/ 2147483647 w 462"/>
              <a:gd name="T31" fmla="*/ 2147483647 h 423"/>
              <a:gd name="T32" fmla="*/ 2147483647 w 462"/>
              <a:gd name="T33" fmla="*/ 2147483647 h 423"/>
              <a:gd name="T34" fmla="*/ 2147483647 w 462"/>
              <a:gd name="T35" fmla="*/ 2147483647 h 423"/>
              <a:gd name="T36" fmla="*/ 2147483647 w 462"/>
              <a:gd name="T37" fmla="*/ 2147483647 h 423"/>
              <a:gd name="T38" fmla="*/ 2147483647 w 462"/>
              <a:gd name="T39" fmla="*/ 2147483647 h 423"/>
              <a:gd name="T40" fmla="*/ 2147483647 w 462"/>
              <a:gd name="T41" fmla="*/ 2147483647 h 423"/>
              <a:gd name="T42" fmla="*/ 2147483647 w 462"/>
              <a:gd name="T43" fmla="*/ 2147483647 h 423"/>
              <a:gd name="T44" fmla="*/ 2147483647 w 462"/>
              <a:gd name="T45" fmla="*/ 2147483647 h 423"/>
              <a:gd name="T46" fmla="*/ 2147483647 w 462"/>
              <a:gd name="T47" fmla="*/ 2147483647 h 423"/>
              <a:gd name="T48" fmla="*/ 2147483647 w 462"/>
              <a:gd name="T49" fmla="*/ 2147483647 h 423"/>
              <a:gd name="T50" fmla="*/ 2147483647 w 462"/>
              <a:gd name="T51" fmla="*/ 2147483647 h 423"/>
              <a:gd name="T52" fmla="*/ 2147483647 w 462"/>
              <a:gd name="T53" fmla="*/ 2147483647 h 423"/>
              <a:gd name="T54" fmla="*/ 0 w 462"/>
              <a:gd name="T55" fmla="*/ 2147483647 h 423"/>
              <a:gd name="T56" fmla="*/ 2147483647 w 462"/>
              <a:gd name="T57" fmla="*/ 2147483647 h 423"/>
              <a:gd name="T58" fmla="*/ 2147483647 w 462"/>
              <a:gd name="T59" fmla="*/ 2147483647 h 423"/>
              <a:gd name="T60" fmla="*/ 2147483647 w 462"/>
              <a:gd name="T61" fmla="*/ 2147483647 h 423"/>
              <a:gd name="T62" fmla="*/ 2147483647 w 462"/>
              <a:gd name="T63" fmla="*/ 2147483647 h 423"/>
              <a:gd name="T64" fmla="*/ 2147483647 w 462"/>
              <a:gd name="T65" fmla="*/ 2147483647 h 423"/>
              <a:gd name="T66" fmla="*/ 2147483647 w 462"/>
              <a:gd name="T67" fmla="*/ 2147483647 h 423"/>
              <a:gd name="T68" fmla="*/ 2147483647 w 462"/>
              <a:gd name="T69" fmla="*/ 2147483647 h 423"/>
              <a:gd name="T70" fmla="*/ 2147483647 w 462"/>
              <a:gd name="T71" fmla="*/ 2147483647 h 423"/>
              <a:gd name="T72" fmla="*/ 2147483647 w 462"/>
              <a:gd name="T73" fmla="*/ 2147483647 h 423"/>
              <a:gd name="T74" fmla="*/ 2147483647 w 462"/>
              <a:gd name="T75" fmla="*/ 2147483647 h 423"/>
              <a:gd name="T76" fmla="*/ 2147483647 w 462"/>
              <a:gd name="T77" fmla="*/ 2147483647 h 423"/>
              <a:gd name="T78" fmla="*/ 2147483647 w 462"/>
              <a:gd name="T79" fmla="*/ 2147483647 h 423"/>
              <a:gd name="T80" fmla="*/ 2147483647 w 462"/>
              <a:gd name="T81" fmla="*/ 2147483647 h 423"/>
              <a:gd name="T82" fmla="*/ 2147483647 w 462"/>
              <a:gd name="T83" fmla="*/ 2147483647 h 423"/>
              <a:gd name="T84" fmla="*/ 2147483647 w 462"/>
              <a:gd name="T85" fmla="*/ 2147483647 h 423"/>
              <a:gd name="T86" fmla="*/ 2147483647 w 462"/>
              <a:gd name="T87" fmla="*/ 2147483647 h 423"/>
              <a:gd name="T88" fmla="*/ 2147483647 w 462"/>
              <a:gd name="T89" fmla="*/ 2147483647 h 423"/>
              <a:gd name="T90" fmla="*/ 2147483647 w 462"/>
              <a:gd name="T91" fmla="*/ 2147483647 h 423"/>
              <a:gd name="T92" fmla="*/ 2147483647 w 462"/>
              <a:gd name="T93" fmla="*/ 2147483647 h 423"/>
              <a:gd name="T94" fmla="*/ 2147483647 w 462"/>
              <a:gd name="T95" fmla="*/ 2147483647 h 423"/>
              <a:gd name="T96" fmla="*/ 2147483647 w 462"/>
              <a:gd name="T97" fmla="*/ 2147483647 h 4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62" h="423">
                <a:moveTo>
                  <a:pt x="462" y="272"/>
                </a:moveTo>
                <a:cubicBezTo>
                  <a:pt x="462" y="248"/>
                  <a:pt x="453" y="226"/>
                  <a:pt x="435" y="210"/>
                </a:cubicBezTo>
                <a:cubicBezTo>
                  <a:pt x="438" y="202"/>
                  <a:pt x="439" y="194"/>
                  <a:pt x="439" y="186"/>
                </a:cubicBezTo>
                <a:cubicBezTo>
                  <a:pt x="439" y="167"/>
                  <a:pt x="433" y="148"/>
                  <a:pt x="422" y="133"/>
                </a:cubicBezTo>
                <a:cubicBezTo>
                  <a:pt x="420" y="129"/>
                  <a:pt x="415" y="128"/>
                  <a:pt x="411" y="131"/>
                </a:cubicBezTo>
                <a:cubicBezTo>
                  <a:pt x="407" y="133"/>
                  <a:pt x="407" y="138"/>
                  <a:pt x="409" y="142"/>
                </a:cubicBezTo>
                <a:cubicBezTo>
                  <a:pt x="418" y="155"/>
                  <a:pt x="423" y="170"/>
                  <a:pt x="423" y="186"/>
                </a:cubicBezTo>
                <a:cubicBezTo>
                  <a:pt x="423" y="194"/>
                  <a:pt x="421" y="202"/>
                  <a:pt x="419" y="210"/>
                </a:cubicBezTo>
                <a:cubicBezTo>
                  <a:pt x="418" y="213"/>
                  <a:pt x="419" y="217"/>
                  <a:pt x="421" y="219"/>
                </a:cubicBezTo>
                <a:cubicBezTo>
                  <a:pt x="437" y="232"/>
                  <a:pt x="446" y="251"/>
                  <a:pt x="446" y="272"/>
                </a:cubicBezTo>
                <a:cubicBezTo>
                  <a:pt x="446" y="309"/>
                  <a:pt x="416" y="340"/>
                  <a:pt x="378" y="340"/>
                </a:cubicBezTo>
                <a:cubicBezTo>
                  <a:pt x="163" y="340"/>
                  <a:pt x="163" y="340"/>
                  <a:pt x="163" y="340"/>
                </a:cubicBezTo>
                <a:cubicBezTo>
                  <a:pt x="147" y="318"/>
                  <a:pt x="137" y="297"/>
                  <a:pt x="132" y="285"/>
                </a:cubicBezTo>
                <a:cubicBezTo>
                  <a:pt x="143" y="279"/>
                  <a:pt x="143" y="279"/>
                  <a:pt x="143" y="279"/>
                </a:cubicBezTo>
                <a:cubicBezTo>
                  <a:pt x="146" y="278"/>
                  <a:pt x="148" y="275"/>
                  <a:pt x="148" y="272"/>
                </a:cubicBezTo>
                <a:cubicBezTo>
                  <a:pt x="148" y="269"/>
                  <a:pt x="146" y="266"/>
                  <a:pt x="144" y="265"/>
                </a:cubicBezTo>
                <a:cubicBezTo>
                  <a:pt x="75" y="229"/>
                  <a:pt x="75" y="229"/>
                  <a:pt x="75" y="229"/>
                </a:cubicBezTo>
                <a:cubicBezTo>
                  <a:pt x="73" y="228"/>
                  <a:pt x="70" y="228"/>
                  <a:pt x="68" y="229"/>
                </a:cubicBezTo>
                <a:cubicBezTo>
                  <a:pt x="65" y="230"/>
                  <a:pt x="64" y="232"/>
                  <a:pt x="63" y="234"/>
                </a:cubicBezTo>
                <a:cubicBezTo>
                  <a:pt x="48" y="310"/>
                  <a:pt x="48" y="310"/>
                  <a:pt x="48" y="310"/>
                </a:cubicBezTo>
                <a:cubicBezTo>
                  <a:pt x="47" y="313"/>
                  <a:pt x="48" y="316"/>
                  <a:pt x="50" y="318"/>
                </a:cubicBezTo>
                <a:cubicBezTo>
                  <a:pt x="53" y="320"/>
                  <a:pt x="56" y="321"/>
                  <a:pt x="59" y="319"/>
                </a:cubicBezTo>
                <a:cubicBezTo>
                  <a:pt x="66" y="316"/>
                  <a:pt x="66" y="316"/>
                  <a:pt x="66" y="316"/>
                </a:cubicBezTo>
                <a:cubicBezTo>
                  <a:pt x="72" y="324"/>
                  <a:pt x="78" y="332"/>
                  <a:pt x="84" y="340"/>
                </a:cubicBezTo>
                <a:cubicBezTo>
                  <a:pt x="46" y="337"/>
                  <a:pt x="16" y="306"/>
                  <a:pt x="16" y="268"/>
                </a:cubicBezTo>
                <a:cubicBezTo>
                  <a:pt x="16" y="241"/>
                  <a:pt x="32" y="216"/>
                  <a:pt x="56" y="204"/>
                </a:cubicBezTo>
                <a:cubicBezTo>
                  <a:pt x="59" y="202"/>
                  <a:pt x="61" y="199"/>
                  <a:pt x="61" y="196"/>
                </a:cubicBezTo>
                <a:cubicBezTo>
                  <a:pt x="61" y="196"/>
                  <a:pt x="61" y="196"/>
                  <a:pt x="61" y="196"/>
                </a:cubicBezTo>
                <a:cubicBezTo>
                  <a:pt x="61" y="131"/>
                  <a:pt x="113" y="78"/>
                  <a:pt x="178" y="78"/>
                </a:cubicBezTo>
                <a:cubicBezTo>
                  <a:pt x="217" y="78"/>
                  <a:pt x="254" y="98"/>
                  <a:pt x="275" y="131"/>
                </a:cubicBezTo>
                <a:cubicBezTo>
                  <a:pt x="276" y="131"/>
                  <a:pt x="276" y="131"/>
                  <a:pt x="276" y="132"/>
                </a:cubicBezTo>
                <a:cubicBezTo>
                  <a:pt x="283" y="144"/>
                  <a:pt x="288" y="155"/>
                  <a:pt x="291" y="163"/>
                </a:cubicBezTo>
                <a:cubicBezTo>
                  <a:pt x="280" y="168"/>
                  <a:pt x="280" y="168"/>
                  <a:pt x="280" y="168"/>
                </a:cubicBezTo>
                <a:cubicBezTo>
                  <a:pt x="278" y="170"/>
                  <a:pt x="276" y="172"/>
                  <a:pt x="276" y="175"/>
                </a:cubicBezTo>
                <a:cubicBezTo>
                  <a:pt x="276" y="178"/>
                  <a:pt x="277" y="181"/>
                  <a:pt x="280" y="183"/>
                </a:cubicBezTo>
                <a:cubicBezTo>
                  <a:pt x="349" y="219"/>
                  <a:pt x="349" y="219"/>
                  <a:pt x="349" y="219"/>
                </a:cubicBezTo>
                <a:cubicBezTo>
                  <a:pt x="350" y="219"/>
                  <a:pt x="351" y="220"/>
                  <a:pt x="353" y="220"/>
                </a:cubicBezTo>
                <a:cubicBezTo>
                  <a:pt x="354" y="220"/>
                  <a:pt x="355" y="220"/>
                  <a:pt x="356" y="219"/>
                </a:cubicBezTo>
                <a:cubicBezTo>
                  <a:pt x="358" y="218"/>
                  <a:pt x="360" y="216"/>
                  <a:pt x="360" y="213"/>
                </a:cubicBezTo>
                <a:cubicBezTo>
                  <a:pt x="376" y="137"/>
                  <a:pt x="376" y="137"/>
                  <a:pt x="376" y="137"/>
                </a:cubicBezTo>
                <a:cubicBezTo>
                  <a:pt x="377" y="134"/>
                  <a:pt x="376" y="131"/>
                  <a:pt x="373" y="129"/>
                </a:cubicBezTo>
                <a:cubicBezTo>
                  <a:pt x="371" y="127"/>
                  <a:pt x="368" y="127"/>
                  <a:pt x="365" y="128"/>
                </a:cubicBezTo>
                <a:cubicBezTo>
                  <a:pt x="358" y="132"/>
                  <a:pt x="358" y="132"/>
                  <a:pt x="358" y="132"/>
                </a:cubicBezTo>
                <a:cubicBezTo>
                  <a:pt x="352" y="123"/>
                  <a:pt x="346" y="115"/>
                  <a:pt x="340" y="108"/>
                </a:cubicBezTo>
                <a:cubicBezTo>
                  <a:pt x="341" y="108"/>
                  <a:pt x="343" y="108"/>
                  <a:pt x="345" y="108"/>
                </a:cubicBezTo>
                <a:cubicBezTo>
                  <a:pt x="360" y="108"/>
                  <a:pt x="375" y="112"/>
                  <a:pt x="388" y="121"/>
                </a:cubicBezTo>
                <a:cubicBezTo>
                  <a:pt x="390" y="122"/>
                  <a:pt x="391" y="122"/>
                  <a:pt x="393" y="122"/>
                </a:cubicBezTo>
                <a:cubicBezTo>
                  <a:pt x="395" y="122"/>
                  <a:pt x="398" y="121"/>
                  <a:pt x="399" y="119"/>
                </a:cubicBezTo>
                <a:cubicBezTo>
                  <a:pt x="402" y="115"/>
                  <a:pt x="401" y="110"/>
                  <a:pt x="397" y="108"/>
                </a:cubicBezTo>
                <a:cubicBezTo>
                  <a:pt x="382" y="97"/>
                  <a:pt x="363" y="92"/>
                  <a:pt x="345" y="92"/>
                </a:cubicBezTo>
                <a:cubicBezTo>
                  <a:pt x="339" y="92"/>
                  <a:pt x="332" y="93"/>
                  <a:pt x="327" y="94"/>
                </a:cubicBezTo>
                <a:cubicBezTo>
                  <a:pt x="234" y="0"/>
                  <a:pt x="108" y="28"/>
                  <a:pt x="102" y="30"/>
                </a:cubicBezTo>
                <a:cubicBezTo>
                  <a:pt x="53" y="39"/>
                  <a:pt x="40" y="62"/>
                  <a:pt x="37" y="80"/>
                </a:cubicBezTo>
                <a:cubicBezTo>
                  <a:pt x="33" y="102"/>
                  <a:pt x="46" y="127"/>
                  <a:pt x="58" y="138"/>
                </a:cubicBezTo>
                <a:cubicBezTo>
                  <a:pt x="50" y="155"/>
                  <a:pt x="45" y="173"/>
                  <a:pt x="45" y="192"/>
                </a:cubicBezTo>
                <a:cubicBezTo>
                  <a:pt x="17" y="207"/>
                  <a:pt x="0" y="236"/>
                  <a:pt x="0" y="268"/>
                </a:cubicBezTo>
                <a:cubicBezTo>
                  <a:pt x="0" y="316"/>
                  <a:pt x="40" y="356"/>
                  <a:pt x="88" y="356"/>
                </a:cubicBezTo>
                <a:cubicBezTo>
                  <a:pt x="99" y="356"/>
                  <a:pt x="99" y="356"/>
                  <a:pt x="99" y="356"/>
                </a:cubicBezTo>
                <a:cubicBezTo>
                  <a:pt x="155" y="412"/>
                  <a:pt x="223" y="423"/>
                  <a:pt x="270" y="423"/>
                </a:cubicBezTo>
                <a:cubicBezTo>
                  <a:pt x="299" y="423"/>
                  <a:pt x="320" y="419"/>
                  <a:pt x="322" y="418"/>
                </a:cubicBezTo>
                <a:cubicBezTo>
                  <a:pt x="350" y="412"/>
                  <a:pt x="369" y="402"/>
                  <a:pt x="380" y="386"/>
                </a:cubicBezTo>
                <a:cubicBezTo>
                  <a:pt x="386" y="377"/>
                  <a:pt x="388" y="367"/>
                  <a:pt x="387" y="355"/>
                </a:cubicBezTo>
                <a:cubicBezTo>
                  <a:pt x="429" y="351"/>
                  <a:pt x="462" y="315"/>
                  <a:pt x="462" y="272"/>
                </a:cubicBezTo>
                <a:close/>
                <a:moveTo>
                  <a:pt x="348" y="146"/>
                </a:moveTo>
                <a:cubicBezTo>
                  <a:pt x="350" y="150"/>
                  <a:pt x="354" y="151"/>
                  <a:pt x="357" y="150"/>
                </a:cubicBezTo>
                <a:cubicBezTo>
                  <a:pt x="347" y="200"/>
                  <a:pt x="347" y="200"/>
                  <a:pt x="347" y="200"/>
                </a:cubicBezTo>
                <a:cubicBezTo>
                  <a:pt x="302" y="176"/>
                  <a:pt x="302" y="176"/>
                  <a:pt x="302" y="176"/>
                </a:cubicBezTo>
                <a:cubicBezTo>
                  <a:pt x="305" y="174"/>
                  <a:pt x="305" y="174"/>
                  <a:pt x="305" y="174"/>
                </a:cubicBezTo>
                <a:cubicBezTo>
                  <a:pt x="309" y="173"/>
                  <a:pt x="310" y="168"/>
                  <a:pt x="309" y="165"/>
                </a:cubicBezTo>
                <a:cubicBezTo>
                  <a:pt x="307" y="160"/>
                  <a:pt x="301" y="144"/>
                  <a:pt x="290" y="124"/>
                </a:cubicBezTo>
                <a:cubicBezTo>
                  <a:pt x="289" y="123"/>
                  <a:pt x="289" y="123"/>
                  <a:pt x="289" y="122"/>
                </a:cubicBezTo>
                <a:cubicBezTo>
                  <a:pt x="288" y="121"/>
                  <a:pt x="288" y="120"/>
                  <a:pt x="287" y="120"/>
                </a:cubicBezTo>
                <a:cubicBezTo>
                  <a:pt x="272" y="95"/>
                  <a:pt x="249" y="67"/>
                  <a:pt x="216" y="48"/>
                </a:cubicBezTo>
                <a:cubicBezTo>
                  <a:pt x="261" y="60"/>
                  <a:pt x="310" y="87"/>
                  <a:pt x="348" y="146"/>
                </a:cubicBezTo>
                <a:close/>
                <a:moveTo>
                  <a:pt x="53" y="82"/>
                </a:moveTo>
                <a:cubicBezTo>
                  <a:pt x="56" y="64"/>
                  <a:pt x="73" y="52"/>
                  <a:pt x="105" y="45"/>
                </a:cubicBezTo>
                <a:cubicBezTo>
                  <a:pt x="105" y="45"/>
                  <a:pt x="105" y="45"/>
                  <a:pt x="105" y="45"/>
                </a:cubicBezTo>
                <a:cubicBezTo>
                  <a:pt x="155" y="37"/>
                  <a:pt x="193" y="49"/>
                  <a:pt x="221" y="70"/>
                </a:cubicBezTo>
                <a:cubicBezTo>
                  <a:pt x="208" y="65"/>
                  <a:pt x="193" y="62"/>
                  <a:pt x="178" y="62"/>
                </a:cubicBezTo>
                <a:cubicBezTo>
                  <a:pt x="131" y="62"/>
                  <a:pt x="90" y="87"/>
                  <a:pt x="66" y="123"/>
                </a:cubicBezTo>
                <a:cubicBezTo>
                  <a:pt x="59" y="115"/>
                  <a:pt x="50" y="98"/>
                  <a:pt x="53" y="82"/>
                </a:cubicBezTo>
                <a:close/>
                <a:moveTo>
                  <a:pt x="76" y="301"/>
                </a:moveTo>
                <a:cubicBezTo>
                  <a:pt x="74" y="299"/>
                  <a:pt x="72" y="298"/>
                  <a:pt x="69" y="298"/>
                </a:cubicBezTo>
                <a:cubicBezTo>
                  <a:pt x="68" y="298"/>
                  <a:pt x="67" y="298"/>
                  <a:pt x="66" y="298"/>
                </a:cubicBezTo>
                <a:cubicBezTo>
                  <a:pt x="77" y="248"/>
                  <a:pt x="77" y="248"/>
                  <a:pt x="77" y="248"/>
                </a:cubicBezTo>
                <a:cubicBezTo>
                  <a:pt x="122" y="272"/>
                  <a:pt x="122" y="272"/>
                  <a:pt x="122" y="272"/>
                </a:cubicBezTo>
                <a:cubicBezTo>
                  <a:pt x="119" y="273"/>
                  <a:pt x="119" y="273"/>
                  <a:pt x="119" y="273"/>
                </a:cubicBezTo>
                <a:cubicBezTo>
                  <a:pt x="115" y="275"/>
                  <a:pt x="113" y="279"/>
                  <a:pt x="115" y="283"/>
                </a:cubicBezTo>
                <a:cubicBezTo>
                  <a:pt x="117" y="290"/>
                  <a:pt x="129" y="320"/>
                  <a:pt x="152" y="351"/>
                </a:cubicBezTo>
                <a:cubicBezTo>
                  <a:pt x="153" y="352"/>
                  <a:pt x="154" y="353"/>
                  <a:pt x="155" y="354"/>
                </a:cubicBezTo>
                <a:cubicBezTo>
                  <a:pt x="169" y="371"/>
                  <a:pt x="186" y="387"/>
                  <a:pt x="207" y="400"/>
                </a:cubicBezTo>
                <a:cubicBezTo>
                  <a:pt x="163" y="388"/>
                  <a:pt x="113" y="361"/>
                  <a:pt x="76" y="301"/>
                </a:cubicBezTo>
                <a:close/>
                <a:moveTo>
                  <a:pt x="366" y="378"/>
                </a:moveTo>
                <a:cubicBezTo>
                  <a:pt x="359" y="389"/>
                  <a:pt x="343" y="398"/>
                  <a:pt x="319" y="402"/>
                </a:cubicBezTo>
                <a:cubicBezTo>
                  <a:pt x="319" y="402"/>
                  <a:pt x="319" y="402"/>
                  <a:pt x="319" y="402"/>
                </a:cubicBezTo>
                <a:cubicBezTo>
                  <a:pt x="308" y="404"/>
                  <a:pt x="298" y="405"/>
                  <a:pt x="288" y="405"/>
                </a:cubicBezTo>
                <a:cubicBezTo>
                  <a:pt x="238" y="405"/>
                  <a:pt x="202" y="382"/>
                  <a:pt x="177" y="356"/>
                </a:cubicBezTo>
                <a:cubicBezTo>
                  <a:pt x="371" y="356"/>
                  <a:pt x="371" y="356"/>
                  <a:pt x="371" y="356"/>
                </a:cubicBezTo>
                <a:cubicBezTo>
                  <a:pt x="372" y="364"/>
                  <a:pt x="370" y="371"/>
                  <a:pt x="366" y="37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3"/>
          <p:cNvSpPr>
            <a:spLocks noChangeAspect="1" noEditPoints="1"/>
          </p:cNvSpPr>
          <p:nvPr/>
        </p:nvSpPr>
        <p:spPr bwMode="auto">
          <a:xfrm>
            <a:off x="11583590" y="3521923"/>
            <a:ext cx="544622" cy="438601"/>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6" y="191"/>
                  <a:pt x="441" y="189"/>
                </a:cubicBezTo>
                <a:cubicBezTo>
                  <a:pt x="435" y="186"/>
                  <a:pt x="435" y="186"/>
                  <a:pt x="435" y="186"/>
                </a:cubicBezTo>
                <a:cubicBezTo>
                  <a:pt x="446" y="173"/>
                  <a:pt x="446" y="173"/>
                  <a:pt x="446" y="173"/>
                </a:cubicBezTo>
                <a:cubicBezTo>
                  <a:pt x="448" y="171"/>
                  <a:pt x="449" y="168"/>
                  <a:pt x="449" y="165"/>
                </a:cubicBezTo>
                <a:cubicBezTo>
                  <a:pt x="449" y="160"/>
                  <a:pt x="446" y="156"/>
                  <a:pt x="441" y="154"/>
                </a:cubicBezTo>
                <a:cubicBezTo>
                  <a:pt x="435" y="151"/>
                  <a:pt x="435" y="151"/>
                  <a:pt x="435" y="151"/>
                </a:cubicBezTo>
                <a:cubicBezTo>
                  <a:pt x="446" y="138"/>
                  <a:pt x="446" y="138"/>
                  <a:pt x="446" y="138"/>
                </a:cubicBezTo>
                <a:cubicBezTo>
                  <a:pt x="448" y="136"/>
                  <a:pt x="449" y="133"/>
                  <a:pt x="449" y="130"/>
                </a:cubicBezTo>
                <a:cubicBezTo>
                  <a:pt x="449" y="125"/>
                  <a:pt x="445" y="120"/>
                  <a:pt x="441" y="119"/>
                </a:cubicBezTo>
                <a:cubicBezTo>
                  <a:pt x="340" y="80"/>
                  <a:pt x="340" y="80"/>
                  <a:pt x="340" y="80"/>
                </a:cubicBezTo>
                <a:cubicBezTo>
                  <a:pt x="338" y="80"/>
                  <a:pt x="336" y="79"/>
                  <a:pt x="334" y="79"/>
                </a:cubicBezTo>
                <a:cubicBezTo>
                  <a:pt x="330" y="80"/>
                  <a:pt x="325" y="81"/>
                  <a:pt x="322" y="85"/>
                </a:cubicBezTo>
                <a:cubicBezTo>
                  <a:pt x="290" y="122"/>
                  <a:pt x="290" y="122"/>
                  <a:pt x="290" y="122"/>
                </a:cubicBezTo>
                <a:cubicBezTo>
                  <a:pt x="288" y="124"/>
                  <a:pt x="287" y="127"/>
                  <a:pt x="287" y="130"/>
                </a:cubicBezTo>
                <a:cubicBezTo>
                  <a:pt x="287" y="135"/>
                  <a:pt x="291" y="140"/>
                  <a:pt x="295" y="141"/>
                </a:cubicBezTo>
                <a:cubicBezTo>
                  <a:pt x="303" y="144"/>
                  <a:pt x="303" y="144"/>
                  <a:pt x="303" y="144"/>
                </a:cubicBezTo>
                <a:cubicBezTo>
                  <a:pt x="290" y="157"/>
                  <a:pt x="290" y="157"/>
                  <a:pt x="290" y="157"/>
                </a:cubicBezTo>
                <a:cubicBezTo>
                  <a:pt x="290" y="157"/>
                  <a:pt x="290" y="157"/>
                  <a:pt x="290" y="157"/>
                </a:cubicBezTo>
                <a:cubicBezTo>
                  <a:pt x="288" y="159"/>
                  <a:pt x="287" y="162"/>
                  <a:pt x="287" y="165"/>
                </a:cubicBezTo>
                <a:cubicBezTo>
                  <a:pt x="287" y="170"/>
                  <a:pt x="291" y="175"/>
                  <a:pt x="295" y="176"/>
                </a:cubicBezTo>
                <a:cubicBezTo>
                  <a:pt x="303" y="179"/>
                  <a:pt x="303" y="179"/>
                  <a:pt x="303" y="179"/>
                </a:cubicBezTo>
                <a:cubicBezTo>
                  <a:pt x="290" y="192"/>
                  <a:pt x="290" y="192"/>
                  <a:pt x="290" y="192"/>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235"/>
                </a:moveTo>
                <a:cubicBezTo>
                  <a:pt x="402" y="235"/>
                  <a:pt x="402" y="235"/>
                  <a:pt x="402" y="235"/>
                </a:cubicBezTo>
                <a:cubicBezTo>
                  <a:pt x="306" y="199"/>
                  <a:pt x="306" y="199"/>
                  <a:pt x="306" y="199"/>
                </a:cubicBezTo>
                <a:cubicBezTo>
                  <a:pt x="319" y="186"/>
                  <a:pt x="319" y="186"/>
                  <a:pt x="319" y="186"/>
                </a:cubicBezTo>
                <a:cubicBezTo>
                  <a:pt x="396" y="215"/>
                  <a:pt x="396" y="215"/>
                  <a:pt x="396" y="215"/>
                </a:cubicBezTo>
                <a:cubicBezTo>
                  <a:pt x="398" y="215"/>
                  <a:pt x="400" y="216"/>
                  <a:pt x="401" y="216"/>
                </a:cubicBezTo>
                <a:cubicBezTo>
                  <a:pt x="406" y="216"/>
                  <a:pt x="411" y="214"/>
                  <a:pt x="414" y="210"/>
                </a:cubicBezTo>
                <a:cubicBezTo>
                  <a:pt x="424" y="198"/>
                  <a:pt x="424" y="198"/>
                  <a:pt x="424" y="198"/>
                </a:cubicBezTo>
                <a:cubicBezTo>
                  <a:pt x="430" y="202"/>
                  <a:pt x="430" y="202"/>
                  <a:pt x="430" y="202"/>
                </a:cubicBezTo>
                <a:lnTo>
                  <a:pt x="402" y="235"/>
                </a:lnTo>
                <a:close/>
                <a:moveTo>
                  <a:pt x="430" y="237"/>
                </a:moveTo>
                <a:cubicBezTo>
                  <a:pt x="402" y="270"/>
                  <a:pt x="402" y="270"/>
                  <a:pt x="402" y="270"/>
                </a:cubicBez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24" y="234"/>
                  <a:pt x="424" y="234"/>
                  <a:pt x="424" y="234"/>
                </a:cubicBezTo>
                <a:lnTo>
                  <a:pt x="430" y="237"/>
                </a:lnTo>
                <a:close/>
                <a:moveTo>
                  <a:pt x="402" y="199"/>
                </a:moveTo>
                <a:cubicBezTo>
                  <a:pt x="402" y="199"/>
                  <a:pt x="402" y="200"/>
                  <a:pt x="402" y="200"/>
                </a:cubicBezTo>
                <a:cubicBezTo>
                  <a:pt x="306" y="164"/>
                  <a:pt x="306" y="164"/>
                  <a:pt x="306" y="164"/>
                </a:cubicBezTo>
                <a:cubicBezTo>
                  <a:pt x="319" y="150"/>
                  <a:pt x="319" y="150"/>
                  <a:pt x="319" y="150"/>
                </a:cubicBezTo>
                <a:cubicBezTo>
                  <a:pt x="396" y="179"/>
                  <a:pt x="396" y="179"/>
                  <a:pt x="396" y="179"/>
                </a:cubicBezTo>
                <a:cubicBezTo>
                  <a:pt x="398" y="180"/>
                  <a:pt x="400" y="180"/>
                  <a:pt x="401" y="180"/>
                </a:cubicBezTo>
                <a:cubicBezTo>
                  <a:pt x="406" y="180"/>
                  <a:pt x="411" y="179"/>
                  <a:pt x="414" y="175"/>
                </a:cubicBezTo>
                <a:cubicBezTo>
                  <a:pt x="408" y="169"/>
                  <a:pt x="408" y="169"/>
                  <a:pt x="408" y="169"/>
                </a:cubicBezTo>
                <a:cubicBezTo>
                  <a:pt x="414" y="175"/>
                  <a:pt x="414" y="175"/>
                  <a:pt x="414" y="175"/>
                </a:cubicBezTo>
                <a:cubicBezTo>
                  <a:pt x="424" y="163"/>
                  <a:pt x="424" y="163"/>
                  <a:pt x="424" y="163"/>
                </a:cubicBezTo>
                <a:cubicBezTo>
                  <a:pt x="430" y="166"/>
                  <a:pt x="430" y="166"/>
                  <a:pt x="430" y="166"/>
                </a:cubicBezTo>
                <a:lnTo>
                  <a:pt x="402" y="199"/>
                </a:lnTo>
                <a:close/>
                <a:moveTo>
                  <a:pt x="334" y="96"/>
                </a:moveTo>
                <a:cubicBezTo>
                  <a:pt x="334" y="96"/>
                  <a:pt x="334" y="96"/>
                  <a:pt x="334" y="95"/>
                </a:cubicBezTo>
                <a:cubicBezTo>
                  <a:pt x="430" y="132"/>
                  <a:pt x="430" y="132"/>
                  <a:pt x="430" y="132"/>
                </a:cubicBezTo>
                <a:cubicBezTo>
                  <a:pt x="402" y="164"/>
                  <a:pt x="402" y="164"/>
                  <a:pt x="402" y="164"/>
                </a:cubicBezTo>
                <a:cubicBezTo>
                  <a:pt x="402" y="164"/>
                  <a:pt x="402" y="164"/>
                  <a:pt x="402" y="164"/>
                </a:cubicBezTo>
                <a:cubicBezTo>
                  <a:pt x="306" y="128"/>
                  <a:pt x="306" y="128"/>
                  <a:pt x="306" y="128"/>
                </a:cubicBezTo>
                <a:lnTo>
                  <a:pt x="334" y="96"/>
                </a:lnTo>
                <a:close/>
                <a:moveTo>
                  <a:pt x="319" y="256"/>
                </a:move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306" y="269"/>
                  <a:pt x="306" y="269"/>
                  <a:pt x="306" y="269"/>
                </a:cubicBezTo>
                <a:lnTo>
                  <a:pt x="319" y="25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101" y="111"/>
                </a:moveTo>
                <a:cubicBezTo>
                  <a:pt x="101" y="111"/>
                  <a:pt x="102" y="111"/>
                  <a:pt x="103" y="111"/>
                </a:cubicBezTo>
                <a:cubicBezTo>
                  <a:pt x="414" y="37"/>
                  <a:pt x="414" y="37"/>
                  <a:pt x="414" y="37"/>
                </a:cubicBezTo>
                <a:cubicBezTo>
                  <a:pt x="416" y="46"/>
                  <a:pt x="416" y="46"/>
                  <a:pt x="416" y="46"/>
                </a:cubicBezTo>
                <a:cubicBezTo>
                  <a:pt x="417" y="48"/>
                  <a:pt x="419" y="51"/>
                  <a:pt x="421" y="51"/>
                </a:cubicBezTo>
                <a:cubicBezTo>
                  <a:pt x="422" y="52"/>
                  <a:pt x="423" y="52"/>
                  <a:pt x="424" y="52"/>
                </a:cubicBezTo>
                <a:cubicBezTo>
                  <a:pt x="426" y="52"/>
                  <a:pt x="427" y="52"/>
                  <a:pt x="428" y="51"/>
                </a:cubicBezTo>
                <a:cubicBezTo>
                  <a:pt x="472" y="22"/>
                  <a:pt x="472" y="22"/>
                  <a:pt x="472" y="22"/>
                </a:cubicBezTo>
                <a:cubicBezTo>
                  <a:pt x="475" y="20"/>
                  <a:pt x="477" y="17"/>
                  <a:pt x="476" y="14"/>
                </a:cubicBezTo>
                <a:cubicBezTo>
                  <a:pt x="475" y="10"/>
                  <a:pt x="472" y="8"/>
                  <a:pt x="469" y="7"/>
                </a:cubicBezTo>
                <a:cubicBezTo>
                  <a:pt x="417" y="2"/>
                  <a:pt x="417" y="2"/>
                  <a:pt x="417" y="2"/>
                </a:cubicBezTo>
                <a:cubicBezTo>
                  <a:pt x="414" y="2"/>
                  <a:pt x="412" y="3"/>
                  <a:pt x="410" y="5"/>
                </a:cubicBezTo>
                <a:cubicBezTo>
                  <a:pt x="408" y="7"/>
                  <a:pt x="408" y="10"/>
                  <a:pt x="408" y="12"/>
                </a:cubicBezTo>
                <a:cubicBezTo>
                  <a:pt x="410" y="21"/>
                  <a:pt x="410" y="21"/>
                  <a:pt x="410" y="21"/>
                </a:cubicBezTo>
                <a:cubicBezTo>
                  <a:pt x="99" y="95"/>
                  <a:pt x="99" y="95"/>
                  <a:pt x="99" y="95"/>
                </a:cubicBezTo>
                <a:cubicBezTo>
                  <a:pt x="95" y="96"/>
                  <a:pt x="92" y="101"/>
                  <a:pt x="93" y="105"/>
                </a:cubicBezTo>
                <a:cubicBezTo>
                  <a:pt x="94" y="109"/>
                  <a:pt x="97" y="111"/>
                  <a:pt x="101" y="111"/>
                </a:cubicBezTo>
                <a:close/>
                <a:moveTo>
                  <a:pt x="379" y="125"/>
                </a:moveTo>
                <a:cubicBezTo>
                  <a:pt x="379" y="125"/>
                  <a:pt x="379" y="124"/>
                  <a:pt x="377" y="123"/>
                </a:cubicBezTo>
                <a:cubicBezTo>
                  <a:pt x="378" y="122"/>
                  <a:pt x="378" y="120"/>
                  <a:pt x="377" y="119"/>
                </a:cubicBezTo>
                <a:cubicBezTo>
                  <a:pt x="376" y="118"/>
                  <a:pt x="375" y="118"/>
                  <a:pt x="374" y="119"/>
                </a:cubicBezTo>
                <a:cubicBezTo>
                  <a:pt x="373" y="120"/>
                  <a:pt x="373" y="120"/>
                  <a:pt x="373" y="120"/>
                </a:cubicBezTo>
                <a:cubicBezTo>
                  <a:pt x="372" y="120"/>
                  <a:pt x="371" y="120"/>
                  <a:pt x="370" y="120"/>
                </a:cubicBezTo>
                <a:cubicBezTo>
                  <a:pt x="369" y="120"/>
                  <a:pt x="366" y="121"/>
                  <a:pt x="364" y="123"/>
                </a:cubicBezTo>
                <a:cubicBezTo>
                  <a:pt x="363" y="124"/>
                  <a:pt x="363" y="125"/>
                  <a:pt x="363" y="126"/>
                </a:cubicBezTo>
                <a:cubicBezTo>
                  <a:pt x="363" y="128"/>
                  <a:pt x="364" y="130"/>
                  <a:pt x="365" y="130"/>
                </a:cubicBezTo>
                <a:cubicBezTo>
                  <a:pt x="366" y="131"/>
                  <a:pt x="366" y="132"/>
                  <a:pt x="367" y="132"/>
                </a:cubicBezTo>
                <a:cubicBezTo>
                  <a:pt x="367" y="132"/>
                  <a:pt x="368" y="133"/>
                  <a:pt x="368" y="133"/>
                </a:cubicBezTo>
                <a:cubicBezTo>
                  <a:pt x="369" y="133"/>
                  <a:pt x="369" y="133"/>
                  <a:pt x="369" y="133"/>
                </a:cubicBezTo>
                <a:cubicBezTo>
                  <a:pt x="369" y="133"/>
                  <a:pt x="369" y="133"/>
                  <a:pt x="369" y="133"/>
                </a:cubicBezTo>
                <a:cubicBezTo>
                  <a:pt x="369" y="133"/>
                  <a:pt x="369" y="133"/>
                  <a:pt x="369" y="133"/>
                </a:cubicBezTo>
                <a:cubicBezTo>
                  <a:pt x="369" y="133"/>
                  <a:pt x="369" y="134"/>
                  <a:pt x="368" y="134"/>
                </a:cubicBezTo>
                <a:cubicBezTo>
                  <a:pt x="368" y="135"/>
                  <a:pt x="367" y="135"/>
                  <a:pt x="366" y="135"/>
                </a:cubicBezTo>
                <a:cubicBezTo>
                  <a:pt x="365" y="135"/>
                  <a:pt x="364" y="135"/>
                  <a:pt x="364" y="135"/>
                </a:cubicBezTo>
                <a:cubicBezTo>
                  <a:pt x="363" y="135"/>
                  <a:pt x="363" y="135"/>
                  <a:pt x="363" y="134"/>
                </a:cubicBezTo>
                <a:cubicBezTo>
                  <a:pt x="363" y="134"/>
                  <a:pt x="363" y="134"/>
                  <a:pt x="363" y="134"/>
                </a:cubicBezTo>
                <a:cubicBezTo>
                  <a:pt x="363" y="134"/>
                  <a:pt x="363" y="134"/>
                  <a:pt x="363" y="134"/>
                </a:cubicBezTo>
                <a:cubicBezTo>
                  <a:pt x="362" y="134"/>
                  <a:pt x="362" y="134"/>
                  <a:pt x="361" y="133"/>
                </a:cubicBezTo>
                <a:cubicBezTo>
                  <a:pt x="361" y="133"/>
                  <a:pt x="361" y="132"/>
                  <a:pt x="361" y="132"/>
                </a:cubicBezTo>
                <a:cubicBezTo>
                  <a:pt x="361" y="132"/>
                  <a:pt x="361" y="132"/>
                  <a:pt x="361" y="132"/>
                </a:cubicBezTo>
                <a:cubicBezTo>
                  <a:pt x="360" y="131"/>
                  <a:pt x="359" y="130"/>
                  <a:pt x="357" y="131"/>
                </a:cubicBezTo>
                <a:cubicBezTo>
                  <a:pt x="356" y="131"/>
                  <a:pt x="356" y="133"/>
                  <a:pt x="356" y="134"/>
                </a:cubicBezTo>
                <a:cubicBezTo>
                  <a:pt x="356" y="134"/>
                  <a:pt x="357" y="136"/>
                  <a:pt x="358" y="137"/>
                </a:cubicBezTo>
                <a:cubicBezTo>
                  <a:pt x="358" y="137"/>
                  <a:pt x="358" y="137"/>
                  <a:pt x="358" y="137"/>
                </a:cubicBezTo>
                <a:cubicBezTo>
                  <a:pt x="357" y="138"/>
                  <a:pt x="358" y="140"/>
                  <a:pt x="359" y="141"/>
                </a:cubicBezTo>
                <a:cubicBezTo>
                  <a:pt x="359" y="141"/>
                  <a:pt x="360" y="141"/>
                  <a:pt x="360" y="141"/>
                </a:cubicBezTo>
                <a:cubicBezTo>
                  <a:pt x="361" y="141"/>
                  <a:pt x="362" y="141"/>
                  <a:pt x="362" y="141"/>
                </a:cubicBezTo>
                <a:cubicBezTo>
                  <a:pt x="363" y="139"/>
                  <a:pt x="363" y="139"/>
                  <a:pt x="363" y="139"/>
                </a:cubicBezTo>
                <a:cubicBezTo>
                  <a:pt x="364" y="140"/>
                  <a:pt x="365" y="140"/>
                  <a:pt x="366" y="140"/>
                </a:cubicBezTo>
                <a:cubicBezTo>
                  <a:pt x="366" y="140"/>
                  <a:pt x="366" y="140"/>
                  <a:pt x="366" y="140"/>
                </a:cubicBezTo>
                <a:cubicBezTo>
                  <a:pt x="368" y="140"/>
                  <a:pt x="370" y="139"/>
                  <a:pt x="372" y="137"/>
                </a:cubicBezTo>
                <a:cubicBezTo>
                  <a:pt x="373" y="136"/>
                  <a:pt x="373" y="136"/>
                  <a:pt x="373" y="135"/>
                </a:cubicBezTo>
                <a:cubicBezTo>
                  <a:pt x="373" y="134"/>
                  <a:pt x="374" y="134"/>
                  <a:pt x="374" y="133"/>
                </a:cubicBezTo>
                <a:cubicBezTo>
                  <a:pt x="374" y="132"/>
                  <a:pt x="373" y="130"/>
                  <a:pt x="372" y="129"/>
                </a:cubicBezTo>
                <a:cubicBezTo>
                  <a:pt x="371" y="129"/>
                  <a:pt x="370" y="128"/>
                  <a:pt x="370" y="128"/>
                </a:cubicBezTo>
                <a:cubicBezTo>
                  <a:pt x="369" y="127"/>
                  <a:pt x="368" y="127"/>
                  <a:pt x="368" y="127"/>
                </a:cubicBezTo>
                <a:cubicBezTo>
                  <a:pt x="368" y="127"/>
                  <a:pt x="368" y="126"/>
                  <a:pt x="368" y="126"/>
                </a:cubicBezTo>
                <a:cubicBezTo>
                  <a:pt x="368" y="126"/>
                  <a:pt x="368" y="126"/>
                  <a:pt x="368" y="126"/>
                </a:cubicBezTo>
                <a:cubicBezTo>
                  <a:pt x="368" y="125"/>
                  <a:pt x="369" y="125"/>
                  <a:pt x="370" y="125"/>
                </a:cubicBezTo>
                <a:cubicBezTo>
                  <a:pt x="371" y="125"/>
                  <a:pt x="372" y="125"/>
                  <a:pt x="372" y="125"/>
                </a:cubicBezTo>
                <a:cubicBezTo>
                  <a:pt x="372" y="125"/>
                  <a:pt x="372" y="125"/>
                  <a:pt x="373" y="125"/>
                </a:cubicBezTo>
                <a:cubicBezTo>
                  <a:pt x="373" y="125"/>
                  <a:pt x="373" y="125"/>
                  <a:pt x="373" y="125"/>
                </a:cubicBezTo>
                <a:cubicBezTo>
                  <a:pt x="373" y="125"/>
                  <a:pt x="373" y="125"/>
                  <a:pt x="373" y="125"/>
                </a:cubicBezTo>
                <a:cubicBezTo>
                  <a:pt x="374" y="126"/>
                  <a:pt x="374" y="126"/>
                  <a:pt x="375" y="126"/>
                </a:cubicBezTo>
                <a:cubicBezTo>
                  <a:pt x="375" y="127"/>
                  <a:pt x="375" y="127"/>
                  <a:pt x="375" y="127"/>
                </a:cubicBezTo>
                <a:cubicBezTo>
                  <a:pt x="375" y="128"/>
                  <a:pt x="376" y="128"/>
                  <a:pt x="378" y="128"/>
                </a:cubicBezTo>
                <a:cubicBezTo>
                  <a:pt x="379" y="128"/>
                  <a:pt x="380" y="126"/>
                  <a:pt x="379" y="125"/>
                </a:cubicBezTo>
                <a:close/>
                <a:moveTo>
                  <a:pt x="185" y="196"/>
                </a:moveTo>
                <a:cubicBezTo>
                  <a:pt x="185" y="195"/>
                  <a:pt x="184" y="194"/>
                  <a:pt x="183" y="193"/>
                </a:cubicBezTo>
                <a:cubicBezTo>
                  <a:pt x="184" y="192"/>
                  <a:pt x="184" y="191"/>
                  <a:pt x="183" y="190"/>
                </a:cubicBezTo>
                <a:cubicBezTo>
                  <a:pt x="182" y="189"/>
                  <a:pt x="180" y="189"/>
                  <a:pt x="179" y="190"/>
                </a:cubicBezTo>
                <a:cubicBezTo>
                  <a:pt x="179" y="191"/>
                  <a:pt x="179" y="191"/>
                  <a:pt x="179" y="191"/>
                </a:cubicBezTo>
                <a:cubicBezTo>
                  <a:pt x="178" y="191"/>
                  <a:pt x="177" y="191"/>
                  <a:pt x="176" y="191"/>
                </a:cubicBezTo>
                <a:cubicBezTo>
                  <a:pt x="174" y="191"/>
                  <a:pt x="172" y="191"/>
                  <a:pt x="170" y="193"/>
                </a:cubicBezTo>
                <a:cubicBezTo>
                  <a:pt x="169" y="194"/>
                  <a:pt x="168" y="196"/>
                  <a:pt x="168" y="197"/>
                </a:cubicBezTo>
                <a:cubicBezTo>
                  <a:pt x="168" y="199"/>
                  <a:pt x="170" y="200"/>
                  <a:pt x="170" y="201"/>
                </a:cubicBezTo>
                <a:cubicBezTo>
                  <a:pt x="171" y="202"/>
                  <a:pt x="172" y="202"/>
                  <a:pt x="173" y="202"/>
                </a:cubicBezTo>
                <a:cubicBezTo>
                  <a:pt x="173" y="203"/>
                  <a:pt x="174" y="203"/>
                  <a:pt x="174" y="203"/>
                </a:cubicBezTo>
                <a:cubicBezTo>
                  <a:pt x="174" y="204"/>
                  <a:pt x="174" y="204"/>
                  <a:pt x="174" y="204"/>
                </a:cubicBezTo>
                <a:cubicBezTo>
                  <a:pt x="174" y="204"/>
                  <a:pt x="174" y="204"/>
                  <a:pt x="174" y="204"/>
                </a:cubicBezTo>
                <a:cubicBezTo>
                  <a:pt x="174" y="204"/>
                  <a:pt x="174" y="204"/>
                  <a:pt x="174" y="204"/>
                </a:cubicBezTo>
                <a:cubicBezTo>
                  <a:pt x="174" y="204"/>
                  <a:pt x="174" y="204"/>
                  <a:pt x="174" y="204"/>
                </a:cubicBezTo>
                <a:cubicBezTo>
                  <a:pt x="173" y="205"/>
                  <a:pt x="173" y="205"/>
                  <a:pt x="171" y="205"/>
                </a:cubicBezTo>
                <a:cubicBezTo>
                  <a:pt x="171" y="205"/>
                  <a:pt x="170" y="205"/>
                  <a:pt x="170" y="205"/>
                </a:cubicBezTo>
                <a:cubicBezTo>
                  <a:pt x="169" y="205"/>
                  <a:pt x="169" y="205"/>
                  <a:pt x="169" y="205"/>
                </a:cubicBezTo>
                <a:cubicBezTo>
                  <a:pt x="169" y="205"/>
                  <a:pt x="169" y="205"/>
                  <a:pt x="169" y="205"/>
                </a:cubicBezTo>
                <a:cubicBezTo>
                  <a:pt x="169" y="205"/>
                  <a:pt x="169" y="205"/>
                  <a:pt x="169" y="205"/>
                </a:cubicBezTo>
                <a:cubicBezTo>
                  <a:pt x="168" y="205"/>
                  <a:pt x="167" y="204"/>
                  <a:pt x="167" y="203"/>
                </a:cubicBezTo>
                <a:cubicBezTo>
                  <a:pt x="167" y="203"/>
                  <a:pt x="167" y="203"/>
                  <a:pt x="166" y="203"/>
                </a:cubicBezTo>
                <a:cubicBezTo>
                  <a:pt x="166" y="203"/>
                  <a:pt x="166" y="203"/>
                  <a:pt x="166" y="203"/>
                </a:cubicBezTo>
                <a:cubicBezTo>
                  <a:pt x="166" y="201"/>
                  <a:pt x="164" y="201"/>
                  <a:pt x="163" y="201"/>
                </a:cubicBezTo>
                <a:cubicBezTo>
                  <a:pt x="162" y="202"/>
                  <a:pt x="161" y="203"/>
                  <a:pt x="162" y="204"/>
                </a:cubicBezTo>
                <a:cubicBezTo>
                  <a:pt x="162" y="204"/>
                  <a:pt x="162" y="206"/>
                  <a:pt x="164" y="208"/>
                </a:cubicBezTo>
                <a:cubicBezTo>
                  <a:pt x="164" y="208"/>
                  <a:pt x="164" y="208"/>
                  <a:pt x="164" y="208"/>
                </a:cubicBezTo>
                <a:cubicBezTo>
                  <a:pt x="163" y="209"/>
                  <a:pt x="163" y="210"/>
                  <a:pt x="164" y="211"/>
                </a:cubicBezTo>
                <a:cubicBezTo>
                  <a:pt x="165" y="212"/>
                  <a:pt x="165" y="212"/>
                  <a:pt x="166" y="212"/>
                </a:cubicBezTo>
                <a:cubicBezTo>
                  <a:pt x="167" y="212"/>
                  <a:pt x="167" y="212"/>
                  <a:pt x="168" y="211"/>
                </a:cubicBezTo>
                <a:cubicBezTo>
                  <a:pt x="169" y="210"/>
                  <a:pt x="169" y="210"/>
                  <a:pt x="169" y="210"/>
                </a:cubicBezTo>
                <a:cubicBezTo>
                  <a:pt x="169" y="210"/>
                  <a:pt x="170" y="210"/>
                  <a:pt x="171" y="210"/>
                </a:cubicBezTo>
                <a:cubicBezTo>
                  <a:pt x="172" y="210"/>
                  <a:pt x="172" y="210"/>
                  <a:pt x="172" y="210"/>
                </a:cubicBezTo>
                <a:cubicBezTo>
                  <a:pt x="173" y="210"/>
                  <a:pt x="176" y="210"/>
                  <a:pt x="178" y="208"/>
                </a:cubicBezTo>
                <a:cubicBezTo>
                  <a:pt x="178" y="207"/>
                  <a:pt x="179" y="206"/>
                  <a:pt x="179" y="205"/>
                </a:cubicBezTo>
                <a:cubicBezTo>
                  <a:pt x="179" y="205"/>
                  <a:pt x="179" y="204"/>
                  <a:pt x="179" y="204"/>
                </a:cubicBezTo>
                <a:cubicBezTo>
                  <a:pt x="179" y="202"/>
                  <a:pt x="178" y="201"/>
                  <a:pt x="178" y="200"/>
                </a:cubicBezTo>
                <a:cubicBezTo>
                  <a:pt x="177" y="199"/>
                  <a:pt x="176" y="199"/>
                  <a:pt x="175" y="198"/>
                </a:cubicBezTo>
                <a:cubicBezTo>
                  <a:pt x="175" y="198"/>
                  <a:pt x="174" y="197"/>
                  <a:pt x="174" y="197"/>
                </a:cubicBezTo>
                <a:cubicBezTo>
                  <a:pt x="174" y="197"/>
                  <a:pt x="173" y="197"/>
                  <a:pt x="173" y="197"/>
                </a:cubicBezTo>
                <a:cubicBezTo>
                  <a:pt x="173" y="197"/>
                  <a:pt x="174" y="197"/>
                  <a:pt x="174" y="196"/>
                </a:cubicBezTo>
                <a:cubicBezTo>
                  <a:pt x="174" y="196"/>
                  <a:pt x="175" y="196"/>
                  <a:pt x="176" y="196"/>
                </a:cubicBezTo>
                <a:cubicBezTo>
                  <a:pt x="177" y="196"/>
                  <a:pt x="177" y="196"/>
                  <a:pt x="178" y="196"/>
                </a:cubicBezTo>
                <a:cubicBezTo>
                  <a:pt x="178" y="196"/>
                  <a:pt x="178" y="196"/>
                  <a:pt x="178" y="196"/>
                </a:cubicBezTo>
                <a:cubicBezTo>
                  <a:pt x="178" y="196"/>
                  <a:pt x="178" y="196"/>
                  <a:pt x="178" y="196"/>
                </a:cubicBezTo>
                <a:cubicBezTo>
                  <a:pt x="178" y="196"/>
                  <a:pt x="178" y="196"/>
                  <a:pt x="178" y="196"/>
                </a:cubicBezTo>
                <a:cubicBezTo>
                  <a:pt x="180" y="196"/>
                  <a:pt x="180" y="197"/>
                  <a:pt x="180" y="197"/>
                </a:cubicBezTo>
                <a:cubicBezTo>
                  <a:pt x="180" y="197"/>
                  <a:pt x="180" y="197"/>
                  <a:pt x="180" y="197"/>
                </a:cubicBezTo>
                <a:cubicBezTo>
                  <a:pt x="181" y="198"/>
                  <a:pt x="182" y="199"/>
                  <a:pt x="183" y="199"/>
                </a:cubicBezTo>
                <a:cubicBezTo>
                  <a:pt x="185" y="198"/>
                  <a:pt x="185" y="197"/>
                  <a:pt x="185" y="196"/>
                </a:cubicBezTo>
                <a:close/>
                <a:moveTo>
                  <a:pt x="101" y="212"/>
                </a:move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1"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1"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1" y="317"/>
                </a:cubicBezTo>
                <a:cubicBezTo>
                  <a:pt x="202" y="356"/>
                  <a:pt x="202" y="356"/>
                  <a:pt x="202" y="356"/>
                </a:cubicBezTo>
                <a:cubicBezTo>
                  <a:pt x="204" y="356"/>
                  <a:pt x="206"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145" y="151"/>
                  <a:pt x="145" y="151"/>
                  <a:pt x="145" y="151"/>
                </a:cubicBezTo>
                <a:cubicBezTo>
                  <a:pt x="144" y="150"/>
                  <a:pt x="142" y="150"/>
                  <a:pt x="140" y="150"/>
                </a:cubicBezTo>
                <a:cubicBezTo>
                  <a:pt x="135" y="150"/>
                  <a:pt x="131" y="152"/>
                  <a:pt x="127" y="156"/>
                </a:cubicBezTo>
                <a:cubicBezTo>
                  <a:pt x="96" y="192"/>
                  <a:pt x="96" y="192"/>
                  <a:pt x="96" y="192"/>
                </a:cubicBezTo>
                <a:cubicBezTo>
                  <a:pt x="94" y="195"/>
                  <a:pt x="93" y="197"/>
                  <a:pt x="93" y="201"/>
                </a:cubicBezTo>
                <a:cubicBezTo>
                  <a:pt x="93" y="206"/>
                  <a:pt x="96" y="210"/>
                  <a:pt x="101" y="212"/>
                </a:cubicBezTo>
                <a:close/>
                <a:moveTo>
                  <a:pt x="208" y="340"/>
                </a:moveTo>
                <a:cubicBezTo>
                  <a:pt x="208" y="340"/>
                  <a:pt x="208" y="340"/>
                  <a:pt x="208" y="340"/>
                </a:cubicBezTo>
                <a:cubicBezTo>
                  <a:pt x="208" y="340"/>
                  <a:pt x="208" y="341"/>
                  <a:pt x="207" y="341"/>
                </a:cubicBezTo>
                <a:cubicBezTo>
                  <a:pt x="112" y="305"/>
                  <a:pt x="112" y="305"/>
                  <a:pt x="112" y="305"/>
                </a:cubicBezTo>
                <a:cubicBezTo>
                  <a:pt x="125" y="291"/>
                  <a:pt x="125" y="291"/>
                  <a:pt x="125" y="291"/>
                </a:cubicBezTo>
                <a:cubicBezTo>
                  <a:pt x="202" y="320"/>
                  <a:pt x="202" y="320"/>
                  <a:pt x="202" y="320"/>
                </a:cubicBezTo>
                <a:cubicBezTo>
                  <a:pt x="204" y="321"/>
                  <a:pt x="206"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8" y="305"/>
                  <a:pt x="207" y="305"/>
                </a:cubicBezTo>
                <a:cubicBezTo>
                  <a:pt x="112" y="269"/>
                  <a:pt x="112" y="269"/>
                  <a:pt x="112" y="269"/>
                </a:cubicBezTo>
                <a:cubicBezTo>
                  <a:pt x="125" y="256"/>
                  <a:pt x="125" y="256"/>
                  <a:pt x="125" y="256"/>
                </a:cubicBezTo>
                <a:cubicBezTo>
                  <a:pt x="202" y="285"/>
                  <a:pt x="202" y="285"/>
                  <a:pt x="202" y="285"/>
                </a:cubicBezTo>
                <a:cubicBezTo>
                  <a:pt x="204" y="286"/>
                  <a:pt x="206"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7" y="270"/>
                </a:cubicBezTo>
                <a:cubicBezTo>
                  <a:pt x="112" y="234"/>
                  <a:pt x="112" y="234"/>
                  <a:pt x="112" y="234"/>
                </a:cubicBezTo>
                <a:cubicBezTo>
                  <a:pt x="125" y="221"/>
                  <a:pt x="125" y="221"/>
                  <a:pt x="125" y="221"/>
                </a:cubicBezTo>
                <a:cubicBezTo>
                  <a:pt x="202" y="250"/>
                  <a:pt x="202" y="250"/>
                  <a:pt x="202" y="250"/>
                </a:cubicBezTo>
                <a:cubicBezTo>
                  <a:pt x="204" y="251"/>
                  <a:pt x="206" y="251"/>
                  <a:pt x="207" y="251"/>
                </a:cubicBezTo>
                <a:cubicBezTo>
                  <a:pt x="212" y="251"/>
                  <a:pt x="216" y="249"/>
                  <a:pt x="220" y="245"/>
                </a:cubicBezTo>
                <a:cubicBezTo>
                  <a:pt x="214" y="240"/>
                  <a:pt x="214" y="240"/>
                  <a:pt x="214" y="240"/>
                </a:cubicBezTo>
                <a:cubicBezTo>
                  <a:pt x="220" y="245"/>
                  <a:pt x="220" y="245"/>
                  <a:pt x="220" y="245"/>
                </a:cubicBezTo>
                <a:cubicBezTo>
                  <a:pt x="230" y="234"/>
                  <a:pt x="230" y="234"/>
                  <a:pt x="230" y="234"/>
                </a:cubicBezTo>
                <a:cubicBezTo>
                  <a:pt x="236" y="237"/>
                  <a:pt x="236" y="237"/>
                  <a:pt x="236" y="237"/>
                </a:cubicBezTo>
                <a:lnTo>
                  <a:pt x="208" y="270"/>
                </a:lnTo>
                <a:close/>
                <a:moveTo>
                  <a:pt x="139" y="166"/>
                </a:moveTo>
                <a:cubicBezTo>
                  <a:pt x="139" y="166"/>
                  <a:pt x="139" y="166"/>
                  <a:pt x="139" y="166"/>
                </a:cubicBezTo>
                <a:cubicBezTo>
                  <a:pt x="140" y="166"/>
                  <a:pt x="140" y="166"/>
                  <a:pt x="140" y="166"/>
                </a:cubicBezTo>
                <a:cubicBezTo>
                  <a:pt x="236" y="202"/>
                  <a:pt x="236" y="202"/>
                  <a:pt x="236" y="202"/>
                </a:cubicBezTo>
                <a:cubicBezTo>
                  <a:pt x="208" y="235"/>
                  <a:pt x="208" y="235"/>
                  <a:pt x="208" y="235"/>
                </a:cubicBezTo>
                <a:cubicBezTo>
                  <a:pt x="208" y="235"/>
                  <a:pt x="208" y="235"/>
                  <a:pt x="208" y="235"/>
                </a:cubicBezTo>
                <a:cubicBezTo>
                  <a:pt x="208" y="235"/>
                  <a:pt x="208" y="235"/>
                  <a:pt x="207" y="235"/>
                </a:cubicBezTo>
                <a:cubicBezTo>
                  <a:pt x="112" y="199"/>
                  <a:pt x="112" y="199"/>
                  <a:pt x="112" y="199"/>
                </a:cubicBezTo>
                <a:lnTo>
                  <a:pt x="139" y="166"/>
                </a:lnTo>
                <a:close/>
                <a:moveTo>
                  <a:pt x="386" y="388"/>
                </a:moveTo>
                <a:cubicBezTo>
                  <a:pt x="37" y="388"/>
                  <a:pt x="37" y="388"/>
                  <a:pt x="37" y="388"/>
                </a:cubicBez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9" y="65"/>
                  <a:pt x="9" y="65"/>
                  <a:pt x="9" y="65"/>
                </a:cubicBezTo>
                <a:cubicBezTo>
                  <a:pt x="18" y="65"/>
                  <a:pt x="18" y="65"/>
                  <a:pt x="18" y="65"/>
                </a:cubicBezTo>
                <a:cubicBezTo>
                  <a:pt x="18" y="385"/>
                  <a:pt x="18" y="385"/>
                  <a:pt x="18" y="385"/>
                </a:cubicBezTo>
                <a:cubicBezTo>
                  <a:pt x="18" y="396"/>
                  <a:pt x="27" y="404"/>
                  <a:pt x="37" y="404"/>
                </a:cubicBezTo>
                <a:cubicBezTo>
                  <a:pt x="37" y="404"/>
                  <a:pt x="37" y="404"/>
                  <a:pt x="37" y="404"/>
                </a:cubicBezTo>
                <a:cubicBezTo>
                  <a:pt x="386" y="404"/>
                  <a:pt x="386" y="404"/>
                  <a:pt x="386" y="404"/>
                </a:cubicBezTo>
                <a:cubicBezTo>
                  <a:pt x="391" y="404"/>
                  <a:pt x="394" y="401"/>
                  <a:pt x="394" y="396"/>
                </a:cubicBezTo>
                <a:cubicBezTo>
                  <a:pt x="394" y="392"/>
                  <a:pt x="391" y="388"/>
                  <a:pt x="386" y="388"/>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3"/>
          <p:cNvSpPr>
            <a:spLocks noChangeAspect="1" noEditPoints="1"/>
          </p:cNvSpPr>
          <p:nvPr/>
        </p:nvSpPr>
        <p:spPr bwMode="auto">
          <a:xfrm>
            <a:off x="9861220" y="5095089"/>
            <a:ext cx="413858" cy="359136"/>
          </a:xfrm>
          <a:custGeom>
            <a:avLst/>
            <a:gdLst>
              <a:gd name="T0" fmla="*/ 2147483647 w 381"/>
              <a:gd name="T1" fmla="*/ 2147483647 h 331"/>
              <a:gd name="T2" fmla="*/ 2147483647 w 381"/>
              <a:gd name="T3" fmla="*/ 2147483647 h 331"/>
              <a:gd name="T4" fmla="*/ 2147483647 w 381"/>
              <a:gd name="T5" fmla="*/ 2147483647 h 331"/>
              <a:gd name="T6" fmla="*/ 2147483647 w 381"/>
              <a:gd name="T7" fmla="*/ 2147483647 h 331"/>
              <a:gd name="T8" fmla="*/ 2147483647 w 381"/>
              <a:gd name="T9" fmla="*/ 2147483647 h 331"/>
              <a:gd name="T10" fmla="*/ 2147483647 w 381"/>
              <a:gd name="T11" fmla="*/ 2147483647 h 331"/>
              <a:gd name="T12" fmla="*/ 2147483647 w 381"/>
              <a:gd name="T13" fmla="*/ 2147483647 h 331"/>
              <a:gd name="T14" fmla="*/ 2147483647 w 381"/>
              <a:gd name="T15" fmla="*/ 2147483647 h 331"/>
              <a:gd name="T16" fmla="*/ 2147483647 w 381"/>
              <a:gd name="T17" fmla="*/ 2147483647 h 331"/>
              <a:gd name="T18" fmla="*/ 2147483647 w 381"/>
              <a:gd name="T19" fmla="*/ 2147483647 h 331"/>
              <a:gd name="T20" fmla="*/ 2147483647 w 381"/>
              <a:gd name="T21" fmla="*/ 2147483647 h 331"/>
              <a:gd name="T22" fmla="*/ 2147483647 w 381"/>
              <a:gd name="T23" fmla="*/ 2147483647 h 331"/>
              <a:gd name="T24" fmla="*/ 2147483647 w 381"/>
              <a:gd name="T25" fmla="*/ 2147483647 h 331"/>
              <a:gd name="T26" fmla="*/ 2147483647 w 381"/>
              <a:gd name="T27" fmla="*/ 2147483647 h 331"/>
              <a:gd name="T28" fmla="*/ 2147483647 w 381"/>
              <a:gd name="T29" fmla="*/ 2147483647 h 331"/>
              <a:gd name="T30" fmla="*/ 2147483647 w 381"/>
              <a:gd name="T31" fmla="*/ 2147483647 h 331"/>
              <a:gd name="T32" fmla="*/ 2147483647 w 381"/>
              <a:gd name="T33" fmla="*/ 2147483647 h 331"/>
              <a:gd name="T34" fmla="*/ 2147483647 w 381"/>
              <a:gd name="T35" fmla="*/ 2147483647 h 331"/>
              <a:gd name="T36" fmla="*/ 2147483647 w 381"/>
              <a:gd name="T37" fmla="*/ 2147483647 h 331"/>
              <a:gd name="T38" fmla="*/ 2147483647 w 381"/>
              <a:gd name="T39" fmla="*/ 2147483647 h 331"/>
              <a:gd name="T40" fmla="*/ 2147483647 w 381"/>
              <a:gd name="T41" fmla="*/ 2147483647 h 331"/>
              <a:gd name="T42" fmla="*/ 2147483647 w 381"/>
              <a:gd name="T43" fmla="*/ 2147483647 h 331"/>
              <a:gd name="T44" fmla="*/ 2147483647 w 381"/>
              <a:gd name="T45" fmla="*/ 2147483647 h 331"/>
              <a:gd name="T46" fmla="*/ 2147483647 w 381"/>
              <a:gd name="T47" fmla="*/ 2147483647 h 331"/>
              <a:gd name="T48" fmla="*/ 2147483647 w 381"/>
              <a:gd name="T49" fmla="*/ 2147483647 h 331"/>
              <a:gd name="T50" fmla="*/ 2147483647 w 381"/>
              <a:gd name="T51" fmla="*/ 2147483647 h 331"/>
              <a:gd name="T52" fmla="*/ 2147483647 w 381"/>
              <a:gd name="T53" fmla="*/ 2147483647 h 331"/>
              <a:gd name="T54" fmla="*/ 2147483647 w 381"/>
              <a:gd name="T55" fmla="*/ 2147483647 h 331"/>
              <a:gd name="T56" fmla="*/ 2147483647 w 381"/>
              <a:gd name="T57" fmla="*/ 2147483647 h 331"/>
              <a:gd name="T58" fmla="*/ 2147483647 w 381"/>
              <a:gd name="T59" fmla="*/ 2147483647 h 331"/>
              <a:gd name="T60" fmla="*/ 2147483647 w 381"/>
              <a:gd name="T61" fmla="*/ 2147483647 h 331"/>
              <a:gd name="T62" fmla="*/ 2147483647 w 381"/>
              <a:gd name="T63" fmla="*/ 2147483647 h 331"/>
              <a:gd name="T64" fmla="*/ 2147483647 w 381"/>
              <a:gd name="T65" fmla="*/ 2147483647 h 331"/>
              <a:gd name="T66" fmla="*/ 2147483647 w 381"/>
              <a:gd name="T67" fmla="*/ 2147483647 h 331"/>
              <a:gd name="T68" fmla="*/ 2147483647 w 381"/>
              <a:gd name="T69" fmla="*/ 2147483647 h 331"/>
              <a:gd name="T70" fmla="*/ 2147483647 w 381"/>
              <a:gd name="T71" fmla="*/ 2147483647 h 331"/>
              <a:gd name="T72" fmla="*/ 2147483647 w 381"/>
              <a:gd name="T73" fmla="*/ 2147483647 h 331"/>
              <a:gd name="T74" fmla="*/ 2147483647 w 381"/>
              <a:gd name="T75" fmla="*/ 2147483647 h 331"/>
              <a:gd name="T76" fmla="*/ 2147483647 w 381"/>
              <a:gd name="T77" fmla="*/ 2147483647 h 331"/>
              <a:gd name="T78" fmla="*/ 2147483647 w 381"/>
              <a:gd name="T79" fmla="*/ 2147483647 h 331"/>
              <a:gd name="T80" fmla="*/ 2147483647 w 381"/>
              <a:gd name="T81" fmla="*/ 2147483647 h 331"/>
              <a:gd name="T82" fmla="*/ 2147483647 w 381"/>
              <a:gd name="T83" fmla="*/ 2147483647 h 331"/>
              <a:gd name="T84" fmla="*/ 2147483647 w 381"/>
              <a:gd name="T85" fmla="*/ 2147483647 h 331"/>
              <a:gd name="T86" fmla="*/ 2147483647 w 381"/>
              <a:gd name="T87" fmla="*/ 2147483647 h 331"/>
              <a:gd name="T88" fmla="*/ 2147483647 w 381"/>
              <a:gd name="T89" fmla="*/ 2147483647 h 331"/>
              <a:gd name="T90" fmla="*/ 2147483647 w 381"/>
              <a:gd name="T91" fmla="*/ 2147483647 h 331"/>
              <a:gd name="T92" fmla="*/ 2147483647 w 381"/>
              <a:gd name="T93" fmla="*/ 2147483647 h 331"/>
              <a:gd name="T94" fmla="*/ 2147483647 w 381"/>
              <a:gd name="T95" fmla="*/ 2147483647 h 331"/>
              <a:gd name="T96" fmla="*/ 2147483647 w 381"/>
              <a:gd name="T97" fmla="*/ 2147483647 h 3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331">
                <a:moveTo>
                  <a:pt x="376" y="306"/>
                </a:moveTo>
                <a:cubicBezTo>
                  <a:pt x="372" y="298"/>
                  <a:pt x="325" y="216"/>
                  <a:pt x="236" y="62"/>
                </a:cubicBezTo>
                <a:cubicBezTo>
                  <a:pt x="233" y="58"/>
                  <a:pt x="228" y="57"/>
                  <a:pt x="225" y="59"/>
                </a:cubicBezTo>
                <a:cubicBezTo>
                  <a:pt x="221" y="61"/>
                  <a:pt x="219" y="66"/>
                  <a:pt x="222" y="70"/>
                </a:cubicBezTo>
                <a:cubicBezTo>
                  <a:pt x="311" y="224"/>
                  <a:pt x="358" y="306"/>
                  <a:pt x="362" y="314"/>
                </a:cubicBezTo>
                <a:cubicBezTo>
                  <a:pt x="363" y="314"/>
                  <a:pt x="363" y="315"/>
                  <a:pt x="363" y="315"/>
                </a:cubicBezTo>
                <a:cubicBezTo>
                  <a:pt x="19" y="315"/>
                  <a:pt x="19" y="315"/>
                  <a:pt x="19" y="315"/>
                </a:cubicBezTo>
                <a:cubicBezTo>
                  <a:pt x="19" y="315"/>
                  <a:pt x="20" y="314"/>
                  <a:pt x="20" y="314"/>
                </a:cubicBezTo>
                <a:cubicBezTo>
                  <a:pt x="190" y="19"/>
                  <a:pt x="190" y="19"/>
                  <a:pt x="190" y="19"/>
                </a:cubicBezTo>
                <a:cubicBezTo>
                  <a:pt x="190" y="18"/>
                  <a:pt x="191" y="18"/>
                  <a:pt x="191" y="17"/>
                </a:cubicBezTo>
                <a:cubicBezTo>
                  <a:pt x="192" y="18"/>
                  <a:pt x="192" y="18"/>
                  <a:pt x="192" y="19"/>
                </a:cubicBezTo>
                <a:cubicBezTo>
                  <a:pt x="196" y="25"/>
                  <a:pt x="207" y="43"/>
                  <a:pt x="207" y="43"/>
                </a:cubicBezTo>
                <a:cubicBezTo>
                  <a:pt x="207" y="43"/>
                  <a:pt x="207" y="43"/>
                  <a:pt x="207" y="43"/>
                </a:cubicBezTo>
                <a:cubicBezTo>
                  <a:pt x="208" y="45"/>
                  <a:pt x="211" y="47"/>
                  <a:pt x="214" y="47"/>
                </a:cubicBezTo>
                <a:cubicBezTo>
                  <a:pt x="218" y="47"/>
                  <a:pt x="222" y="43"/>
                  <a:pt x="222" y="39"/>
                </a:cubicBezTo>
                <a:cubicBezTo>
                  <a:pt x="222" y="38"/>
                  <a:pt x="221" y="36"/>
                  <a:pt x="220" y="35"/>
                </a:cubicBezTo>
                <a:cubicBezTo>
                  <a:pt x="220" y="35"/>
                  <a:pt x="220" y="35"/>
                  <a:pt x="220" y="35"/>
                </a:cubicBezTo>
                <a:cubicBezTo>
                  <a:pt x="220" y="35"/>
                  <a:pt x="210" y="17"/>
                  <a:pt x="206" y="11"/>
                </a:cubicBezTo>
                <a:cubicBezTo>
                  <a:pt x="201" y="2"/>
                  <a:pt x="196" y="1"/>
                  <a:pt x="192" y="1"/>
                </a:cubicBezTo>
                <a:cubicBezTo>
                  <a:pt x="183" y="0"/>
                  <a:pt x="177" y="9"/>
                  <a:pt x="176" y="11"/>
                </a:cubicBezTo>
                <a:cubicBezTo>
                  <a:pt x="6" y="305"/>
                  <a:pt x="6" y="305"/>
                  <a:pt x="6" y="305"/>
                </a:cubicBezTo>
                <a:cubicBezTo>
                  <a:pt x="5" y="307"/>
                  <a:pt x="0" y="316"/>
                  <a:pt x="4" y="324"/>
                </a:cubicBezTo>
                <a:cubicBezTo>
                  <a:pt x="6" y="327"/>
                  <a:pt x="10" y="331"/>
                  <a:pt x="19" y="331"/>
                </a:cubicBezTo>
                <a:cubicBezTo>
                  <a:pt x="363" y="331"/>
                  <a:pt x="363" y="331"/>
                  <a:pt x="363" y="331"/>
                </a:cubicBezTo>
                <a:cubicBezTo>
                  <a:pt x="363" y="331"/>
                  <a:pt x="363" y="331"/>
                  <a:pt x="363" y="331"/>
                </a:cubicBezTo>
                <a:cubicBezTo>
                  <a:pt x="366" y="331"/>
                  <a:pt x="374" y="330"/>
                  <a:pt x="378" y="324"/>
                </a:cubicBezTo>
                <a:cubicBezTo>
                  <a:pt x="381" y="319"/>
                  <a:pt x="380" y="313"/>
                  <a:pt x="376" y="306"/>
                </a:cubicBezTo>
                <a:close/>
                <a:moveTo>
                  <a:pt x="198" y="94"/>
                </a:moveTo>
                <a:cubicBezTo>
                  <a:pt x="196" y="92"/>
                  <a:pt x="194" y="91"/>
                  <a:pt x="191" y="91"/>
                </a:cubicBezTo>
                <a:cubicBezTo>
                  <a:pt x="189" y="91"/>
                  <a:pt x="186" y="92"/>
                  <a:pt x="184" y="94"/>
                </a:cubicBezTo>
                <a:cubicBezTo>
                  <a:pt x="182" y="96"/>
                  <a:pt x="181" y="99"/>
                  <a:pt x="181" y="101"/>
                </a:cubicBezTo>
                <a:cubicBezTo>
                  <a:pt x="182" y="228"/>
                  <a:pt x="182" y="228"/>
                  <a:pt x="182" y="228"/>
                </a:cubicBezTo>
                <a:cubicBezTo>
                  <a:pt x="182" y="230"/>
                  <a:pt x="183" y="232"/>
                  <a:pt x="185" y="234"/>
                </a:cubicBezTo>
                <a:cubicBezTo>
                  <a:pt x="187" y="236"/>
                  <a:pt x="189" y="237"/>
                  <a:pt x="191" y="237"/>
                </a:cubicBezTo>
                <a:cubicBezTo>
                  <a:pt x="194" y="237"/>
                  <a:pt x="196" y="236"/>
                  <a:pt x="197" y="234"/>
                </a:cubicBezTo>
                <a:cubicBezTo>
                  <a:pt x="199" y="233"/>
                  <a:pt x="200" y="230"/>
                  <a:pt x="200" y="228"/>
                </a:cubicBezTo>
                <a:cubicBezTo>
                  <a:pt x="201" y="101"/>
                  <a:pt x="201" y="101"/>
                  <a:pt x="201" y="101"/>
                </a:cubicBezTo>
                <a:cubicBezTo>
                  <a:pt x="201" y="99"/>
                  <a:pt x="200" y="96"/>
                  <a:pt x="198" y="94"/>
                </a:cubicBezTo>
                <a:close/>
                <a:moveTo>
                  <a:pt x="191" y="253"/>
                </a:moveTo>
                <a:cubicBezTo>
                  <a:pt x="189" y="253"/>
                  <a:pt x="186" y="254"/>
                  <a:pt x="184" y="256"/>
                </a:cubicBezTo>
                <a:cubicBezTo>
                  <a:pt x="182" y="258"/>
                  <a:pt x="181" y="260"/>
                  <a:pt x="181" y="263"/>
                </a:cubicBezTo>
                <a:cubicBezTo>
                  <a:pt x="181" y="276"/>
                  <a:pt x="181" y="276"/>
                  <a:pt x="181" y="276"/>
                </a:cubicBezTo>
                <a:cubicBezTo>
                  <a:pt x="181" y="278"/>
                  <a:pt x="182" y="281"/>
                  <a:pt x="184" y="283"/>
                </a:cubicBezTo>
                <a:cubicBezTo>
                  <a:pt x="186" y="285"/>
                  <a:pt x="189" y="286"/>
                  <a:pt x="191" y="286"/>
                </a:cubicBezTo>
                <a:cubicBezTo>
                  <a:pt x="194" y="286"/>
                  <a:pt x="196" y="285"/>
                  <a:pt x="198" y="283"/>
                </a:cubicBezTo>
                <a:cubicBezTo>
                  <a:pt x="200" y="281"/>
                  <a:pt x="201" y="279"/>
                  <a:pt x="201" y="276"/>
                </a:cubicBezTo>
                <a:cubicBezTo>
                  <a:pt x="201" y="263"/>
                  <a:pt x="201" y="263"/>
                  <a:pt x="201" y="263"/>
                </a:cubicBezTo>
                <a:cubicBezTo>
                  <a:pt x="201" y="260"/>
                  <a:pt x="200" y="258"/>
                  <a:pt x="198" y="256"/>
                </a:cubicBezTo>
                <a:cubicBezTo>
                  <a:pt x="196" y="254"/>
                  <a:pt x="194" y="253"/>
                  <a:pt x="191" y="253"/>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3"/>
          <p:cNvSpPr>
            <a:spLocks noChangeAspect="1" noEditPoints="1"/>
          </p:cNvSpPr>
          <p:nvPr/>
        </p:nvSpPr>
        <p:spPr bwMode="auto">
          <a:xfrm>
            <a:off x="10948674" y="2968420"/>
            <a:ext cx="498468" cy="328327"/>
          </a:xfrm>
          <a:custGeom>
            <a:avLst/>
            <a:gdLst>
              <a:gd name="T0" fmla="*/ 2147483647 w 459"/>
              <a:gd name="T1" fmla="*/ 2147483647 h 302"/>
              <a:gd name="T2" fmla="*/ 2147483647 w 459"/>
              <a:gd name="T3" fmla="*/ 2147483647 h 302"/>
              <a:gd name="T4" fmla="*/ 2147483647 w 459"/>
              <a:gd name="T5" fmla="*/ 2147483647 h 302"/>
              <a:gd name="T6" fmla="*/ 2147483647 w 459"/>
              <a:gd name="T7" fmla="*/ 2147483647 h 302"/>
              <a:gd name="T8" fmla="*/ 2147483647 w 459"/>
              <a:gd name="T9" fmla="*/ 2147483647 h 302"/>
              <a:gd name="T10" fmla="*/ 2147483647 w 459"/>
              <a:gd name="T11" fmla="*/ 2147483647 h 302"/>
              <a:gd name="T12" fmla="*/ 2147483647 w 459"/>
              <a:gd name="T13" fmla="*/ 2147483647 h 302"/>
              <a:gd name="T14" fmla="*/ 2147483647 w 459"/>
              <a:gd name="T15" fmla="*/ 2147483647 h 302"/>
              <a:gd name="T16" fmla="*/ 2147483647 w 459"/>
              <a:gd name="T17" fmla="*/ 2147483647 h 302"/>
              <a:gd name="T18" fmla="*/ 2147483647 w 459"/>
              <a:gd name="T19" fmla="*/ 2147483647 h 302"/>
              <a:gd name="T20" fmla="*/ 2147483647 w 459"/>
              <a:gd name="T21" fmla="*/ 2147483647 h 302"/>
              <a:gd name="T22" fmla="*/ 2147483647 w 459"/>
              <a:gd name="T23" fmla="*/ 0 h 302"/>
              <a:gd name="T24" fmla="*/ 2147483647 w 459"/>
              <a:gd name="T25" fmla="*/ 2147483647 h 302"/>
              <a:gd name="T26" fmla="*/ 2147483647 w 459"/>
              <a:gd name="T27" fmla="*/ 2147483647 h 302"/>
              <a:gd name="T28" fmla="*/ 2147483647 w 459"/>
              <a:gd name="T29" fmla="*/ 2147483647 h 302"/>
              <a:gd name="T30" fmla="*/ 2147483647 w 459"/>
              <a:gd name="T31" fmla="*/ 2147483647 h 302"/>
              <a:gd name="T32" fmla="*/ 2147483647 w 459"/>
              <a:gd name="T33" fmla="*/ 2147483647 h 302"/>
              <a:gd name="T34" fmla="*/ 2147483647 w 459"/>
              <a:gd name="T35" fmla="*/ 2147483647 h 302"/>
              <a:gd name="T36" fmla="*/ 2147483647 w 459"/>
              <a:gd name="T37" fmla="*/ 2147483647 h 302"/>
              <a:gd name="T38" fmla="*/ 2147483647 w 459"/>
              <a:gd name="T39" fmla="*/ 2147483647 h 302"/>
              <a:gd name="T40" fmla="*/ 2147483647 w 459"/>
              <a:gd name="T41" fmla="*/ 2147483647 h 302"/>
              <a:gd name="T42" fmla="*/ 0 w 459"/>
              <a:gd name="T43" fmla="*/ 2147483647 h 302"/>
              <a:gd name="T44" fmla="*/ 2147483647 w 459"/>
              <a:gd name="T45" fmla="*/ 2147483647 h 302"/>
              <a:gd name="T46" fmla="*/ 2147483647 w 459"/>
              <a:gd name="T47" fmla="*/ 2147483647 h 302"/>
              <a:gd name="T48" fmla="*/ 2147483647 w 459"/>
              <a:gd name="T49" fmla="*/ 2147483647 h 302"/>
              <a:gd name="T50" fmla="*/ 2147483647 w 459"/>
              <a:gd name="T51" fmla="*/ 2147483647 h 302"/>
              <a:gd name="T52" fmla="*/ 2147483647 w 459"/>
              <a:gd name="T53" fmla="*/ 2147483647 h 302"/>
              <a:gd name="T54" fmla="*/ 2147483647 w 459"/>
              <a:gd name="T55" fmla="*/ 2147483647 h 302"/>
              <a:gd name="T56" fmla="*/ 2147483647 w 459"/>
              <a:gd name="T57" fmla="*/ 2147483647 h 302"/>
              <a:gd name="T58" fmla="*/ 2147483647 w 459"/>
              <a:gd name="T59" fmla="*/ 2147483647 h 302"/>
              <a:gd name="T60" fmla="*/ 2147483647 w 459"/>
              <a:gd name="T61" fmla="*/ 2147483647 h 302"/>
              <a:gd name="T62" fmla="*/ 2147483647 w 459"/>
              <a:gd name="T63" fmla="*/ 2147483647 h 302"/>
              <a:gd name="T64" fmla="*/ 2147483647 w 459"/>
              <a:gd name="T65" fmla="*/ 2147483647 h 302"/>
              <a:gd name="T66" fmla="*/ 2147483647 w 459"/>
              <a:gd name="T67" fmla="*/ 2147483647 h 302"/>
              <a:gd name="T68" fmla="*/ 2147483647 w 459"/>
              <a:gd name="T69" fmla="*/ 2147483647 h 302"/>
              <a:gd name="T70" fmla="*/ 2147483647 w 459"/>
              <a:gd name="T71" fmla="*/ 2147483647 h 302"/>
              <a:gd name="T72" fmla="*/ 2147483647 w 459"/>
              <a:gd name="T73" fmla="*/ 2147483647 h 302"/>
              <a:gd name="T74" fmla="*/ 2147483647 w 459"/>
              <a:gd name="T75" fmla="*/ 2147483647 h 302"/>
              <a:gd name="T76" fmla="*/ 2147483647 w 459"/>
              <a:gd name="T77" fmla="*/ 2147483647 h 302"/>
              <a:gd name="T78" fmla="*/ 2147483647 w 459"/>
              <a:gd name="T79" fmla="*/ 2147483647 h 302"/>
              <a:gd name="T80" fmla="*/ 2147483647 w 459"/>
              <a:gd name="T81" fmla="*/ 2147483647 h 302"/>
              <a:gd name="T82" fmla="*/ 2147483647 w 459"/>
              <a:gd name="T83" fmla="*/ 2147483647 h 302"/>
              <a:gd name="T84" fmla="*/ 2147483647 w 459"/>
              <a:gd name="T85" fmla="*/ 2147483647 h 302"/>
              <a:gd name="T86" fmla="*/ 2147483647 w 459"/>
              <a:gd name="T87" fmla="*/ 2147483647 h 302"/>
              <a:gd name="T88" fmla="*/ 2147483647 w 459"/>
              <a:gd name="T89" fmla="*/ 2147483647 h 302"/>
              <a:gd name="T90" fmla="*/ 2147483647 w 459"/>
              <a:gd name="T91" fmla="*/ 2147483647 h 302"/>
              <a:gd name="T92" fmla="*/ 2147483647 w 459"/>
              <a:gd name="T93" fmla="*/ 2147483647 h 302"/>
              <a:gd name="T94" fmla="*/ 2147483647 w 459"/>
              <a:gd name="T95" fmla="*/ 2147483647 h 302"/>
              <a:gd name="T96" fmla="*/ 2147483647 w 459"/>
              <a:gd name="T97" fmla="*/ 2147483647 h 302"/>
              <a:gd name="T98" fmla="*/ 2147483647 w 459"/>
              <a:gd name="T99" fmla="*/ 2147483647 h 302"/>
              <a:gd name="T100" fmla="*/ 2147483647 w 459"/>
              <a:gd name="T101" fmla="*/ 2147483647 h 302"/>
              <a:gd name="T102" fmla="*/ 2147483647 w 459"/>
              <a:gd name="T103" fmla="*/ 2147483647 h 302"/>
              <a:gd name="T104" fmla="*/ 2147483647 w 459"/>
              <a:gd name="T105" fmla="*/ 2147483647 h 302"/>
              <a:gd name="T106" fmla="*/ 2147483647 w 459"/>
              <a:gd name="T107" fmla="*/ 2147483647 h 302"/>
              <a:gd name="T108" fmla="*/ 2147483647 w 459"/>
              <a:gd name="T109" fmla="*/ 2147483647 h 302"/>
              <a:gd name="T110" fmla="*/ 2147483647 w 459"/>
              <a:gd name="T111" fmla="*/ 2147483647 h 302"/>
              <a:gd name="T112" fmla="*/ 2147483647 w 459"/>
              <a:gd name="T113" fmla="*/ 2147483647 h 3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59" h="302">
                <a:moveTo>
                  <a:pt x="458" y="128"/>
                </a:moveTo>
                <a:cubicBezTo>
                  <a:pt x="450" y="52"/>
                  <a:pt x="450" y="52"/>
                  <a:pt x="450" y="52"/>
                </a:cubicBezTo>
                <a:cubicBezTo>
                  <a:pt x="449" y="50"/>
                  <a:pt x="448" y="47"/>
                  <a:pt x="446" y="46"/>
                </a:cubicBezTo>
                <a:cubicBezTo>
                  <a:pt x="444" y="45"/>
                  <a:pt x="441" y="45"/>
                  <a:pt x="439" y="46"/>
                </a:cubicBezTo>
                <a:cubicBezTo>
                  <a:pt x="366" y="75"/>
                  <a:pt x="366" y="75"/>
                  <a:pt x="366" y="75"/>
                </a:cubicBezTo>
                <a:cubicBezTo>
                  <a:pt x="363" y="76"/>
                  <a:pt x="362" y="78"/>
                  <a:pt x="361" y="81"/>
                </a:cubicBezTo>
                <a:cubicBezTo>
                  <a:pt x="361" y="84"/>
                  <a:pt x="363" y="87"/>
                  <a:pt x="365" y="89"/>
                </a:cubicBezTo>
                <a:cubicBezTo>
                  <a:pt x="379" y="97"/>
                  <a:pt x="379" y="97"/>
                  <a:pt x="379" y="97"/>
                </a:cubicBezTo>
                <a:cubicBezTo>
                  <a:pt x="374" y="106"/>
                  <a:pt x="363" y="125"/>
                  <a:pt x="345" y="147"/>
                </a:cubicBezTo>
                <a:cubicBezTo>
                  <a:pt x="345" y="69"/>
                  <a:pt x="345" y="69"/>
                  <a:pt x="345" y="69"/>
                </a:cubicBezTo>
                <a:cubicBezTo>
                  <a:pt x="345" y="65"/>
                  <a:pt x="341" y="61"/>
                  <a:pt x="337" y="61"/>
                </a:cubicBezTo>
                <a:cubicBezTo>
                  <a:pt x="333" y="61"/>
                  <a:pt x="329" y="65"/>
                  <a:pt x="329" y="69"/>
                </a:cubicBezTo>
                <a:cubicBezTo>
                  <a:pt x="329" y="165"/>
                  <a:pt x="329" y="165"/>
                  <a:pt x="329" y="165"/>
                </a:cubicBezTo>
                <a:cubicBezTo>
                  <a:pt x="316" y="179"/>
                  <a:pt x="301" y="194"/>
                  <a:pt x="284" y="208"/>
                </a:cubicBezTo>
                <a:cubicBezTo>
                  <a:pt x="284" y="19"/>
                  <a:pt x="284" y="19"/>
                  <a:pt x="284" y="19"/>
                </a:cubicBezTo>
                <a:cubicBezTo>
                  <a:pt x="284" y="17"/>
                  <a:pt x="285" y="16"/>
                  <a:pt x="287" y="16"/>
                </a:cubicBezTo>
                <a:cubicBezTo>
                  <a:pt x="326" y="16"/>
                  <a:pt x="326" y="16"/>
                  <a:pt x="326" y="16"/>
                </a:cubicBezTo>
                <a:cubicBezTo>
                  <a:pt x="327" y="16"/>
                  <a:pt x="329" y="17"/>
                  <a:pt x="329" y="19"/>
                </a:cubicBezTo>
                <a:cubicBezTo>
                  <a:pt x="329" y="38"/>
                  <a:pt x="329" y="38"/>
                  <a:pt x="329" y="38"/>
                </a:cubicBezTo>
                <a:cubicBezTo>
                  <a:pt x="329" y="42"/>
                  <a:pt x="333" y="46"/>
                  <a:pt x="337" y="46"/>
                </a:cubicBezTo>
                <a:cubicBezTo>
                  <a:pt x="341" y="46"/>
                  <a:pt x="345" y="42"/>
                  <a:pt x="345" y="38"/>
                </a:cubicBezTo>
                <a:cubicBezTo>
                  <a:pt x="345" y="19"/>
                  <a:pt x="345" y="19"/>
                  <a:pt x="345" y="19"/>
                </a:cubicBezTo>
                <a:cubicBezTo>
                  <a:pt x="345" y="8"/>
                  <a:pt x="336" y="0"/>
                  <a:pt x="326" y="0"/>
                </a:cubicBezTo>
                <a:cubicBezTo>
                  <a:pt x="287" y="0"/>
                  <a:pt x="287" y="0"/>
                  <a:pt x="287" y="0"/>
                </a:cubicBezTo>
                <a:cubicBezTo>
                  <a:pt x="276" y="0"/>
                  <a:pt x="268" y="8"/>
                  <a:pt x="268" y="19"/>
                </a:cubicBezTo>
                <a:cubicBezTo>
                  <a:pt x="268" y="220"/>
                  <a:pt x="268" y="220"/>
                  <a:pt x="268" y="220"/>
                </a:cubicBezTo>
                <a:cubicBezTo>
                  <a:pt x="266" y="221"/>
                  <a:pt x="265" y="222"/>
                  <a:pt x="263" y="223"/>
                </a:cubicBezTo>
                <a:cubicBezTo>
                  <a:pt x="261" y="225"/>
                  <a:pt x="258" y="227"/>
                  <a:pt x="256" y="228"/>
                </a:cubicBezTo>
                <a:cubicBezTo>
                  <a:pt x="256" y="57"/>
                  <a:pt x="256" y="57"/>
                  <a:pt x="256" y="57"/>
                </a:cubicBezTo>
                <a:cubicBezTo>
                  <a:pt x="256" y="46"/>
                  <a:pt x="247" y="38"/>
                  <a:pt x="236" y="38"/>
                </a:cubicBezTo>
                <a:cubicBezTo>
                  <a:pt x="198" y="38"/>
                  <a:pt x="198" y="38"/>
                  <a:pt x="198" y="38"/>
                </a:cubicBezTo>
                <a:cubicBezTo>
                  <a:pt x="187" y="38"/>
                  <a:pt x="178" y="46"/>
                  <a:pt x="178" y="57"/>
                </a:cubicBezTo>
                <a:cubicBezTo>
                  <a:pt x="178" y="262"/>
                  <a:pt x="178" y="262"/>
                  <a:pt x="178" y="262"/>
                </a:cubicBezTo>
                <a:cubicBezTo>
                  <a:pt x="174" y="263"/>
                  <a:pt x="170" y="264"/>
                  <a:pt x="166" y="265"/>
                </a:cubicBezTo>
                <a:cubicBezTo>
                  <a:pt x="166" y="95"/>
                  <a:pt x="166" y="95"/>
                  <a:pt x="166" y="95"/>
                </a:cubicBezTo>
                <a:cubicBezTo>
                  <a:pt x="166" y="85"/>
                  <a:pt x="158" y="76"/>
                  <a:pt x="147" y="76"/>
                </a:cubicBezTo>
                <a:cubicBezTo>
                  <a:pt x="108" y="76"/>
                  <a:pt x="108" y="76"/>
                  <a:pt x="108" y="76"/>
                </a:cubicBezTo>
                <a:cubicBezTo>
                  <a:pt x="98" y="76"/>
                  <a:pt x="89" y="85"/>
                  <a:pt x="89" y="95"/>
                </a:cubicBezTo>
                <a:cubicBezTo>
                  <a:pt x="89" y="280"/>
                  <a:pt x="89" y="280"/>
                  <a:pt x="89" y="280"/>
                </a:cubicBezTo>
                <a:cubicBezTo>
                  <a:pt x="85" y="281"/>
                  <a:pt x="81" y="281"/>
                  <a:pt x="77" y="282"/>
                </a:cubicBezTo>
                <a:cubicBezTo>
                  <a:pt x="77" y="134"/>
                  <a:pt x="77" y="134"/>
                  <a:pt x="77" y="134"/>
                </a:cubicBezTo>
                <a:cubicBezTo>
                  <a:pt x="77" y="123"/>
                  <a:pt x="68" y="114"/>
                  <a:pt x="58" y="114"/>
                </a:cubicBezTo>
                <a:cubicBezTo>
                  <a:pt x="19" y="114"/>
                  <a:pt x="19" y="114"/>
                  <a:pt x="19" y="114"/>
                </a:cubicBezTo>
                <a:cubicBezTo>
                  <a:pt x="8" y="114"/>
                  <a:pt x="0" y="123"/>
                  <a:pt x="0" y="134"/>
                </a:cubicBezTo>
                <a:cubicBezTo>
                  <a:pt x="0" y="283"/>
                  <a:pt x="0" y="283"/>
                  <a:pt x="0" y="283"/>
                </a:cubicBezTo>
                <a:cubicBezTo>
                  <a:pt x="0" y="293"/>
                  <a:pt x="8" y="302"/>
                  <a:pt x="19" y="302"/>
                </a:cubicBezTo>
                <a:cubicBezTo>
                  <a:pt x="147" y="302"/>
                  <a:pt x="147" y="302"/>
                  <a:pt x="147" y="302"/>
                </a:cubicBezTo>
                <a:cubicBezTo>
                  <a:pt x="153" y="302"/>
                  <a:pt x="158" y="299"/>
                  <a:pt x="162" y="295"/>
                </a:cubicBezTo>
                <a:cubicBezTo>
                  <a:pt x="168" y="294"/>
                  <a:pt x="175" y="293"/>
                  <a:pt x="181" y="292"/>
                </a:cubicBezTo>
                <a:cubicBezTo>
                  <a:pt x="184" y="298"/>
                  <a:pt x="190" y="302"/>
                  <a:pt x="198" y="302"/>
                </a:cubicBezTo>
                <a:cubicBezTo>
                  <a:pt x="236" y="302"/>
                  <a:pt x="236" y="302"/>
                  <a:pt x="236" y="302"/>
                </a:cubicBezTo>
                <a:cubicBezTo>
                  <a:pt x="247" y="302"/>
                  <a:pt x="256" y="293"/>
                  <a:pt x="256" y="283"/>
                </a:cubicBezTo>
                <a:cubicBezTo>
                  <a:pt x="256" y="274"/>
                  <a:pt x="256" y="274"/>
                  <a:pt x="256" y="274"/>
                </a:cubicBezTo>
                <a:cubicBezTo>
                  <a:pt x="260" y="273"/>
                  <a:pt x="264" y="271"/>
                  <a:pt x="268" y="270"/>
                </a:cubicBezTo>
                <a:cubicBezTo>
                  <a:pt x="268" y="283"/>
                  <a:pt x="268" y="283"/>
                  <a:pt x="268" y="283"/>
                </a:cubicBezTo>
                <a:cubicBezTo>
                  <a:pt x="268" y="293"/>
                  <a:pt x="276" y="302"/>
                  <a:pt x="287" y="302"/>
                </a:cubicBezTo>
                <a:cubicBezTo>
                  <a:pt x="326" y="302"/>
                  <a:pt x="326" y="302"/>
                  <a:pt x="326" y="302"/>
                </a:cubicBezTo>
                <a:cubicBezTo>
                  <a:pt x="336" y="302"/>
                  <a:pt x="345" y="293"/>
                  <a:pt x="345" y="283"/>
                </a:cubicBezTo>
                <a:cubicBezTo>
                  <a:pt x="345" y="223"/>
                  <a:pt x="345" y="223"/>
                  <a:pt x="345" y="223"/>
                </a:cubicBezTo>
                <a:cubicBezTo>
                  <a:pt x="391" y="186"/>
                  <a:pt x="422" y="145"/>
                  <a:pt x="434" y="129"/>
                </a:cubicBezTo>
                <a:cubicBezTo>
                  <a:pt x="447" y="137"/>
                  <a:pt x="447" y="137"/>
                  <a:pt x="447" y="137"/>
                </a:cubicBezTo>
                <a:cubicBezTo>
                  <a:pt x="448" y="138"/>
                  <a:pt x="449" y="138"/>
                  <a:pt x="451" y="138"/>
                </a:cubicBezTo>
                <a:cubicBezTo>
                  <a:pt x="451" y="138"/>
                  <a:pt x="451" y="138"/>
                  <a:pt x="451" y="138"/>
                </a:cubicBezTo>
                <a:cubicBezTo>
                  <a:pt x="455" y="138"/>
                  <a:pt x="459" y="135"/>
                  <a:pt x="459" y="130"/>
                </a:cubicBezTo>
                <a:cubicBezTo>
                  <a:pt x="459" y="130"/>
                  <a:pt x="459" y="129"/>
                  <a:pt x="458" y="128"/>
                </a:cubicBezTo>
                <a:close/>
                <a:moveTo>
                  <a:pt x="61" y="283"/>
                </a:moveTo>
                <a:cubicBezTo>
                  <a:pt x="61" y="283"/>
                  <a:pt x="61" y="283"/>
                  <a:pt x="61" y="284"/>
                </a:cubicBezTo>
                <a:cubicBezTo>
                  <a:pt x="39" y="285"/>
                  <a:pt x="26" y="286"/>
                  <a:pt x="25" y="286"/>
                </a:cubicBezTo>
                <a:cubicBezTo>
                  <a:pt x="24" y="286"/>
                  <a:pt x="24" y="286"/>
                  <a:pt x="23" y="286"/>
                </a:cubicBezTo>
                <a:cubicBezTo>
                  <a:pt x="19" y="286"/>
                  <a:pt x="19" y="286"/>
                  <a:pt x="19" y="286"/>
                </a:cubicBezTo>
                <a:cubicBezTo>
                  <a:pt x="17" y="286"/>
                  <a:pt x="16" y="284"/>
                  <a:pt x="16" y="283"/>
                </a:cubicBezTo>
                <a:cubicBezTo>
                  <a:pt x="16" y="134"/>
                  <a:pt x="16" y="134"/>
                  <a:pt x="16" y="134"/>
                </a:cubicBezTo>
                <a:cubicBezTo>
                  <a:pt x="16" y="132"/>
                  <a:pt x="17" y="130"/>
                  <a:pt x="19" y="130"/>
                </a:cubicBezTo>
                <a:cubicBezTo>
                  <a:pt x="58" y="130"/>
                  <a:pt x="58" y="130"/>
                  <a:pt x="58" y="130"/>
                </a:cubicBezTo>
                <a:cubicBezTo>
                  <a:pt x="59" y="130"/>
                  <a:pt x="61" y="132"/>
                  <a:pt x="61" y="134"/>
                </a:cubicBezTo>
                <a:lnTo>
                  <a:pt x="61" y="283"/>
                </a:lnTo>
                <a:close/>
                <a:moveTo>
                  <a:pt x="150" y="269"/>
                </a:moveTo>
                <a:cubicBezTo>
                  <a:pt x="135" y="273"/>
                  <a:pt x="119" y="276"/>
                  <a:pt x="105" y="278"/>
                </a:cubicBezTo>
                <a:cubicBezTo>
                  <a:pt x="105" y="95"/>
                  <a:pt x="105" y="95"/>
                  <a:pt x="105" y="95"/>
                </a:cubicBezTo>
                <a:cubicBezTo>
                  <a:pt x="105" y="93"/>
                  <a:pt x="106" y="92"/>
                  <a:pt x="108" y="92"/>
                </a:cubicBezTo>
                <a:cubicBezTo>
                  <a:pt x="147" y="92"/>
                  <a:pt x="147" y="92"/>
                  <a:pt x="147" y="92"/>
                </a:cubicBezTo>
                <a:cubicBezTo>
                  <a:pt x="149" y="92"/>
                  <a:pt x="150" y="93"/>
                  <a:pt x="150" y="95"/>
                </a:cubicBezTo>
                <a:lnTo>
                  <a:pt x="150" y="269"/>
                </a:lnTo>
                <a:close/>
                <a:moveTo>
                  <a:pt x="194" y="57"/>
                </a:moveTo>
                <a:cubicBezTo>
                  <a:pt x="194" y="55"/>
                  <a:pt x="196" y="54"/>
                  <a:pt x="198" y="54"/>
                </a:cubicBezTo>
                <a:cubicBezTo>
                  <a:pt x="236" y="54"/>
                  <a:pt x="236" y="54"/>
                  <a:pt x="236" y="54"/>
                </a:cubicBezTo>
                <a:cubicBezTo>
                  <a:pt x="238" y="54"/>
                  <a:pt x="240" y="55"/>
                  <a:pt x="240" y="57"/>
                </a:cubicBezTo>
                <a:cubicBezTo>
                  <a:pt x="240" y="238"/>
                  <a:pt x="240" y="238"/>
                  <a:pt x="240" y="238"/>
                </a:cubicBezTo>
                <a:cubicBezTo>
                  <a:pt x="225" y="245"/>
                  <a:pt x="210" y="252"/>
                  <a:pt x="194" y="257"/>
                </a:cubicBezTo>
                <a:lnTo>
                  <a:pt x="194" y="57"/>
                </a:lnTo>
                <a:close/>
                <a:moveTo>
                  <a:pt x="240" y="283"/>
                </a:moveTo>
                <a:cubicBezTo>
                  <a:pt x="240" y="284"/>
                  <a:pt x="238" y="286"/>
                  <a:pt x="236" y="286"/>
                </a:cubicBezTo>
                <a:cubicBezTo>
                  <a:pt x="214" y="286"/>
                  <a:pt x="214" y="286"/>
                  <a:pt x="214" y="286"/>
                </a:cubicBezTo>
                <a:cubicBezTo>
                  <a:pt x="222" y="284"/>
                  <a:pt x="231" y="282"/>
                  <a:pt x="240" y="279"/>
                </a:cubicBezTo>
                <a:lnTo>
                  <a:pt x="240" y="283"/>
                </a:lnTo>
                <a:close/>
                <a:moveTo>
                  <a:pt x="329" y="283"/>
                </a:moveTo>
                <a:cubicBezTo>
                  <a:pt x="329" y="284"/>
                  <a:pt x="327" y="286"/>
                  <a:pt x="326" y="286"/>
                </a:cubicBezTo>
                <a:cubicBezTo>
                  <a:pt x="287" y="286"/>
                  <a:pt x="287" y="286"/>
                  <a:pt x="287" y="286"/>
                </a:cubicBezTo>
                <a:cubicBezTo>
                  <a:pt x="285" y="286"/>
                  <a:pt x="284" y="284"/>
                  <a:pt x="284" y="283"/>
                </a:cubicBezTo>
                <a:cubicBezTo>
                  <a:pt x="284" y="263"/>
                  <a:pt x="284" y="263"/>
                  <a:pt x="284" y="263"/>
                </a:cubicBezTo>
                <a:cubicBezTo>
                  <a:pt x="284" y="263"/>
                  <a:pt x="284" y="262"/>
                  <a:pt x="284" y="262"/>
                </a:cubicBezTo>
                <a:cubicBezTo>
                  <a:pt x="300" y="254"/>
                  <a:pt x="315" y="245"/>
                  <a:pt x="329" y="235"/>
                </a:cubicBezTo>
                <a:lnTo>
                  <a:pt x="329" y="283"/>
                </a:lnTo>
                <a:close/>
                <a:moveTo>
                  <a:pt x="435" y="112"/>
                </a:moveTo>
                <a:cubicBezTo>
                  <a:pt x="432" y="110"/>
                  <a:pt x="427" y="111"/>
                  <a:pt x="425" y="114"/>
                </a:cubicBezTo>
                <a:cubicBezTo>
                  <a:pt x="424" y="115"/>
                  <a:pt x="364" y="204"/>
                  <a:pt x="277" y="248"/>
                </a:cubicBezTo>
                <a:cubicBezTo>
                  <a:pt x="254" y="260"/>
                  <a:pt x="226" y="268"/>
                  <a:pt x="197" y="273"/>
                </a:cubicBezTo>
                <a:cubicBezTo>
                  <a:pt x="224" y="264"/>
                  <a:pt x="250" y="252"/>
                  <a:pt x="272" y="236"/>
                </a:cubicBezTo>
                <a:cubicBezTo>
                  <a:pt x="361" y="174"/>
                  <a:pt x="395" y="100"/>
                  <a:pt x="396" y="97"/>
                </a:cubicBezTo>
                <a:cubicBezTo>
                  <a:pt x="398" y="93"/>
                  <a:pt x="397" y="89"/>
                  <a:pt x="393" y="87"/>
                </a:cubicBezTo>
                <a:cubicBezTo>
                  <a:pt x="387" y="83"/>
                  <a:pt x="387" y="83"/>
                  <a:pt x="387" y="83"/>
                </a:cubicBezTo>
                <a:cubicBezTo>
                  <a:pt x="435" y="64"/>
                  <a:pt x="435" y="64"/>
                  <a:pt x="435" y="64"/>
                </a:cubicBezTo>
                <a:cubicBezTo>
                  <a:pt x="441" y="115"/>
                  <a:pt x="441" y="115"/>
                  <a:pt x="441" y="115"/>
                </a:cubicBezTo>
                <a:lnTo>
                  <a:pt x="435" y="112"/>
                </a:ln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TextBox 47"/>
          <p:cNvSpPr txBox="1"/>
          <p:nvPr/>
        </p:nvSpPr>
        <p:spPr>
          <a:xfrm>
            <a:off x="132523" y="6202017"/>
            <a:ext cx="1873077" cy="276999"/>
          </a:xfrm>
          <a:prstGeom prst="rect">
            <a:avLst/>
          </a:prstGeom>
          <a:noFill/>
        </p:spPr>
        <p:txBody>
          <a:bodyPr wrap="none" rtlCol="0">
            <a:spAutoFit/>
          </a:bodyPr>
          <a:lstStyle/>
          <a:p>
            <a:r>
              <a:rPr lang="en-US" sz="1200" dirty="0"/>
              <a:t>VNS: Virtual NW Service</a:t>
            </a:r>
          </a:p>
        </p:txBody>
      </p:sp>
    </p:spTree>
    <p:extLst>
      <p:ext uri="{BB962C8B-B14F-4D97-AF65-F5344CB8AC3E}">
        <p14:creationId xmlns:p14="http://schemas.microsoft.com/office/powerpoint/2010/main" val="22537490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7435"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
          <p:cNvSpPr txBox="1">
            <a:spLocks/>
          </p:cNvSpPr>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kern="0" dirty="0">
                <a:solidFill>
                  <a:schemeClr val="bg1"/>
                </a:solidFill>
              </a:rPr>
              <a:t>Distributed Cloud</a:t>
            </a:r>
            <a:endParaRPr lang="en-US" altLang="en-US" sz="2600" kern="0" dirty="0">
              <a:solidFill>
                <a:schemeClr val="bg1"/>
              </a:solidFill>
              <a:latin typeface="+mn-lt"/>
            </a:endParaRPr>
          </a:p>
        </p:txBody>
      </p:sp>
      <p:sp>
        <p:nvSpPr>
          <p:cNvPr id="17" name="Freeform 3"/>
          <p:cNvSpPr>
            <a:spLocks noChangeAspect="1" noEditPoints="1"/>
          </p:cNvSpPr>
          <p:nvPr/>
        </p:nvSpPr>
        <p:spPr bwMode="auto">
          <a:xfrm>
            <a:off x="14042231" y="2954337"/>
            <a:ext cx="509588" cy="511175"/>
          </a:xfrm>
          <a:custGeom>
            <a:avLst/>
            <a:gdLst>
              <a:gd name="T0" fmla="*/ 2147483647 w 380"/>
              <a:gd name="T1" fmla="*/ 1885896919 h 380"/>
              <a:gd name="T2" fmla="*/ 2147483647 w 380"/>
              <a:gd name="T3" fmla="*/ 1731083226 h 380"/>
              <a:gd name="T4" fmla="*/ 2147483647 w 380"/>
              <a:gd name="T5" fmla="*/ 1871821242 h 380"/>
              <a:gd name="T6" fmla="*/ 2147483647 w 380"/>
              <a:gd name="T7" fmla="*/ 1984411655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25149671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942946584 w 380"/>
              <a:gd name="T37" fmla="*/ 2147483647 h 380"/>
              <a:gd name="T38" fmla="*/ 2147483647 w 380"/>
              <a:gd name="T39" fmla="*/ 802208568 h 380"/>
              <a:gd name="T40" fmla="*/ 2147483647 w 380"/>
              <a:gd name="T41" fmla="*/ 0 h 380"/>
              <a:gd name="T42" fmla="*/ 2147483647 w 380"/>
              <a:gd name="T43" fmla="*/ 2147483647 h 380"/>
              <a:gd name="T44" fmla="*/ 2147483647 w 380"/>
              <a:gd name="T45" fmla="*/ 1477754797 h 380"/>
              <a:gd name="T46" fmla="*/ 2147483647 w 380"/>
              <a:gd name="T47" fmla="*/ 1365164384 h 380"/>
              <a:gd name="T48" fmla="*/ 2147483647 w 380"/>
              <a:gd name="T49" fmla="*/ 1294793500 h 380"/>
              <a:gd name="T50" fmla="*/ 2147483647 w 380"/>
              <a:gd name="T51" fmla="*/ 1055536997 h 380"/>
              <a:gd name="T52" fmla="*/ 2147483647 w 380"/>
              <a:gd name="T53" fmla="*/ 957022261 h 380"/>
              <a:gd name="T54" fmla="*/ 2147483647 w 380"/>
              <a:gd name="T55" fmla="*/ 802208568 h 380"/>
              <a:gd name="T56" fmla="*/ 2147483647 w 380"/>
              <a:gd name="T57" fmla="*/ 957022261 h 380"/>
              <a:gd name="T58" fmla="*/ 2147483647 w 380"/>
              <a:gd name="T59" fmla="*/ 1055536997 h 380"/>
              <a:gd name="T60" fmla="*/ 2147483647 w 380"/>
              <a:gd name="T61" fmla="*/ 1294793500 h 380"/>
              <a:gd name="T62" fmla="*/ 2147483647 w 380"/>
              <a:gd name="T63" fmla="*/ 1393311987 h 380"/>
              <a:gd name="T64" fmla="*/ 2147483647 w 380"/>
              <a:gd name="T65" fmla="*/ 1041465071 h 380"/>
              <a:gd name="T66" fmla="*/ 2068854464 w 380"/>
              <a:gd name="T67" fmla="*/ 2147483647 h 380"/>
              <a:gd name="T68" fmla="*/ 2097002067 w 380"/>
              <a:gd name="T69" fmla="*/ 2147483647 h 380"/>
              <a:gd name="T70" fmla="*/ 1914044522 w 380"/>
              <a:gd name="T71" fmla="*/ 2147483647 h 380"/>
              <a:gd name="T72" fmla="*/ 1562197606 w 380"/>
              <a:gd name="T73" fmla="*/ 2147483647 h 380"/>
              <a:gd name="T74" fmla="*/ 1365164384 w 380"/>
              <a:gd name="T75" fmla="*/ 2147483647 h 380"/>
              <a:gd name="T76" fmla="*/ 1252573971 w 380"/>
              <a:gd name="T77" fmla="*/ 2147483647 h 380"/>
              <a:gd name="T78" fmla="*/ 1308869177 w 380"/>
              <a:gd name="T79" fmla="*/ 2147483647 h 380"/>
              <a:gd name="T80" fmla="*/ 1477754797 w 380"/>
              <a:gd name="T81" fmla="*/ 2147483647 h 380"/>
              <a:gd name="T82" fmla="*/ 1829601713 w 380"/>
              <a:gd name="T83" fmla="*/ 2147483647 h 380"/>
              <a:gd name="T84" fmla="*/ 1970339729 w 380"/>
              <a:gd name="T85" fmla="*/ 2147483647 h 380"/>
              <a:gd name="T86" fmla="*/ 1519974326 w 380"/>
              <a:gd name="T87" fmla="*/ 2147483647 h 380"/>
              <a:gd name="T88" fmla="*/ 2147483647 w 380"/>
              <a:gd name="T89" fmla="*/ 2147483647 h 380"/>
              <a:gd name="T90" fmla="*/ 2147483647 w 380"/>
              <a:gd name="T91" fmla="*/ 2125149671 h 380"/>
              <a:gd name="T92" fmla="*/ 2147483647 w 380"/>
              <a:gd name="T93" fmla="*/ 1815526035 h 380"/>
              <a:gd name="T94" fmla="*/ 2147483647 w 380"/>
              <a:gd name="T95" fmla="*/ 1294793500 h 380"/>
              <a:gd name="T96" fmla="*/ 2125149671 w 380"/>
              <a:gd name="T97" fmla="*/ 1097760277 h 380"/>
              <a:gd name="T98" fmla="*/ 1815526035 w 380"/>
              <a:gd name="T99" fmla="*/ 1013317468 h 380"/>
              <a:gd name="T100" fmla="*/ 1407383913 w 380"/>
              <a:gd name="T101" fmla="*/ 1196278764 h 380"/>
              <a:gd name="T102" fmla="*/ 1238498293 w 380"/>
              <a:gd name="T103" fmla="*/ 1463679119 h 380"/>
              <a:gd name="T104" fmla="*/ 928874658 w 380"/>
              <a:gd name="T105" fmla="*/ 2040706861 h 380"/>
              <a:gd name="T106" fmla="*/ 1252573971 w 380"/>
              <a:gd name="T107" fmla="*/ 2147483647 h 380"/>
              <a:gd name="T108" fmla="*/ 1407383913 w 380"/>
              <a:gd name="T109" fmla="*/ 2147483647 h 380"/>
              <a:gd name="T110" fmla="*/ 1519974326 w 380"/>
              <a:gd name="T111" fmla="*/ 2147483647 h 380"/>
              <a:gd name="T112" fmla="*/ 1899968845 w 380"/>
              <a:gd name="T113" fmla="*/ 2147483647 h 380"/>
              <a:gd name="T114" fmla="*/ 2147483647 w 380"/>
              <a:gd name="T115" fmla="*/ 2147483647 h 380"/>
              <a:gd name="T116" fmla="*/ 2147483647 w 380"/>
              <a:gd name="T117" fmla="*/ 2147483647 h 380"/>
              <a:gd name="T118" fmla="*/ 2147483647 w 380"/>
              <a:gd name="T119" fmla="*/ 2147483647 h 380"/>
              <a:gd name="T120" fmla="*/ 1351088706 w 380"/>
              <a:gd name="T121" fmla="*/ 2147483647 h 380"/>
              <a:gd name="T122" fmla="*/ 2147483647 w 380"/>
              <a:gd name="T123" fmla="*/ 1702935622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0" h="380">
                <a:moveTo>
                  <a:pt x="310" y="136"/>
                </a:moveTo>
                <a:cubicBezTo>
                  <a:pt x="309" y="134"/>
                  <a:pt x="309" y="134"/>
                  <a:pt x="309" y="134"/>
                </a:cubicBezTo>
                <a:cubicBezTo>
                  <a:pt x="308" y="132"/>
                  <a:pt x="306" y="132"/>
                  <a:pt x="304" y="133"/>
                </a:cubicBezTo>
                <a:cubicBezTo>
                  <a:pt x="302" y="134"/>
                  <a:pt x="302" y="134"/>
                  <a:pt x="302" y="134"/>
                </a:cubicBezTo>
                <a:cubicBezTo>
                  <a:pt x="300" y="132"/>
                  <a:pt x="297" y="130"/>
                  <a:pt x="294" y="129"/>
                </a:cubicBezTo>
                <a:cubicBezTo>
                  <a:pt x="294" y="126"/>
                  <a:pt x="294" y="126"/>
                  <a:pt x="294" y="126"/>
                </a:cubicBezTo>
                <a:cubicBezTo>
                  <a:pt x="294" y="124"/>
                  <a:pt x="292" y="123"/>
                  <a:pt x="290" y="123"/>
                </a:cubicBezTo>
                <a:cubicBezTo>
                  <a:pt x="288" y="123"/>
                  <a:pt x="288" y="123"/>
                  <a:pt x="288" y="123"/>
                </a:cubicBezTo>
                <a:cubicBezTo>
                  <a:pt x="286" y="123"/>
                  <a:pt x="284" y="124"/>
                  <a:pt x="284" y="126"/>
                </a:cubicBezTo>
                <a:cubicBezTo>
                  <a:pt x="284" y="129"/>
                  <a:pt x="284" y="129"/>
                  <a:pt x="284" y="129"/>
                </a:cubicBezTo>
                <a:cubicBezTo>
                  <a:pt x="282" y="129"/>
                  <a:pt x="281" y="130"/>
                  <a:pt x="279" y="130"/>
                </a:cubicBezTo>
                <a:cubicBezTo>
                  <a:pt x="278" y="131"/>
                  <a:pt x="277" y="132"/>
                  <a:pt x="275" y="133"/>
                </a:cubicBezTo>
                <a:cubicBezTo>
                  <a:pt x="273" y="132"/>
                  <a:pt x="273" y="132"/>
                  <a:pt x="273" y="132"/>
                </a:cubicBezTo>
                <a:cubicBezTo>
                  <a:pt x="272" y="131"/>
                  <a:pt x="269" y="132"/>
                  <a:pt x="268" y="133"/>
                </a:cubicBezTo>
                <a:cubicBezTo>
                  <a:pt x="267" y="135"/>
                  <a:pt x="267" y="135"/>
                  <a:pt x="267" y="135"/>
                </a:cubicBezTo>
                <a:cubicBezTo>
                  <a:pt x="266" y="137"/>
                  <a:pt x="266" y="140"/>
                  <a:pt x="268" y="141"/>
                </a:cubicBezTo>
                <a:cubicBezTo>
                  <a:pt x="270" y="142"/>
                  <a:pt x="270" y="142"/>
                  <a:pt x="270" y="142"/>
                </a:cubicBezTo>
                <a:cubicBezTo>
                  <a:pt x="270" y="145"/>
                  <a:pt x="269" y="148"/>
                  <a:pt x="270" y="151"/>
                </a:cubicBezTo>
                <a:cubicBezTo>
                  <a:pt x="268" y="153"/>
                  <a:pt x="268" y="153"/>
                  <a:pt x="268" y="153"/>
                </a:cubicBezTo>
                <a:cubicBezTo>
                  <a:pt x="266" y="154"/>
                  <a:pt x="266" y="156"/>
                  <a:pt x="267" y="158"/>
                </a:cubicBezTo>
                <a:cubicBezTo>
                  <a:pt x="267" y="159"/>
                  <a:pt x="267" y="159"/>
                  <a:pt x="267" y="159"/>
                </a:cubicBezTo>
                <a:cubicBezTo>
                  <a:pt x="268" y="161"/>
                  <a:pt x="271" y="162"/>
                  <a:pt x="272" y="161"/>
                </a:cubicBezTo>
                <a:cubicBezTo>
                  <a:pt x="275" y="159"/>
                  <a:pt x="275" y="159"/>
                  <a:pt x="275" y="159"/>
                </a:cubicBezTo>
                <a:cubicBezTo>
                  <a:pt x="277" y="162"/>
                  <a:pt x="280" y="163"/>
                  <a:pt x="283" y="164"/>
                </a:cubicBezTo>
                <a:cubicBezTo>
                  <a:pt x="283" y="167"/>
                  <a:pt x="283" y="167"/>
                  <a:pt x="283" y="167"/>
                </a:cubicBezTo>
                <a:cubicBezTo>
                  <a:pt x="283" y="169"/>
                  <a:pt x="284" y="170"/>
                  <a:pt x="286" y="171"/>
                </a:cubicBezTo>
                <a:cubicBezTo>
                  <a:pt x="289" y="171"/>
                  <a:pt x="289" y="171"/>
                  <a:pt x="289" y="171"/>
                </a:cubicBezTo>
                <a:cubicBezTo>
                  <a:pt x="291" y="171"/>
                  <a:pt x="293" y="169"/>
                  <a:pt x="293" y="167"/>
                </a:cubicBezTo>
                <a:cubicBezTo>
                  <a:pt x="293" y="165"/>
                  <a:pt x="293" y="165"/>
                  <a:pt x="293" y="165"/>
                </a:cubicBezTo>
                <a:cubicBezTo>
                  <a:pt x="294" y="164"/>
                  <a:pt x="296" y="164"/>
                  <a:pt x="297" y="163"/>
                </a:cubicBezTo>
                <a:cubicBezTo>
                  <a:pt x="299" y="162"/>
                  <a:pt x="300" y="161"/>
                  <a:pt x="301" y="160"/>
                </a:cubicBezTo>
                <a:cubicBezTo>
                  <a:pt x="303" y="161"/>
                  <a:pt x="303" y="161"/>
                  <a:pt x="303" y="161"/>
                </a:cubicBezTo>
                <a:cubicBezTo>
                  <a:pt x="305" y="162"/>
                  <a:pt x="307" y="162"/>
                  <a:pt x="308" y="160"/>
                </a:cubicBezTo>
                <a:cubicBezTo>
                  <a:pt x="309" y="158"/>
                  <a:pt x="309" y="158"/>
                  <a:pt x="309" y="158"/>
                </a:cubicBezTo>
                <a:cubicBezTo>
                  <a:pt x="311" y="156"/>
                  <a:pt x="310" y="154"/>
                  <a:pt x="308" y="153"/>
                </a:cubicBezTo>
                <a:cubicBezTo>
                  <a:pt x="306" y="151"/>
                  <a:pt x="306" y="151"/>
                  <a:pt x="306" y="151"/>
                </a:cubicBezTo>
                <a:cubicBezTo>
                  <a:pt x="307" y="148"/>
                  <a:pt x="307" y="145"/>
                  <a:pt x="306" y="142"/>
                </a:cubicBezTo>
                <a:cubicBezTo>
                  <a:pt x="308" y="141"/>
                  <a:pt x="308" y="141"/>
                  <a:pt x="308" y="141"/>
                </a:cubicBezTo>
                <a:cubicBezTo>
                  <a:pt x="310" y="140"/>
                  <a:pt x="311" y="137"/>
                  <a:pt x="310" y="136"/>
                </a:cubicBezTo>
                <a:close/>
                <a:moveTo>
                  <a:pt x="296" y="153"/>
                </a:moveTo>
                <a:cubicBezTo>
                  <a:pt x="293" y="158"/>
                  <a:pt x="286" y="158"/>
                  <a:pt x="281" y="155"/>
                </a:cubicBezTo>
                <a:cubicBezTo>
                  <a:pt x="277" y="151"/>
                  <a:pt x="276" y="144"/>
                  <a:pt x="280" y="140"/>
                </a:cubicBezTo>
                <a:cubicBezTo>
                  <a:pt x="284" y="135"/>
                  <a:pt x="291" y="135"/>
                  <a:pt x="295" y="138"/>
                </a:cubicBezTo>
                <a:cubicBezTo>
                  <a:pt x="300" y="142"/>
                  <a:pt x="300" y="149"/>
                  <a:pt x="296" y="153"/>
                </a:cubicBezTo>
                <a:close/>
                <a:moveTo>
                  <a:pt x="336" y="68"/>
                </a:moveTo>
                <a:cubicBezTo>
                  <a:pt x="333" y="65"/>
                  <a:pt x="328" y="64"/>
                  <a:pt x="325" y="67"/>
                </a:cubicBezTo>
                <a:cubicBezTo>
                  <a:pt x="321" y="70"/>
                  <a:pt x="321" y="75"/>
                  <a:pt x="324" y="78"/>
                </a:cubicBezTo>
                <a:cubicBezTo>
                  <a:pt x="349" y="108"/>
                  <a:pt x="364" y="147"/>
                  <a:pt x="364" y="190"/>
                </a:cubicBezTo>
                <a:cubicBezTo>
                  <a:pt x="364" y="225"/>
                  <a:pt x="353" y="259"/>
                  <a:pt x="335" y="286"/>
                </a:cubicBezTo>
                <a:cubicBezTo>
                  <a:pt x="333" y="288"/>
                  <a:pt x="329" y="289"/>
                  <a:pt x="326" y="285"/>
                </a:cubicBezTo>
                <a:cubicBezTo>
                  <a:pt x="299" y="258"/>
                  <a:pt x="299" y="258"/>
                  <a:pt x="299" y="258"/>
                </a:cubicBezTo>
                <a:cubicBezTo>
                  <a:pt x="296" y="255"/>
                  <a:pt x="296" y="251"/>
                  <a:pt x="296" y="251"/>
                </a:cubicBezTo>
                <a:cubicBezTo>
                  <a:pt x="302" y="229"/>
                  <a:pt x="302" y="229"/>
                  <a:pt x="302" y="229"/>
                </a:cubicBezTo>
                <a:cubicBezTo>
                  <a:pt x="303" y="226"/>
                  <a:pt x="302" y="224"/>
                  <a:pt x="301" y="222"/>
                </a:cubicBezTo>
                <a:cubicBezTo>
                  <a:pt x="259" y="181"/>
                  <a:pt x="259" y="181"/>
                  <a:pt x="259" y="181"/>
                </a:cubicBezTo>
                <a:cubicBezTo>
                  <a:pt x="258" y="179"/>
                  <a:pt x="255" y="178"/>
                  <a:pt x="253" y="179"/>
                </a:cubicBezTo>
                <a:cubicBezTo>
                  <a:pt x="233" y="184"/>
                  <a:pt x="233" y="184"/>
                  <a:pt x="233" y="184"/>
                </a:cubicBezTo>
                <a:cubicBezTo>
                  <a:pt x="233" y="184"/>
                  <a:pt x="226" y="186"/>
                  <a:pt x="231" y="191"/>
                </a:cubicBezTo>
                <a:cubicBezTo>
                  <a:pt x="237" y="196"/>
                  <a:pt x="258" y="218"/>
                  <a:pt x="258" y="218"/>
                </a:cubicBezTo>
                <a:cubicBezTo>
                  <a:pt x="259" y="219"/>
                  <a:pt x="260" y="220"/>
                  <a:pt x="259" y="221"/>
                </a:cubicBezTo>
                <a:cubicBezTo>
                  <a:pt x="251" y="251"/>
                  <a:pt x="251" y="251"/>
                  <a:pt x="251" y="251"/>
                </a:cubicBezTo>
                <a:cubicBezTo>
                  <a:pt x="251" y="252"/>
                  <a:pt x="250" y="253"/>
                  <a:pt x="249" y="254"/>
                </a:cubicBezTo>
                <a:cubicBezTo>
                  <a:pt x="219" y="262"/>
                  <a:pt x="219" y="262"/>
                  <a:pt x="219" y="262"/>
                </a:cubicBezTo>
                <a:cubicBezTo>
                  <a:pt x="217" y="262"/>
                  <a:pt x="216" y="262"/>
                  <a:pt x="215" y="261"/>
                </a:cubicBezTo>
                <a:cubicBezTo>
                  <a:pt x="215" y="261"/>
                  <a:pt x="193" y="239"/>
                  <a:pt x="188" y="234"/>
                </a:cubicBezTo>
                <a:cubicBezTo>
                  <a:pt x="183" y="229"/>
                  <a:pt x="182" y="236"/>
                  <a:pt x="182" y="236"/>
                </a:cubicBezTo>
                <a:cubicBezTo>
                  <a:pt x="176" y="255"/>
                  <a:pt x="176" y="255"/>
                  <a:pt x="176" y="255"/>
                </a:cubicBezTo>
                <a:cubicBezTo>
                  <a:pt x="176" y="258"/>
                  <a:pt x="176" y="260"/>
                  <a:pt x="178" y="262"/>
                </a:cubicBezTo>
                <a:cubicBezTo>
                  <a:pt x="219" y="303"/>
                  <a:pt x="219" y="303"/>
                  <a:pt x="219" y="303"/>
                </a:cubicBezTo>
                <a:cubicBezTo>
                  <a:pt x="221" y="305"/>
                  <a:pt x="224" y="306"/>
                  <a:pt x="226" y="305"/>
                </a:cubicBezTo>
                <a:cubicBezTo>
                  <a:pt x="248" y="299"/>
                  <a:pt x="248" y="299"/>
                  <a:pt x="248" y="299"/>
                </a:cubicBezTo>
                <a:cubicBezTo>
                  <a:pt x="249" y="299"/>
                  <a:pt x="252" y="298"/>
                  <a:pt x="255" y="301"/>
                </a:cubicBezTo>
                <a:cubicBezTo>
                  <a:pt x="282" y="328"/>
                  <a:pt x="282" y="328"/>
                  <a:pt x="282" y="328"/>
                </a:cubicBezTo>
                <a:cubicBezTo>
                  <a:pt x="286" y="332"/>
                  <a:pt x="285" y="335"/>
                  <a:pt x="282" y="337"/>
                </a:cubicBezTo>
                <a:cubicBezTo>
                  <a:pt x="255" y="354"/>
                  <a:pt x="224" y="364"/>
                  <a:pt x="190" y="364"/>
                </a:cubicBezTo>
                <a:cubicBezTo>
                  <a:pt x="142" y="364"/>
                  <a:pt x="99" y="344"/>
                  <a:pt x="67" y="313"/>
                </a:cubicBezTo>
                <a:cubicBezTo>
                  <a:pt x="36" y="281"/>
                  <a:pt x="16" y="238"/>
                  <a:pt x="16" y="190"/>
                </a:cubicBezTo>
                <a:cubicBezTo>
                  <a:pt x="16" y="142"/>
                  <a:pt x="36" y="98"/>
                  <a:pt x="67" y="67"/>
                </a:cubicBezTo>
                <a:cubicBezTo>
                  <a:pt x="99" y="35"/>
                  <a:pt x="142" y="16"/>
                  <a:pt x="190" y="16"/>
                </a:cubicBezTo>
                <a:cubicBezTo>
                  <a:pt x="233" y="16"/>
                  <a:pt x="272" y="31"/>
                  <a:pt x="302" y="57"/>
                </a:cubicBezTo>
                <a:cubicBezTo>
                  <a:pt x="305" y="59"/>
                  <a:pt x="310" y="59"/>
                  <a:pt x="313" y="56"/>
                </a:cubicBezTo>
                <a:cubicBezTo>
                  <a:pt x="316" y="52"/>
                  <a:pt x="316" y="47"/>
                  <a:pt x="312" y="44"/>
                </a:cubicBezTo>
                <a:cubicBezTo>
                  <a:pt x="312" y="44"/>
                  <a:pt x="312" y="44"/>
                  <a:pt x="312" y="44"/>
                </a:cubicBezTo>
                <a:cubicBezTo>
                  <a:pt x="279" y="17"/>
                  <a:pt x="237" y="0"/>
                  <a:pt x="190" y="0"/>
                </a:cubicBezTo>
                <a:cubicBezTo>
                  <a:pt x="85" y="0"/>
                  <a:pt x="0" y="85"/>
                  <a:pt x="0" y="190"/>
                </a:cubicBezTo>
                <a:cubicBezTo>
                  <a:pt x="0" y="295"/>
                  <a:pt x="85" y="380"/>
                  <a:pt x="190" y="380"/>
                </a:cubicBezTo>
                <a:cubicBezTo>
                  <a:pt x="224" y="380"/>
                  <a:pt x="255" y="371"/>
                  <a:pt x="282" y="356"/>
                </a:cubicBezTo>
                <a:cubicBezTo>
                  <a:pt x="283" y="356"/>
                  <a:pt x="283" y="356"/>
                  <a:pt x="283" y="356"/>
                </a:cubicBezTo>
                <a:cubicBezTo>
                  <a:pt x="284" y="355"/>
                  <a:pt x="284" y="355"/>
                  <a:pt x="284" y="355"/>
                </a:cubicBezTo>
                <a:cubicBezTo>
                  <a:pt x="341" y="322"/>
                  <a:pt x="380" y="261"/>
                  <a:pt x="380" y="190"/>
                </a:cubicBezTo>
                <a:cubicBezTo>
                  <a:pt x="380" y="143"/>
                  <a:pt x="363" y="101"/>
                  <a:pt x="336" y="68"/>
                </a:cubicBezTo>
                <a:close/>
                <a:moveTo>
                  <a:pt x="247" y="105"/>
                </a:moveTo>
                <a:cubicBezTo>
                  <a:pt x="250" y="105"/>
                  <a:pt x="250" y="105"/>
                  <a:pt x="250" y="105"/>
                </a:cubicBezTo>
                <a:cubicBezTo>
                  <a:pt x="252" y="105"/>
                  <a:pt x="254" y="103"/>
                  <a:pt x="254" y="101"/>
                </a:cubicBezTo>
                <a:cubicBezTo>
                  <a:pt x="254" y="99"/>
                  <a:pt x="254" y="99"/>
                  <a:pt x="254" y="99"/>
                </a:cubicBezTo>
                <a:cubicBezTo>
                  <a:pt x="255" y="99"/>
                  <a:pt x="257" y="98"/>
                  <a:pt x="258" y="97"/>
                </a:cubicBezTo>
                <a:cubicBezTo>
                  <a:pt x="260" y="96"/>
                  <a:pt x="261" y="95"/>
                  <a:pt x="262" y="94"/>
                </a:cubicBezTo>
                <a:cubicBezTo>
                  <a:pt x="264" y="95"/>
                  <a:pt x="264" y="95"/>
                  <a:pt x="264" y="95"/>
                </a:cubicBezTo>
                <a:cubicBezTo>
                  <a:pt x="266" y="96"/>
                  <a:pt x="268" y="96"/>
                  <a:pt x="269" y="94"/>
                </a:cubicBezTo>
                <a:cubicBezTo>
                  <a:pt x="271" y="92"/>
                  <a:pt x="271" y="92"/>
                  <a:pt x="271" y="92"/>
                </a:cubicBezTo>
                <a:cubicBezTo>
                  <a:pt x="272" y="90"/>
                  <a:pt x="271" y="88"/>
                  <a:pt x="269" y="87"/>
                </a:cubicBezTo>
                <a:cubicBezTo>
                  <a:pt x="267" y="86"/>
                  <a:pt x="267" y="86"/>
                  <a:pt x="267" y="86"/>
                </a:cubicBezTo>
                <a:cubicBezTo>
                  <a:pt x="268" y="83"/>
                  <a:pt x="268" y="79"/>
                  <a:pt x="267" y="76"/>
                </a:cubicBezTo>
                <a:cubicBezTo>
                  <a:pt x="270" y="75"/>
                  <a:pt x="270" y="75"/>
                  <a:pt x="270" y="75"/>
                </a:cubicBezTo>
                <a:cubicBezTo>
                  <a:pt x="271" y="74"/>
                  <a:pt x="272" y="72"/>
                  <a:pt x="271" y="70"/>
                </a:cubicBezTo>
                <a:cubicBezTo>
                  <a:pt x="270" y="68"/>
                  <a:pt x="270" y="68"/>
                  <a:pt x="270" y="68"/>
                </a:cubicBezTo>
                <a:cubicBezTo>
                  <a:pt x="269" y="67"/>
                  <a:pt x="267" y="66"/>
                  <a:pt x="265" y="67"/>
                </a:cubicBezTo>
                <a:cubicBezTo>
                  <a:pt x="263" y="68"/>
                  <a:pt x="263" y="68"/>
                  <a:pt x="263" y="68"/>
                </a:cubicBezTo>
                <a:cubicBezTo>
                  <a:pt x="261" y="66"/>
                  <a:pt x="258" y="64"/>
                  <a:pt x="255" y="63"/>
                </a:cubicBezTo>
                <a:cubicBezTo>
                  <a:pt x="255" y="61"/>
                  <a:pt x="255" y="61"/>
                  <a:pt x="255" y="61"/>
                </a:cubicBezTo>
                <a:cubicBezTo>
                  <a:pt x="255" y="59"/>
                  <a:pt x="253" y="57"/>
                  <a:pt x="251" y="57"/>
                </a:cubicBezTo>
                <a:cubicBezTo>
                  <a:pt x="249" y="57"/>
                  <a:pt x="249" y="57"/>
                  <a:pt x="249" y="57"/>
                </a:cubicBezTo>
                <a:cubicBezTo>
                  <a:pt x="247" y="57"/>
                  <a:pt x="245" y="58"/>
                  <a:pt x="245" y="61"/>
                </a:cubicBezTo>
                <a:cubicBezTo>
                  <a:pt x="245" y="63"/>
                  <a:pt x="245" y="63"/>
                  <a:pt x="245" y="63"/>
                </a:cubicBezTo>
                <a:cubicBezTo>
                  <a:pt x="243" y="63"/>
                  <a:pt x="242" y="64"/>
                  <a:pt x="240" y="65"/>
                </a:cubicBezTo>
                <a:cubicBezTo>
                  <a:pt x="239" y="65"/>
                  <a:pt x="238" y="66"/>
                  <a:pt x="236" y="68"/>
                </a:cubicBezTo>
                <a:cubicBezTo>
                  <a:pt x="235" y="66"/>
                  <a:pt x="235" y="66"/>
                  <a:pt x="235" y="66"/>
                </a:cubicBezTo>
                <a:cubicBezTo>
                  <a:pt x="233" y="65"/>
                  <a:pt x="230" y="66"/>
                  <a:pt x="229" y="68"/>
                </a:cubicBezTo>
                <a:cubicBezTo>
                  <a:pt x="228" y="70"/>
                  <a:pt x="228" y="70"/>
                  <a:pt x="228" y="70"/>
                </a:cubicBezTo>
                <a:cubicBezTo>
                  <a:pt x="227" y="71"/>
                  <a:pt x="228" y="74"/>
                  <a:pt x="229" y="75"/>
                </a:cubicBezTo>
                <a:cubicBezTo>
                  <a:pt x="231" y="76"/>
                  <a:pt x="231" y="76"/>
                  <a:pt x="231" y="76"/>
                </a:cubicBezTo>
                <a:cubicBezTo>
                  <a:pt x="231" y="79"/>
                  <a:pt x="231" y="82"/>
                  <a:pt x="231" y="86"/>
                </a:cubicBezTo>
                <a:cubicBezTo>
                  <a:pt x="229" y="87"/>
                  <a:pt x="229" y="87"/>
                  <a:pt x="229" y="87"/>
                </a:cubicBezTo>
                <a:cubicBezTo>
                  <a:pt x="227" y="88"/>
                  <a:pt x="227" y="90"/>
                  <a:pt x="228" y="92"/>
                </a:cubicBezTo>
                <a:cubicBezTo>
                  <a:pt x="228" y="93"/>
                  <a:pt x="228" y="93"/>
                  <a:pt x="228" y="93"/>
                </a:cubicBezTo>
                <a:cubicBezTo>
                  <a:pt x="229" y="95"/>
                  <a:pt x="232" y="96"/>
                  <a:pt x="234" y="95"/>
                </a:cubicBezTo>
                <a:cubicBezTo>
                  <a:pt x="236" y="94"/>
                  <a:pt x="236" y="94"/>
                  <a:pt x="236" y="94"/>
                </a:cubicBezTo>
                <a:cubicBezTo>
                  <a:pt x="238" y="96"/>
                  <a:pt x="241" y="98"/>
                  <a:pt x="244" y="99"/>
                </a:cubicBezTo>
                <a:cubicBezTo>
                  <a:pt x="244" y="101"/>
                  <a:pt x="244" y="101"/>
                  <a:pt x="244" y="101"/>
                </a:cubicBezTo>
                <a:cubicBezTo>
                  <a:pt x="244" y="103"/>
                  <a:pt x="245" y="105"/>
                  <a:pt x="247" y="105"/>
                </a:cubicBezTo>
                <a:close/>
                <a:moveTo>
                  <a:pt x="243" y="89"/>
                </a:moveTo>
                <a:cubicBezTo>
                  <a:pt x="238" y="85"/>
                  <a:pt x="237" y="78"/>
                  <a:pt x="241" y="74"/>
                </a:cubicBezTo>
                <a:cubicBezTo>
                  <a:pt x="245" y="70"/>
                  <a:pt x="252" y="69"/>
                  <a:pt x="256" y="73"/>
                </a:cubicBezTo>
                <a:cubicBezTo>
                  <a:pt x="261" y="77"/>
                  <a:pt x="261" y="83"/>
                  <a:pt x="257" y="88"/>
                </a:cubicBezTo>
                <a:cubicBezTo>
                  <a:pt x="254" y="92"/>
                  <a:pt x="247" y="93"/>
                  <a:pt x="243" y="89"/>
                </a:cubicBezTo>
                <a:close/>
                <a:moveTo>
                  <a:pt x="147" y="283"/>
                </a:moveTo>
                <a:cubicBezTo>
                  <a:pt x="150" y="283"/>
                  <a:pt x="150" y="283"/>
                  <a:pt x="150" y="283"/>
                </a:cubicBezTo>
                <a:cubicBezTo>
                  <a:pt x="153" y="282"/>
                  <a:pt x="155" y="280"/>
                  <a:pt x="155" y="277"/>
                </a:cubicBezTo>
                <a:cubicBezTo>
                  <a:pt x="155" y="273"/>
                  <a:pt x="155" y="273"/>
                  <a:pt x="155" y="273"/>
                </a:cubicBezTo>
                <a:cubicBezTo>
                  <a:pt x="155" y="270"/>
                  <a:pt x="152" y="268"/>
                  <a:pt x="149" y="268"/>
                </a:cubicBezTo>
                <a:cubicBezTo>
                  <a:pt x="145" y="268"/>
                  <a:pt x="145" y="268"/>
                  <a:pt x="145" y="268"/>
                </a:cubicBezTo>
                <a:cubicBezTo>
                  <a:pt x="144" y="264"/>
                  <a:pt x="141" y="260"/>
                  <a:pt x="137" y="256"/>
                </a:cubicBezTo>
                <a:cubicBezTo>
                  <a:pt x="139" y="253"/>
                  <a:pt x="139" y="253"/>
                  <a:pt x="139" y="253"/>
                </a:cubicBezTo>
                <a:cubicBezTo>
                  <a:pt x="140" y="250"/>
                  <a:pt x="139" y="247"/>
                  <a:pt x="136" y="246"/>
                </a:cubicBezTo>
                <a:cubicBezTo>
                  <a:pt x="134" y="245"/>
                  <a:pt x="134" y="245"/>
                  <a:pt x="134" y="245"/>
                </a:cubicBezTo>
                <a:cubicBezTo>
                  <a:pt x="131" y="243"/>
                  <a:pt x="128" y="244"/>
                  <a:pt x="127" y="247"/>
                </a:cubicBezTo>
                <a:cubicBezTo>
                  <a:pt x="125" y="251"/>
                  <a:pt x="125" y="251"/>
                  <a:pt x="125" y="251"/>
                </a:cubicBezTo>
                <a:cubicBezTo>
                  <a:pt x="120" y="250"/>
                  <a:pt x="115" y="250"/>
                  <a:pt x="111" y="251"/>
                </a:cubicBezTo>
                <a:cubicBezTo>
                  <a:pt x="109" y="248"/>
                  <a:pt x="109" y="248"/>
                  <a:pt x="109" y="248"/>
                </a:cubicBezTo>
                <a:cubicBezTo>
                  <a:pt x="107" y="246"/>
                  <a:pt x="104" y="245"/>
                  <a:pt x="101" y="247"/>
                </a:cubicBezTo>
                <a:cubicBezTo>
                  <a:pt x="98" y="249"/>
                  <a:pt x="98" y="249"/>
                  <a:pt x="98" y="249"/>
                </a:cubicBezTo>
                <a:cubicBezTo>
                  <a:pt x="95" y="251"/>
                  <a:pt x="95" y="254"/>
                  <a:pt x="97" y="257"/>
                </a:cubicBezTo>
                <a:cubicBezTo>
                  <a:pt x="98" y="260"/>
                  <a:pt x="98" y="260"/>
                  <a:pt x="98" y="260"/>
                </a:cubicBezTo>
                <a:cubicBezTo>
                  <a:pt x="97" y="261"/>
                  <a:pt x="96" y="263"/>
                  <a:pt x="94" y="266"/>
                </a:cubicBezTo>
                <a:cubicBezTo>
                  <a:pt x="93" y="268"/>
                  <a:pt x="93" y="270"/>
                  <a:pt x="92" y="273"/>
                </a:cubicBezTo>
                <a:cubicBezTo>
                  <a:pt x="89" y="273"/>
                  <a:pt x="89" y="273"/>
                  <a:pt x="89" y="273"/>
                </a:cubicBezTo>
                <a:cubicBezTo>
                  <a:pt x="86" y="273"/>
                  <a:pt x="83" y="276"/>
                  <a:pt x="84" y="279"/>
                </a:cubicBezTo>
                <a:cubicBezTo>
                  <a:pt x="84" y="282"/>
                  <a:pt x="84" y="282"/>
                  <a:pt x="84" y="282"/>
                </a:cubicBezTo>
                <a:cubicBezTo>
                  <a:pt x="84" y="286"/>
                  <a:pt x="87" y="288"/>
                  <a:pt x="90" y="288"/>
                </a:cubicBezTo>
                <a:cubicBezTo>
                  <a:pt x="93" y="287"/>
                  <a:pt x="93" y="287"/>
                  <a:pt x="93" y="287"/>
                </a:cubicBezTo>
                <a:cubicBezTo>
                  <a:pt x="95" y="292"/>
                  <a:pt x="98" y="296"/>
                  <a:pt x="102" y="299"/>
                </a:cubicBezTo>
                <a:cubicBezTo>
                  <a:pt x="100" y="302"/>
                  <a:pt x="100" y="302"/>
                  <a:pt x="100" y="302"/>
                </a:cubicBezTo>
                <a:cubicBezTo>
                  <a:pt x="99" y="305"/>
                  <a:pt x="100" y="308"/>
                  <a:pt x="103" y="310"/>
                </a:cubicBezTo>
                <a:cubicBezTo>
                  <a:pt x="105" y="311"/>
                  <a:pt x="105" y="311"/>
                  <a:pt x="105" y="311"/>
                </a:cubicBezTo>
                <a:cubicBezTo>
                  <a:pt x="107" y="312"/>
                  <a:pt x="111" y="311"/>
                  <a:pt x="112" y="308"/>
                </a:cubicBezTo>
                <a:cubicBezTo>
                  <a:pt x="114" y="305"/>
                  <a:pt x="114" y="305"/>
                  <a:pt x="114" y="305"/>
                </a:cubicBezTo>
                <a:cubicBezTo>
                  <a:pt x="119" y="306"/>
                  <a:pt x="123" y="305"/>
                  <a:pt x="128" y="304"/>
                </a:cubicBezTo>
                <a:cubicBezTo>
                  <a:pt x="130" y="307"/>
                  <a:pt x="130" y="307"/>
                  <a:pt x="130" y="307"/>
                </a:cubicBezTo>
                <a:cubicBezTo>
                  <a:pt x="132" y="309"/>
                  <a:pt x="135" y="310"/>
                  <a:pt x="138" y="308"/>
                </a:cubicBezTo>
                <a:cubicBezTo>
                  <a:pt x="141" y="306"/>
                  <a:pt x="141" y="306"/>
                  <a:pt x="141" y="306"/>
                </a:cubicBezTo>
                <a:cubicBezTo>
                  <a:pt x="143" y="305"/>
                  <a:pt x="144" y="301"/>
                  <a:pt x="142" y="299"/>
                </a:cubicBezTo>
                <a:cubicBezTo>
                  <a:pt x="140" y="296"/>
                  <a:pt x="140" y="296"/>
                  <a:pt x="140" y="296"/>
                </a:cubicBezTo>
                <a:cubicBezTo>
                  <a:pt x="142" y="294"/>
                  <a:pt x="143" y="292"/>
                  <a:pt x="144" y="290"/>
                </a:cubicBezTo>
                <a:cubicBezTo>
                  <a:pt x="145" y="287"/>
                  <a:pt x="146" y="285"/>
                  <a:pt x="147" y="283"/>
                </a:cubicBezTo>
                <a:close/>
                <a:moveTo>
                  <a:pt x="132" y="289"/>
                </a:moveTo>
                <a:cubicBezTo>
                  <a:pt x="126" y="296"/>
                  <a:pt x="115" y="297"/>
                  <a:pt x="108" y="291"/>
                </a:cubicBezTo>
                <a:cubicBezTo>
                  <a:pt x="101" y="285"/>
                  <a:pt x="100" y="274"/>
                  <a:pt x="106" y="267"/>
                </a:cubicBezTo>
                <a:cubicBezTo>
                  <a:pt x="112" y="259"/>
                  <a:pt x="123" y="258"/>
                  <a:pt x="130" y="265"/>
                </a:cubicBezTo>
                <a:cubicBezTo>
                  <a:pt x="138" y="271"/>
                  <a:pt x="139" y="282"/>
                  <a:pt x="132" y="289"/>
                </a:cubicBezTo>
                <a:close/>
                <a:moveTo>
                  <a:pt x="201" y="155"/>
                </a:moveTo>
                <a:cubicBezTo>
                  <a:pt x="201" y="154"/>
                  <a:pt x="201" y="154"/>
                  <a:pt x="201" y="153"/>
                </a:cubicBezTo>
                <a:cubicBezTo>
                  <a:pt x="202" y="153"/>
                  <a:pt x="202" y="152"/>
                  <a:pt x="202" y="151"/>
                </a:cubicBezTo>
                <a:cubicBezTo>
                  <a:pt x="202" y="151"/>
                  <a:pt x="202" y="151"/>
                  <a:pt x="202" y="151"/>
                </a:cubicBezTo>
                <a:cubicBezTo>
                  <a:pt x="208" y="151"/>
                  <a:pt x="208" y="151"/>
                  <a:pt x="208" y="151"/>
                </a:cubicBezTo>
                <a:cubicBezTo>
                  <a:pt x="211" y="151"/>
                  <a:pt x="214" y="148"/>
                  <a:pt x="214" y="145"/>
                </a:cubicBezTo>
                <a:cubicBezTo>
                  <a:pt x="214" y="135"/>
                  <a:pt x="214" y="135"/>
                  <a:pt x="214" y="135"/>
                </a:cubicBezTo>
                <a:cubicBezTo>
                  <a:pt x="214" y="132"/>
                  <a:pt x="211" y="129"/>
                  <a:pt x="208" y="129"/>
                </a:cubicBezTo>
                <a:cubicBezTo>
                  <a:pt x="202" y="129"/>
                  <a:pt x="202" y="129"/>
                  <a:pt x="202" y="129"/>
                </a:cubicBezTo>
                <a:cubicBezTo>
                  <a:pt x="201" y="125"/>
                  <a:pt x="200" y="120"/>
                  <a:pt x="198" y="115"/>
                </a:cubicBezTo>
                <a:cubicBezTo>
                  <a:pt x="196" y="111"/>
                  <a:pt x="194" y="107"/>
                  <a:pt x="192" y="104"/>
                </a:cubicBezTo>
                <a:cubicBezTo>
                  <a:pt x="196" y="100"/>
                  <a:pt x="196" y="100"/>
                  <a:pt x="196" y="100"/>
                </a:cubicBezTo>
                <a:cubicBezTo>
                  <a:pt x="198" y="98"/>
                  <a:pt x="198" y="94"/>
                  <a:pt x="196" y="92"/>
                </a:cubicBezTo>
                <a:cubicBezTo>
                  <a:pt x="189" y="85"/>
                  <a:pt x="189" y="85"/>
                  <a:pt x="189" y="85"/>
                </a:cubicBezTo>
                <a:cubicBezTo>
                  <a:pt x="186" y="82"/>
                  <a:pt x="183" y="82"/>
                  <a:pt x="180" y="85"/>
                </a:cubicBezTo>
                <a:cubicBezTo>
                  <a:pt x="176" y="88"/>
                  <a:pt x="176" y="88"/>
                  <a:pt x="176" y="88"/>
                </a:cubicBezTo>
                <a:cubicBezTo>
                  <a:pt x="169" y="83"/>
                  <a:pt x="160" y="79"/>
                  <a:pt x="151" y="78"/>
                </a:cubicBezTo>
                <a:cubicBezTo>
                  <a:pt x="151" y="72"/>
                  <a:pt x="151" y="72"/>
                  <a:pt x="151" y="72"/>
                </a:cubicBezTo>
                <a:cubicBezTo>
                  <a:pt x="151" y="69"/>
                  <a:pt x="148" y="66"/>
                  <a:pt x="145" y="66"/>
                </a:cubicBezTo>
                <a:cubicBezTo>
                  <a:pt x="135" y="67"/>
                  <a:pt x="135" y="67"/>
                  <a:pt x="135" y="67"/>
                </a:cubicBezTo>
                <a:cubicBezTo>
                  <a:pt x="132" y="67"/>
                  <a:pt x="129" y="69"/>
                  <a:pt x="129" y="72"/>
                </a:cubicBezTo>
                <a:cubicBezTo>
                  <a:pt x="129" y="78"/>
                  <a:pt x="129" y="78"/>
                  <a:pt x="129" y="78"/>
                </a:cubicBezTo>
                <a:cubicBezTo>
                  <a:pt x="125" y="78"/>
                  <a:pt x="120" y="80"/>
                  <a:pt x="115" y="82"/>
                </a:cubicBezTo>
                <a:cubicBezTo>
                  <a:pt x="111" y="84"/>
                  <a:pt x="107" y="86"/>
                  <a:pt x="103" y="88"/>
                </a:cubicBezTo>
                <a:cubicBezTo>
                  <a:pt x="100" y="85"/>
                  <a:pt x="100" y="85"/>
                  <a:pt x="100" y="85"/>
                </a:cubicBezTo>
                <a:cubicBezTo>
                  <a:pt x="97" y="82"/>
                  <a:pt x="94" y="82"/>
                  <a:pt x="91" y="85"/>
                </a:cubicBezTo>
                <a:cubicBezTo>
                  <a:pt x="84" y="92"/>
                  <a:pt x="84" y="92"/>
                  <a:pt x="84" y="92"/>
                </a:cubicBezTo>
                <a:cubicBezTo>
                  <a:pt x="82" y="94"/>
                  <a:pt x="82" y="98"/>
                  <a:pt x="84" y="100"/>
                </a:cubicBezTo>
                <a:cubicBezTo>
                  <a:pt x="88" y="104"/>
                  <a:pt x="88" y="104"/>
                  <a:pt x="88" y="104"/>
                </a:cubicBezTo>
                <a:cubicBezTo>
                  <a:pt x="83" y="111"/>
                  <a:pt x="79" y="120"/>
                  <a:pt x="78" y="130"/>
                </a:cubicBezTo>
                <a:cubicBezTo>
                  <a:pt x="72" y="130"/>
                  <a:pt x="72" y="130"/>
                  <a:pt x="72" y="130"/>
                </a:cubicBezTo>
                <a:cubicBezTo>
                  <a:pt x="69" y="130"/>
                  <a:pt x="66" y="132"/>
                  <a:pt x="66" y="135"/>
                </a:cubicBezTo>
                <a:cubicBezTo>
                  <a:pt x="66" y="145"/>
                  <a:pt x="66" y="145"/>
                  <a:pt x="66" y="145"/>
                </a:cubicBezTo>
                <a:cubicBezTo>
                  <a:pt x="66" y="148"/>
                  <a:pt x="69" y="151"/>
                  <a:pt x="72" y="151"/>
                </a:cubicBezTo>
                <a:cubicBezTo>
                  <a:pt x="78" y="151"/>
                  <a:pt x="78" y="151"/>
                  <a:pt x="78" y="151"/>
                </a:cubicBezTo>
                <a:cubicBezTo>
                  <a:pt x="79" y="156"/>
                  <a:pt x="80" y="160"/>
                  <a:pt x="82" y="164"/>
                </a:cubicBezTo>
                <a:cubicBezTo>
                  <a:pt x="84" y="169"/>
                  <a:pt x="86" y="173"/>
                  <a:pt x="89" y="177"/>
                </a:cubicBezTo>
                <a:cubicBezTo>
                  <a:pt x="84" y="181"/>
                  <a:pt x="84" y="181"/>
                  <a:pt x="84" y="181"/>
                </a:cubicBezTo>
                <a:cubicBezTo>
                  <a:pt x="82" y="183"/>
                  <a:pt x="82" y="187"/>
                  <a:pt x="84" y="189"/>
                </a:cubicBezTo>
                <a:cubicBezTo>
                  <a:pt x="91" y="196"/>
                  <a:pt x="91" y="196"/>
                  <a:pt x="91" y="196"/>
                </a:cubicBezTo>
                <a:cubicBezTo>
                  <a:pt x="94" y="198"/>
                  <a:pt x="97" y="198"/>
                  <a:pt x="100" y="196"/>
                </a:cubicBezTo>
                <a:cubicBezTo>
                  <a:pt x="104" y="192"/>
                  <a:pt x="104" y="192"/>
                  <a:pt x="104" y="192"/>
                </a:cubicBezTo>
                <a:cubicBezTo>
                  <a:pt x="104" y="192"/>
                  <a:pt x="104" y="192"/>
                  <a:pt x="104" y="192"/>
                </a:cubicBezTo>
                <a:cubicBezTo>
                  <a:pt x="105" y="192"/>
                  <a:pt x="106" y="193"/>
                  <a:pt x="106" y="193"/>
                </a:cubicBezTo>
                <a:cubicBezTo>
                  <a:pt x="107" y="193"/>
                  <a:pt x="107" y="194"/>
                  <a:pt x="108" y="194"/>
                </a:cubicBezTo>
                <a:cubicBezTo>
                  <a:pt x="108" y="194"/>
                  <a:pt x="108" y="194"/>
                  <a:pt x="108" y="194"/>
                </a:cubicBezTo>
                <a:cubicBezTo>
                  <a:pt x="115" y="198"/>
                  <a:pt x="122" y="201"/>
                  <a:pt x="129" y="202"/>
                </a:cubicBezTo>
                <a:cubicBezTo>
                  <a:pt x="129" y="208"/>
                  <a:pt x="129" y="208"/>
                  <a:pt x="129" y="208"/>
                </a:cubicBezTo>
                <a:cubicBezTo>
                  <a:pt x="129" y="211"/>
                  <a:pt x="132" y="214"/>
                  <a:pt x="135" y="214"/>
                </a:cubicBezTo>
                <a:cubicBezTo>
                  <a:pt x="145" y="214"/>
                  <a:pt x="145" y="214"/>
                  <a:pt x="145" y="214"/>
                </a:cubicBezTo>
                <a:cubicBezTo>
                  <a:pt x="148" y="214"/>
                  <a:pt x="151" y="211"/>
                  <a:pt x="151" y="208"/>
                </a:cubicBezTo>
                <a:cubicBezTo>
                  <a:pt x="151" y="202"/>
                  <a:pt x="151" y="202"/>
                  <a:pt x="151" y="202"/>
                </a:cubicBezTo>
                <a:cubicBezTo>
                  <a:pt x="155" y="201"/>
                  <a:pt x="160" y="200"/>
                  <a:pt x="165" y="198"/>
                </a:cubicBezTo>
                <a:cubicBezTo>
                  <a:pt x="169" y="196"/>
                  <a:pt x="173" y="194"/>
                  <a:pt x="176" y="192"/>
                </a:cubicBezTo>
                <a:cubicBezTo>
                  <a:pt x="180" y="196"/>
                  <a:pt x="180" y="196"/>
                  <a:pt x="180" y="196"/>
                </a:cubicBezTo>
                <a:cubicBezTo>
                  <a:pt x="183" y="198"/>
                  <a:pt x="186" y="198"/>
                  <a:pt x="189" y="196"/>
                </a:cubicBezTo>
                <a:cubicBezTo>
                  <a:pt x="196" y="189"/>
                  <a:pt x="196" y="189"/>
                  <a:pt x="196" y="189"/>
                </a:cubicBezTo>
                <a:cubicBezTo>
                  <a:pt x="198" y="187"/>
                  <a:pt x="198" y="183"/>
                  <a:pt x="196" y="181"/>
                </a:cubicBezTo>
                <a:cubicBezTo>
                  <a:pt x="191" y="176"/>
                  <a:pt x="191" y="176"/>
                  <a:pt x="191" y="176"/>
                </a:cubicBezTo>
                <a:cubicBezTo>
                  <a:pt x="196" y="170"/>
                  <a:pt x="199" y="163"/>
                  <a:pt x="201" y="155"/>
                </a:cubicBezTo>
                <a:cubicBezTo>
                  <a:pt x="201" y="155"/>
                  <a:pt x="201" y="155"/>
                  <a:pt x="201" y="155"/>
                </a:cubicBezTo>
                <a:close/>
                <a:moveTo>
                  <a:pt x="184" y="158"/>
                </a:moveTo>
                <a:cubicBezTo>
                  <a:pt x="180" y="169"/>
                  <a:pt x="171" y="179"/>
                  <a:pt x="159" y="184"/>
                </a:cubicBezTo>
                <a:cubicBezTo>
                  <a:pt x="146" y="189"/>
                  <a:pt x="133" y="189"/>
                  <a:pt x="122" y="184"/>
                </a:cubicBezTo>
                <a:cubicBezTo>
                  <a:pt x="110" y="180"/>
                  <a:pt x="101" y="171"/>
                  <a:pt x="96" y="158"/>
                </a:cubicBezTo>
                <a:cubicBezTo>
                  <a:pt x="91" y="146"/>
                  <a:pt x="91" y="133"/>
                  <a:pt x="95" y="122"/>
                </a:cubicBezTo>
                <a:cubicBezTo>
                  <a:pt x="100" y="110"/>
                  <a:pt x="109" y="101"/>
                  <a:pt x="121" y="96"/>
                </a:cubicBezTo>
                <a:cubicBezTo>
                  <a:pt x="133" y="91"/>
                  <a:pt x="146" y="91"/>
                  <a:pt x="158" y="95"/>
                </a:cubicBezTo>
                <a:cubicBezTo>
                  <a:pt x="169" y="100"/>
                  <a:pt x="179" y="109"/>
                  <a:pt x="184" y="121"/>
                </a:cubicBezTo>
                <a:cubicBezTo>
                  <a:pt x="189" y="133"/>
                  <a:pt x="189" y="146"/>
                  <a:pt x="184"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800">
              <a:solidFill>
                <a:srgbClr val="FFFFFF"/>
              </a:solidFill>
              <a:ea typeface="MS PGothic" pitchFamily="34" charset="-128"/>
            </a:endParaRPr>
          </a:p>
        </p:txBody>
      </p:sp>
      <p:sp>
        <p:nvSpPr>
          <p:cNvPr id="18" name="TextBox 17"/>
          <p:cNvSpPr txBox="1"/>
          <p:nvPr/>
        </p:nvSpPr>
        <p:spPr>
          <a:xfrm>
            <a:off x="1138990" y="1448189"/>
            <a:ext cx="5276324" cy="2585323"/>
          </a:xfrm>
          <a:prstGeom prst="rect">
            <a:avLst/>
          </a:prstGeom>
          <a:noFill/>
        </p:spPr>
        <p:txBody>
          <a:bodyPr wrap="square" rtlCol="0">
            <a:spAutoFit/>
          </a:bodyPr>
          <a:lstStyle/>
          <a:p>
            <a:r>
              <a:rPr lang="en-US" dirty="0">
                <a:solidFill>
                  <a:schemeClr val="bg1"/>
                </a:solidFill>
              </a:rPr>
              <a:t>What is it?</a:t>
            </a:r>
          </a:p>
          <a:p>
            <a:pPr marL="342900" marR="0" lvl="0" indent="-342900">
              <a:buFont typeface="Arial" panose="020B0604020202020204" pitchFamily="34" charset="0"/>
              <a:buChar char="•"/>
              <a:tabLst>
                <a:tab pos="457200" algn="l"/>
              </a:tabLst>
            </a:pPr>
            <a:r>
              <a:rPr lang="en-US" sz="1600" dirty="0">
                <a:solidFill>
                  <a:schemeClr val="bg1"/>
                </a:solidFill>
              </a:rPr>
              <a:t>Location of end user application and EPC workloads in a distributed cloud at the network edge, optionally co-located with </a:t>
            </a:r>
            <a:r>
              <a:rPr lang="en-US" sz="1600" dirty="0" err="1">
                <a:solidFill>
                  <a:schemeClr val="bg1"/>
                </a:solidFill>
              </a:rPr>
              <a:t>vRAN</a:t>
            </a:r>
            <a:endParaRPr lang="en-US" sz="1600" dirty="0">
              <a:solidFill>
                <a:schemeClr val="bg1"/>
              </a:solidFill>
            </a:endParaRPr>
          </a:p>
          <a:p>
            <a:pPr marL="342900" indent="-342900">
              <a:buFont typeface="Arial" panose="020B0604020202020204" pitchFamily="34" charset="0"/>
              <a:buChar char="•"/>
            </a:pPr>
            <a:r>
              <a:rPr lang="en-US" sz="1600" dirty="0">
                <a:solidFill>
                  <a:schemeClr val="bg1"/>
                </a:solidFill>
              </a:rPr>
              <a:t>Enhanced with new technologies,</a:t>
            </a:r>
            <a:r>
              <a:rPr lang="en-US" sz="1600" dirty="0"/>
              <a:t> </a:t>
            </a:r>
            <a:br>
              <a:rPr lang="en-US" sz="1600" dirty="0"/>
            </a:br>
            <a:r>
              <a:rPr lang="en-US" sz="1600" dirty="0">
                <a:solidFill>
                  <a:schemeClr val="bg1"/>
                </a:solidFill>
              </a:rPr>
              <a:t>split of </a:t>
            </a:r>
            <a:r>
              <a:rPr lang="en-US" sz="1600" dirty="0" err="1">
                <a:solidFill>
                  <a:schemeClr val="bg1"/>
                </a:solidFill>
              </a:rPr>
              <a:t>vEPG</a:t>
            </a:r>
            <a:r>
              <a:rPr lang="en-US" sz="1600" dirty="0">
                <a:solidFill>
                  <a:schemeClr val="bg1"/>
                </a:solidFill>
              </a:rPr>
              <a:t> in control and user plane components, and SDN for dynamic cloud networking</a:t>
            </a:r>
          </a:p>
          <a:p>
            <a:endParaRPr lang="en-US" dirty="0">
              <a:solidFill>
                <a:schemeClr val="bg1"/>
              </a:solidFill>
            </a:endParaRPr>
          </a:p>
        </p:txBody>
      </p:sp>
      <p:sp>
        <p:nvSpPr>
          <p:cNvPr id="19" name="TextBox 18"/>
          <p:cNvSpPr txBox="1"/>
          <p:nvPr/>
        </p:nvSpPr>
        <p:spPr>
          <a:xfrm>
            <a:off x="1025580" y="4302345"/>
            <a:ext cx="6997020" cy="2185214"/>
          </a:xfrm>
          <a:prstGeom prst="rect">
            <a:avLst/>
          </a:prstGeom>
          <a:noFill/>
        </p:spPr>
        <p:txBody>
          <a:bodyPr wrap="square" rtlCol="0">
            <a:spAutoFit/>
          </a:bodyPr>
          <a:lstStyle/>
          <a:p>
            <a:r>
              <a:rPr lang="en-US" dirty="0">
                <a:solidFill>
                  <a:schemeClr val="bg1"/>
                </a:solidFill>
              </a:rPr>
              <a:t>Why relevant</a:t>
            </a:r>
          </a:p>
          <a:p>
            <a:pPr marL="342900" indent="-342900">
              <a:buFont typeface="Arial" panose="020B0604020202020204" pitchFamily="34" charset="0"/>
              <a:buChar char="•"/>
            </a:pPr>
            <a:r>
              <a:rPr lang="en-US" sz="1600" dirty="0">
                <a:solidFill>
                  <a:schemeClr val="bg1"/>
                </a:solidFill>
              </a:rPr>
              <a:t>Solution provides short latency, </a:t>
            </a:r>
            <a:br>
              <a:rPr lang="en-US" sz="1600" dirty="0">
                <a:solidFill>
                  <a:schemeClr val="bg1"/>
                </a:solidFill>
              </a:rPr>
            </a:br>
            <a:r>
              <a:rPr lang="en-US" sz="1600" dirty="0">
                <a:solidFill>
                  <a:schemeClr val="bg1"/>
                </a:solidFill>
              </a:rPr>
              <a:t>Privacy (keep data onsite) and reduce transport costs.</a:t>
            </a:r>
          </a:p>
          <a:p>
            <a:pPr marL="342900" indent="-342900">
              <a:buFont typeface="Arial" panose="020B0604020202020204" pitchFamily="34" charset="0"/>
              <a:buChar char="•"/>
            </a:pPr>
            <a:r>
              <a:rPr lang="en-US" sz="1600" dirty="0">
                <a:solidFill>
                  <a:schemeClr val="bg1"/>
                </a:solidFill>
              </a:rPr>
              <a:t>Needed for 5G Use cases like</a:t>
            </a:r>
            <a:br>
              <a:rPr lang="en-US" sz="1600" dirty="0">
                <a:solidFill>
                  <a:schemeClr val="bg1"/>
                </a:solidFill>
              </a:rPr>
            </a:br>
            <a:r>
              <a:rPr lang="en-US" sz="1600" dirty="0">
                <a:solidFill>
                  <a:schemeClr val="bg1"/>
                </a:solidFill>
              </a:rPr>
              <a:t>Industrial Processes, AR/VR, </a:t>
            </a:r>
            <a:br>
              <a:rPr lang="en-US" sz="1600" dirty="0">
                <a:solidFill>
                  <a:schemeClr val="bg1"/>
                </a:solidFill>
              </a:rPr>
            </a:br>
            <a:r>
              <a:rPr lang="en-US" sz="1600" dirty="0">
                <a:solidFill>
                  <a:schemeClr val="bg1"/>
                </a:solidFill>
              </a:rPr>
              <a:t>Mission critical services </a:t>
            </a:r>
            <a:br>
              <a:rPr lang="en-US" sz="1800" dirty="0">
                <a:solidFill>
                  <a:schemeClr val="bg1"/>
                </a:solidFill>
              </a:rPr>
            </a:br>
            <a:endParaRPr lang="en-US" dirty="0">
              <a:solidFill>
                <a:schemeClr val="bg1"/>
              </a:solidFill>
            </a:endParaRPr>
          </a:p>
        </p:txBody>
      </p:sp>
      <p:sp>
        <p:nvSpPr>
          <p:cNvPr id="20" name="TextBox 19"/>
          <p:cNvSpPr txBox="1"/>
          <p:nvPr/>
        </p:nvSpPr>
        <p:spPr>
          <a:xfrm>
            <a:off x="7030076" y="1442036"/>
            <a:ext cx="3900427" cy="3139321"/>
          </a:xfrm>
          <a:prstGeom prst="rect">
            <a:avLst/>
          </a:prstGeom>
          <a:noFill/>
        </p:spPr>
        <p:txBody>
          <a:bodyPr wrap="none" rtlCol="0">
            <a:spAutoFit/>
          </a:bodyPr>
          <a:lstStyle/>
          <a:p>
            <a:r>
              <a:rPr lang="en-US" dirty="0">
                <a:solidFill>
                  <a:schemeClr val="bg1"/>
                </a:solidFill>
              </a:rPr>
              <a:t>Key business values</a:t>
            </a:r>
          </a:p>
          <a:p>
            <a:pPr marL="285750" indent="-285750">
              <a:buFont typeface="Arial" panose="020B0604020202020204" pitchFamily="34" charset="0"/>
              <a:buChar char="•"/>
            </a:pPr>
            <a:r>
              <a:rPr lang="en-US" sz="1600" dirty="0">
                <a:solidFill>
                  <a:schemeClr val="bg1"/>
                </a:solidFill>
                <a:latin typeface="Ericsson Sans" charset="0"/>
              </a:rPr>
              <a:t>Enables new services requiring</a:t>
            </a:r>
            <a:br>
              <a:rPr lang="en-US" sz="1600" dirty="0">
                <a:solidFill>
                  <a:schemeClr val="bg1"/>
                </a:solidFill>
                <a:latin typeface="Ericsson Sans" charset="0"/>
              </a:rPr>
            </a:br>
            <a:r>
              <a:rPr lang="en-US" sz="1600" dirty="0">
                <a:solidFill>
                  <a:schemeClr val="bg1"/>
                </a:solidFill>
                <a:latin typeface="Ericsson Sans" charset="0"/>
              </a:rPr>
              <a:t>short latency for both industries &amp;</a:t>
            </a:r>
            <a:br>
              <a:rPr lang="en-US" sz="1600" dirty="0">
                <a:solidFill>
                  <a:schemeClr val="bg1"/>
                </a:solidFill>
                <a:latin typeface="Ericsson Sans" charset="0"/>
              </a:rPr>
            </a:br>
            <a:r>
              <a:rPr lang="en-US" sz="1600" dirty="0">
                <a:solidFill>
                  <a:schemeClr val="bg1"/>
                </a:solidFill>
                <a:latin typeface="Ericsson Sans" charset="0"/>
              </a:rPr>
              <a:t>enterprises.</a:t>
            </a:r>
            <a:endParaRPr lang="en-US" sz="1600" dirty="0">
              <a:solidFill>
                <a:schemeClr val="bg1"/>
              </a:solidFill>
              <a:latin typeface="Ericsson Sans" charset="0"/>
              <a:ea typeface="Ericsson Sans" charset="0"/>
              <a:cs typeface="Ericsson Sans" charset="0"/>
            </a:endParaRPr>
          </a:p>
          <a:p>
            <a:pPr marL="171450" indent="-171450">
              <a:buClr>
                <a:schemeClr val="bg1"/>
              </a:buClr>
              <a:buFont typeface="Arial" charset="0"/>
              <a:buChar char="•"/>
            </a:pPr>
            <a:r>
              <a:rPr lang="en-US" sz="1600" dirty="0">
                <a:solidFill>
                  <a:schemeClr val="bg1"/>
                </a:solidFill>
                <a:latin typeface="Ericsson Sans" charset="0"/>
                <a:ea typeface="Ericsson Sans" charset="0"/>
                <a:cs typeface="Ericsson Sans" charset="0"/>
              </a:rPr>
              <a:t>  Local CDN for video for traffic offload</a:t>
            </a:r>
          </a:p>
          <a:p>
            <a:pPr marL="342900" indent="-342900">
              <a:buFont typeface="Arial" panose="020B0604020202020204" pitchFamily="34" charset="0"/>
              <a:buChar char="•"/>
            </a:pPr>
            <a:endParaRPr lang="en-US" sz="1600" dirty="0">
              <a:solidFill>
                <a:schemeClr val="bg1"/>
              </a:solidFill>
            </a:endParaRPr>
          </a:p>
          <a:p>
            <a:pPr marL="342900" indent="-342900">
              <a:buFont typeface="Arial" panose="020B0604020202020204" pitchFamily="34" charset="0"/>
              <a:buChar char="•"/>
            </a:pPr>
            <a:endParaRPr lang="en-US" sz="1600" dirty="0">
              <a:solidFill>
                <a:schemeClr val="bg1"/>
              </a:solidFill>
            </a:endParaRPr>
          </a:p>
          <a:p>
            <a:br>
              <a:rPr lang="en-US" dirty="0">
                <a:solidFill>
                  <a:schemeClr val="bg1"/>
                </a:solidFill>
              </a:rPr>
            </a:br>
            <a:endParaRPr lang="en-US" dirty="0">
              <a:solidFill>
                <a:schemeClr val="bg1"/>
              </a:solidFill>
            </a:endParaRPr>
          </a:p>
        </p:txBody>
      </p:sp>
      <p:sp>
        <p:nvSpPr>
          <p:cNvPr id="21" name="Round Same Side Corner Rectangle 14"/>
          <p:cNvSpPr/>
          <p:nvPr/>
        </p:nvSpPr>
        <p:spPr bwMode="auto">
          <a:xfrm>
            <a:off x="9114014" y="5448147"/>
            <a:ext cx="1166976" cy="604844"/>
          </a:xfrm>
          <a:prstGeom prst="round2SameRect">
            <a:avLst>
              <a:gd name="adj1" fmla="val 6011"/>
              <a:gd name="adj2" fmla="val 0"/>
            </a:avLst>
          </a:prstGeom>
          <a:solidFill>
            <a:schemeClr val="bg1">
              <a:alpha val="40000"/>
            </a:schemeClr>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2" name="Round Same Side Corner Rectangle 16"/>
          <p:cNvSpPr/>
          <p:nvPr/>
        </p:nvSpPr>
        <p:spPr bwMode="auto">
          <a:xfrm>
            <a:off x="7705568" y="4358056"/>
            <a:ext cx="1002970" cy="1699002"/>
          </a:xfrm>
          <a:prstGeom prst="round2SameRect">
            <a:avLst>
              <a:gd name="adj1" fmla="val 6011"/>
              <a:gd name="adj2" fmla="val 0"/>
            </a:avLst>
          </a:prstGeom>
          <a:solidFill>
            <a:schemeClr val="bg1">
              <a:alpha val="40000"/>
            </a:schemeClr>
          </a:solidFill>
          <a:ln w="254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23" name="Straight Connector 22"/>
          <p:cNvCxnSpPr/>
          <p:nvPr/>
        </p:nvCxnSpPr>
        <p:spPr bwMode="auto">
          <a:xfrm>
            <a:off x="7198655" y="6057059"/>
            <a:ext cx="3640740" cy="0"/>
          </a:xfrm>
          <a:prstGeom prst="line">
            <a:avLst/>
          </a:prstGeom>
          <a:solidFill>
            <a:schemeClr val="accent1"/>
          </a:solidFill>
          <a:ln w="25400" cap="flat" cmpd="sng" algn="ctr">
            <a:solidFill>
              <a:schemeClr val="bg1"/>
            </a:solidFill>
            <a:prstDash val="solid"/>
            <a:round/>
            <a:headEnd type="none" w="med" len="med"/>
            <a:tailEnd type="none" w="med" len="med"/>
          </a:ln>
          <a:effectLst/>
        </p:spPr>
      </p:cxnSp>
      <p:sp>
        <p:nvSpPr>
          <p:cNvPr id="24" name="Rectangle 23"/>
          <p:cNvSpPr/>
          <p:nvPr/>
        </p:nvSpPr>
        <p:spPr bwMode="auto">
          <a:xfrm>
            <a:off x="7754408" y="4411259"/>
            <a:ext cx="887950" cy="1645799"/>
          </a:xfrm>
          <a:prstGeom prst="rect">
            <a:avLst/>
          </a:prstGeom>
          <a:noFill/>
          <a:ln w="254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Before</a:t>
            </a:r>
            <a:br>
              <a:rPr kumimoji="0" lang="en-US" sz="1400" b="1" i="0" u="none" strike="noStrike" cap="none" normalizeH="0" baseline="0" dirty="0">
                <a:ln>
                  <a:noFill/>
                </a:ln>
                <a:solidFill>
                  <a:schemeClr val="bg1"/>
                </a:solidFill>
                <a:effectLst/>
                <a:latin typeface="Arial" charset="0"/>
              </a:rPr>
            </a:br>
            <a:r>
              <a:rPr kumimoji="0" lang="en-US" sz="1400" b="1" i="0" u="none" strike="noStrike" cap="none" normalizeH="0" baseline="0" dirty="0">
                <a:ln>
                  <a:noFill/>
                </a:ln>
                <a:solidFill>
                  <a:schemeClr val="bg1"/>
                </a:solidFill>
                <a:effectLst/>
                <a:latin typeface="Arial" charset="0"/>
              </a:rPr>
              <a:t>25 </a:t>
            </a:r>
            <a:r>
              <a:rPr kumimoji="0" lang="en-US" sz="1400" b="1" i="0" u="none" strike="noStrike" cap="none" normalizeH="0" baseline="0" dirty="0" err="1">
                <a:ln>
                  <a:noFill/>
                </a:ln>
                <a:solidFill>
                  <a:schemeClr val="bg1"/>
                </a:solidFill>
                <a:effectLst/>
                <a:latin typeface="Arial" charset="0"/>
              </a:rPr>
              <a:t>ms</a:t>
            </a:r>
            <a:endParaRPr kumimoji="0" lang="en-US" sz="1400" b="1" i="0" u="none" strike="noStrike" cap="none" normalizeH="0" baseline="0" dirty="0">
              <a:ln>
                <a:noFill/>
              </a:ln>
              <a:solidFill>
                <a:schemeClr val="bg1"/>
              </a:solidFill>
              <a:effectLst/>
              <a:latin typeface="Arial" charset="0"/>
            </a:endParaRPr>
          </a:p>
        </p:txBody>
      </p:sp>
      <p:sp>
        <p:nvSpPr>
          <p:cNvPr id="25" name="Rectangle 24"/>
          <p:cNvSpPr/>
          <p:nvPr/>
        </p:nvSpPr>
        <p:spPr bwMode="auto">
          <a:xfrm>
            <a:off x="8938585" y="5450815"/>
            <a:ext cx="1503069" cy="602175"/>
          </a:xfrm>
          <a:prstGeom prst="rect">
            <a:avLst/>
          </a:prstGeom>
          <a:noFill/>
          <a:ln w="254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400" b="1" dirty="0">
                <a:solidFill>
                  <a:schemeClr val="bg1"/>
                </a:solidFill>
              </a:rPr>
              <a:t>5 </a:t>
            </a:r>
            <a:r>
              <a:rPr lang="en-US" sz="1400" b="1" dirty="0" err="1">
                <a:solidFill>
                  <a:schemeClr val="bg1"/>
                </a:solidFill>
              </a:rPr>
              <a:t>ms</a:t>
            </a:r>
            <a:endParaRPr kumimoji="0" lang="en-US" sz="1400" b="1" i="0" u="none" strike="noStrike" cap="none" normalizeH="0" baseline="0" dirty="0">
              <a:ln>
                <a:noFill/>
              </a:ln>
              <a:solidFill>
                <a:schemeClr val="bg1"/>
              </a:solidFill>
              <a:effectLst/>
            </a:endParaRPr>
          </a:p>
        </p:txBody>
      </p:sp>
      <p:cxnSp>
        <p:nvCxnSpPr>
          <p:cNvPr id="26" name="Connector: Elbow 13"/>
          <p:cNvCxnSpPr>
            <a:cxnSpLocks/>
          </p:cNvCxnSpPr>
          <p:nvPr/>
        </p:nvCxnSpPr>
        <p:spPr bwMode="auto">
          <a:xfrm rot="16200000" flipH="1">
            <a:off x="8424473" y="4144225"/>
            <a:ext cx="1039556" cy="1491737"/>
          </a:xfrm>
          <a:prstGeom prst="bentConnector3">
            <a:avLst>
              <a:gd name="adj1" fmla="val -21990"/>
            </a:avLst>
          </a:prstGeom>
          <a:solidFill>
            <a:schemeClr val="accent1"/>
          </a:solidFill>
          <a:ln w="25400" cap="flat" cmpd="sng" algn="ctr">
            <a:solidFill>
              <a:schemeClr val="bg1"/>
            </a:solidFill>
            <a:prstDash val="solid"/>
            <a:round/>
            <a:headEnd type="none" w="med" len="med"/>
            <a:tailEnd type="triangle"/>
          </a:ln>
          <a:effectLst/>
        </p:spPr>
      </p:cxnSp>
      <p:sp>
        <p:nvSpPr>
          <p:cNvPr id="27" name="TextBox 26"/>
          <p:cNvSpPr txBox="1"/>
          <p:nvPr/>
        </p:nvSpPr>
        <p:spPr>
          <a:xfrm>
            <a:off x="8532991" y="6138262"/>
            <a:ext cx="902811" cy="338554"/>
          </a:xfrm>
          <a:prstGeom prst="rect">
            <a:avLst/>
          </a:prstGeom>
          <a:noFill/>
        </p:spPr>
        <p:txBody>
          <a:bodyPr wrap="none" rtlCol="0">
            <a:spAutoFit/>
          </a:bodyPr>
          <a:lstStyle/>
          <a:p>
            <a:pPr algn="ctr"/>
            <a:r>
              <a:rPr lang="en-US" sz="1600" dirty="0">
                <a:solidFill>
                  <a:schemeClr val="bg1"/>
                </a:solidFill>
              </a:rPr>
              <a:t>Latency</a:t>
            </a:r>
          </a:p>
        </p:txBody>
      </p:sp>
      <p:sp>
        <p:nvSpPr>
          <p:cNvPr id="28" name="Oval 27"/>
          <p:cNvSpPr/>
          <p:nvPr/>
        </p:nvSpPr>
        <p:spPr bwMode="auto">
          <a:xfrm>
            <a:off x="8521467" y="3527858"/>
            <a:ext cx="834236" cy="832836"/>
          </a:xfrm>
          <a:prstGeom prst="ellipse">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50000"/>
              </a:lnSpc>
              <a:spcBef>
                <a:spcPct val="50000"/>
              </a:spcBef>
              <a:spcAft>
                <a:spcPct val="0"/>
              </a:spcAft>
              <a:buClrTx/>
              <a:buSzTx/>
              <a:buFontTx/>
              <a:buNone/>
              <a:tabLst/>
            </a:pPr>
            <a:endParaRPr kumimoji="0" lang="en-US" sz="1400" b="0" i="0" u="none" strike="noStrike" cap="none" normalizeH="0" baseline="0" dirty="0">
              <a:ln>
                <a:noFill/>
              </a:ln>
              <a:solidFill>
                <a:schemeClr val="tx2"/>
              </a:solidFill>
              <a:effectLst/>
              <a:latin typeface="Arial" charset="0"/>
            </a:endParaRPr>
          </a:p>
        </p:txBody>
      </p:sp>
      <p:sp>
        <p:nvSpPr>
          <p:cNvPr id="29" name="TextBox 28"/>
          <p:cNvSpPr txBox="1"/>
          <p:nvPr/>
        </p:nvSpPr>
        <p:spPr>
          <a:xfrm>
            <a:off x="8637060" y="3801392"/>
            <a:ext cx="603049" cy="307777"/>
          </a:xfrm>
          <a:prstGeom prst="rect">
            <a:avLst/>
          </a:prstGeom>
          <a:noFill/>
        </p:spPr>
        <p:txBody>
          <a:bodyPr wrap="none" rtlCol="0">
            <a:spAutoFit/>
          </a:bodyPr>
          <a:lstStyle/>
          <a:p>
            <a:pPr algn="ctr"/>
            <a:r>
              <a:rPr lang="en-US" sz="1400" b="1" dirty="0">
                <a:solidFill>
                  <a:srgbClr val="00AAD4"/>
                </a:solidFill>
              </a:rPr>
              <a:t>-80%</a:t>
            </a:r>
          </a:p>
        </p:txBody>
      </p:sp>
    </p:spTree>
    <p:extLst>
      <p:ext uri="{BB962C8B-B14F-4D97-AF65-F5344CB8AC3E}">
        <p14:creationId xmlns:p14="http://schemas.microsoft.com/office/powerpoint/2010/main" val="1365492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253"/>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r>
              <a:rPr lang="en-US" dirty="0">
                <a:solidFill>
                  <a:srgbClr val="FFFFFF"/>
                </a:solidFill>
              </a:rPr>
              <a:t>5G More </a:t>
            </a:r>
            <a:r>
              <a:rPr lang="en-US" dirty="0" err="1">
                <a:solidFill>
                  <a:srgbClr val="FFFFFF"/>
                </a:solidFill>
              </a:rPr>
              <a:t>thAn</a:t>
            </a:r>
            <a:r>
              <a:rPr lang="en-US" dirty="0">
                <a:solidFill>
                  <a:srgbClr val="FFFFFF"/>
                </a:solidFill>
              </a:rPr>
              <a:t> MOBILE BROADBAND </a:t>
            </a:r>
            <a:endParaRPr lang="en-US" altLang="en-US" dirty="0">
              <a:solidFill>
                <a:schemeClr val="bg1"/>
              </a:solidFill>
              <a:latin typeface="Ericsson Capital TT" pitchFamily="2" charset="0"/>
            </a:endParaRP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45"/>
          <p:cNvSpPr/>
          <p:nvPr/>
        </p:nvSpPr>
        <p:spPr bwMode="auto">
          <a:xfrm>
            <a:off x="635868" y="6072747"/>
            <a:ext cx="11089935" cy="450376"/>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r>
              <a:rPr lang="en-US" altLang="en-US" dirty="0">
                <a:solidFill>
                  <a:srgbClr val="091638"/>
                </a:solidFill>
              </a:rPr>
              <a:t>Wide range of new opportunities and use cases</a:t>
            </a:r>
            <a:endParaRPr lang="en-US" dirty="0">
              <a:solidFill>
                <a:srgbClr val="091638"/>
              </a:solidFill>
            </a:endParaRPr>
          </a:p>
        </p:txBody>
      </p:sp>
      <p:sp>
        <p:nvSpPr>
          <p:cNvPr id="11" name="Ellips 1"/>
          <p:cNvSpPr/>
          <p:nvPr/>
        </p:nvSpPr>
        <p:spPr bwMode="auto">
          <a:xfrm>
            <a:off x="-676927" y="1383633"/>
            <a:ext cx="4892844" cy="4892840"/>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12" name="Ellips 44"/>
          <p:cNvSpPr/>
          <p:nvPr/>
        </p:nvSpPr>
        <p:spPr bwMode="auto">
          <a:xfrm>
            <a:off x="-348060" y="1712501"/>
            <a:ext cx="4235112" cy="4235106"/>
          </a:xfrm>
          <a:prstGeom prst="ellipse">
            <a:avLst/>
          </a:prstGeom>
          <a:solidFill>
            <a:schemeClr val="bg1">
              <a:alpha val="1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13" name="Ellips 166"/>
          <p:cNvSpPr/>
          <p:nvPr/>
        </p:nvSpPr>
        <p:spPr bwMode="auto">
          <a:xfrm>
            <a:off x="-107426" y="1969177"/>
            <a:ext cx="3737804" cy="3737798"/>
          </a:xfrm>
          <a:prstGeom prst="ellipse">
            <a:avLst/>
          </a:prstGeom>
          <a:solidFill>
            <a:schemeClr val="bg1">
              <a:alpha val="1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14" name="Title 3"/>
          <p:cNvSpPr txBox="1">
            <a:spLocks/>
          </p:cNvSpPr>
          <p:nvPr/>
        </p:nvSpPr>
        <p:spPr bwMode="auto">
          <a:xfrm>
            <a:off x="360678" y="2435272"/>
            <a:ext cx="3309403" cy="2738620"/>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sz="16600" kern="0" dirty="0">
                <a:solidFill>
                  <a:srgbClr val="FFFFFF"/>
                </a:solidFill>
              </a:rPr>
              <a:t>5g</a:t>
            </a:r>
            <a:endParaRPr lang="en-US" sz="3600" kern="0" dirty="0">
              <a:solidFill>
                <a:srgbClr val="FFFFFF"/>
              </a:solidFill>
              <a:latin typeface="+mn-lt"/>
            </a:endParaRPr>
          </a:p>
        </p:txBody>
      </p:sp>
      <p:sp>
        <p:nvSpPr>
          <p:cNvPr id="15" name="Title 3"/>
          <p:cNvSpPr txBox="1">
            <a:spLocks/>
          </p:cNvSpPr>
          <p:nvPr/>
        </p:nvSpPr>
        <p:spPr bwMode="auto">
          <a:xfrm>
            <a:off x="476937" y="4245693"/>
            <a:ext cx="2969856" cy="82663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sz="3600" kern="0" dirty="0">
                <a:solidFill>
                  <a:srgbClr val="FFFFFF"/>
                </a:solidFill>
                <a:latin typeface="+mj-lt"/>
              </a:rPr>
              <a:t>USE CASES</a:t>
            </a:r>
          </a:p>
        </p:txBody>
      </p:sp>
      <p:sp>
        <p:nvSpPr>
          <p:cNvPr id="16" name="Title 3"/>
          <p:cNvSpPr txBox="1">
            <a:spLocks/>
          </p:cNvSpPr>
          <p:nvPr/>
        </p:nvSpPr>
        <p:spPr bwMode="auto">
          <a:xfrm>
            <a:off x="7222087" y="3065301"/>
            <a:ext cx="3675367" cy="707930"/>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600" kern="0" dirty="0">
                <a:solidFill>
                  <a:srgbClr val="FFFFFF"/>
                </a:solidFill>
                <a:latin typeface="+mn-lt"/>
              </a:rPr>
              <a:t>SMART VEHICLES,</a:t>
            </a:r>
            <a:br>
              <a:rPr lang="en-US" sz="1600" kern="0" dirty="0">
                <a:solidFill>
                  <a:srgbClr val="FFFFFF"/>
                </a:solidFill>
                <a:latin typeface="+mn-lt"/>
              </a:rPr>
            </a:br>
            <a:r>
              <a:rPr lang="en-US" sz="1600" kern="0" dirty="0">
                <a:solidFill>
                  <a:srgbClr val="FFFFFF"/>
                </a:solidFill>
                <a:latin typeface="+mn-lt"/>
              </a:rPr>
              <a:t>TRANSPORT &amp; INFRASTRUCTURE</a:t>
            </a:r>
          </a:p>
        </p:txBody>
      </p:sp>
      <p:grpSp>
        <p:nvGrpSpPr>
          <p:cNvPr id="17" name="Grupp 26"/>
          <p:cNvGrpSpPr/>
          <p:nvPr/>
        </p:nvGrpSpPr>
        <p:grpSpPr>
          <a:xfrm>
            <a:off x="8188876" y="4957011"/>
            <a:ext cx="615806" cy="608485"/>
            <a:chOff x="10109064" y="4539916"/>
            <a:chExt cx="615806" cy="608485"/>
          </a:xfrm>
        </p:grpSpPr>
        <p:sp>
          <p:nvSpPr>
            <p:cNvPr id="18" name="Freeform 3"/>
            <p:cNvSpPr>
              <a:spLocks noChangeAspect="1" noEditPoints="1"/>
            </p:cNvSpPr>
            <p:nvPr/>
          </p:nvSpPr>
          <p:spPr bwMode="auto">
            <a:xfrm flipH="1">
              <a:off x="10109064" y="4539916"/>
              <a:ext cx="615806" cy="608485"/>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2147483647 w 359"/>
                <a:gd name="T109" fmla="*/ 2147483647 h 357"/>
                <a:gd name="T110" fmla="*/ 2147483647 w 359"/>
                <a:gd name="T111" fmla="*/ 2147483647 h 357"/>
                <a:gd name="T112" fmla="*/ 2147483647 w 359"/>
                <a:gd name="T113" fmla="*/ 2147483647 h 357"/>
                <a:gd name="T114" fmla="*/ 2147483647 w 359"/>
                <a:gd name="T115" fmla="*/ 2147483647 h 3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57">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7" y="28"/>
                    <a:pt x="197" y="28"/>
                    <a:pt x="197"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solidFill>
              <a:srgbClr val="FFFFFF"/>
            </a:solidFill>
            <a:ln>
              <a:noFill/>
            </a:ln>
          </p:spPr>
          <p:txBody>
            <a:bodyPr/>
            <a:lstStyle/>
            <a:p>
              <a:endParaRPr lang="en-US" dirty="0"/>
            </a:p>
          </p:txBody>
        </p:sp>
        <p:sp>
          <p:nvSpPr>
            <p:cNvPr id="19" name="TextBox 18"/>
            <p:cNvSpPr txBox="1"/>
            <p:nvPr/>
          </p:nvSpPr>
          <p:spPr>
            <a:xfrm rot="2723538">
              <a:off x="10224248" y="4740672"/>
              <a:ext cx="466218" cy="307777"/>
            </a:xfrm>
            <a:prstGeom prst="rect">
              <a:avLst/>
            </a:prstGeom>
            <a:noFill/>
          </p:spPr>
          <p:txBody>
            <a:bodyPr wrap="none" rtlCol="0" anchor="ctr">
              <a:spAutoFit/>
            </a:bodyPr>
            <a:lstStyle/>
            <a:p>
              <a:pPr algn="ctr"/>
              <a:r>
                <a:rPr lang="en-US" sz="1400" dirty="0">
                  <a:solidFill>
                    <a:srgbClr val="FFFFFF"/>
                  </a:solidFill>
                  <a:latin typeface="+mj-lt"/>
                </a:rPr>
                <a:t>IOT</a:t>
              </a:r>
            </a:p>
          </p:txBody>
        </p:sp>
      </p:grpSp>
      <p:sp>
        <p:nvSpPr>
          <p:cNvPr id="20" name="Freeform 3"/>
          <p:cNvSpPr>
            <a:spLocks noChangeAspect="1" noEditPoints="1"/>
          </p:cNvSpPr>
          <p:nvPr/>
        </p:nvSpPr>
        <p:spPr bwMode="auto">
          <a:xfrm>
            <a:off x="5340585" y="1498214"/>
            <a:ext cx="435886" cy="369927"/>
          </a:xfrm>
          <a:custGeom>
            <a:avLst/>
            <a:gdLst>
              <a:gd name="T0" fmla="*/ 2147483647 w 338"/>
              <a:gd name="T1" fmla="*/ 2147483647 h 294"/>
              <a:gd name="T2" fmla="*/ 2147483647 w 338"/>
              <a:gd name="T3" fmla="*/ 2147483647 h 294"/>
              <a:gd name="T4" fmla="*/ 2147483647 w 338"/>
              <a:gd name="T5" fmla="*/ 2147483647 h 294"/>
              <a:gd name="T6" fmla="*/ 2147483647 w 338"/>
              <a:gd name="T7" fmla="*/ 2147483647 h 294"/>
              <a:gd name="T8" fmla="*/ 2147483647 w 338"/>
              <a:gd name="T9" fmla="*/ 2147483647 h 294"/>
              <a:gd name="T10" fmla="*/ 2147483647 w 338"/>
              <a:gd name="T11" fmla="*/ 2147483647 h 294"/>
              <a:gd name="T12" fmla="*/ 2147483647 w 338"/>
              <a:gd name="T13" fmla="*/ 2147483647 h 294"/>
              <a:gd name="T14" fmla="*/ 2147483647 w 338"/>
              <a:gd name="T15" fmla="*/ 2147483647 h 294"/>
              <a:gd name="T16" fmla="*/ 2147483647 w 338"/>
              <a:gd name="T17" fmla="*/ 2147483647 h 294"/>
              <a:gd name="T18" fmla="*/ 2147483647 w 338"/>
              <a:gd name="T19" fmla="*/ 2147483647 h 294"/>
              <a:gd name="T20" fmla="*/ 2147483647 w 338"/>
              <a:gd name="T21" fmla="*/ 2147483647 h 294"/>
              <a:gd name="T22" fmla="*/ 2147483647 w 338"/>
              <a:gd name="T23" fmla="*/ 2147483647 h 294"/>
              <a:gd name="T24" fmla="*/ 2147483647 w 338"/>
              <a:gd name="T25" fmla="*/ 2147483647 h 294"/>
              <a:gd name="T26" fmla="*/ 2147483647 w 338"/>
              <a:gd name="T27" fmla="*/ 2147483647 h 294"/>
              <a:gd name="T28" fmla="*/ 2147483647 w 338"/>
              <a:gd name="T29" fmla="*/ 2147483647 h 294"/>
              <a:gd name="T30" fmla="*/ 2147483647 w 338"/>
              <a:gd name="T31" fmla="*/ 2147483647 h 294"/>
              <a:gd name="T32" fmla="*/ 2147483647 w 338"/>
              <a:gd name="T33" fmla="*/ 2147483647 h 294"/>
              <a:gd name="T34" fmla="*/ 2147483647 w 338"/>
              <a:gd name="T35" fmla="*/ 2147483647 h 294"/>
              <a:gd name="T36" fmla="*/ 2147483647 w 338"/>
              <a:gd name="T37" fmla="*/ 2147483647 h 294"/>
              <a:gd name="T38" fmla="*/ 2147483647 w 338"/>
              <a:gd name="T39" fmla="*/ 2147483647 h 294"/>
              <a:gd name="T40" fmla="*/ 2147483647 w 338"/>
              <a:gd name="T41" fmla="*/ 2147483647 h 294"/>
              <a:gd name="T42" fmla="*/ 2147483647 w 338"/>
              <a:gd name="T43" fmla="*/ 2147483647 h 294"/>
              <a:gd name="T44" fmla="*/ 2147483647 w 338"/>
              <a:gd name="T45" fmla="*/ 2147483647 h 294"/>
              <a:gd name="T46" fmla="*/ 2147483647 w 338"/>
              <a:gd name="T47" fmla="*/ 2147483647 h 294"/>
              <a:gd name="T48" fmla="*/ 2147483647 w 338"/>
              <a:gd name="T49" fmla="*/ 2147483647 h 294"/>
              <a:gd name="T50" fmla="*/ 2147483647 w 338"/>
              <a:gd name="T51" fmla="*/ 2147483647 h 294"/>
              <a:gd name="T52" fmla="*/ 2147483647 w 338"/>
              <a:gd name="T53" fmla="*/ 2147483647 h 294"/>
              <a:gd name="T54" fmla="*/ 2147483647 w 338"/>
              <a:gd name="T55" fmla="*/ 2147483647 h 294"/>
              <a:gd name="T56" fmla="*/ 2147483647 w 338"/>
              <a:gd name="T57" fmla="*/ 2147483647 h 294"/>
              <a:gd name="T58" fmla="*/ 2147483647 w 338"/>
              <a:gd name="T59" fmla="*/ 2147483647 h 294"/>
              <a:gd name="T60" fmla="*/ 2147483647 w 338"/>
              <a:gd name="T61" fmla="*/ 2147483647 h 294"/>
              <a:gd name="T62" fmla="*/ 2147483647 w 338"/>
              <a:gd name="T63" fmla="*/ 2147483647 h 294"/>
              <a:gd name="T64" fmla="*/ 2147483647 w 338"/>
              <a:gd name="T65" fmla="*/ 2147483647 h 294"/>
              <a:gd name="T66" fmla="*/ 2147483647 w 338"/>
              <a:gd name="T67" fmla="*/ 2147483647 h 294"/>
              <a:gd name="T68" fmla="*/ 2147483647 w 338"/>
              <a:gd name="T69" fmla="*/ 2147483647 h 294"/>
              <a:gd name="T70" fmla="*/ 2147483647 w 338"/>
              <a:gd name="T71" fmla="*/ 2147483647 h 294"/>
              <a:gd name="T72" fmla="*/ 2147483647 w 338"/>
              <a:gd name="T73" fmla="*/ 2147483647 h 294"/>
              <a:gd name="T74" fmla="*/ 2147483647 w 338"/>
              <a:gd name="T75" fmla="*/ 2147483647 h 294"/>
              <a:gd name="T76" fmla="*/ 2147483647 w 338"/>
              <a:gd name="T77" fmla="*/ 0 h 294"/>
              <a:gd name="T78" fmla="*/ 2147483647 w 338"/>
              <a:gd name="T79" fmla="*/ 2147483647 h 294"/>
              <a:gd name="T80" fmla="*/ 2147483647 w 338"/>
              <a:gd name="T81" fmla="*/ 2147483647 h 294"/>
              <a:gd name="T82" fmla="*/ 2147483647 w 338"/>
              <a:gd name="T83" fmla="*/ 2147483647 h 294"/>
              <a:gd name="T84" fmla="*/ 2147483647 w 338"/>
              <a:gd name="T85" fmla="*/ 2147483647 h 294"/>
              <a:gd name="T86" fmla="*/ 2147483647 w 338"/>
              <a:gd name="T87" fmla="*/ 2147483647 h 294"/>
              <a:gd name="T88" fmla="*/ 2147483647 w 338"/>
              <a:gd name="T89" fmla="*/ 2147483647 h 294"/>
              <a:gd name="T90" fmla="*/ 2147483647 w 338"/>
              <a:gd name="T91" fmla="*/ 2147483647 h 294"/>
              <a:gd name="T92" fmla="*/ 2147483647 w 338"/>
              <a:gd name="T93" fmla="*/ 2147483647 h 2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38" h="294">
                <a:moveTo>
                  <a:pt x="169" y="136"/>
                </a:moveTo>
                <a:cubicBezTo>
                  <a:pt x="144" y="136"/>
                  <a:pt x="118" y="146"/>
                  <a:pt x="99" y="165"/>
                </a:cubicBezTo>
                <a:cubicBezTo>
                  <a:pt x="96" y="168"/>
                  <a:pt x="96" y="173"/>
                  <a:pt x="99" y="176"/>
                </a:cubicBezTo>
                <a:cubicBezTo>
                  <a:pt x="102" y="180"/>
                  <a:pt x="107" y="180"/>
                  <a:pt x="110" y="176"/>
                </a:cubicBezTo>
                <a:cubicBezTo>
                  <a:pt x="110" y="176"/>
                  <a:pt x="110" y="176"/>
                  <a:pt x="110" y="176"/>
                </a:cubicBezTo>
                <a:cubicBezTo>
                  <a:pt x="127" y="160"/>
                  <a:pt x="148" y="152"/>
                  <a:pt x="169" y="152"/>
                </a:cubicBezTo>
                <a:cubicBezTo>
                  <a:pt x="190" y="152"/>
                  <a:pt x="212" y="160"/>
                  <a:pt x="228" y="176"/>
                </a:cubicBezTo>
                <a:cubicBezTo>
                  <a:pt x="229" y="178"/>
                  <a:pt x="232" y="179"/>
                  <a:pt x="234" y="179"/>
                </a:cubicBezTo>
                <a:cubicBezTo>
                  <a:pt x="236" y="179"/>
                  <a:pt x="238" y="178"/>
                  <a:pt x="239" y="176"/>
                </a:cubicBezTo>
                <a:cubicBezTo>
                  <a:pt x="242" y="173"/>
                  <a:pt x="242" y="168"/>
                  <a:pt x="239" y="165"/>
                </a:cubicBezTo>
                <a:cubicBezTo>
                  <a:pt x="220" y="146"/>
                  <a:pt x="194" y="136"/>
                  <a:pt x="169" y="136"/>
                </a:cubicBezTo>
                <a:close/>
                <a:moveTo>
                  <a:pt x="169" y="68"/>
                </a:moveTo>
                <a:cubicBezTo>
                  <a:pt x="126" y="68"/>
                  <a:pt x="84" y="84"/>
                  <a:pt x="51" y="117"/>
                </a:cubicBezTo>
                <a:cubicBezTo>
                  <a:pt x="48" y="120"/>
                  <a:pt x="48" y="125"/>
                  <a:pt x="51" y="128"/>
                </a:cubicBezTo>
                <a:cubicBezTo>
                  <a:pt x="53" y="130"/>
                  <a:pt x="55" y="131"/>
                  <a:pt x="57" y="131"/>
                </a:cubicBezTo>
                <a:cubicBezTo>
                  <a:pt x="59" y="131"/>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39" y="217"/>
                </a:moveTo>
                <a:cubicBezTo>
                  <a:pt x="123" y="234"/>
                  <a:pt x="123" y="261"/>
                  <a:pt x="139" y="277"/>
                </a:cubicBezTo>
                <a:cubicBezTo>
                  <a:pt x="156" y="294"/>
                  <a:pt x="183" y="294"/>
                  <a:pt x="199" y="277"/>
                </a:cubicBezTo>
                <a:cubicBezTo>
                  <a:pt x="216" y="261"/>
                  <a:pt x="216" y="234"/>
                  <a:pt x="199" y="217"/>
                </a:cubicBezTo>
                <a:cubicBezTo>
                  <a:pt x="183" y="201"/>
                  <a:pt x="156" y="201"/>
                  <a:pt x="139" y="217"/>
                </a:cubicBezTo>
                <a:close/>
                <a:moveTo>
                  <a:pt x="334" y="66"/>
                </a:moveTo>
                <a:cubicBezTo>
                  <a:pt x="330" y="62"/>
                  <a:pt x="326" y="59"/>
                  <a:pt x="321" y="55"/>
                </a:cubicBezTo>
                <a:cubicBezTo>
                  <a:pt x="319" y="54"/>
                  <a:pt x="318" y="53"/>
                  <a:pt x="316" y="51"/>
                </a:cubicBezTo>
                <a:cubicBezTo>
                  <a:pt x="313" y="49"/>
                  <a:pt x="308" y="49"/>
                  <a:pt x="305" y="53"/>
                </a:cubicBezTo>
                <a:cubicBezTo>
                  <a:pt x="302" y="56"/>
                  <a:pt x="303" y="61"/>
                  <a:pt x="306" y="64"/>
                </a:cubicBezTo>
                <a:cubicBezTo>
                  <a:pt x="308" y="65"/>
                  <a:pt x="310" y="67"/>
                  <a:pt x="311" y="68"/>
                </a:cubicBezTo>
                <a:cubicBezTo>
                  <a:pt x="316" y="71"/>
                  <a:pt x="320" y="75"/>
                  <a:pt x="323" y="78"/>
                </a:cubicBezTo>
                <a:cubicBezTo>
                  <a:pt x="325" y="79"/>
                  <a:pt x="327" y="80"/>
                  <a:pt x="329" y="80"/>
                </a:cubicBezTo>
                <a:cubicBezTo>
                  <a:pt x="331" y="80"/>
                  <a:pt x="333" y="79"/>
                  <a:pt x="335" y="78"/>
                </a:cubicBezTo>
                <a:cubicBezTo>
                  <a:pt x="338" y="74"/>
                  <a:pt x="338" y="69"/>
                  <a:pt x="334" y="66"/>
                </a:cubicBezTo>
                <a:close/>
                <a:moveTo>
                  <a:pt x="290" y="33"/>
                </a:moveTo>
                <a:cubicBezTo>
                  <a:pt x="253" y="11"/>
                  <a:pt x="212" y="0"/>
                  <a:pt x="169" y="0"/>
                </a:cubicBezTo>
                <a:cubicBezTo>
                  <a:pt x="107" y="0"/>
                  <a:pt x="49" y="24"/>
                  <a:pt x="4" y="66"/>
                </a:cubicBezTo>
                <a:cubicBezTo>
                  <a:pt x="1" y="69"/>
                  <a:pt x="0" y="74"/>
                  <a:pt x="4" y="78"/>
                </a:cubicBezTo>
                <a:cubicBezTo>
                  <a:pt x="5" y="79"/>
                  <a:pt x="7" y="80"/>
                  <a:pt x="9" y="80"/>
                </a:cubicBezTo>
                <a:cubicBezTo>
                  <a:pt x="11" y="80"/>
                  <a:pt x="13" y="79"/>
                  <a:pt x="15" y="78"/>
                </a:cubicBezTo>
                <a:cubicBezTo>
                  <a:pt x="57" y="38"/>
                  <a:pt x="111" y="16"/>
                  <a:pt x="169" y="16"/>
                </a:cubicBezTo>
                <a:cubicBezTo>
                  <a:pt x="209" y="16"/>
                  <a:pt x="248" y="27"/>
                  <a:pt x="282" y="46"/>
                </a:cubicBezTo>
                <a:cubicBezTo>
                  <a:pt x="285" y="49"/>
                  <a:pt x="290" y="47"/>
                  <a:pt x="293" y="44"/>
                </a:cubicBezTo>
                <a:cubicBezTo>
                  <a:pt x="295" y="40"/>
                  <a:pt x="294" y="35"/>
                  <a:pt x="290" y="3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sp>
        <p:nvSpPr>
          <p:cNvPr id="21" name="Freeform 3"/>
          <p:cNvSpPr>
            <a:spLocks noChangeAspect="1" noEditPoints="1"/>
          </p:cNvSpPr>
          <p:nvPr/>
        </p:nvSpPr>
        <p:spPr bwMode="auto">
          <a:xfrm>
            <a:off x="5628069" y="2342147"/>
            <a:ext cx="472796" cy="455588"/>
          </a:xfrm>
          <a:custGeom>
            <a:avLst/>
            <a:gdLst>
              <a:gd name="T0" fmla="*/ 2147483647 w 294"/>
              <a:gd name="T1" fmla="*/ 2147483647 h 294"/>
              <a:gd name="T2" fmla="*/ 2147483647 w 294"/>
              <a:gd name="T3" fmla="*/ 2147483647 h 294"/>
              <a:gd name="T4" fmla="*/ 2147483647 w 294"/>
              <a:gd name="T5" fmla="*/ 2147483647 h 294"/>
              <a:gd name="T6" fmla="*/ 2147483647 w 294"/>
              <a:gd name="T7" fmla="*/ 2147483647 h 294"/>
              <a:gd name="T8" fmla="*/ 2147483647 w 294"/>
              <a:gd name="T9" fmla="*/ 2147483647 h 294"/>
              <a:gd name="T10" fmla="*/ 2147483647 w 294"/>
              <a:gd name="T11" fmla="*/ 2147483647 h 294"/>
              <a:gd name="T12" fmla="*/ 2147483647 w 294"/>
              <a:gd name="T13" fmla="*/ 2147483647 h 294"/>
              <a:gd name="T14" fmla="*/ 2147483647 w 294"/>
              <a:gd name="T15" fmla="*/ 2147483647 h 294"/>
              <a:gd name="T16" fmla="*/ 2147483647 w 294"/>
              <a:gd name="T17" fmla="*/ 2147483647 h 294"/>
              <a:gd name="T18" fmla="*/ 2147483647 w 294"/>
              <a:gd name="T19" fmla="*/ 2147483647 h 294"/>
              <a:gd name="T20" fmla="*/ 2147483647 w 294"/>
              <a:gd name="T21" fmla="*/ 0 h 294"/>
              <a:gd name="T22" fmla="*/ 0 w 294"/>
              <a:gd name="T23" fmla="*/ 2147483647 h 294"/>
              <a:gd name="T24" fmla="*/ 2147483647 w 294"/>
              <a:gd name="T25" fmla="*/ 2147483647 h 294"/>
              <a:gd name="T26" fmla="*/ 2147483647 w 294"/>
              <a:gd name="T27" fmla="*/ 2147483647 h 294"/>
              <a:gd name="T28" fmla="*/ 2147483647 w 294"/>
              <a:gd name="T29" fmla="*/ 2147483647 h 294"/>
              <a:gd name="T30" fmla="*/ 2147483647 w 294"/>
              <a:gd name="T31" fmla="*/ 2147483647 h 294"/>
              <a:gd name="T32" fmla="*/ 2147483647 w 294"/>
              <a:gd name="T33" fmla="*/ 2147483647 h 294"/>
              <a:gd name="T34" fmla="*/ 2147483647 w 294"/>
              <a:gd name="T35" fmla="*/ 2147483647 h 294"/>
              <a:gd name="T36" fmla="*/ 2147483647 w 294"/>
              <a:gd name="T37" fmla="*/ 2147483647 h 294"/>
              <a:gd name="T38" fmla="*/ 2147483647 w 294"/>
              <a:gd name="T39" fmla="*/ 2147483647 h 294"/>
              <a:gd name="T40" fmla="*/ 2147483647 w 294"/>
              <a:gd name="T41" fmla="*/ 2147483647 h 294"/>
              <a:gd name="T42" fmla="*/ 2147483647 w 294"/>
              <a:gd name="T43" fmla="*/ 2147483647 h 294"/>
              <a:gd name="T44" fmla="*/ 2147483647 w 294"/>
              <a:gd name="T45" fmla="*/ 2147483647 h 29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94" h="294">
                <a:moveTo>
                  <a:pt x="271" y="68"/>
                </a:moveTo>
                <a:cubicBezTo>
                  <a:pt x="269" y="64"/>
                  <a:pt x="264" y="63"/>
                  <a:pt x="260" y="66"/>
                </a:cubicBezTo>
                <a:cubicBezTo>
                  <a:pt x="257" y="68"/>
                  <a:pt x="255" y="73"/>
                  <a:pt x="258" y="77"/>
                </a:cubicBezTo>
                <a:cubicBezTo>
                  <a:pt x="271" y="97"/>
                  <a:pt x="278" y="121"/>
                  <a:pt x="278" y="147"/>
                </a:cubicBezTo>
                <a:cubicBezTo>
                  <a:pt x="278" y="219"/>
                  <a:pt x="220" y="278"/>
                  <a:pt x="147" y="278"/>
                </a:cubicBezTo>
                <a:cubicBezTo>
                  <a:pt x="75" y="278"/>
                  <a:pt x="16" y="219"/>
                  <a:pt x="16" y="147"/>
                </a:cubicBezTo>
                <a:cubicBezTo>
                  <a:pt x="16" y="75"/>
                  <a:pt x="75" y="16"/>
                  <a:pt x="147" y="16"/>
                </a:cubicBezTo>
                <a:cubicBezTo>
                  <a:pt x="183" y="16"/>
                  <a:pt x="216" y="30"/>
                  <a:pt x="239" y="54"/>
                </a:cubicBezTo>
                <a:cubicBezTo>
                  <a:pt x="243" y="57"/>
                  <a:pt x="248" y="57"/>
                  <a:pt x="251" y="54"/>
                </a:cubicBezTo>
                <a:cubicBezTo>
                  <a:pt x="254" y="51"/>
                  <a:pt x="254" y="46"/>
                  <a:pt x="251" y="43"/>
                </a:cubicBezTo>
                <a:cubicBezTo>
                  <a:pt x="224" y="16"/>
                  <a:pt x="188" y="0"/>
                  <a:pt x="147" y="0"/>
                </a:cubicBezTo>
                <a:cubicBezTo>
                  <a:pt x="66" y="0"/>
                  <a:pt x="0" y="66"/>
                  <a:pt x="0" y="147"/>
                </a:cubicBezTo>
                <a:cubicBezTo>
                  <a:pt x="0" y="228"/>
                  <a:pt x="66" y="294"/>
                  <a:pt x="147" y="294"/>
                </a:cubicBezTo>
                <a:cubicBezTo>
                  <a:pt x="228" y="294"/>
                  <a:pt x="294" y="228"/>
                  <a:pt x="294" y="147"/>
                </a:cubicBezTo>
                <a:cubicBezTo>
                  <a:pt x="294" y="118"/>
                  <a:pt x="286" y="91"/>
                  <a:pt x="271" y="68"/>
                </a:cubicBezTo>
                <a:close/>
                <a:moveTo>
                  <a:pt x="102" y="76"/>
                </a:moveTo>
                <a:cubicBezTo>
                  <a:pt x="102" y="217"/>
                  <a:pt x="102" y="217"/>
                  <a:pt x="102" y="217"/>
                </a:cubicBezTo>
                <a:cubicBezTo>
                  <a:pt x="102" y="231"/>
                  <a:pt x="112" y="231"/>
                  <a:pt x="117" y="227"/>
                </a:cubicBezTo>
                <a:cubicBezTo>
                  <a:pt x="122" y="222"/>
                  <a:pt x="203" y="166"/>
                  <a:pt x="208" y="161"/>
                </a:cubicBezTo>
                <a:cubicBezTo>
                  <a:pt x="212" y="157"/>
                  <a:pt x="215" y="153"/>
                  <a:pt x="215" y="147"/>
                </a:cubicBezTo>
                <a:cubicBezTo>
                  <a:pt x="215" y="141"/>
                  <a:pt x="212" y="137"/>
                  <a:pt x="208" y="133"/>
                </a:cubicBezTo>
                <a:cubicBezTo>
                  <a:pt x="206" y="131"/>
                  <a:pt x="118" y="69"/>
                  <a:pt x="117" y="67"/>
                </a:cubicBezTo>
                <a:cubicBezTo>
                  <a:pt x="112" y="62"/>
                  <a:pt x="102" y="62"/>
                  <a:pt x="102" y="7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grpSp>
        <p:nvGrpSpPr>
          <p:cNvPr id="22" name="Grupp 6"/>
          <p:cNvGrpSpPr/>
          <p:nvPr/>
        </p:nvGrpSpPr>
        <p:grpSpPr>
          <a:xfrm>
            <a:off x="6032230" y="3128211"/>
            <a:ext cx="877616" cy="535998"/>
            <a:chOff x="10679577" y="3564662"/>
            <a:chExt cx="877616" cy="484558"/>
          </a:xfrm>
        </p:grpSpPr>
        <p:sp>
          <p:nvSpPr>
            <p:cNvPr id="23" name="Freeform 3"/>
            <p:cNvSpPr>
              <a:spLocks noChangeAspect="1" noEditPoints="1"/>
            </p:cNvSpPr>
            <p:nvPr/>
          </p:nvSpPr>
          <p:spPr bwMode="auto">
            <a:xfrm>
              <a:off x="10679577" y="3729224"/>
              <a:ext cx="704261" cy="319996"/>
            </a:xfrm>
            <a:custGeom>
              <a:avLst/>
              <a:gdLst>
                <a:gd name="T0" fmla="*/ 2147483647 w 524"/>
                <a:gd name="T1" fmla="*/ 2147483647 h 279"/>
                <a:gd name="T2" fmla="*/ 2147483647 w 524"/>
                <a:gd name="T3" fmla="*/ 2147483647 h 279"/>
                <a:gd name="T4" fmla="*/ 2147483647 w 524"/>
                <a:gd name="T5" fmla="*/ 2147483647 h 279"/>
                <a:gd name="T6" fmla="*/ 2147483647 w 524"/>
                <a:gd name="T7" fmla="*/ 2147483647 h 279"/>
                <a:gd name="T8" fmla="*/ 2147483647 w 524"/>
                <a:gd name="T9" fmla="*/ 2147483647 h 279"/>
                <a:gd name="T10" fmla="*/ 2147483647 w 524"/>
                <a:gd name="T11" fmla="*/ 2147483647 h 279"/>
                <a:gd name="T12" fmla="*/ 2147483647 w 524"/>
                <a:gd name="T13" fmla="*/ 2147483647 h 279"/>
                <a:gd name="T14" fmla="*/ 2147483647 w 524"/>
                <a:gd name="T15" fmla="*/ 2147483647 h 279"/>
                <a:gd name="T16" fmla="*/ 2147483647 w 524"/>
                <a:gd name="T17" fmla="*/ 2147483647 h 279"/>
                <a:gd name="T18" fmla="*/ 2147483647 w 524"/>
                <a:gd name="T19" fmla="*/ 2147483647 h 279"/>
                <a:gd name="T20" fmla="*/ 2147483647 w 524"/>
                <a:gd name="T21" fmla="*/ 2147483647 h 279"/>
                <a:gd name="T22" fmla="*/ 2147483647 w 524"/>
                <a:gd name="T23" fmla="*/ 0 h 279"/>
                <a:gd name="T24" fmla="*/ 0 w 524"/>
                <a:gd name="T25" fmla="*/ 2147483647 h 279"/>
                <a:gd name="T26" fmla="*/ 2147483647 w 524"/>
                <a:gd name="T27" fmla="*/ 2147483647 h 279"/>
                <a:gd name="T28" fmla="*/ 2147483647 w 524"/>
                <a:gd name="T29" fmla="*/ 2147483647 h 279"/>
                <a:gd name="T30" fmla="*/ 2147483647 w 524"/>
                <a:gd name="T31" fmla="*/ 2147483647 h 279"/>
                <a:gd name="T32" fmla="*/ 2147483647 w 524"/>
                <a:gd name="T33" fmla="*/ 2147483647 h 279"/>
                <a:gd name="T34" fmla="*/ 2147483647 w 524"/>
                <a:gd name="T35" fmla="*/ 2147483647 h 279"/>
                <a:gd name="T36" fmla="*/ 2147483647 w 524"/>
                <a:gd name="T37" fmla="*/ 2147483647 h 279"/>
                <a:gd name="T38" fmla="*/ 2147483647 w 524"/>
                <a:gd name="T39" fmla="*/ 2147483647 h 279"/>
                <a:gd name="T40" fmla="*/ 2147483647 w 524"/>
                <a:gd name="T41" fmla="*/ 2147483647 h 279"/>
                <a:gd name="T42" fmla="*/ 2147483647 w 524"/>
                <a:gd name="T43" fmla="*/ 2147483647 h 279"/>
                <a:gd name="T44" fmla="*/ 2147483647 w 524"/>
                <a:gd name="T45" fmla="*/ 2147483647 h 279"/>
                <a:gd name="T46" fmla="*/ 2147483647 w 524"/>
                <a:gd name="T47" fmla="*/ 2147483647 h 279"/>
                <a:gd name="T48" fmla="*/ 2147483647 w 524"/>
                <a:gd name="T49" fmla="*/ 2147483647 h 279"/>
                <a:gd name="T50" fmla="*/ 2147483647 w 524"/>
                <a:gd name="T51" fmla="*/ 2147483647 h 279"/>
                <a:gd name="T52" fmla="*/ 2147483647 w 524"/>
                <a:gd name="T53" fmla="*/ 2147483647 h 279"/>
                <a:gd name="T54" fmla="*/ 2147483647 w 524"/>
                <a:gd name="T55" fmla="*/ 2147483647 h 279"/>
                <a:gd name="T56" fmla="*/ 2147483647 w 524"/>
                <a:gd name="T57" fmla="*/ 2147483647 h 279"/>
                <a:gd name="T58" fmla="*/ 2147483647 w 524"/>
                <a:gd name="T59" fmla="*/ 2147483647 h 279"/>
                <a:gd name="T60" fmla="*/ 2147483647 w 524"/>
                <a:gd name="T61" fmla="*/ 2147483647 h 279"/>
                <a:gd name="T62" fmla="*/ 2147483647 w 524"/>
                <a:gd name="T63" fmla="*/ 2147483647 h 279"/>
                <a:gd name="T64" fmla="*/ 2147483647 w 524"/>
                <a:gd name="T65" fmla="*/ 2147483647 h 279"/>
                <a:gd name="T66" fmla="*/ 2147483647 w 524"/>
                <a:gd name="T67" fmla="*/ 2147483647 h 279"/>
                <a:gd name="T68" fmla="*/ 2147483647 w 524"/>
                <a:gd name="T69" fmla="*/ 2147483647 h 279"/>
                <a:gd name="T70" fmla="*/ 2147483647 w 524"/>
                <a:gd name="T71" fmla="*/ 2147483647 h 279"/>
                <a:gd name="T72" fmla="*/ 2147483647 w 524"/>
                <a:gd name="T73" fmla="*/ 2147483647 h 279"/>
                <a:gd name="T74" fmla="*/ 2147483647 w 524"/>
                <a:gd name="T75" fmla="*/ 2147483647 h 279"/>
                <a:gd name="T76" fmla="*/ 2147483647 w 524"/>
                <a:gd name="T77" fmla="*/ 2147483647 h 279"/>
                <a:gd name="T78" fmla="*/ 2147483647 w 524"/>
                <a:gd name="T79" fmla="*/ 2147483647 h 279"/>
                <a:gd name="T80" fmla="*/ 2147483647 w 524"/>
                <a:gd name="T81" fmla="*/ 2147483647 h 279"/>
                <a:gd name="T82" fmla="*/ 2147483647 w 524"/>
                <a:gd name="T83" fmla="*/ 2147483647 h 279"/>
                <a:gd name="T84" fmla="*/ 2147483647 w 524"/>
                <a:gd name="T85" fmla="*/ 2147483647 h 279"/>
                <a:gd name="T86" fmla="*/ 2147483647 w 524"/>
                <a:gd name="T87" fmla="*/ 2147483647 h 279"/>
                <a:gd name="T88" fmla="*/ 2147483647 w 524"/>
                <a:gd name="T89" fmla="*/ 2147483647 h 279"/>
                <a:gd name="T90" fmla="*/ 2147483647 w 524"/>
                <a:gd name="T91" fmla="*/ 2147483647 h 279"/>
                <a:gd name="T92" fmla="*/ 2147483647 w 524"/>
                <a:gd name="T93" fmla="*/ 2147483647 h 279"/>
                <a:gd name="T94" fmla="*/ 2147483647 w 524"/>
                <a:gd name="T95" fmla="*/ 2147483647 h 279"/>
                <a:gd name="T96" fmla="*/ 2147483647 w 524"/>
                <a:gd name="T97" fmla="*/ 2147483647 h 279"/>
                <a:gd name="T98" fmla="*/ 2147483647 w 524"/>
                <a:gd name="T99" fmla="*/ 2147483647 h 279"/>
                <a:gd name="T100" fmla="*/ 2147483647 w 524"/>
                <a:gd name="T101" fmla="*/ 2147483647 h 279"/>
                <a:gd name="T102" fmla="*/ 2147483647 w 524"/>
                <a:gd name="T103" fmla="*/ 2147483647 h 279"/>
                <a:gd name="T104" fmla="*/ 2147483647 w 524"/>
                <a:gd name="T105" fmla="*/ 2147483647 h 279"/>
                <a:gd name="T106" fmla="*/ 2147483647 w 524"/>
                <a:gd name="T107" fmla="*/ 2147483647 h 279"/>
                <a:gd name="T108" fmla="*/ 2147483647 w 524"/>
                <a:gd name="T109" fmla="*/ 2147483647 h 279"/>
                <a:gd name="T110" fmla="*/ 2147483647 w 524"/>
                <a:gd name="T111" fmla="*/ 2147483647 h 279"/>
                <a:gd name="T112" fmla="*/ 2147483647 w 524"/>
                <a:gd name="T113" fmla="*/ 2147483647 h 279"/>
                <a:gd name="T114" fmla="*/ 2147483647 w 524"/>
                <a:gd name="T115" fmla="*/ 2147483647 h 279"/>
                <a:gd name="T116" fmla="*/ 2147483647 w 524"/>
                <a:gd name="T117" fmla="*/ 2147483647 h 279"/>
                <a:gd name="T118" fmla="*/ 2147483647 w 524"/>
                <a:gd name="T119" fmla="*/ 2147483647 h 279"/>
                <a:gd name="T120" fmla="*/ 2147483647 w 524"/>
                <a:gd name="T121" fmla="*/ 2147483647 h 2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24" h="279">
                  <a:moveTo>
                    <a:pt x="516" y="69"/>
                  </a:moveTo>
                  <a:cubicBezTo>
                    <a:pt x="512" y="69"/>
                    <a:pt x="508" y="72"/>
                    <a:pt x="508" y="77"/>
                  </a:cubicBezTo>
                  <a:cubicBezTo>
                    <a:pt x="508" y="227"/>
                    <a:pt x="508" y="227"/>
                    <a:pt x="508" y="227"/>
                  </a:cubicBezTo>
                  <a:cubicBezTo>
                    <a:pt x="508" y="235"/>
                    <a:pt x="502" y="241"/>
                    <a:pt x="494" y="241"/>
                  </a:cubicBezTo>
                  <a:cubicBezTo>
                    <a:pt x="474" y="241"/>
                    <a:pt x="474" y="241"/>
                    <a:pt x="474" y="241"/>
                  </a:cubicBezTo>
                  <a:cubicBezTo>
                    <a:pt x="474" y="239"/>
                    <a:pt x="475" y="237"/>
                    <a:pt x="475" y="235"/>
                  </a:cubicBezTo>
                  <a:cubicBezTo>
                    <a:pt x="475" y="210"/>
                    <a:pt x="455" y="190"/>
                    <a:pt x="430" y="190"/>
                  </a:cubicBezTo>
                  <a:cubicBezTo>
                    <a:pt x="406" y="190"/>
                    <a:pt x="386" y="209"/>
                    <a:pt x="385" y="233"/>
                  </a:cubicBezTo>
                  <a:cubicBezTo>
                    <a:pt x="140" y="233"/>
                    <a:pt x="140" y="233"/>
                    <a:pt x="140" y="233"/>
                  </a:cubicBezTo>
                  <a:cubicBezTo>
                    <a:pt x="139" y="209"/>
                    <a:pt x="119" y="190"/>
                    <a:pt x="95" y="190"/>
                  </a:cubicBezTo>
                  <a:cubicBezTo>
                    <a:pt x="71" y="190"/>
                    <a:pt x="51" y="210"/>
                    <a:pt x="51" y="235"/>
                  </a:cubicBezTo>
                  <a:cubicBezTo>
                    <a:pt x="51" y="237"/>
                    <a:pt x="51" y="239"/>
                    <a:pt x="51" y="241"/>
                  </a:cubicBezTo>
                  <a:cubicBezTo>
                    <a:pt x="31" y="241"/>
                    <a:pt x="31" y="241"/>
                    <a:pt x="31" y="241"/>
                  </a:cubicBezTo>
                  <a:cubicBezTo>
                    <a:pt x="23" y="241"/>
                    <a:pt x="16" y="235"/>
                    <a:pt x="16" y="227"/>
                  </a:cubicBezTo>
                  <a:cubicBezTo>
                    <a:pt x="16" y="31"/>
                    <a:pt x="16" y="31"/>
                    <a:pt x="16" y="31"/>
                  </a:cubicBezTo>
                  <a:cubicBezTo>
                    <a:pt x="16" y="23"/>
                    <a:pt x="23" y="16"/>
                    <a:pt x="31" y="16"/>
                  </a:cubicBezTo>
                  <a:cubicBezTo>
                    <a:pt x="494" y="16"/>
                    <a:pt x="494" y="16"/>
                    <a:pt x="494" y="16"/>
                  </a:cubicBezTo>
                  <a:cubicBezTo>
                    <a:pt x="502" y="16"/>
                    <a:pt x="508" y="23"/>
                    <a:pt x="508" y="31"/>
                  </a:cubicBezTo>
                  <a:cubicBezTo>
                    <a:pt x="508" y="46"/>
                    <a:pt x="508" y="46"/>
                    <a:pt x="508" y="46"/>
                  </a:cubicBezTo>
                  <a:cubicBezTo>
                    <a:pt x="508" y="50"/>
                    <a:pt x="512" y="54"/>
                    <a:pt x="516" y="54"/>
                  </a:cubicBezTo>
                  <a:cubicBezTo>
                    <a:pt x="521" y="54"/>
                    <a:pt x="524" y="50"/>
                    <a:pt x="524" y="46"/>
                  </a:cubicBezTo>
                  <a:cubicBezTo>
                    <a:pt x="524" y="31"/>
                    <a:pt x="524" y="31"/>
                    <a:pt x="524" y="31"/>
                  </a:cubicBezTo>
                  <a:cubicBezTo>
                    <a:pt x="524" y="14"/>
                    <a:pt x="510" y="0"/>
                    <a:pt x="494" y="0"/>
                  </a:cubicBezTo>
                  <a:cubicBezTo>
                    <a:pt x="31" y="0"/>
                    <a:pt x="31" y="0"/>
                    <a:pt x="31" y="0"/>
                  </a:cubicBezTo>
                  <a:cubicBezTo>
                    <a:pt x="14" y="0"/>
                    <a:pt x="0" y="14"/>
                    <a:pt x="0" y="31"/>
                  </a:cubicBezTo>
                  <a:cubicBezTo>
                    <a:pt x="0" y="227"/>
                    <a:pt x="0" y="227"/>
                    <a:pt x="0" y="227"/>
                  </a:cubicBezTo>
                  <a:cubicBezTo>
                    <a:pt x="0" y="244"/>
                    <a:pt x="14" y="257"/>
                    <a:pt x="31" y="257"/>
                  </a:cubicBezTo>
                  <a:cubicBezTo>
                    <a:pt x="31" y="257"/>
                    <a:pt x="33" y="257"/>
                    <a:pt x="38" y="257"/>
                  </a:cubicBezTo>
                  <a:cubicBezTo>
                    <a:pt x="42" y="257"/>
                    <a:pt x="49" y="257"/>
                    <a:pt x="57" y="257"/>
                  </a:cubicBezTo>
                  <a:cubicBezTo>
                    <a:pt x="65" y="270"/>
                    <a:pt x="79" y="279"/>
                    <a:pt x="95" y="279"/>
                  </a:cubicBezTo>
                  <a:cubicBezTo>
                    <a:pt x="115" y="279"/>
                    <a:pt x="132" y="266"/>
                    <a:pt x="138" y="249"/>
                  </a:cubicBezTo>
                  <a:cubicBezTo>
                    <a:pt x="388" y="249"/>
                    <a:pt x="388" y="249"/>
                    <a:pt x="388" y="249"/>
                  </a:cubicBezTo>
                  <a:cubicBezTo>
                    <a:pt x="394" y="266"/>
                    <a:pt x="410" y="279"/>
                    <a:pt x="430" y="279"/>
                  </a:cubicBezTo>
                  <a:cubicBezTo>
                    <a:pt x="446" y="279"/>
                    <a:pt x="460" y="270"/>
                    <a:pt x="468" y="257"/>
                  </a:cubicBezTo>
                  <a:cubicBezTo>
                    <a:pt x="494" y="257"/>
                    <a:pt x="494" y="257"/>
                    <a:pt x="494" y="257"/>
                  </a:cubicBezTo>
                  <a:cubicBezTo>
                    <a:pt x="510" y="257"/>
                    <a:pt x="524" y="244"/>
                    <a:pt x="524" y="227"/>
                  </a:cubicBezTo>
                  <a:cubicBezTo>
                    <a:pt x="524" y="77"/>
                    <a:pt x="524" y="77"/>
                    <a:pt x="524" y="77"/>
                  </a:cubicBezTo>
                  <a:cubicBezTo>
                    <a:pt x="524" y="72"/>
                    <a:pt x="521" y="69"/>
                    <a:pt x="516" y="69"/>
                  </a:cubicBezTo>
                  <a:close/>
                  <a:moveTo>
                    <a:pt x="95" y="263"/>
                  </a:moveTo>
                  <a:cubicBezTo>
                    <a:pt x="79" y="263"/>
                    <a:pt x="67" y="250"/>
                    <a:pt x="67" y="235"/>
                  </a:cubicBezTo>
                  <a:cubicBezTo>
                    <a:pt x="67" y="219"/>
                    <a:pt x="79" y="206"/>
                    <a:pt x="95" y="206"/>
                  </a:cubicBezTo>
                  <a:cubicBezTo>
                    <a:pt x="111" y="206"/>
                    <a:pt x="124" y="219"/>
                    <a:pt x="124" y="235"/>
                  </a:cubicBezTo>
                  <a:cubicBezTo>
                    <a:pt x="124" y="250"/>
                    <a:pt x="111" y="263"/>
                    <a:pt x="95" y="263"/>
                  </a:cubicBezTo>
                  <a:close/>
                  <a:moveTo>
                    <a:pt x="430" y="263"/>
                  </a:moveTo>
                  <a:cubicBezTo>
                    <a:pt x="414" y="263"/>
                    <a:pt x="401" y="250"/>
                    <a:pt x="401" y="235"/>
                  </a:cubicBezTo>
                  <a:cubicBezTo>
                    <a:pt x="401" y="219"/>
                    <a:pt x="414" y="206"/>
                    <a:pt x="430" y="206"/>
                  </a:cubicBezTo>
                  <a:cubicBezTo>
                    <a:pt x="446" y="206"/>
                    <a:pt x="459" y="219"/>
                    <a:pt x="459" y="235"/>
                  </a:cubicBezTo>
                  <a:cubicBezTo>
                    <a:pt x="459" y="250"/>
                    <a:pt x="446" y="263"/>
                    <a:pt x="430" y="263"/>
                  </a:cubicBezTo>
                  <a:close/>
                  <a:moveTo>
                    <a:pt x="358" y="35"/>
                  </a:moveTo>
                  <a:cubicBezTo>
                    <a:pt x="351" y="35"/>
                    <a:pt x="344" y="41"/>
                    <a:pt x="344" y="49"/>
                  </a:cubicBezTo>
                  <a:cubicBezTo>
                    <a:pt x="344" y="115"/>
                    <a:pt x="344" y="115"/>
                    <a:pt x="344" y="115"/>
                  </a:cubicBezTo>
                  <a:cubicBezTo>
                    <a:pt x="344" y="123"/>
                    <a:pt x="351" y="129"/>
                    <a:pt x="358" y="129"/>
                  </a:cubicBezTo>
                  <a:cubicBezTo>
                    <a:pt x="393" y="129"/>
                    <a:pt x="393" y="129"/>
                    <a:pt x="393" y="129"/>
                  </a:cubicBezTo>
                  <a:cubicBezTo>
                    <a:pt x="401" y="129"/>
                    <a:pt x="408" y="123"/>
                    <a:pt x="408" y="115"/>
                  </a:cubicBezTo>
                  <a:cubicBezTo>
                    <a:pt x="408" y="49"/>
                    <a:pt x="408" y="49"/>
                    <a:pt x="408" y="49"/>
                  </a:cubicBezTo>
                  <a:cubicBezTo>
                    <a:pt x="408" y="41"/>
                    <a:pt x="401" y="35"/>
                    <a:pt x="393" y="35"/>
                  </a:cubicBezTo>
                  <a:lnTo>
                    <a:pt x="358" y="35"/>
                  </a:lnTo>
                  <a:close/>
                  <a:moveTo>
                    <a:pt x="392" y="113"/>
                  </a:moveTo>
                  <a:cubicBezTo>
                    <a:pt x="360" y="113"/>
                    <a:pt x="360" y="113"/>
                    <a:pt x="360" y="113"/>
                  </a:cubicBezTo>
                  <a:cubicBezTo>
                    <a:pt x="360" y="51"/>
                    <a:pt x="360" y="51"/>
                    <a:pt x="360" y="51"/>
                  </a:cubicBezTo>
                  <a:cubicBezTo>
                    <a:pt x="392" y="51"/>
                    <a:pt x="392" y="51"/>
                    <a:pt x="392" y="51"/>
                  </a:cubicBezTo>
                  <a:lnTo>
                    <a:pt x="392" y="113"/>
                  </a:lnTo>
                  <a:close/>
                  <a:moveTo>
                    <a:pt x="195" y="35"/>
                  </a:moveTo>
                  <a:cubicBezTo>
                    <a:pt x="187" y="35"/>
                    <a:pt x="180" y="41"/>
                    <a:pt x="180" y="49"/>
                  </a:cubicBezTo>
                  <a:cubicBezTo>
                    <a:pt x="180" y="200"/>
                    <a:pt x="180" y="200"/>
                    <a:pt x="180" y="200"/>
                  </a:cubicBezTo>
                  <a:cubicBezTo>
                    <a:pt x="180" y="208"/>
                    <a:pt x="187" y="214"/>
                    <a:pt x="195" y="214"/>
                  </a:cubicBezTo>
                  <a:cubicBezTo>
                    <a:pt x="230" y="214"/>
                    <a:pt x="230" y="214"/>
                    <a:pt x="230" y="214"/>
                  </a:cubicBezTo>
                  <a:cubicBezTo>
                    <a:pt x="237" y="214"/>
                    <a:pt x="244" y="208"/>
                    <a:pt x="244" y="200"/>
                  </a:cubicBezTo>
                  <a:cubicBezTo>
                    <a:pt x="244" y="49"/>
                    <a:pt x="244" y="49"/>
                    <a:pt x="244" y="49"/>
                  </a:cubicBezTo>
                  <a:cubicBezTo>
                    <a:pt x="244" y="41"/>
                    <a:pt x="237" y="35"/>
                    <a:pt x="230" y="35"/>
                  </a:cubicBezTo>
                  <a:lnTo>
                    <a:pt x="195" y="35"/>
                  </a:lnTo>
                  <a:close/>
                  <a:moveTo>
                    <a:pt x="228" y="198"/>
                  </a:moveTo>
                  <a:cubicBezTo>
                    <a:pt x="196" y="198"/>
                    <a:pt x="196" y="198"/>
                    <a:pt x="196" y="198"/>
                  </a:cubicBezTo>
                  <a:cubicBezTo>
                    <a:pt x="196" y="113"/>
                    <a:pt x="196" y="113"/>
                    <a:pt x="196" y="113"/>
                  </a:cubicBezTo>
                  <a:cubicBezTo>
                    <a:pt x="228" y="113"/>
                    <a:pt x="228" y="113"/>
                    <a:pt x="228" y="113"/>
                  </a:cubicBezTo>
                  <a:lnTo>
                    <a:pt x="228" y="198"/>
                  </a:lnTo>
                  <a:close/>
                  <a:moveTo>
                    <a:pt x="228" y="97"/>
                  </a:moveTo>
                  <a:cubicBezTo>
                    <a:pt x="196" y="97"/>
                    <a:pt x="196" y="97"/>
                    <a:pt x="196" y="97"/>
                  </a:cubicBezTo>
                  <a:cubicBezTo>
                    <a:pt x="196" y="51"/>
                    <a:pt x="196" y="51"/>
                    <a:pt x="196" y="51"/>
                  </a:cubicBezTo>
                  <a:cubicBezTo>
                    <a:pt x="228" y="51"/>
                    <a:pt x="228" y="51"/>
                    <a:pt x="228" y="51"/>
                  </a:cubicBezTo>
                  <a:lnTo>
                    <a:pt x="228" y="97"/>
                  </a:lnTo>
                  <a:close/>
                  <a:moveTo>
                    <a:pt x="49" y="35"/>
                  </a:moveTo>
                  <a:cubicBezTo>
                    <a:pt x="41" y="35"/>
                    <a:pt x="35" y="41"/>
                    <a:pt x="35" y="49"/>
                  </a:cubicBezTo>
                  <a:cubicBezTo>
                    <a:pt x="35" y="115"/>
                    <a:pt x="35" y="115"/>
                    <a:pt x="35" y="115"/>
                  </a:cubicBezTo>
                  <a:cubicBezTo>
                    <a:pt x="35" y="123"/>
                    <a:pt x="41" y="129"/>
                    <a:pt x="49" y="129"/>
                  </a:cubicBezTo>
                  <a:cubicBezTo>
                    <a:pt x="148" y="129"/>
                    <a:pt x="148" y="129"/>
                    <a:pt x="148" y="129"/>
                  </a:cubicBezTo>
                  <a:cubicBezTo>
                    <a:pt x="156" y="129"/>
                    <a:pt x="162" y="123"/>
                    <a:pt x="162" y="115"/>
                  </a:cubicBezTo>
                  <a:cubicBezTo>
                    <a:pt x="162" y="49"/>
                    <a:pt x="162" y="49"/>
                    <a:pt x="162" y="49"/>
                  </a:cubicBezTo>
                  <a:cubicBezTo>
                    <a:pt x="162" y="41"/>
                    <a:pt x="156" y="35"/>
                    <a:pt x="148" y="35"/>
                  </a:cubicBezTo>
                  <a:lnTo>
                    <a:pt x="49" y="35"/>
                  </a:lnTo>
                  <a:close/>
                  <a:moveTo>
                    <a:pt x="146" y="113"/>
                  </a:moveTo>
                  <a:cubicBezTo>
                    <a:pt x="51" y="113"/>
                    <a:pt x="51" y="113"/>
                    <a:pt x="51" y="113"/>
                  </a:cubicBezTo>
                  <a:cubicBezTo>
                    <a:pt x="51" y="51"/>
                    <a:pt x="51" y="51"/>
                    <a:pt x="51" y="51"/>
                  </a:cubicBezTo>
                  <a:cubicBezTo>
                    <a:pt x="146" y="51"/>
                    <a:pt x="146" y="51"/>
                    <a:pt x="146" y="51"/>
                  </a:cubicBezTo>
                  <a:lnTo>
                    <a:pt x="146" y="113"/>
                  </a:lnTo>
                  <a:close/>
                  <a:moveTo>
                    <a:pt x="440" y="35"/>
                  </a:moveTo>
                  <a:cubicBezTo>
                    <a:pt x="432" y="35"/>
                    <a:pt x="426" y="41"/>
                    <a:pt x="426" y="49"/>
                  </a:cubicBezTo>
                  <a:cubicBezTo>
                    <a:pt x="426" y="115"/>
                    <a:pt x="426" y="115"/>
                    <a:pt x="426" y="115"/>
                  </a:cubicBezTo>
                  <a:cubicBezTo>
                    <a:pt x="426" y="123"/>
                    <a:pt x="432" y="129"/>
                    <a:pt x="440" y="129"/>
                  </a:cubicBezTo>
                  <a:cubicBezTo>
                    <a:pt x="475" y="129"/>
                    <a:pt x="475" y="129"/>
                    <a:pt x="475" y="129"/>
                  </a:cubicBezTo>
                  <a:cubicBezTo>
                    <a:pt x="483" y="129"/>
                    <a:pt x="490" y="123"/>
                    <a:pt x="490" y="115"/>
                  </a:cubicBezTo>
                  <a:cubicBezTo>
                    <a:pt x="490" y="49"/>
                    <a:pt x="490" y="49"/>
                    <a:pt x="490" y="49"/>
                  </a:cubicBezTo>
                  <a:cubicBezTo>
                    <a:pt x="490" y="41"/>
                    <a:pt x="483" y="35"/>
                    <a:pt x="475" y="35"/>
                  </a:cubicBezTo>
                  <a:lnTo>
                    <a:pt x="440" y="35"/>
                  </a:lnTo>
                  <a:close/>
                  <a:moveTo>
                    <a:pt x="474" y="113"/>
                  </a:moveTo>
                  <a:cubicBezTo>
                    <a:pt x="442" y="113"/>
                    <a:pt x="442" y="113"/>
                    <a:pt x="442" y="113"/>
                  </a:cubicBezTo>
                  <a:cubicBezTo>
                    <a:pt x="442" y="51"/>
                    <a:pt x="442" y="51"/>
                    <a:pt x="442" y="51"/>
                  </a:cubicBezTo>
                  <a:cubicBezTo>
                    <a:pt x="474" y="51"/>
                    <a:pt x="474" y="51"/>
                    <a:pt x="474" y="51"/>
                  </a:cubicBezTo>
                  <a:lnTo>
                    <a:pt x="474" y="113"/>
                  </a:lnTo>
                  <a:close/>
                  <a:moveTo>
                    <a:pt x="276" y="35"/>
                  </a:moveTo>
                  <a:cubicBezTo>
                    <a:pt x="269" y="35"/>
                    <a:pt x="262" y="41"/>
                    <a:pt x="262" y="49"/>
                  </a:cubicBezTo>
                  <a:cubicBezTo>
                    <a:pt x="262" y="115"/>
                    <a:pt x="262" y="115"/>
                    <a:pt x="262" y="115"/>
                  </a:cubicBezTo>
                  <a:cubicBezTo>
                    <a:pt x="262" y="123"/>
                    <a:pt x="269" y="129"/>
                    <a:pt x="276" y="129"/>
                  </a:cubicBezTo>
                  <a:cubicBezTo>
                    <a:pt x="311" y="129"/>
                    <a:pt x="311" y="129"/>
                    <a:pt x="311" y="129"/>
                  </a:cubicBezTo>
                  <a:cubicBezTo>
                    <a:pt x="319" y="129"/>
                    <a:pt x="326" y="123"/>
                    <a:pt x="326" y="115"/>
                  </a:cubicBezTo>
                  <a:cubicBezTo>
                    <a:pt x="326" y="49"/>
                    <a:pt x="326" y="49"/>
                    <a:pt x="326" y="49"/>
                  </a:cubicBezTo>
                  <a:cubicBezTo>
                    <a:pt x="326" y="41"/>
                    <a:pt x="319" y="35"/>
                    <a:pt x="311" y="35"/>
                  </a:cubicBezTo>
                  <a:lnTo>
                    <a:pt x="276" y="35"/>
                  </a:lnTo>
                  <a:close/>
                  <a:moveTo>
                    <a:pt x="310" y="114"/>
                  </a:moveTo>
                  <a:cubicBezTo>
                    <a:pt x="279" y="114"/>
                    <a:pt x="279" y="114"/>
                    <a:pt x="279" y="114"/>
                  </a:cubicBezTo>
                  <a:cubicBezTo>
                    <a:pt x="279" y="51"/>
                    <a:pt x="279" y="51"/>
                    <a:pt x="279" y="51"/>
                  </a:cubicBezTo>
                  <a:cubicBezTo>
                    <a:pt x="310" y="51"/>
                    <a:pt x="310" y="51"/>
                    <a:pt x="310" y="51"/>
                  </a:cubicBezTo>
                  <a:lnTo>
                    <a:pt x="310" y="1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sp>
          <p:nvSpPr>
            <p:cNvPr id="24" name="Freeform 5"/>
            <p:cNvSpPr>
              <a:spLocks noChangeAspect="1" noEditPoints="1"/>
            </p:cNvSpPr>
            <p:nvPr/>
          </p:nvSpPr>
          <p:spPr bwMode="auto">
            <a:xfrm>
              <a:off x="11337618" y="3564662"/>
              <a:ext cx="219575" cy="187425"/>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grpSp>
      <p:cxnSp>
        <p:nvCxnSpPr>
          <p:cNvPr id="25" name="Straight Connector 71"/>
          <p:cNvCxnSpPr/>
          <p:nvPr/>
        </p:nvCxnSpPr>
        <p:spPr bwMode="auto">
          <a:xfrm>
            <a:off x="5430631" y="2023880"/>
            <a:ext cx="3280375" cy="0"/>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26" name="Straight Connector 71"/>
          <p:cNvCxnSpPr/>
          <p:nvPr/>
        </p:nvCxnSpPr>
        <p:spPr bwMode="auto">
          <a:xfrm flipV="1">
            <a:off x="4211431" y="2021306"/>
            <a:ext cx="1215663" cy="371542"/>
          </a:xfrm>
          <a:prstGeom prst="line">
            <a:avLst/>
          </a:prstGeom>
          <a:solidFill>
            <a:schemeClr val="accent1"/>
          </a:solidFill>
          <a:ln w="12700" cap="rnd" cmpd="sng" algn="ctr">
            <a:solidFill>
              <a:srgbClr val="FFFFFF">
                <a:alpha val="50000"/>
              </a:srgbClr>
            </a:solidFill>
            <a:prstDash val="solid"/>
            <a:round/>
            <a:headEnd type="oval" w="med" len="med"/>
            <a:tailEnd type="none" w="med" len="med"/>
          </a:ln>
          <a:effectLst/>
        </p:spPr>
      </p:cxnSp>
      <p:sp>
        <p:nvSpPr>
          <p:cNvPr id="27" name="Title 3"/>
          <p:cNvSpPr txBox="1">
            <a:spLocks/>
          </p:cNvSpPr>
          <p:nvPr/>
        </p:nvSpPr>
        <p:spPr bwMode="auto">
          <a:xfrm>
            <a:off x="5983135" y="1327744"/>
            <a:ext cx="2764676" cy="71881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500" kern="0" dirty="0">
                <a:solidFill>
                  <a:srgbClr val="FFFFFF"/>
                </a:solidFill>
                <a:latin typeface="+mn-lt"/>
              </a:rPr>
              <a:t>BROADBAND EXPERIENCE</a:t>
            </a:r>
          </a:p>
          <a:p>
            <a:pPr>
              <a:lnSpc>
                <a:spcPct val="100000"/>
              </a:lnSpc>
            </a:pPr>
            <a:r>
              <a:rPr lang="en-US" sz="1500" kern="0" dirty="0">
                <a:solidFill>
                  <a:srgbClr val="FFFFFF"/>
                </a:solidFill>
                <a:latin typeface="+mn-lt"/>
              </a:rPr>
              <a:t>EVERYWHERE, ANYTIME</a:t>
            </a:r>
          </a:p>
        </p:txBody>
      </p:sp>
      <p:cxnSp>
        <p:nvCxnSpPr>
          <p:cNvPr id="28" name="Straight Connector 71"/>
          <p:cNvCxnSpPr/>
          <p:nvPr/>
        </p:nvCxnSpPr>
        <p:spPr bwMode="auto">
          <a:xfrm>
            <a:off x="4448527" y="3756427"/>
            <a:ext cx="6240377" cy="0"/>
          </a:xfrm>
          <a:prstGeom prst="line">
            <a:avLst/>
          </a:prstGeom>
          <a:solidFill>
            <a:schemeClr val="accent1"/>
          </a:solidFill>
          <a:ln w="12700" cap="rnd" cmpd="sng" algn="ctr">
            <a:solidFill>
              <a:srgbClr val="FFFFFF">
                <a:alpha val="50000"/>
              </a:srgbClr>
            </a:solidFill>
            <a:prstDash val="solid"/>
            <a:round/>
            <a:headEnd type="oval" w="med" len="med"/>
            <a:tailEnd type="none" w="med" len="med"/>
          </a:ln>
          <a:effectLst/>
        </p:spPr>
      </p:cxnSp>
      <p:cxnSp>
        <p:nvCxnSpPr>
          <p:cNvPr id="29" name="Straight Connector 71"/>
          <p:cNvCxnSpPr/>
          <p:nvPr/>
        </p:nvCxnSpPr>
        <p:spPr bwMode="auto">
          <a:xfrm>
            <a:off x="5639178" y="2906195"/>
            <a:ext cx="3638023" cy="0"/>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0" name="Straight Connector 71"/>
          <p:cNvCxnSpPr/>
          <p:nvPr/>
        </p:nvCxnSpPr>
        <p:spPr bwMode="auto">
          <a:xfrm flipV="1">
            <a:off x="4400401" y="2903622"/>
            <a:ext cx="1219198" cy="192506"/>
          </a:xfrm>
          <a:prstGeom prst="line">
            <a:avLst/>
          </a:prstGeom>
          <a:solidFill>
            <a:schemeClr val="accent1"/>
          </a:solidFill>
          <a:ln w="12700" cap="rnd" cmpd="sng" algn="ctr">
            <a:solidFill>
              <a:srgbClr val="FFFFFF">
                <a:alpha val="50000"/>
              </a:srgbClr>
            </a:solidFill>
            <a:prstDash val="solid"/>
            <a:round/>
            <a:headEnd type="oval" w="med" len="med"/>
            <a:tailEnd type="none" w="med" len="med"/>
          </a:ln>
          <a:effectLst/>
        </p:spPr>
      </p:cxnSp>
      <p:sp>
        <p:nvSpPr>
          <p:cNvPr id="31" name="Title 3"/>
          <p:cNvSpPr txBox="1">
            <a:spLocks/>
          </p:cNvSpPr>
          <p:nvPr/>
        </p:nvSpPr>
        <p:spPr bwMode="auto">
          <a:xfrm>
            <a:off x="6394846" y="2194018"/>
            <a:ext cx="3106945" cy="71881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600" kern="0" dirty="0">
                <a:solidFill>
                  <a:srgbClr val="FFFFFF"/>
                </a:solidFill>
                <a:latin typeface="+mn-lt"/>
              </a:rPr>
              <a:t>MEDIA</a:t>
            </a:r>
          </a:p>
          <a:p>
            <a:pPr>
              <a:lnSpc>
                <a:spcPct val="100000"/>
              </a:lnSpc>
            </a:pPr>
            <a:r>
              <a:rPr lang="en-US" sz="1600" kern="0" dirty="0">
                <a:solidFill>
                  <a:srgbClr val="FFFFFF"/>
                </a:solidFill>
                <a:latin typeface="+mn-lt"/>
              </a:rPr>
              <a:t>EVERYWHERE</a:t>
            </a:r>
          </a:p>
        </p:txBody>
      </p:sp>
      <p:cxnSp>
        <p:nvCxnSpPr>
          <p:cNvPr id="32" name="Straight Connector 71"/>
          <p:cNvCxnSpPr/>
          <p:nvPr/>
        </p:nvCxnSpPr>
        <p:spPr bwMode="auto">
          <a:xfrm>
            <a:off x="5886064" y="1488236"/>
            <a:ext cx="0" cy="404733"/>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3" name="Straight Connector 71"/>
          <p:cNvCxnSpPr/>
          <p:nvPr/>
        </p:nvCxnSpPr>
        <p:spPr bwMode="auto">
          <a:xfrm>
            <a:off x="6271075" y="2354509"/>
            <a:ext cx="0" cy="404733"/>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4" name="Straight Connector 71"/>
          <p:cNvCxnSpPr/>
          <p:nvPr/>
        </p:nvCxnSpPr>
        <p:spPr bwMode="auto">
          <a:xfrm>
            <a:off x="7073181" y="3220783"/>
            <a:ext cx="0" cy="404733"/>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5" name="Straight Connector 71"/>
          <p:cNvCxnSpPr/>
          <p:nvPr/>
        </p:nvCxnSpPr>
        <p:spPr bwMode="auto">
          <a:xfrm>
            <a:off x="5639178" y="4686869"/>
            <a:ext cx="3253013" cy="0"/>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6" name="Straight Connector 71"/>
          <p:cNvCxnSpPr/>
          <p:nvPr/>
        </p:nvCxnSpPr>
        <p:spPr bwMode="auto">
          <a:xfrm>
            <a:off x="6367327" y="4135183"/>
            <a:ext cx="0" cy="404733"/>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37" name="Straight Connector 71"/>
          <p:cNvCxnSpPr/>
          <p:nvPr/>
        </p:nvCxnSpPr>
        <p:spPr bwMode="auto">
          <a:xfrm>
            <a:off x="4416443" y="4411579"/>
            <a:ext cx="1203156" cy="272717"/>
          </a:xfrm>
          <a:prstGeom prst="line">
            <a:avLst/>
          </a:prstGeom>
          <a:solidFill>
            <a:schemeClr val="accent1"/>
          </a:solidFill>
          <a:ln w="12700" cap="rnd" cmpd="sng" algn="ctr">
            <a:solidFill>
              <a:srgbClr val="FFFFFF">
                <a:alpha val="50000"/>
              </a:srgbClr>
            </a:solidFill>
            <a:prstDash val="solid"/>
            <a:round/>
            <a:headEnd type="oval" w="med" len="med"/>
            <a:tailEnd type="none" w="med" len="med"/>
          </a:ln>
          <a:effectLst/>
        </p:spPr>
      </p:cxnSp>
      <p:sp>
        <p:nvSpPr>
          <p:cNvPr id="38" name="Freeform 3"/>
          <p:cNvSpPr>
            <a:spLocks noChangeAspect="1" noEditPoints="1"/>
          </p:cNvSpPr>
          <p:nvPr/>
        </p:nvSpPr>
        <p:spPr bwMode="auto">
          <a:xfrm>
            <a:off x="5666379" y="4042611"/>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cxnSp>
        <p:nvCxnSpPr>
          <p:cNvPr id="39" name="Straight Connector 71"/>
          <p:cNvCxnSpPr/>
          <p:nvPr/>
        </p:nvCxnSpPr>
        <p:spPr bwMode="auto">
          <a:xfrm>
            <a:off x="5430631" y="5537101"/>
            <a:ext cx="2450907" cy="0"/>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cxnSp>
        <p:nvCxnSpPr>
          <p:cNvPr id="40" name="Straight Connector 71"/>
          <p:cNvCxnSpPr/>
          <p:nvPr/>
        </p:nvCxnSpPr>
        <p:spPr bwMode="auto">
          <a:xfrm>
            <a:off x="4239979" y="5069306"/>
            <a:ext cx="1171072" cy="465221"/>
          </a:xfrm>
          <a:prstGeom prst="line">
            <a:avLst/>
          </a:prstGeom>
          <a:solidFill>
            <a:schemeClr val="accent1"/>
          </a:solidFill>
          <a:ln w="12700" cap="rnd" cmpd="sng" algn="ctr">
            <a:solidFill>
              <a:srgbClr val="FFFFFF">
                <a:alpha val="50000"/>
              </a:srgbClr>
            </a:solidFill>
            <a:prstDash val="solid"/>
            <a:round/>
            <a:headEnd type="oval" w="med" len="med"/>
            <a:tailEnd type="none" w="med" len="med"/>
          </a:ln>
          <a:effectLst/>
        </p:spPr>
      </p:cxnSp>
      <p:sp>
        <p:nvSpPr>
          <p:cNvPr id="41" name="Freeform 3"/>
          <p:cNvSpPr>
            <a:spLocks noChangeAspect="1" noEditPoints="1"/>
          </p:cNvSpPr>
          <p:nvPr/>
        </p:nvSpPr>
        <p:spPr bwMode="auto">
          <a:xfrm>
            <a:off x="5608422" y="4979404"/>
            <a:ext cx="620779" cy="417072"/>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p>
        </p:txBody>
      </p:sp>
      <p:sp>
        <p:nvSpPr>
          <p:cNvPr id="42" name="Title 3"/>
          <p:cNvSpPr txBox="1">
            <a:spLocks/>
          </p:cNvSpPr>
          <p:nvPr/>
        </p:nvSpPr>
        <p:spPr bwMode="auto">
          <a:xfrm>
            <a:off x="6466297" y="4947994"/>
            <a:ext cx="1803652" cy="427007"/>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600" kern="0" dirty="0">
                <a:solidFill>
                  <a:srgbClr val="FFFFFF"/>
                </a:solidFill>
                <a:latin typeface="+mn-lt"/>
              </a:rPr>
              <a:t>INTERACTION</a:t>
            </a:r>
            <a:br>
              <a:rPr lang="en-US" sz="1600" kern="0" dirty="0">
                <a:solidFill>
                  <a:srgbClr val="FFFFFF"/>
                </a:solidFill>
                <a:latin typeface="+mn-lt"/>
              </a:rPr>
            </a:br>
            <a:r>
              <a:rPr lang="en-US" sz="1600" kern="0" dirty="0">
                <a:solidFill>
                  <a:srgbClr val="FFFFFF"/>
                </a:solidFill>
                <a:latin typeface="+mn-lt"/>
              </a:rPr>
              <a:t>HUMAN-IOT</a:t>
            </a:r>
          </a:p>
        </p:txBody>
      </p:sp>
      <p:sp>
        <p:nvSpPr>
          <p:cNvPr id="43" name="Title 3"/>
          <p:cNvSpPr txBox="1">
            <a:spLocks/>
          </p:cNvSpPr>
          <p:nvPr/>
        </p:nvSpPr>
        <p:spPr bwMode="auto">
          <a:xfrm>
            <a:off x="6482676" y="4093413"/>
            <a:ext cx="2625214" cy="480515"/>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600" kern="0" dirty="0">
                <a:solidFill>
                  <a:srgbClr val="FFFFFF"/>
                </a:solidFill>
                <a:latin typeface="+mn-lt"/>
              </a:rPr>
              <a:t>CRITICAL CONTROL</a:t>
            </a:r>
            <a:br>
              <a:rPr lang="en-US" sz="1600" kern="0" dirty="0">
                <a:solidFill>
                  <a:srgbClr val="FFFFFF"/>
                </a:solidFill>
                <a:latin typeface="+mn-lt"/>
              </a:rPr>
            </a:br>
            <a:r>
              <a:rPr lang="en-US" sz="1600" kern="0" dirty="0">
                <a:solidFill>
                  <a:srgbClr val="FFFFFF"/>
                </a:solidFill>
                <a:latin typeface="+mn-lt"/>
              </a:rPr>
              <a:t>OF REMOTE DEVICES</a:t>
            </a:r>
          </a:p>
        </p:txBody>
      </p:sp>
      <p:cxnSp>
        <p:nvCxnSpPr>
          <p:cNvPr id="44" name="Straight Connector 71"/>
          <p:cNvCxnSpPr/>
          <p:nvPr/>
        </p:nvCxnSpPr>
        <p:spPr bwMode="auto">
          <a:xfrm>
            <a:off x="6367328" y="4969372"/>
            <a:ext cx="0" cy="404733"/>
          </a:xfrm>
          <a:prstGeom prst="line">
            <a:avLst/>
          </a:prstGeom>
          <a:solidFill>
            <a:schemeClr val="accent1"/>
          </a:solidFill>
          <a:ln w="12700" cap="rnd" cmpd="sng" algn="ctr">
            <a:solidFill>
              <a:srgbClr val="FFFFFF">
                <a:alpha val="50000"/>
              </a:srgbClr>
            </a:solidFill>
            <a:prstDash val="solid"/>
            <a:round/>
            <a:headEnd type="none" w="med" len="med"/>
            <a:tailEnd type="none" w="med" len="med"/>
          </a:ln>
          <a:effectLst/>
        </p:spPr>
      </p:cxnSp>
      <p:grpSp>
        <p:nvGrpSpPr>
          <p:cNvPr id="45" name="Grupp 159"/>
          <p:cNvGrpSpPr/>
          <p:nvPr/>
        </p:nvGrpSpPr>
        <p:grpSpPr>
          <a:xfrm>
            <a:off x="8942855" y="4154906"/>
            <a:ext cx="615806" cy="608485"/>
            <a:chOff x="10109064" y="4539916"/>
            <a:chExt cx="615806" cy="608485"/>
          </a:xfrm>
        </p:grpSpPr>
        <p:sp>
          <p:nvSpPr>
            <p:cNvPr id="46" name="Freeform 3"/>
            <p:cNvSpPr>
              <a:spLocks noChangeAspect="1" noEditPoints="1"/>
            </p:cNvSpPr>
            <p:nvPr/>
          </p:nvSpPr>
          <p:spPr bwMode="auto">
            <a:xfrm flipH="1">
              <a:off x="10109064" y="4539916"/>
              <a:ext cx="615806" cy="608485"/>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2147483647 w 359"/>
                <a:gd name="T109" fmla="*/ 2147483647 h 357"/>
                <a:gd name="T110" fmla="*/ 2147483647 w 359"/>
                <a:gd name="T111" fmla="*/ 2147483647 h 357"/>
                <a:gd name="T112" fmla="*/ 2147483647 w 359"/>
                <a:gd name="T113" fmla="*/ 2147483647 h 357"/>
                <a:gd name="T114" fmla="*/ 2147483647 w 359"/>
                <a:gd name="T115" fmla="*/ 2147483647 h 3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57">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7" y="28"/>
                    <a:pt x="197" y="28"/>
                    <a:pt x="197"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solidFill>
              <a:srgbClr val="FFFFFF"/>
            </a:solidFill>
            <a:ln>
              <a:noFill/>
            </a:ln>
          </p:spPr>
          <p:txBody>
            <a:bodyPr/>
            <a:lstStyle/>
            <a:p>
              <a:endParaRPr lang="en-US" dirty="0"/>
            </a:p>
          </p:txBody>
        </p:sp>
        <p:sp>
          <p:nvSpPr>
            <p:cNvPr id="47" name="TextBox 116"/>
            <p:cNvSpPr txBox="1"/>
            <p:nvPr/>
          </p:nvSpPr>
          <p:spPr>
            <a:xfrm rot="2723538">
              <a:off x="10224248" y="4740672"/>
              <a:ext cx="466218" cy="307777"/>
            </a:xfrm>
            <a:prstGeom prst="rect">
              <a:avLst/>
            </a:prstGeom>
            <a:noFill/>
          </p:spPr>
          <p:txBody>
            <a:bodyPr wrap="none" rtlCol="0" anchor="ctr">
              <a:spAutoFit/>
            </a:bodyPr>
            <a:lstStyle/>
            <a:p>
              <a:pPr algn="ctr"/>
              <a:r>
                <a:rPr lang="en-US" sz="1400" dirty="0">
                  <a:solidFill>
                    <a:srgbClr val="FFFFFF"/>
                  </a:solidFill>
                  <a:latin typeface="+mj-lt"/>
                </a:rPr>
                <a:t>IOT</a:t>
              </a:r>
            </a:p>
          </p:txBody>
        </p:sp>
      </p:grpSp>
      <p:grpSp>
        <p:nvGrpSpPr>
          <p:cNvPr id="48" name="Grupp 162"/>
          <p:cNvGrpSpPr/>
          <p:nvPr/>
        </p:nvGrpSpPr>
        <p:grpSpPr>
          <a:xfrm>
            <a:off x="10851866" y="3208422"/>
            <a:ext cx="615806" cy="608485"/>
            <a:chOff x="10109064" y="4539916"/>
            <a:chExt cx="615806" cy="608485"/>
          </a:xfrm>
        </p:grpSpPr>
        <p:sp>
          <p:nvSpPr>
            <p:cNvPr id="49" name="Freeform 3"/>
            <p:cNvSpPr>
              <a:spLocks noChangeAspect="1" noEditPoints="1"/>
            </p:cNvSpPr>
            <p:nvPr/>
          </p:nvSpPr>
          <p:spPr bwMode="auto">
            <a:xfrm flipH="1">
              <a:off x="10109064" y="4539916"/>
              <a:ext cx="615806" cy="608485"/>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2147483647 w 359"/>
                <a:gd name="T109" fmla="*/ 2147483647 h 357"/>
                <a:gd name="T110" fmla="*/ 2147483647 w 359"/>
                <a:gd name="T111" fmla="*/ 2147483647 h 357"/>
                <a:gd name="T112" fmla="*/ 2147483647 w 359"/>
                <a:gd name="T113" fmla="*/ 2147483647 h 357"/>
                <a:gd name="T114" fmla="*/ 2147483647 w 359"/>
                <a:gd name="T115" fmla="*/ 2147483647 h 3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57">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7" y="28"/>
                    <a:pt x="197" y="28"/>
                    <a:pt x="197"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solidFill>
              <a:srgbClr val="FFFFFF"/>
            </a:solidFill>
            <a:ln>
              <a:noFill/>
            </a:ln>
          </p:spPr>
          <p:txBody>
            <a:bodyPr/>
            <a:lstStyle/>
            <a:p>
              <a:endParaRPr lang="en-US" dirty="0"/>
            </a:p>
          </p:txBody>
        </p:sp>
        <p:sp>
          <p:nvSpPr>
            <p:cNvPr id="50" name="TextBox 116"/>
            <p:cNvSpPr txBox="1"/>
            <p:nvPr/>
          </p:nvSpPr>
          <p:spPr>
            <a:xfrm rot="2723538">
              <a:off x="10224248" y="4740672"/>
              <a:ext cx="466218" cy="307777"/>
            </a:xfrm>
            <a:prstGeom prst="rect">
              <a:avLst/>
            </a:prstGeom>
            <a:noFill/>
          </p:spPr>
          <p:txBody>
            <a:bodyPr wrap="none" rtlCol="0" anchor="ctr">
              <a:spAutoFit/>
            </a:bodyPr>
            <a:lstStyle/>
            <a:p>
              <a:pPr algn="ctr"/>
              <a:r>
                <a:rPr lang="en-US" sz="1400" dirty="0">
                  <a:solidFill>
                    <a:srgbClr val="FFFFFF"/>
                  </a:solidFill>
                  <a:latin typeface="+mj-lt"/>
                </a:rPr>
                <a:t>IOT</a:t>
              </a:r>
            </a:p>
          </p:txBody>
        </p:sp>
      </p:grpSp>
      <p:sp>
        <p:nvSpPr>
          <p:cNvPr id="51" name="Rounded Rectangle 45"/>
          <p:cNvSpPr/>
          <p:nvPr/>
        </p:nvSpPr>
        <p:spPr bwMode="auto">
          <a:xfrm>
            <a:off x="528435" y="6072747"/>
            <a:ext cx="11089935" cy="450376"/>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algn="ctr"/>
            <a:r>
              <a:rPr lang="en-US" altLang="en-US" dirty="0">
                <a:solidFill>
                  <a:srgbClr val="091638"/>
                </a:solidFill>
              </a:rPr>
              <a:t>Wide range of new opportunities and use cases</a:t>
            </a:r>
            <a:endParaRPr lang="en-US" dirty="0">
              <a:solidFill>
                <a:srgbClr val="091638"/>
              </a:solidFill>
            </a:endParaRPr>
          </a:p>
        </p:txBody>
      </p:sp>
    </p:spTree>
    <p:extLst>
      <p:ext uri="{BB962C8B-B14F-4D97-AF65-F5344CB8AC3E}">
        <p14:creationId xmlns:p14="http://schemas.microsoft.com/office/powerpoint/2010/main" val="35584567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7435"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r>
              <a:rPr lang="en-US" altLang="en-US" dirty="0"/>
              <a:t>n</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
          <p:cNvSpPr txBox="1">
            <a:spLocks/>
          </p:cNvSpPr>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kern="0" dirty="0">
                <a:solidFill>
                  <a:schemeClr val="bg1"/>
                </a:solidFill>
              </a:rPr>
              <a:t>Distributed Cloud</a:t>
            </a:r>
            <a:br>
              <a:rPr lang="en-US" altLang="en-US" kern="0" dirty="0">
                <a:solidFill>
                  <a:schemeClr val="bg1"/>
                </a:solidFill>
              </a:rPr>
            </a:br>
            <a:r>
              <a:rPr lang="en-US" altLang="en-US" sz="3000" kern="0" dirty="0">
                <a:solidFill>
                  <a:schemeClr val="bg1"/>
                </a:solidFill>
                <a:latin typeface="+mn-lt"/>
              </a:rPr>
              <a:t>Keep critical data and traffic locally</a:t>
            </a:r>
          </a:p>
        </p:txBody>
      </p:sp>
      <p:sp>
        <p:nvSpPr>
          <p:cNvPr id="30" name="Freeform 3"/>
          <p:cNvSpPr>
            <a:spLocks noChangeAspect="1" noEditPoints="1"/>
          </p:cNvSpPr>
          <p:nvPr/>
        </p:nvSpPr>
        <p:spPr bwMode="auto">
          <a:xfrm>
            <a:off x="652530" y="5047287"/>
            <a:ext cx="829733" cy="939800"/>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bg1"/>
          </a:solidFill>
          <a:ln>
            <a:noFill/>
          </a:ln>
          <a:extLst/>
        </p:spPr>
        <p:txBody>
          <a:bodyPr lIns="91436" tIns="45718" rIns="91436" bIns="45718"/>
          <a:lstStyle/>
          <a:p>
            <a:endParaRPr lang="en-US" sz="1800"/>
          </a:p>
        </p:txBody>
      </p:sp>
      <p:sp>
        <p:nvSpPr>
          <p:cNvPr id="31" name="Freeform 3"/>
          <p:cNvSpPr>
            <a:spLocks noChangeAspect="1" noEditPoints="1"/>
          </p:cNvSpPr>
          <p:nvPr/>
        </p:nvSpPr>
        <p:spPr bwMode="auto">
          <a:xfrm>
            <a:off x="7260884" y="4941927"/>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3" name="Freeform 3"/>
          <p:cNvSpPr>
            <a:spLocks noChangeAspect="1" noEditPoints="1"/>
          </p:cNvSpPr>
          <p:nvPr/>
        </p:nvSpPr>
        <p:spPr bwMode="auto">
          <a:xfrm>
            <a:off x="8384420" y="494192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4" name="Freeform 3"/>
          <p:cNvSpPr>
            <a:spLocks noChangeAspect="1" noEditPoints="1"/>
          </p:cNvSpPr>
          <p:nvPr/>
        </p:nvSpPr>
        <p:spPr bwMode="auto">
          <a:xfrm>
            <a:off x="7827099" y="494192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solidFill>
          <a:ln>
            <a:noFill/>
          </a:ln>
          <a:extLst/>
        </p:spPr>
        <p:txBody>
          <a:bodyPr lIns="91436" tIns="45718" rIns="91436" bIns="45718"/>
          <a:lstStyle/>
          <a:p>
            <a:endParaRPr lang="en-US" sz="1800"/>
          </a:p>
        </p:txBody>
      </p:sp>
      <p:sp>
        <p:nvSpPr>
          <p:cNvPr id="35" name="Freeform 3"/>
          <p:cNvSpPr>
            <a:spLocks noChangeAspect="1" noEditPoints="1"/>
          </p:cNvSpPr>
          <p:nvPr/>
        </p:nvSpPr>
        <p:spPr bwMode="auto">
          <a:xfrm>
            <a:off x="2426483" y="4982097"/>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6" name="Freeform 3"/>
          <p:cNvSpPr>
            <a:spLocks noChangeAspect="1" noEditPoints="1"/>
          </p:cNvSpPr>
          <p:nvPr/>
        </p:nvSpPr>
        <p:spPr bwMode="auto">
          <a:xfrm>
            <a:off x="3550019" y="498209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7" name="Freeform 3"/>
          <p:cNvSpPr>
            <a:spLocks noChangeAspect="1" noEditPoints="1"/>
          </p:cNvSpPr>
          <p:nvPr/>
        </p:nvSpPr>
        <p:spPr bwMode="auto">
          <a:xfrm>
            <a:off x="2992698" y="498209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8" name="Freeform 3"/>
          <p:cNvSpPr>
            <a:spLocks noChangeAspect="1" noEditPoints="1"/>
          </p:cNvSpPr>
          <p:nvPr/>
        </p:nvSpPr>
        <p:spPr bwMode="auto">
          <a:xfrm>
            <a:off x="2426483" y="3981539"/>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39" name="Freeform 3"/>
          <p:cNvSpPr>
            <a:spLocks noChangeAspect="1" noEditPoints="1"/>
          </p:cNvSpPr>
          <p:nvPr/>
        </p:nvSpPr>
        <p:spPr bwMode="auto">
          <a:xfrm>
            <a:off x="3550019" y="3981536"/>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0" name="Freeform 3"/>
          <p:cNvSpPr>
            <a:spLocks noChangeAspect="1" noEditPoints="1"/>
          </p:cNvSpPr>
          <p:nvPr/>
        </p:nvSpPr>
        <p:spPr bwMode="auto">
          <a:xfrm>
            <a:off x="2992698" y="3981536"/>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1" name="Freeform 3"/>
          <p:cNvSpPr>
            <a:spLocks noChangeAspect="1" noEditPoints="1"/>
          </p:cNvSpPr>
          <p:nvPr/>
        </p:nvSpPr>
        <p:spPr bwMode="auto">
          <a:xfrm>
            <a:off x="2426483" y="2980981"/>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2" name="Freeform 3"/>
          <p:cNvSpPr>
            <a:spLocks noChangeAspect="1" noEditPoints="1"/>
          </p:cNvSpPr>
          <p:nvPr/>
        </p:nvSpPr>
        <p:spPr bwMode="auto">
          <a:xfrm>
            <a:off x="3550019" y="2980978"/>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3" name="Freeform 3"/>
          <p:cNvSpPr>
            <a:spLocks noChangeAspect="1" noEditPoints="1"/>
          </p:cNvSpPr>
          <p:nvPr/>
        </p:nvSpPr>
        <p:spPr bwMode="auto">
          <a:xfrm>
            <a:off x="2992698" y="2980978"/>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4" name="Freeform 3"/>
          <p:cNvSpPr>
            <a:spLocks noChangeAspect="1" noEditPoints="1"/>
          </p:cNvSpPr>
          <p:nvPr/>
        </p:nvSpPr>
        <p:spPr bwMode="auto">
          <a:xfrm>
            <a:off x="7250776" y="3973697"/>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5" name="Freeform 3"/>
          <p:cNvSpPr>
            <a:spLocks noChangeAspect="1" noEditPoints="1"/>
          </p:cNvSpPr>
          <p:nvPr/>
        </p:nvSpPr>
        <p:spPr bwMode="auto">
          <a:xfrm>
            <a:off x="8374312" y="397369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6" name="Freeform 3"/>
          <p:cNvSpPr>
            <a:spLocks noChangeAspect="1" noEditPoints="1"/>
          </p:cNvSpPr>
          <p:nvPr/>
        </p:nvSpPr>
        <p:spPr bwMode="auto">
          <a:xfrm>
            <a:off x="7816991" y="3973694"/>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7" name="Freeform 3"/>
          <p:cNvSpPr>
            <a:spLocks noChangeAspect="1" noEditPoints="1"/>
          </p:cNvSpPr>
          <p:nvPr/>
        </p:nvSpPr>
        <p:spPr bwMode="auto">
          <a:xfrm>
            <a:off x="7250776" y="2987101"/>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8" name="Freeform 3"/>
          <p:cNvSpPr>
            <a:spLocks noChangeAspect="1" noEditPoints="1"/>
          </p:cNvSpPr>
          <p:nvPr/>
        </p:nvSpPr>
        <p:spPr bwMode="auto">
          <a:xfrm>
            <a:off x="8374312" y="2987098"/>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49" name="Freeform 3"/>
          <p:cNvSpPr>
            <a:spLocks noChangeAspect="1" noEditPoints="1"/>
          </p:cNvSpPr>
          <p:nvPr/>
        </p:nvSpPr>
        <p:spPr bwMode="auto">
          <a:xfrm>
            <a:off x="7816991" y="2987098"/>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50" name="AutoShape 15" descr="bpct-blend1"/>
          <p:cNvSpPr>
            <a:spLocks noChangeArrowheads="1"/>
          </p:cNvSpPr>
          <p:nvPr/>
        </p:nvSpPr>
        <p:spPr bwMode="auto">
          <a:xfrm>
            <a:off x="2574586" y="4057506"/>
            <a:ext cx="1344822" cy="78894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r>
              <a:rPr lang="sv-SE" altLang="en-US" sz="1500" dirty="0" err="1">
                <a:solidFill>
                  <a:srgbClr val="FFFFFF"/>
                </a:solidFill>
                <a:latin typeface="Arial" pitchFamily="34" charset="0"/>
                <a:ea typeface="MS PGothic" pitchFamily="34" charset="-128"/>
              </a:rPr>
              <a:t>vEPC</a:t>
            </a:r>
            <a:r>
              <a:rPr lang="sv-SE" altLang="en-US" sz="1500" dirty="0">
                <a:solidFill>
                  <a:srgbClr val="FFFFFF"/>
                </a:solidFill>
                <a:latin typeface="Arial" pitchFamily="34" charset="0"/>
                <a:ea typeface="MS PGothic" pitchFamily="34" charset="-128"/>
              </a:rPr>
              <a:t> UP</a:t>
            </a:r>
            <a:br>
              <a:rPr lang="sv-SE" altLang="en-US" sz="1500" dirty="0">
                <a:solidFill>
                  <a:srgbClr val="FFFFFF"/>
                </a:solidFill>
                <a:latin typeface="Arial" pitchFamily="34" charset="0"/>
                <a:ea typeface="MS PGothic" pitchFamily="34" charset="-128"/>
              </a:rPr>
            </a:br>
            <a:r>
              <a:rPr lang="sv-SE" altLang="en-US" sz="1500" dirty="0">
                <a:solidFill>
                  <a:srgbClr val="FFFFFF"/>
                </a:solidFill>
                <a:latin typeface="Arial" pitchFamily="34" charset="0"/>
                <a:ea typeface="MS PGothic" pitchFamily="34" charset="-128"/>
              </a:rPr>
              <a:t>(</a:t>
            </a:r>
            <a:r>
              <a:rPr lang="sv-SE" altLang="en-US" sz="1500" dirty="0" err="1">
                <a:solidFill>
                  <a:srgbClr val="FFFFFF"/>
                </a:solidFill>
                <a:latin typeface="Arial" pitchFamily="34" charset="0"/>
                <a:ea typeface="MS PGothic" pitchFamily="34" charset="-128"/>
              </a:rPr>
              <a:t>vGW</a:t>
            </a:r>
            <a:r>
              <a:rPr lang="sv-SE" altLang="en-US" sz="1500" dirty="0">
                <a:solidFill>
                  <a:srgbClr val="FFFFFF"/>
                </a:solidFill>
                <a:latin typeface="Arial" pitchFamily="34" charset="0"/>
                <a:ea typeface="MS PGothic" pitchFamily="34" charset="-128"/>
              </a:rPr>
              <a:t>-U)</a:t>
            </a:r>
          </a:p>
        </p:txBody>
      </p:sp>
      <p:sp>
        <p:nvSpPr>
          <p:cNvPr id="51" name="AutoShape 15" descr="bpct-blend1"/>
          <p:cNvSpPr>
            <a:spLocks noChangeArrowheads="1"/>
          </p:cNvSpPr>
          <p:nvPr/>
        </p:nvSpPr>
        <p:spPr bwMode="auto">
          <a:xfrm>
            <a:off x="2582569" y="3079076"/>
            <a:ext cx="1344822" cy="78894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r>
              <a:rPr lang="sv-SE" altLang="en-US" sz="1500" dirty="0" err="1">
                <a:solidFill>
                  <a:srgbClr val="FFFFFF"/>
                </a:solidFill>
                <a:latin typeface="Arial" pitchFamily="34" charset="0"/>
                <a:ea typeface="MS PGothic" pitchFamily="34" charset="-128"/>
              </a:rPr>
              <a:t>Local</a:t>
            </a:r>
            <a:br>
              <a:rPr lang="sv-SE" altLang="en-US" sz="1500" dirty="0">
                <a:solidFill>
                  <a:srgbClr val="FFFFFF"/>
                </a:solidFill>
                <a:latin typeface="Arial" pitchFamily="34" charset="0"/>
                <a:ea typeface="MS PGothic" pitchFamily="34" charset="-128"/>
              </a:rPr>
            </a:br>
            <a:r>
              <a:rPr lang="sv-SE" altLang="en-US" sz="1500" dirty="0" err="1">
                <a:solidFill>
                  <a:srgbClr val="FFFFFF"/>
                </a:solidFill>
                <a:latin typeface="Arial" pitchFamily="34" charset="0"/>
                <a:ea typeface="MS PGothic" pitchFamily="34" charset="-128"/>
              </a:rPr>
              <a:t>Application</a:t>
            </a:r>
            <a:br>
              <a:rPr lang="sv-SE" altLang="en-US" sz="1500" dirty="0">
                <a:solidFill>
                  <a:srgbClr val="FFFFFF"/>
                </a:solidFill>
                <a:latin typeface="Arial" pitchFamily="34" charset="0"/>
                <a:ea typeface="MS PGothic" pitchFamily="34" charset="-128"/>
              </a:rPr>
            </a:br>
            <a:r>
              <a:rPr lang="sv-SE" altLang="en-US" sz="1500" dirty="0">
                <a:solidFill>
                  <a:srgbClr val="FFFFFF"/>
                </a:solidFill>
                <a:latin typeface="Arial" pitchFamily="34" charset="0"/>
                <a:ea typeface="MS PGothic" pitchFamily="34" charset="-128"/>
              </a:rPr>
              <a:t>(VR/Robot)</a:t>
            </a:r>
          </a:p>
        </p:txBody>
      </p:sp>
      <p:sp>
        <p:nvSpPr>
          <p:cNvPr id="52" name="AutoShape 15" descr="bpct-blend1"/>
          <p:cNvSpPr>
            <a:spLocks noChangeArrowheads="1"/>
          </p:cNvSpPr>
          <p:nvPr/>
        </p:nvSpPr>
        <p:spPr bwMode="auto">
          <a:xfrm>
            <a:off x="7391680" y="4078401"/>
            <a:ext cx="1344822" cy="78894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r>
              <a:rPr lang="sv-SE" altLang="en-US" sz="1500" dirty="0" err="1">
                <a:solidFill>
                  <a:srgbClr val="FFFFFF"/>
                </a:solidFill>
                <a:latin typeface="Arial" pitchFamily="34" charset="0"/>
                <a:ea typeface="MS PGothic" pitchFamily="34" charset="-128"/>
              </a:rPr>
              <a:t>vEPC</a:t>
            </a:r>
            <a:r>
              <a:rPr lang="sv-SE" altLang="en-US" sz="1500">
                <a:solidFill>
                  <a:srgbClr val="FFFFFF"/>
                </a:solidFill>
                <a:latin typeface="Arial" pitchFamily="34" charset="0"/>
                <a:ea typeface="MS PGothic" pitchFamily="34" charset="-128"/>
              </a:rPr>
              <a:t> CP</a:t>
            </a:r>
            <a:endParaRPr lang="sv-SE" altLang="en-US" sz="1500" dirty="0">
              <a:solidFill>
                <a:srgbClr val="FFFFFF"/>
              </a:solidFill>
              <a:latin typeface="Arial" pitchFamily="34" charset="0"/>
              <a:ea typeface="MS PGothic" pitchFamily="34" charset="-128"/>
            </a:endParaRPr>
          </a:p>
        </p:txBody>
      </p:sp>
      <p:grpSp>
        <p:nvGrpSpPr>
          <p:cNvPr id="53" name="Group 52"/>
          <p:cNvGrpSpPr/>
          <p:nvPr/>
        </p:nvGrpSpPr>
        <p:grpSpPr>
          <a:xfrm>
            <a:off x="744242" y="3227067"/>
            <a:ext cx="646309" cy="625999"/>
            <a:chOff x="815047" y="3759417"/>
            <a:chExt cx="900000" cy="900000"/>
          </a:xfrm>
        </p:grpSpPr>
        <p:sp>
          <p:nvSpPr>
            <p:cNvPr id="54" name="Oval 53"/>
            <p:cNvSpPr>
              <a:spLocks noChangeAspect="1"/>
            </p:cNvSpPr>
            <p:nvPr/>
          </p:nvSpPr>
          <p:spPr bwMode="auto">
            <a:xfrm>
              <a:off x="815047" y="3759417"/>
              <a:ext cx="900000" cy="900000"/>
            </a:xfrm>
            <a:prstGeom prst="ellipse">
              <a:avLst/>
            </a:prstGeom>
            <a:solidFill>
              <a:srgbClr val="FABB00"/>
            </a:solidFill>
            <a:ln w="254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5" name="Group 54"/>
            <p:cNvGrpSpPr/>
            <p:nvPr/>
          </p:nvGrpSpPr>
          <p:grpSpPr>
            <a:xfrm>
              <a:off x="975806" y="3937816"/>
              <a:ext cx="578483" cy="543202"/>
              <a:chOff x="489213" y="5361255"/>
              <a:chExt cx="578483" cy="543202"/>
            </a:xfrm>
          </p:grpSpPr>
          <p:sp>
            <p:nvSpPr>
              <p:cNvPr id="56" name="Freeform 3"/>
              <p:cNvSpPr>
                <a:spLocks noChangeAspect="1" noEditPoints="1"/>
              </p:cNvSpPr>
              <p:nvPr/>
            </p:nvSpPr>
            <p:spPr bwMode="auto">
              <a:xfrm>
                <a:off x="489213" y="5456857"/>
                <a:ext cx="428870" cy="447600"/>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5"/>
              <p:cNvSpPr>
                <a:spLocks noChangeAspect="1" noEditPoints="1"/>
              </p:cNvSpPr>
              <p:nvPr/>
            </p:nvSpPr>
            <p:spPr bwMode="auto">
              <a:xfrm>
                <a:off x="876493" y="5361255"/>
                <a:ext cx="191203" cy="191203"/>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58" name="Group 57"/>
          <p:cNvGrpSpPr/>
          <p:nvPr/>
        </p:nvGrpSpPr>
        <p:grpSpPr>
          <a:xfrm>
            <a:off x="744242" y="4085542"/>
            <a:ext cx="646309" cy="625999"/>
            <a:chOff x="714693" y="5021316"/>
            <a:chExt cx="900000" cy="900000"/>
          </a:xfrm>
        </p:grpSpPr>
        <p:sp>
          <p:nvSpPr>
            <p:cNvPr id="59" name="Oval 58"/>
            <p:cNvSpPr>
              <a:spLocks noChangeAspect="1"/>
            </p:cNvSpPr>
            <p:nvPr/>
          </p:nvSpPr>
          <p:spPr bwMode="auto">
            <a:xfrm>
              <a:off x="714693" y="5021316"/>
              <a:ext cx="900000" cy="900000"/>
            </a:xfrm>
            <a:prstGeom prst="ellipse">
              <a:avLst/>
            </a:prstGeom>
            <a:solidFill>
              <a:srgbClr val="89BA17"/>
            </a:solidFill>
            <a:ln w="254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rgbClr val="FFFFFF"/>
                </a:solidFill>
                <a:effectLst/>
                <a:latin typeface="Arial" charset="0"/>
              </a:endParaRPr>
            </a:p>
          </p:txBody>
        </p:sp>
        <p:sp>
          <p:nvSpPr>
            <p:cNvPr id="60" name="Freeform 6"/>
            <p:cNvSpPr>
              <a:spLocks noChangeAspect="1" noEditPoints="1"/>
            </p:cNvSpPr>
            <p:nvPr/>
          </p:nvSpPr>
          <p:spPr bwMode="auto">
            <a:xfrm>
              <a:off x="976140" y="5171421"/>
              <a:ext cx="377107" cy="599791"/>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cxnSp>
        <p:nvCxnSpPr>
          <p:cNvPr id="61" name="Elbow Connector 37"/>
          <p:cNvCxnSpPr>
            <a:cxnSpLocks/>
          </p:cNvCxnSpPr>
          <p:nvPr/>
        </p:nvCxnSpPr>
        <p:spPr bwMode="auto">
          <a:xfrm rot="10800000" flipV="1">
            <a:off x="3903950" y="4452444"/>
            <a:ext cx="3397041" cy="1385"/>
          </a:xfrm>
          <a:prstGeom prst="bentConnector3">
            <a:avLst/>
          </a:prstGeom>
          <a:solidFill>
            <a:schemeClr val="accent1"/>
          </a:solidFill>
          <a:ln w="25400" cap="flat" cmpd="sng" algn="ctr">
            <a:solidFill>
              <a:schemeClr val="bg1"/>
            </a:solidFill>
            <a:prstDash val="sysDot"/>
            <a:round/>
            <a:headEnd type="none" w="med" len="med"/>
            <a:tailEnd type="none" w="med" len="med"/>
          </a:ln>
          <a:effectLst/>
        </p:spPr>
      </p:cxnSp>
      <p:cxnSp>
        <p:nvCxnSpPr>
          <p:cNvPr id="62" name="Elbow Connector 37"/>
          <p:cNvCxnSpPr>
            <a:cxnSpLocks/>
          </p:cNvCxnSpPr>
          <p:nvPr/>
        </p:nvCxnSpPr>
        <p:spPr bwMode="auto">
          <a:xfrm rot="10800000" flipV="1">
            <a:off x="3973718" y="4675481"/>
            <a:ext cx="3397747" cy="754597"/>
          </a:xfrm>
          <a:prstGeom prst="bentConnector3">
            <a:avLst/>
          </a:prstGeom>
          <a:solidFill>
            <a:schemeClr val="accent1"/>
          </a:solidFill>
          <a:ln w="25400" cap="flat" cmpd="sng" algn="ctr">
            <a:solidFill>
              <a:schemeClr val="bg1"/>
            </a:solidFill>
            <a:prstDash val="sysDot"/>
            <a:round/>
            <a:headEnd type="none" w="med" len="med"/>
            <a:tailEnd type="none" w="med" len="med"/>
          </a:ln>
          <a:effectLst/>
        </p:spPr>
      </p:cxnSp>
      <p:sp>
        <p:nvSpPr>
          <p:cNvPr id="63" name="Rectangle 145"/>
          <p:cNvSpPr>
            <a:spLocks noChangeAspect="1" noChangeArrowheads="1"/>
          </p:cNvSpPr>
          <p:nvPr/>
        </p:nvSpPr>
        <p:spPr bwMode="auto">
          <a:xfrm>
            <a:off x="9200120" y="4469684"/>
            <a:ext cx="783167"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lgn="l"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endParaRPr lang="sv-SE" altLang="en-US" sz="900">
              <a:ea typeface="MS PGothic" pitchFamily="34" charset="-128"/>
            </a:endParaRPr>
          </a:p>
        </p:txBody>
      </p:sp>
      <p:sp>
        <p:nvSpPr>
          <p:cNvPr id="64" name="Freeform 33"/>
          <p:cNvSpPr>
            <a:spLocks noChangeAspect="1"/>
          </p:cNvSpPr>
          <p:nvPr/>
        </p:nvSpPr>
        <p:spPr bwMode="auto">
          <a:xfrm>
            <a:off x="9319001" y="2039414"/>
            <a:ext cx="2316478" cy="1676855"/>
          </a:xfrm>
          <a:custGeom>
            <a:avLst/>
            <a:gdLst>
              <a:gd name="T0" fmla="*/ 2147483647 w 583"/>
              <a:gd name="T1" fmla="*/ 2147483647 h 439"/>
              <a:gd name="T2" fmla="*/ 2147483647 w 583"/>
              <a:gd name="T3" fmla="*/ 2147483647 h 439"/>
              <a:gd name="T4" fmla="*/ 2147483647 w 583"/>
              <a:gd name="T5" fmla="*/ 2147483647 h 439"/>
              <a:gd name="T6" fmla="*/ 2147483647 w 583"/>
              <a:gd name="T7" fmla="*/ 2147483647 h 439"/>
              <a:gd name="T8" fmla="*/ 2147483647 w 583"/>
              <a:gd name="T9" fmla="*/ 2147483647 h 439"/>
              <a:gd name="T10" fmla="*/ 2147483647 w 583"/>
              <a:gd name="T11" fmla="*/ 2147483647 h 439"/>
              <a:gd name="T12" fmla="*/ 2147483647 w 583"/>
              <a:gd name="T13" fmla="*/ 2147483647 h 439"/>
              <a:gd name="T14" fmla="*/ 2147483647 w 583"/>
              <a:gd name="T15" fmla="*/ 2147483647 h 439"/>
              <a:gd name="T16" fmla="*/ 2147483647 w 583"/>
              <a:gd name="T17" fmla="*/ 2147483647 h 439"/>
              <a:gd name="T18" fmla="*/ 2147483647 w 583"/>
              <a:gd name="T19" fmla="*/ 2147483647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chemeClr val="bg1">
              <a:alpha val="40000"/>
            </a:schemeClr>
          </a:solidFill>
          <a:ln>
            <a:noFill/>
          </a:ln>
          <a:extLst/>
        </p:spPr>
        <p:txBody>
          <a:bodyPr anchor="ctr"/>
          <a:lstStyle/>
          <a:p>
            <a:pPr algn="ctr"/>
            <a:endParaRPr lang="en-GB" sz="1400" dirty="0">
              <a:solidFill>
                <a:srgbClr val="FFFFFF"/>
              </a:solidFill>
            </a:endParaRPr>
          </a:p>
        </p:txBody>
      </p:sp>
      <p:sp>
        <p:nvSpPr>
          <p:cNvPr id="65" name="Freeform 34"/>
          <p:cNvSpPr>
            <a:spLocks noChangeAspect="1"/>
          </p:cNvSpPr>
          <p:nvPr/>
        </p:nvSpPr>
        <p:spPr bwMode="auto">
          <a:xfrm>
            <a:off x="9520581" y="2123872"/>
            <a:ext cx="2054984" cy="1570236"/>
          </a:xfrm>
          <a:custGeom>
            <a:avLst/>
            <a:gdLst>
              <a:gd name="T0" fmla="*/ 2147483647 w 522"/>
              <a:gd name="T1" fmla="*/ 2147483647 h 399"/>
              <a:gd name="T2" fmla="*/ 2147483647 w 522"/>
              <a:gd name="T3" fmla="*/ 2147483647 h 399"/>
              <a:gd name="T4" fmla="*/ 0 w 522"/>
              <a:gd name="T5" fmla="*/ 2147483647 h 399"/>
              <a:gd name="T6" fmla="*/ 2147483647 w 522"/>
              <a:gd name="T7" fmla="*/ 2147483647 h 399"/>
              <a:gd name="T8" fmla="*/ 2147483647 w 522"/>
              <a:gd name="T9" fmla="*/ 2147483647 h 399"/>
              <a:gd name="T10" fmla="*/ 2147483647 w 522"/>
              <a:gd name="T11" fmla="*/ 0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rgbClr val="FFFFFF"/>
          </a:solidFill>
          <a:ln>
            <a:noFill/>
          </a:ln>
          <a:extLst/>
        </p:spPr>
        <p:txBody>
          <a:bodyPr anchor="ctr"/>
          <a:lstStyle/>
          <a:p>
            <a:r>
              <a:rPr lang="en-GB" dirty="0"/>
              <a:t> </a:t>
            </a:r>
          </a:p>
        </p:txBody>
      </p:sp>
      <p:sp>
        <p:nvSpPr>
          <p:cNvPr id="66" name="TextBox 65"/>
          <p:cNvSpPr txBox="1"/>
          <p:nvPr/>
        </p:nvSpPr>
        <p:spPr>
          <a:xfrm>
            <a:off x="9840624" y="2534892"/>
            <a:ext cx="1429858" cy="846386"/>
          </a:xfrm>
          <a:prstGeom prst="rect">
            <a:avLst/>
          </a:prstGeom>
          <a:noFill/>
        </p:spPr>
        <p:txBody>
          <a:bodyPr wrap="square" rtlCol="0">
            <a:spAutoFit/>
          </a:bodyPr>
          <a:lstStyle/>
          <a:p>
            <a:pPr algn="ctr"/>
            <a:r>
              <a:rPr lang="en-US" sz="1400" dirty="0">
                <a:solidFill>
                  <a:schemeClr val="bg1"/>
                </a:solidFill>
              </a:rPr>
              <a:t>Internet</a:t>
            </a:r>
          </a:p>
          <a:p>
            <a:pPr algn="ctr"/>
            <a:r>
              <a:rPr lang="en-US" sz="1400" dirty="0">
                <a:solidFill>
                  <a:schemeClr val="bg1"/>
                </a:solidFill>
              </a:rPr>
              <a:t>Video Application</a:t>
            </a:r>
          </a:p>
        </p:txBody>
      </p:sp>
      <p:sp>
        <p:nvSpPr>
          <p:cNvPr id="67" name="Rectangle 66"/>
          <p:cNvSpPr/>
          <p:nvPr/>
        </p:nvSpPr>
        <p:spPr>
          <a:xfrm>
            <a:off x="1913815" y="4597083"/>
            <a:ext cx="6096000" cy="707886"/>
          </a:xfrm>
          <a:prstGeom prst="rect">
            <a:avLst/>
          </a:prstGeom>
        </p:spPr>
        <p:txBody>
          <a:bodyPr>
            <a:spAutoFit/>
          </a:bodyPr>
          <a:lstStyle/>
          <a:p>
            <a:pPr algn="ctr"/>
            <a:r>
              <a:rPr lang="en-US" dirty="0">
                <a:solidFill>
                  <a:schemeClr val="bg1"/>
                </a:solidFill>
              </a:rPr>
              <a:t>Critical</a:t>
            </a:r>
            <a:br>
              <a:rPr lang="en-US" dirty="0">
                <a:solidFill>
                  <a:schemeClr val="bg1"/>
                </a:solidFill>
              </a:rPr>
            </a:br>
            <a:r>
              <a:rPr lang="en-US" dirty="0">
                <a:solidFill>
                  <a:schemeClr val="bg1"/>
                </a:solidFill>
              </a:rPr>
              <a:t>Traffic</a:t>
            </a:r>
          </a:p>
        </p:txBody>
      </p:sp>
      <p:sp>
        <p:nvSpPr>
          <p:cNvPr id="68" name="Rectangle 67"/>
          <p:cNvSpPr/>
          <p:nvPr/>
        </p:nvSpPr>
        <p:spPr>
          <a:xfrm>
            <a:off x="8199586" y="4894690"/>
            <a:ext cx="6096000" cy="707886"/>
          </a:xfrm>
          <a:prstGeom prst="rect">
            <a:avLst/>
          </a:prstGeom>
        </p:spPr>
        <p:txBody>
          <a:bodyPr>
            <a:spAutoFit/>
          </a:bodyPr>
          <a:lstStyle/>
          <a:p>
            <a:pPr algn="ctr"/>
            <a:r>
              <a:rPr lang="en-US" dirty="0">
                <a:solidFill>
                  <a:schemeClr val="bg1"/>
                </a:solidFill>
              </a:rPr>
              <a:t>MBB</a:t>
            </a:r>
            <a:br>
              <a:rPr lang="en-US" dirty="0">
                <a:solidFill>
                  <a:schemeClr val="bg1"/>
                </a:solidFill>
              </a:rPr>
            </a:br>
            <a:r>
              <a:rPr lang="en-US" dirty="0">
                <a:solidFill>
                  <a:schemeClr val="bg1"/>
                </a:solidFill>
              </a:rPr>
              <a:t>Traffic</a:t>
            </a:r>
          </a:p>
        </p:txBody>
      </p:sp>
      <p:cxnSp>
        <p:nvCxnSpPr>
          <p:cNvPr id="69" name="Connector: Elbow 68"/>
          <p:cNvCxnSpPr>
            <a:cxnSpLocks/>
          </p:cNvCxnSpPr>
          <p:nvPr/>
        </p:nvCxnSpPr>
        <p:spPr bwMode="auto">
          <a:xfrm flipV="1">
            <a:off x="1557436" y="3411431"/>
            <a:ext cx="2845400" cy="2093594"/>
          </a:xfrm>
          <a:prstGeom prst="bentConnector3">
            <a:avLst>
              <a:gd name="adj1" fmla="val 99490"/>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0" name="Straight Connector 69"/>
          <p:cNvCxnSpPr/>
          <p:nvPr/>
        </p:nvCxnSpPr>
        <p:spPr bwMode="auto">
          <a:xfrm>
            <a:off x="3927391" y="3410712"/>
            <a:ext cx="469634" cy="0"/>
          </a:xfrm>
          <a:prstGeom prst="line">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1" name="Straight Connector 70"/>
          <p:cNvCxnSpPr/>
          <p:nvPr/>
        </p:nvCxnSpPr>
        <p:spPr bwMode="auto">
          <a:xfrm>
            <a:off x="3917630" y="4623102"/>
            <a:ext cx="469634" cy="0"/>
          </a:xfrm>
          <a:prstGeom prst="line">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2" name="Connector: Elbow 71"/>
          <p:cNvCxnSpPr>
            <a:cxnSpLocks/>
          </p:cNvCxnSpPr>
          <p:nvPr/>
        </p:nvCxnSpPr>
        <p:spPr bwMode="auto">
          <a:xfrm flipV="1">
            <a:off x="1560183" y="3673469"/>
            <a:ext cx="9016802" cy="2006562"/>
          </a:xfrm>
          <a:prstGeom prst="bentConnector3">
            <a:avLst>
              <a:gd name="adj1" fmla="val 99894"/>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3" name="AutoShape 15" descr="bpct-blend1"/>
          <p:cNvSpPr>
            <a:spLocks noChangeArrowheads="1"/>
          </p:cNvSpPr>
          <p:nvPr/>
        </p:nvSpPr>
        <p:spPr bwMode="auto">
          <a:xfrm>
            <a:off x="2554370" y="5061575"/>
            <a:ext cx="1365038" cy="75031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r>
              <a:rPr lang="sv-SE" altLang="en-US" sz="1500" dirty="0">
                <a:solidFill>
                  <a:srgbClr val="FFFFFF"/>
                </a:solidFill>
                <a:latin typeface="Arial" pitchFamily="34" charset="0"/>
                <a:ea typeface="MS PGothic" pitchFamily="34" charset="-128"/>
              </a:rPr>
              <a:t>vRAN</a:t>
            </a:r>
          </a:p>
        </p:txBody>
      </p:sp>
      <p:sp>
        <p:nvSpPr>
          <p:cNvPr id="74" name="AutoShape 15" descr="bpct-blend1"/>
          <p:cNvSpPr>
            <a:spLocks noChangeArrowheads="1"/>
          </p:cNvSpPr>
          <p:nvPr/>
        </p:nvSpPr>
        <p:spPr bwMode="auto">
          <a:xfrm>
            <a:off x="7371464" y="5082470"/>
            <a:ext cx="1365038" cy="75031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r>
              <a:rPr lang="sv-SE" altLang="en-US" sz="1500" dirty="0" err="1">
                <a:solidFill>
                  <a:srgbClr val="FFFFFF"/>
                </a:solidFill>
                <a:latin typeface="Arial" pitchFamily="34" charset="0"/>
                <a:ea typeface="MS PGothic" pitchFamily="34" charset="-128"/>
              </a:rPr>
              <a:t>vGW</a:t>
            </a:r>
            <a:r>
              <a:rPr lang="sv-SE" altLang="en-US" sz="1500" dirty="0">
                <a:solidFill>
                  <a:srgbClr val="FFFFFF"/>
                </a:solidFill>
                <a:latin typeface="Arial" pitchFamily="34" charset="0"/>
                <a:ea typeface="MS PGothic" pitchFamily="34" charset="-128"/>
              </a:rPr>
              <a:t>-U</a:t>
            </a:r>
          </a:p>
        </p:txBody>
      </p:sp>
      <p:cxnSp>
        <p:nvCxnSpPr>
          <p:cNvPr id="75" name="Connector: Elbow 74"/>
          <p:cNvCxnSpPr>
            <a:cxnSpLocks/>
            <a:stCxn id="74" idx="3"/>
          </p:cNvCxnSpPr>
          <p:nvPr/>
        </p:nvCxnSpPr>
        <p:spPr bwMode="auto">
          <a:xfrm flipV="1">
            <a:off x="8736502" y="3338467"/>
            <a:ext cx="525246" cy="2119159"/>
          </a:xfrm>
          <a:prstGeom prst="bentConnector2">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6" name="Straight Connector 75"/>
          <p:cNvCxnSpPr>
            <a:cxnSpLocks/>
          </p:cNvCxnSpPr>
          <p:nvPr/>
        </p:nvCxnSpPr>
        <p:spPr bwMode="auto">
          <a:xfrm flipH="1">
            <a:off x="8746094" y="3357675"/>
            <a:ext cx="509164" cy="0"/>
          </a:xfrm>
          <a:prstGeom prst="line">
            <a:avLst/>
          </a:prstGeom>
          <a:ln w="38100">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7" name="Rectangle 76"/>
          <p:cNvSpPr/>
          <p:nvPr/>
        </p:nvSpPr>
        <p:spPr>
          <a:xfrm>
            <a:off x="6864266" y="4058684"/>
            <a:ext cx="6096000" cy="584775"/>
          </a:xfrm>
          <a:prstGeom prst="rect">
            <a:avLst/>
          </a:prstGeom>
        </p:spPr>
        <p:txBody>
          <a:bodyPr>
            <a:spAutoFit/>
          </a:bodyPr>
          <a:lstStyle/>
          <a:p>
            <a:pPr algn="ctr"/>
            <a:r>
              <a:rPr lang="en-US" sz="1600" dirty="0">
                <a:solidFill>
                  <a:schemeClr val="bg1"/>
                </a:solidFill>
              </a:rPr>
              <a:t>Central</a:t>
            </a:r>
            <a:br>
              <a:rPr lang="en-US" sz="1600" dirty="0">
                <a:solidFill>
                  <a:schemeClr val="bg1"/>
                </a:solidFill>
              </a:rPr>
            </a:br>
            <a:r>
              <a:rPr lang="en-US" sz="1600" dirty="0">
                <a:solidFill>
                  <a:schemeClr val="bg1"/>
                </a:solidFill>
              </a:rPr>
              <a:t>Services</a:t>
            </a:r>
          </a:p>
        </p:txBody>
      </p:sp>
      <p:sp>
        <p:nvSpPr>
          <p:cNvPr id="78" name="textruta 64"/>
          <p:cNvSpPr txBox="1">
            <a:spLocks noChangeArrowheads="1"/>
          </p:cNvSpPr>
          <p:nvPr/>
        </p:nvSpPr>
        <p:spPr bwMode="auto">
          <a:xfrm>
            <a:off x="1991292" y="5941339"/>
            <a:ext cx="2332581" cy="307773"/>
          </a:xfrm>
          <a:prstGeom prst="rect">
            <a:avLst/>
          </a:prstGeom>
          <a:solidFill>
            <a:schemeClr val="bg1"/>
          </a:solidFill>
          <a:ln>
            <a:noFill/>
          </a:ln>
          <a:extLst/>
        </p:spPr>
        <p:txBody>
          <a:bodyPr wrap="square" lIns="91436" tIns="45718" rIns="91436" bIns="45718">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sv-SE" sz="1400" b="1" dirty="0">
                <a:solidFill>
                  <a:schemeClr val="tx2"/>
                </a:solidFill>
              </a:rPr>
              <a:t>Data Center at </a:t>
            </a:r>
            <a:r>
              <a:rPr lang="sv-SE" sz="1400" b="1" dirty="0" err="1">
                <a:solidFill>
                  <a:schemeClr val="tx2"/>
                </a:solidFill>
              </a:rPr>
              <a:t>Edge</a:t>
            </a:r>
            <a:endParaRPr lang="sv-SE" sz="1400" b="1" dirty="0">
              <a:solidFill>
                <a:schemeClr val="tx2"/>
              </a:solidFill>
            </a:endParaRPr>
          </a:p>
        </p:txBody>
      </p:sp>
      <p:sp>
        <p:nvSpPr>
          <p:cNvPr id="79" name="textruta 64"/>
          <p:cNvSpPr txBox="1">
            <a:spLocks noChangeArrowheads="1"/>
          </p:cNvSpPr>
          <p:nvPr/>
        </p:nvSpPr>
        <p:spPr bwMode="auto">
          <a:xfrm>
            <a:off x="6885698" y="5957350"/>
            <a:ext cx="2407367" cy="307773"/>
          </a:xfrm>
          <a:prstGeom prst="rect">
            <a:avLst/>
          </a:prstGeom>
          <a:solidFill>
            <a:schemeClr val="bg1"/>
          </a:solidFill>
          <a:ln>
            <a:noFill/>
          </a:ln>
          <a:extLst/>
        </p:spPr>
        <p:txBody>
          <a:bodyPr wrap="square" lIns="91436" tIns="45718" rIns="91436" bIns="45718">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sv-SE" sz="1400" b="1" dirty="0">
                <a:solidFill>
                  <a:schemeClr val="tx2"/>
                </a:solidFill>
              </a:rPr>
              <a:t>Data Center </a:t>
            </a:r>
            <a:r>
              <a:rPr lang="sv-SE" sz="1400" b="1" dirty="0" err="1">
                <a:solidFill>
                  <a:schemeClr val="tx2"/>
                </a:solidFill>
              </a:rPr>
              <a:t>Centralized</a:t>
            </a:r>
            <a:endParaRPr lang="sv-SE" sz="1400" b="1" dirty="0">
              <a:solidFill>
                <a:schemeClr val="tx2"/>
              </a:solidFill>
            </a:endParaRPr>
          </a:p>
        </p:txBody>
      </p:sp>
      <p:sp>
        <p:nvSpPr>
          <p:cNvPr id="80" name="Freeform 3"/>
          <p:cNvSpPr>
            <a:spLocks noChangeAspect="1" noEditPoints="1"/>
          </p:cNvSpPr>
          <p:nvPr/>
        </p:nvSpPr>
        <p:spPr bwMode="auto">
          <a:xfrm>
            <a:off x="7403176" y="3139501"/>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81" name="Freeform 3"/>
          <p:cNvSpPr>
            <a:spLocks noChangeAspect="1" noEditPoints="1"/>
          </p:cNvSpPr>
          <p:nvPr/>
        </p:nvSpPr>
        <p:spPr bwMode="auto">
          <a:xfrm>
            <a:off x="7816991" y="2046217"/>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83" name="Freeform 3"/>
          <p:cNvSpPr>
            <a:spLocks noChangeAspect="1" noEditPoints="1"/>
          </p:cNvSpPr>
          <p:nvPr/>
        </p:nvSpPr>
        <p:spPr bwMode="auto">
          <a:xfrm>
            <a:off x="8372129" y="2022728"/>
            <a:ext cx="524567" cy="940882"/>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84" name="Freeform 3"/>
          <p:cNvSpPr>
            <a:spLocks noChangeAspect="1" noEditPoints="1"/>
          </p:cNvSpPr>
          <p:nvPr/>
        </p:nvSpPr>
        <p:spPr bwMode="auto">
          <a:xfrm>
            <a:off x="7257194" y="2039825"/>
            <a:ext cx="527043" cy="940881"/>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chemeClr val="bg1">
              <a:alpha val="50000"/>
            </a:schemeClr>
          </a:solidFill>
          <a:ln>
            <a:noFill/>
          </a:ln>
          <a:extLst/>
        </p:spPr>
        <p:txBody>
          <a:bodyPr lIns="91436" tIns="45718" rIns="91436" bIns="45718"/>
          <a:lstStyle/>
          <a:p>
            <a:endParaRPr lang="en-US" sz="1800"/>
          </a:p>
        </p:txBody>
      </p:sp>
      <p:sp>
        <p:nvSpPr>
          <p:cNvPr id="85" name="AutoShape 15" descr="bpct-blend1"/>
          <p:cNvSpPr>
            <a:spLocks noChangeArrowheads="1"/>
          </p:cNvSpPr>
          <p:nvPr/>
        </p:nvSpPr>
        <p:spPr bwMode="auto">
          <a:xfrm>
            <a:off x="7403176" y="2158280"/>
            <a:ext cx="1344822" cy="78894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ct val="20000"/>
              </a:spcBef>
              <a:spcAft>
                <a:spcPts val="0"/>
              </a:spcAft>
              <a:buClrTx/>
              <a:buSzTx/>
              <a:buFont typeface="Arial" pitchFamily="34" charset="0"/>
              <a:buNone/>
              <a:tabLst/>
              <a:defRPr/>
            </a:pPr>
            <a:r>
              <a:rPr lang="sv-SE" altLang="en-US" sz="1500" kern="0">
                <a:solidFill>
                  <a:srgbClr val="FFFFFF"/>
                </a:solidFill>
                <a:latin typeface="Arial" pitchFamily="34" charset="0"/>
                <a:ea typeface="MS PGothic" pitchFamily="34" charset="-128"/>
              </a:rPr>
              <a:t>Policy &amp; Charing</a:t>
            </a:r>
            <a:endParaRPr kumimoji="0" lang="sv-SE" altLang="en-US" sz="1500" b="0" i="0" u="none" strike="noStrike" kern="0" cap="none" spc="0" normalizeH="0" baseline="0" noProof="0" dirty="0">
              <a:ln>
                <a:noFill/>
              </a:ln>
              <a:solidFill>
                <a:srgbClr val="FFFFFF"/>
              </a:solidFill>
              <a:effectLst/>
              <a:uLnTx/>
              <a:uFillTx/>
              <a:latin typeface="Arial" pitchFamily="34" charset="0"/>
              <a:ea typeface="MS PGothic" pitchFamily="34" charset="-128"/>
            </a:endParaRPr>
          </a:p>
        </p:txBody>
      </p:sp>
      <p:cxnSp>
        <p:nvCxnSpPr>
          <p:cNvPr id="86" name="Connector: Elbow 85"/>
          <p:cNvCxnSpPr>
            <a:cxnSpLocks/>
          </p:cNvCxnSpPr>
          <p:nvPr/>
        </p:nvCxnSpPr>
        <p:spPr bwMode="auto">
          <a:xfrm rot="16200000" flipV="1">
            <a:off x="6318792" y="3210971"/>
            <a:ext cx="1882784" cy="285985"/>
          </a:xfrm>
          <a:prstGeom prst="bentConnector3">
            <a:avLst>
              <a:gd name="adj1" fmla="val 799"/>
            </a:avLst>
          </a:prstGeom>
          <a:solidFill>
            <a:schemeClr val="accent1"/>
          </a:solidFill>
          <a:ln w="25400" cap="flat" cmpd="sng" algn="ctr">
            <a:solidFill>
              <a:schemeClr val="bg1"/>
            </a:solidFill>
            <a:prstDash val="sysDot"/>
            <a:round/>
            <a:headEnd type="none" w="med" len="med"/>
            <a:tailEnd type="none" w="med" len="med"/>
          </a:ln>
          <a:effectLst/>
        </p:spPr>
      </p:cxnSp>
      <p:cxnSp>
        <p:nvCxnSpPr>
          <p:cNvPr id="87" name="Elbow Connector 37"/>
          <p:cNvCxnSpPr>
            <a:cxnSpLocks/>
          </p:cNvCxnSpPr>
          <p:nvPr/>
        </p:nvCxnSpPr>
        <p:spPr bwMode="auto">
          <a:xfrm rot="10800000">
            <a:off x="7094894" y="2404372"/>
            <a:ext cx="296788" cy="3277"/>
          </a:xfrm>
          <a:prstGeom prst="bentConnector3">
            <a:avLst/>
          </a:prstGeom>
          <a:solidFill>
            <a:schemeClr val="accent1"/>
          </a:solidFill>
          <a:ln w="25400" cap="flat" cmpd="sng" algn="ctr">
            <a:solidFill>
              <a:schemeClr val="bg1"/>
            </a:solidFill>
            <a:prstDash val="sysDot"/>
            <a:round/>
            <a:headEnd type="none" w="med" len="med"/>
            <a:tailEnd type="none" w="med" len="med"/>
          </a:ln>
          <a:effectLst/>
        </p:spPr>
      </p:cxnSp>
      <p:sp>
        <p:nvSpPr>
          <p:cNvPr id="88" name="AutoShape 15" descr="bpct-blend1"/>
          <p:cNvSpPr>
            <a:spLocks noChangeArrowheads="1"/>
          </p:cNvSpPr>
          <p:nvPr/>
        </p:nvSpPr>
        <p:spPr bwMode="auto">
          <a:xfrm>
            <a:off x="7399663" y="3099971"/>
            <a:ext cx="1344822" cy="788941"/>
          </a:xfrm>
          <a:prstGeom prst="roundRect">
            <a:avLst>
              <a:gd name="adj" fmla="val 16681"/>
            </a:avLst>
          </a:prstGeom>
          <a:solidFill>
            <a:srgbClr val="00A9D4"/>
          </a:solidFill>
          <a:ln w="25400" algn="ctr">
            <a:solidFill>
              <a:srgbClr val="FFFFFF"/>
            </a:solidFill>
            <a:round/>
            <a:headEnd/>
            <a:tailEnd/>
          </a:ln>
        </p:spPr>
        <p:txBody>
          <a:bodyPr lIns="0" tIns="45718" rIns="0" bIns="45718" anchor="ctr"/>
          <a:lstStyle/>
          <a:p>
            <a:pPr algn="ctr">
              <a:spcBef>
                <a:spcPct val="20000"/>
              </a:spcBef>
              <a:buFont typeface="Arial" pitchFamily="34" charset="0"/>
              <a:buNone/>
            </a:pPr>
            <a:br>
              <a:rPr lang="sv-SE" altLang="en-US" sz="1500" dirty="0">
                <a:solidFill>
                  <a:srgbClr val="FFFFFF"/>
                </a:solidFill>
                <a:latin typeface="Arial" pitchFamily="34" charset="0"/>
                <a:ea typeface="MS PGothic" pitchFamily="34" charset="-128"/>
              </a:rPr>
            </a:br>
            <a:r>
              <a:rPr lang="sv-SE" altLang="en-US" sz="1500" dirty="0">
                <a:solidFill>
                  <a:srgbClr val="FFFFFF"/>
                </a:solidFill>
                <a:latin typeface="Arial" pitchFamily="34" charset="0"/>
                <a:ea typeface="MS PGothic" pitchFamily="34" charset="-128"/>
              </a:rPr>
              <a:t>Central</a:t>
            </a:r>
            <a:br>
              <a:rPr lang="sv-SE" altLang="en-US" sz="1500" dirty="0">
                <a:solidFill>
                  <a:srgbClr val="FFFFFF"/>
                </a:solidFill>
                <a:latin typeface="Arial" pitchFamily="34" charset="0"/>
                <a:ea typeface="MS PGothic" pitchFamily="34" charset="-128"/>
              </a:rPr>
            </a:br>
            <a:r>
              <a:rPr lang="sv-SE" altLang="en-US" sz="1500" dirty="0" err="1">
                <a:solidFill>
                  <a:srgbClr val="FFFFFF"/>
                </a:solidFill>
                <a:latin typeface="Arial" pitchFamily="34" charset="0"/>
                <a:ea typeface="MS PGothic" pitchFamily="34" charset="-128"/>
              </a:rPr>
              <a:t>Applications</a:t>
            </a:r>
            <a:br>
              <a:rPr lang="sv-SE" altLang="en-US" sz="1500" dirty="0">
                <a:solidFill>
                  <a:srgbClr val="FFFFFF"/>
                </a:solidFill>
                <a:latin typeface="Arial" pitchFamily="34" charset="0"/>
                <a:ea typeface="MS PGothic" pitchFamily="34" charset="-128"/>
              </a:rPr>
            </a:br>
            <a:r>
              <a:rPr lang="sv-SE" altLang="en-US" sz="1500" dirty="0">
                <a:solidFill>
                  <a:srgbClr val="FFFFFF"/>
                </a:solidFill>
                <a:latin typeface="Arial" pitchFamily="34" charset="0"/>
                <a:ea typeface="MS PGothic" pitchFamily="34" charset="-128"/>
              </a:rPr>
              <a:t>(</a:t>
            </a:r>
            <a:r>
              <a:rPr lang="sv-SE" altLang="en-US" sz="1500" dirty="0" err="1">
                <a:solidFill>
                  <a:srgbClr val="FFFFFF"/>
                </a:solidFill>
                <a:latin typeface="Arial" pitchFamily="34" charset="0"/>
                <a:ea typeface="MS PGothic" pitchFamily="34" charset="-128"/>
              </a:rPr>
              <a:t>e.g.IMS</a:t>
            </a:r>
            <a:r>
              <a:rPr lang="sv-SE" altLang="en-US" sz="1500" dirty="0">
                <a:solidFill>
                  <a:srgbClr val="FFFFFF"/>
                </a:solidFill>
                <a:latin typeface="Arial" pitchFamily="34" charset="0"/>
                <a:ea typeface="MS PGothic" pitchFamily="34" charset="-128"/>
              </a:rPr>
              <a:t>)</a:t>
            </a:r>
            <a:br>
              <a:rPr lang="sv-SE" altLang="en-US" sz="1500" dirty="0">
                <a:solidFill>
                  <a:srgbClr val="FFFFFF"/>
                </a:solidFill>
                <a:latin typeface="Arial" pitchFamily="34" charset="0"/>
                <a:ea typeface="MS PGothic" pitchFamily="34" charset="-128"/>
              </a:rPr>
            </a:br>
            <a:endParaRPr lang="sv-SE" altLang="en-US" sz="1500" dirty="0">
              <a:solidFill>
                <a:srgbClr val="FFFFFF"/>
              </a:solidFill>
              <a:latin typeface="Arial" pitchFamily="34" charset="0"/>
              <a:ea typeface="MS PGothic" pitchFamily="34" charset="-128"/>
            </a:endParaRPr>
          </a:p>
        </p:txBody>
      </p:sp>
      <p:sp>
        <p:nvSpPr>
          <p:cNvPr id="89" name="Freeform 3"/>
          <p:cNvSpPr>
            <a:spLocks noChangeAspect="1" noEditPoints="1"/>
          </p:cNvSpPr>
          <p:nvPr/>
        </p:nvSpPr>
        <p:spPr bwMode="auto">
          <a:xfrm>
            <a:off x="2906753" y="2137283"/>
            <a:ext cx="641663" cy="594997"/>
          </a:xfrm>
          <a:custGeom>
            <a:avLst/>
            <a:gdLst>
              <a:gd name="T0" fmla="*/ 2147483647 w 326"/>
              <a:gd name="T1" fmla="*/ 2147483647 h 302"/>
              <a:gd name="T2" fmla="*/ 2147483647 w 326"/>
              <a:gd name="T3" fmla="*/ 2147483647 h 302"/>
              <a:gd name="T4" fmla="*/ 2147483647 w 326"/>
              <a:gd name="T5" fmla="*/ 2147483647 h 302"/>
              <a:gd name="T6" fmla="*/ 2147483647 w 326"/>
              <a:gd name="T7" fmla="*/ 2147483647 h 302"/>
              <a:gd name="T8" fmla="*/ 2147483647 w 326"/>
              <a:gd name="T9" fmla="*/ 2147483647 h 302"/>
              <a:gd name="T10" fmla="*/ 2147483647 w 326"/>
              <a:gd name="T11" fmla="*/ 2147483647 h 302"/>
              <a:gd name="T12" fmla="*/ 2147483647 w 326"/>
              <a:gd name="T13" fmla="*/ 2147483647 h 302"/>
              <a:gd name="T14" fmla="*/ 2147483647 w 326"/>
              <a:gd name="T15" fmla="*/ 2147483647 h 302"/>
              <a:gd name="T16" fmla="*/ 2147483647 w 326"/>
              <a:gd name="T17" fmla="*/ 2147483647 h 302"/>
              <a:gd name="T18" fmla="*/ 2147483647 w 326"/>
              <a:gd name="T19" fmla="*/ 2147483647 h 302"/>
              <a:gd name="T20" fmla="*/ 2147483647 w 326"/>
              <a:gd name="T21" fmla="*/ 2147483647 h 302"/>
              <a:gd name="T22" fmla="*/ 2147483647 w 326"/>
              <a:gd name="T23" fmla="*/ 2147483647 h 302"/>
              <a:gd name="T24" fmla="*/ 2147483647 w 326"/>
              <a:gd name="T25" fmla="*/ 2147483647 h 302"/>
              <a:gd name="T26" fmla="*/ 2147483647 w 326"/>
              <a:gd name="T27" fmla="*/ 2147483647 h 302"/>
              <a:gd name="T28" fmla="*/ 2147483647 w 326"/>
              <a:gd name="T29" fmla="*/ 2147483647 h 302"/>
              <a:gd name="T30" fmla="*/ 2147483647 w 326"/>
              <a:gd name="T31" fmla="*/ 2147483647 h 302"/>
              <a:gd name="T32" fmla="*/ 2147483647 w 326"/>
              <a:gd name="T33" fmla="*/ 2147483647 h 302"/>
              <a:gd name="T34" fmla="*/ 2147483647 w 326"/>
              <a:gd name="T35" fmla="*/ 2147483647 h 302"/>
              <a:gd name="T36" fmla="*/ 2147483647 w 326"/>
              <a:gd name="T37" fmla="*/ 2147483647 h 302"/>
              <a:gd name="T38" fmla="*/ 2147483647 w 326"/>
              <a:gd name="T39" fmla="*/ 2147483647 h 302"/>
              <a:gd name="T40" fmla="*/ 2147483647 w 326"/>
              <a:gd name="T41" fmla="*/ 2147483647 h 302"/>
              <a:gd name="T42" fmla="*/ 2147483647 w 326"/>
              <a:gd name="T43" fmla="*/ 2147483647 h 302"/>
              <a:gd name="T44" fmla="*/ 2147483647 w 326"/>
              <a:gd name="T45" fmla="*/ 2147483647 h 302"/>
              <a:gd name="T46" fmla="*/ 2147483647 w 326"/>
              <a:gd name="T47" fmla="*/ 2147483647 h 302"/>
              <a:gd name="T48" fmla="*/ 2147483647 w 326"/>
              <a:gd name="T49" fmla="*/ 2147483647 h 302"/>
              <a:gd name="T50" fmla="*/ 2147483647 w 326"/>
              <a:gd name="T51" fmla="*/ 2147483647 h 302"/>
              <a:gd name="T52" fmla="*/ 2147483647 w 326"/>
              <a:gd name="T53" fmla="*/ 2147483647 h 302"/>
              <a:gd name="T54" fmla="*/ 2147483647 w 326"/>
              <a:gd name="T55" fmla="*/ 2147483647 h 302"/>
              <a:gd name="T56" fmla="*/ 2147483647 w 326"/>
              <a:gd name="T57" fmla="*/ 2147483647 h 302"/>
              <a:gd name="T58" fmla="*/ 2147483647 w 326"/>
              <a:gd name="T59" fmla="*/ 2147483647 h 302"/>
              <a:gd name="T60" fmla="*/ 2147483647 w 326"/>
              <a:gd name="T61" fmla="*/ 2147483647 h 302"/>
              <a:gd name="T62" fmla="*/ 2147483647 w 326"/>
              <a:gd name="T63" fmla="*/ 2147483647 h 302"/>
              <a:gd name="T64" fmla="*/ 2147483647 w 326"/>
              <a:gd name="T65" fmla="*/ 2147483647 h 302"/>
              <a:gd name="T66" fmla="*/ 2147483647 w 326"/>
              <a:gd name="T67" fmla="*/ 2147483647 h 302"/>
              <a:gd name="T68" fmla="*/ 2147483647 w 326"/>
              <a:gd name="T69" fmla="*/ 2147483647 h 302"/>
              <a:gd name="T70" fmla="*/ 2147483647 w 326"/>
              <a:gd name="T71" fmla="*/ 2147483647 h 302"/>
              <a:gd name="T72" fmla="*/ 2147483647 w 326"/>
              <a:gd name="T73" fmla="*/ 2147483647 h 302"/>
              <a:gd name="T74" fmla="*/ 2147483647 w 326"/>
              <a:gd name="T75" fmla="*/ 2147483647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6" h="302">
                <a:moveTo>
                  <a:pt x="323" y="253"/>
                </a:moveTo>
                <a:cubicBezTo>
                  <a:pt x="295" y="224"/>
                  <a:pt x="295" y="224"/>
                  <a:pt x="295" y="224"/>
                </a:cubicBezTo>
                <a:cubicBezTo>
                  <a:pt x="325" y="168"/>
                  <a:pt x="314" y="98"/>
                  <a:pt x="269" y="52"/>
                </a:cubicBezTo>
                <a:cubicBezTo>
                  <a:pt x="232" y="15"/>
                  <a:pt x="177" y="0"/>
                  <a:pt x="126" y="15"/>
                </a:cubicBezTo>
                <a:cubicBezTo>
                  <a:pt x="126" y="15"/>
                  <a:pt x="125" y="15"/>
                  <a:pt x="125" y="15"/>
                </a:cubicBezTo>
                <a:cubicBezTo>
                  <a:pt x="121" y="16"/>
                  <a:pt x="119" y="20"/>
                  <a:pt x="120" y="25"/>
                </a:cubicBezTo>
                <a:cubicBezTo>
                  <a:pt x="121" y="29"/>
                  <a:pt x="126" y="31"/>
                  <a:pt x="130" y="30"/>
                </a:cubicBezTo>
                <a:cubicBezTo>
                  <a:pt x="175" y="17"/>
                  <a:pt x="224" y="30"/>
                  <a:pt x="258" y="63"/>
                </a:cubicBezTo>
                <a:cubicBezTo>
                  <a:pt x="297" y="103"/>
                  <a:pt x="307" y="163"/>
                  <a:pt x="283" y="212"/>
                </a:cubicBezTo>
                <a:cubicBezTo>
                  <a:pt x="256" y="186"/>
                  <a:pt x="256" y="186"/>
                  <a:pt x="256" y="186"/>
                </a:cubicBezTo>
                <a:cubicBezTo>
                  <a:pt x="254" y="184"/>
                  <a:pt x="251" y="183"/>
                  <a:pt x="248" y="184"/>
                </a:cubicBezTo>
                <a:cubicBezTo>
                  <a:pt x="246" y="184"/>
                  <a:pt x="243" y="187"/>
                  <a:pt x="243" y="190"/>
                </a:cubicBezTo>
                <a:cubicBezTo>
                  <a:pt x="224" y="276"/>
                  <a:pt x="224" y="276"/>
                  <a:pt x="224" y="276"/>
                </a:cubicBezTo>
                <a:cubicBezTo>
                  <a:pt x="223" y="278"/>
                  <a:pt x="224" y="281"/>
                  <a:pt x="226" y="283"/>
                </a:cubicBezTo>
                <a:cubicBezTo>
                  <a:pt x="227" y="285"/>
                  <a:pt x="229" y="286"/>
                  <a:pt x="232" y="286"/>
                </a:cubicBezTo>
                <a:cubicBezTo>
                  <a:pt x="232" y="286"/>
                  <a:pt x="233" y="285"/>
                  <a:pt x="233" y="285"/>
                </a:cubicBezTo>
                <a:cubicBezTo>
                  <a:pt x="319" y="266"/>
                  <a:pt x="319" y="266"/>
                  <a:pt x="319" y="266"/>
                </a:cubicBezTo>
                <a:cubicBezTo>
                  <a:pt x="322" y="266"/>
                  <a:pt x="325" y="264"/>
                  <a:pt x="325" y="261"/>
                </a:cubicBezTo>
                <a:cubicBezTo>
                  <a:pt x="326" y="258"/>
                  <a:pt x="325" y="255"/>
                  <a:pt x="323" y="253"/>
                </a:cubicBezTo>
                <a:close/>
                <a:moveTo>
                  <a:pt x="197" y="283"/>
                </a:moveTo>
                <a:cubicBezTo>
                  <a:pt x="152" y="294"/>
                  <a:pt x="106" y="281"/>
                  <a:pt x="73" y="248"/>
                </a:cubicBezTo>
                <a:cubicBezTo>
                  <a:pt x="34" y="210"/>
                  <a:pt x="24" y="152"/>
                  <a:pt x="46" y="103"/>
                </a:cubicBezTo>
                <a:cubicBezTo>
                  <a:pt x="70" y="127"/>
                  <a:pt x="70" y="127"/>
                  <a:pt x="70" y="127"/>
                </a:cubicBezTo>
                <a:cubicBezTo>
                  <a:pt x="72" y="129"/>
                  <a:pt x="74" y="130"/>
                  <a:pt x="76" y="130"/>
                </a:cubicBezTo>
                <a:cubicBezTo>
                  <a:pt x="77" y="130"/>
                  <a:pt x="77" y="130"/>
                  <a:pt x="78" y="129"/>
                </a:cubicBezTo>
                <a:cubicBezTo>
                  <a:pt x="81" y="129"/>
                  <a:pt x="83" y="126"/>
                  <a:pt x="84" y="123"/>
                </a:cubicBezTo>
                <a:cubicBezTo>
                  <a:pt x="103" y="37"/>
                  <a:pt x="103" y="37"/>
                  <a:pt x="103" y="37"/>
                </a:cubicBezTo>
                <a:cubicBezTo>
                  <a:pt x="103" y="35"/>
                  <a:pt x="102" y="32"/>
                  <a:pt x="100" y="30"/>
                </a:cubicBezTo>
                <a:cubicBezTo>
                  <a:pt x="99" y="28"/>
                  <a:pt x="96" y="27"/>
                  <a:pt x="93" y="28"/>
                </a:cubicBezTo>
                <a:cubicBezTo>
                  <a:pt x="7" y="47"/>
                  <a:pt x="7" y="47"/>
                  <a:pt x="7" y="47"/>
                </a:cubicBezTo>
                <a:cubicBezTo>
                  <a:pt x="4" y="47"/>
                  <a:pt x="2" y="50"/>
                  <a:pt x="1" y="52"/>
                </a:cubicBezTo>
                <a:cubicBezTo>
                  <a:pt x="0" y="55"/>
                  <a:pt x="1" y="58"/>
                  <a:pt x="3" y="60"/>
                </a:cubicBezTo>
                <a:cubicBezTo>
                  <a:pt x="34" y="91"/>
                  <a:pt x="34" y="91"/>
                  <a:pt x="34" y="91"/>
                </a:cubicBezTo>
                <a:cubicBezTo>
                  <a:pt x="6" y="147"/>
                  <a:pt x="17" y="215"/>
                  <a:pt x="61" y="260"/>
                </a:cubicBezTo>
                <a:cubicBezTo>
                  <a:pt x="89" y="287"/>
                  <a:pt x="127" y="302"/>
                  <a:pt x="166" y="302"/>
                </a:cubicBezTo>
                <a:cubicBezTo>
                  <a:pt x="177" y="302"/>
                  <a:pt x="189" y="301"/>
                  <a:pt x="201" y="298"/>
                </a:cubicBezTo>
                <a:cubicBezTo>
                  <a:pt x="205" y="297"/>
                  <a:pt x="208" y="293"/>
                  <a:pt x="207" y="288"/>
                </a:cubicBezTo>
                <a:cubicBezTo>
                  <a:pt x="206" y="284"/>
                  <a:pt x="201" y="282"/>
                  <a:pt x="197" y="283"/>
                </a:cubicBezTo>
                <a:close/>
              </a:path>
            </a:pathLst>
          </a:custGeom>
          <a:solidFill>
            <a:schemeClr val="bg1"/>
          </a:solidFill>
          <a:ln w="9525">
            <a:noFill/>
            <a:round/>
            <a:headEnd/>
            <a:tailEnd/>
          </a:ln>
        </p:spPr>
        <p:txBody>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
        <p:nvSpPr>
          <p:cNvPr id="90" name="TextBox 89"/>
          <p:cNvSpPr txBox="1"/>
          <p:nvPr/>
        </p:nvSpPr>
        <p:spPr>
          <a:xfrm>
            <a:off x="2726658" y="1737172"/>
            <a:ext cx="1177291" cy="400110"/>
          </a:xfrm>
          <a:prstGeom prst="rect">
            <a:avLst/>
          </a:prstGeom>
          <a:noFill/>
        </p:spPr>
        <p:txBody>
          <a:bodyPr wrap="square" rtlCol="0">
            <a:spAutoFit/>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r>
              <a:rPr lang="en-US" dirty="0">
                <a:solidFill>
                  <a:schemeClr val="bg1"/>
                </a:solidFill>
              </a:rPr>
              <a:t>3-4 ms</a:t>
            </a:r>
          </a:p>
        </p:txBody>
      </p:sp>
      <p:sp>
        <p:nvSpPr>
          <p:cNvPr id="2" name="TextBox 1"/>
          <p:cNvSpPr txBox="1"/>
          <p:nvPr/>
        </p:nvSpPr>
        <p:spPr>
          <a:xfrm>
            <a:off x="777908" y="5991372"/>
            <a:ext cx="556563" cy="400110"/>
          </a:xfrm>
          <a:prstGeom prst="rect">
            <a:avLst/>
          </a:prstGeom>
          <a:noFill/>
        </p:spPr>
        <p:txBody>
          <a:bodyPr wrap="none" rtlCol="0">
            <a:spAutoFit/>
          </a:bodyPr>
          <a:lstStyle/>
          <a:p>
            <a:r>
              <a:rPr lang="en-US" dirty="0">
                <a:solidFill>
                  <a:schemeClr val="bg1"/>
                </a:solidFill>
              </a:rPr>
              <a:t>NR</a:t>
            </a:r>
          </a:p>
        </p:txBody>
      </p:sp>
    </p:spTree>
    <p:extLst>
      <p:ext uri="{BB962C8B-B14F-4D97-AF65-F5344CB8AC3E}">
        <p14:creationId xmlns:p14="http://schemas.microsoft.com/office/powerpoint/2010/main" val="30157420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5400" dirty="0"/>
              <a:t>5G Core Concepts</a:t>
            </a:r>
          </a:p>
        </p:txBody>
      </p:sp>
      <p:sp>
        <p:nvSpPr>
          <p:cNvPr id="2" name="Subtitle 1"/>
          <p:cNvSpPr>
            <a:spLocks noGrp="1"/>
          </p:cNvSpPr>
          <p:nvPr>
            <p:ph type="subTitle" idx="1"/>
          </p:nvPr>
        </p:nvSpPr>
        <p:spPr/>
        <p:txBody>
          <a:bodyPr/>
          <a:lstStyle/>
          <a:p>
            <a:r>
              <a:rPr lang="en-US" dirty="0"/>
              <a:t>Chapter 4</a:t>
            </a:r>
          </a:p>
          <a:p>
            <a:r>
              <a:rPr lang="en-US" dirty="0"/>
              <a:t>5G Core Architecture and Technology </a:t>
            </a:r>
          </a:p>
        </p:txBody>
      </p:sp>
    </p:spTree>
    <p:custDataLst>
      <p:tags r:id="rId1"/>
    </p:custDataLst>
    <p:extLst>
      <p:ext uri="{BB962C8B-B14F-4D97-AF65-F5344CB8AC3E}">
        <p14:creationId xmlns:p14="http://schemas.microsoft.com/office/powerpoint/2010/main" val="28214259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199825"/>
            <a:ext cx="9992784" cy="1085371"/>
          </a:xfrm>
        </p:spPr>
        <p:txBody>
          <a:bodyPr/>
          <a:lstStyle/>
          <a:p>
            <a:r>
              <a:rPr lang="en-US" dirty="0"/>
              <a:t>Chapter Objectives</a:t>
            </a:r>
          </a:p>
        </p:txBody>
      </p:sp>
      <p:sp>
        <p:nvSpPr>
          <p:cNvPr id="6" name="Text Placeholder 2"/>
          <p:cNvSpPr>
            <a:spLocks noGrp="1"/>
          </p:cNvSpPr>
          <p:nvPr>
            <p:ph type="body" idx="1"/>
          </p:nvPr>
        </p:nvSpPr>
        <p:spPr>
          <a:xfrm>
            <a:off x="396875" y="1601217"/>
            <a:ext cx="10973490" cy="4518607"/>
          </a:xfrm>
        </p:spPr>
        <p:txBody>
          <a:bodyPr/>
          <a:lstStyle/>
          <a:p>
            <a:pPr marL="0" indent="0">
              <a:lnSpc>
                <a:spcPct val="90000"/>
              </a:lnSpc>
              <a:buNone/>
            </a:pPr>
            <a:r>
              <a:rPr lang="en-US" dirty="0"/>
              <a:t>On completion of this chapter, the participants will be able to:</a:t>
            </a:r>
            <a:br>
              <a:rPr lang="en-US" dirty="0"/>
            </a:br>
            <a:endParaRPr lang="en-US" dirty="0"/>
          </a:p>
          <a:p>
            <a:pPr marL="455613" indent="-457200">
              <a:lnSpc>
                <a:spcPct val="90000"/>
              </a:lnSpc>
            </a:pPr>
            <a:r>
              <a:rPr lang="en-US" dirty="0"/>
              <a:t>Explain the basic conceptual network architecture and technology for the 5G Core</a:t>
            </a:r>
            <a:br>
              <a:rPr lang="en-US" dirty="0"/>
            </a:br>
            <a:endParaRPr lang="en-US" sz="2000" dirty="0"/>
          </a:p>
          <a:p>
            <a:pPr marL="735013" lvl="1" indent="-381000">
              <a:lnSpc>
                <a:spcPct val="90000"/>
              </a:lnSpc>
            </a:pPr>
            <a:r>
              <a:rPr lang="en-US" dirty="0"/>
              <a:t>Explain the 3GPP key principals for the overall 5G core architecture</a:t>
            </a:r>
            <a:br>
              <a:rPr lang="en-US" dirty="0"/>
            </a:br>
            <a:endParaRPr lang="en-US" dirty="0"/>
          </a:p>
          <a:p>
            <a:pPr marL="735013" lvl="1" indent="-381000">
              <a:lnSpc>
                <a:spcPct val="90000"/>
              </a:lnSpc>
            </a:pPr>
            <a:r>
              <a:rPr lang="en-US" dirty="0"/>
              <a:t>Explain the 5G Core system architecture according to 3GPP TS 23.501</a:t>
            </a:r>
            <a:br>
              <a:rPr lang="en-US" dirty="0"/>
            </a:br>
            <a:endParaRPr lang="en-US" dirty="0"/>
          </a:p>
          <a:p>
            <a:pPr marL="735013" lvl="1" indent="-381000">
              <a:lnSpc>
                <a:spcPct val="90000"/>
              </a:lnSpc>
            </a:pPr>
            <a:r>
              <a:rPr lang="en-US" dirty="0"/>
              <a:t>Explain the Main 5G Core terms and definitions according to TS 23.501</a:t>
            </a:r>
            <a:br>
              <a:rPr lang="en-US" dirty="0"/>
            </a:br>
            <a:endParaRPr lang="en-US" dirty="0"/>
          </a:p>
          <a:p>
            <a:pPr marL="735013" lvl="1" indent="-381000">
              <a:lnSpc>
                <a:spcPct val="90000"/>
              </a:lnSpc>
            </a:pPr>
            <a:r>
              <a:rPr lang="en-US" dirty="0"/>
              <a:t>List the node functions and interfaces for the 3GPP 5G Core reference architecture</a:t>
            </a:r>
            <a:br>
              <a:rPr lang="en-US" dirty="0"/>
            </a:br>
            <a:endParaRPr lang="en-US" dirty="0"/>
          </a:p>
          <a:p>
            <a:pPr marL="735013" lvl="1" indent="-381000">
              <a:lnSpc>
                <a:spcPct val="90000"/>
              </a:lnSpc>
            </a:pPr>
            <a:r>
              <a:rPr lang="en-US" dirty="0"/>
              <a:t>Explain the basics for network slicing in 5G Core</a:t>
            </a:r>
            <a:br>
              <a:rPr lang="en-US" dirty="0"/>
            </a:br>
            <a:endParaRPr lang="en-US" dirty="0"/>
          </a:p>
        </p:txBody>
      </p:sp>
    </p:spTree>
    <p:extLst>
      <p:ext uri="{BB962C8B-B14F-4D97-AF65-F5344CB8AC3E}">
        <p14:creationId xmlns:p14="http://schemas.microsoft.com/office/powerpoint/2010/main" val="16793978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7435"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
          <p:cNvSpPr txBox="1">
            <a:spLocks/>
          </p:cNvSpPr>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kern="0" dirty="0">
                <a:solidFill>
                  <a:schemeClr val="bg1"/>
                </a:solidFill>
              </a:rPr>
              <a:t>5G “ONE Core”</a:t>
            </a:r>
            <a:br>
              <a:rPr lang="en-US" altLang="en-US" kern="0" dirty="0">
                <a:solidFill>
                  <a:schemeClr val="bg1"/>
                </a:solidFill>
              </a:rPr>
            </a:br>
            <a:r>
              <a:rPr lang="en-US" sz="2600" dirty="0">
                <a:solidFill>
                  <a:schemeClr val="bg1"/>
                </a:solidFill>
                <a:latin typeface="+mn-lt"/>
              </a:rPr>
              <a:t>Broadband Architecture 2020+</a:t>
            </a:r>
            <a:endParaRPr lang="en-US" altLang="en-US" sz="2600" kern="0" dirty="0">
              <a:solidFill>
                <a:schemeClr val="bg1"/>
              </a:solidFill>
              <a:latin typeface="+mn-lt"/>
            </a:endParaRPr>
          </a:p>
        </p:txBody>
      </p:sp>
      <p:sp>
        <p:nvSpPr>
          <p:cNvPr id="54" name="Rounded Rectangle 48"/>
          <p:cNvSpPr/>
          <p:nvPr/>
        </p:nvSpPr>
        <p:spPr bwMode="auto">
          <a:xfrm>
            <a:off x="6507775" y="1531739"/>
            <a:ext cx="1828800"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 Subscriber</a:t>
            </a:r>
            <a:br>
              <a:rPr lang="en-GB" sz="1400">
                <a:solidFill>
                  <a:srgbClr val="FFFFFF"/>
                </a:solidFill>
              </a:rPr>
            </a:br>
            <a:r>
              <a:rPr lang="en-GB" sz="1400">
                <a:solidFill>
                  <a:srgbClr val="FFFFFF"/>
                </a:solidFill>
              </a:rPr>
              <a:t> Data Management</a:t>
            </a:r>
            <a:endParaRPr lang="sv-SE" sz="1400">
              <a:solidFill>
                <a:srgbClr val="FFFFFF"/>
              </a:solidFill>
            </a:endParaRPr>
          </a:p>
        </p:txBody>
      </p:sp>
      <p:sp>
        <p:nvSpPr>
          <p:cNvPr id="55" name="Rounded Rectangle 49"/>
          <p:cNvSpPr/>
          <p:nvPr/>
        </p:nvSpPr>
        <p:spPr bwMode="auto">
          <a:xfrm>
            <a:off x="6506355" y="2676999"/>
            <a:ext cx="1828800"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 Core</a:t>
            </a:r>
            <a:br>
              <a:rPr lang="en-GB" sz="1400" dirty="0">
                <a:solidFill>
                  <a:srgbClr val="FFFFFF"/>
                </a:solidFill>
              </a:rPr>
            </a:br>
            <a:r>
              <a:rPr lang="en-GB" sz="1400" dirty="0">
                <a:solidFill>
                  <a:srgbClr val="FFFFFF"/>
                </a:solidFill>
              </a:rPr>
              <a:t>Control Functions</a:t>
            </a:r>
            <a:endParaRPr lang="sv-SE" sz="1400" dirty="0">
              <a:solidFill>
                <a:srgbClr val="FFFFFF"/>
              </a:solidFill>
            </a:endParaRPr>
          </a:p>
        </p:txBody>
      </p:sp>
      <p:sp>
        <p:nvSpPr>
          <p:cNvPr id="56" name="Rounded Rectangle 51"/>
          <p:cNvSpPr/>
          <p:nvPr/>
        </p:nvSpPr>
        <p:spPr bwMode="auto">
          <a:xfrm>
            <a:off x="907943" y="4255919"/>
            <a:ext cx="801296"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a:t>
            </a:r>
            <a:br>
              <a:rPr lang="sv-SE" sz="1400">
                <a:solidFill>
                  <a:srgbClr val="FFFFFF"/>
                </a:solidFill>
              </a:rPr>
            </a:br>
            <a:r>
              <a:rPr lang="sv-SE" sz="1400">
                <a:solidFill>
                  <a:srgbClr val="FFFFFF"/>
                </a:solidFill>
              </a:rPr>
              <a:t>UE</a:t>
            </a:r>
            <a:endParaRPr lang="en-GB" sz="1400">
              <a:solidFill>
                <a:srgbClr val="FFFFFF"/>
              </a:solidFill>
            </a:endParaRPr>
          </a:p>
        </p:txBody>
      </p:sp>
      <p:sp>
        <p:nvSpPr>
          <p:cNvPr id="57" name="Rounded Rectangle 52"/>
          <p:cNvSpPr/>
          <p:nvPr/>
        </p:nvSpPr>
        <p:spPr bwMode="auto">
          <a:xfrm>
            <a:off x="6780608" y="4255919"/>
            <a:ext cx="1669088"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 User </a:t>
            </a:r>
            <a:br>
              <a:rPr lang="en-GB" sz="1400">
                <a:solidFill>
                  <a:srgbClr val="FFFFFF"/>
                </a:solidFill>
              </a:rPr>
            </a:br>
            <a:r>
              <a:rPr lang="en-GB" sz="1400">
                <a:solidFill>
                  <a:srgbClr val="FFFFFF"/>
                </a:solidFill>
              </a:rPr>
              <a:t>Plane Function(s)</a:t>
            </a:r>
            <a:endParaRPr lang="sv-SE" sz="1400">
              <a:solidFill>
                <a:srgbClr val="FFFFFF"/>
              </a:solidFill>
            </a:endParaRPr>
          </a:p>
        </p:txBody>
      </p:sp>
      <p:sp>
        <p:nvSpPr>
          <p:cNvPr id="58" name="Oval 57"/>
          <p:cNvSpPr/>
          <p:nvPr/>
        </p:nvSpPr>
        <p:spPr bwMode="auto">
          <a:xfrm>
            <a:off x="9107220" y="3963054"/>
            <a:ext cx="2313795" cy="1173193"/>
          </a:xfrm>
          <a:prstGeom prst="ellipse">
            <a:avLst/>
          </a:prstGeom>
          <a:no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hangingPunct="0"/>
            <a:r>
              <a:rPr lang="en-GB" sz="1400">
                <a:solidFill>
                  <a:srgbClr val="FFFFFF"/>
                </a:solidFill>
              </a:rPr>
              <a:t>Service Network</a:t>
            </a:r>
            <a:endParaRPr lang="sv-SE" sz="1400">
              <a:solidFill>
                <a:srgbClr val="FFFFFF"/>
              </a:solidFill>
            </a:endParaRPr>
          </a:p>
        </p:txBody>
      </p:sp>
      <p:cxnSp>
        <p:nvCxnSpPr>
          <p:cNvPr id="59" name="Straight Connector 58"/>
          <p:cNvCxnSpPr>
            <a:stCxn id="54" idx="2"/>
            <a:endCxn id="55" idx="0"/>
          </p:cNvCxnSpPr>
          <p:nvPr/>
        </p:nvCxnSpPr>
        <p:spPr bwMode="auto">
          <a:xfrm flipH="1">
            <a:off x="7420755" y="2109709"/>
            <a:ext cx="1420" cy="56729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10" name="Straight Connector 109"/>
          <p:cNvCxnSpPr>
            <a:stCxn id="56" idx="3"/>
            <a:endCxn id="123" idx="1"/>
          </p:cNvCxnSpPr>
          <p:nvPr/>
        </p:nvCxnSpPr>
        <p:spPr bwMode="auto">
          <a:xfrm>
            <a:off x="1709239" y="4544904"/>
            <a:ext cx="316797" cy="0"/>
          </a:xfrm>
          <a:prstGeom prst="line">
            <a:avLst/>
          </a:prstGeom>
          <a:solidFill>
            <a:schemeClr val="accent1"/>
          </a:solidFill>
          <a:ln w="25400" cap="flat" cmpd="sng" algn="ctr">
            <a:solidFill>
              <a:srgbClr val="FFFFFF"/>
            </a:solidFill>
            <a:prstDash val="solid"/>
            <a:round/>
            <a:headEnd type="none" w="med" len="med"/>
            <a:tailEnd type="none" w="med" len="med"/>
          </a:ln>
          <a:effectLst/>
        </p:spPr>
      </p:cxnSp>
      <p:cxnSp>
        <p:nvCxnSpPr>
          <p:cNvPr id="111" name="Straight Connector 110"/>
          <p:cNvCxnSpPr>
            <a:stCxn id="122" idx="3"/>
            <a:endCxn id="57" idx="1"/>
          </p:cNvCxnSpPr>
          <p:nvPr/>
        </p:nvCxnSpPr>
        <p:spPr bwMode="auto">
          <a:xfrm>
            <a:off x="5658427" y="4544904"/>
            <a:ext cx="1122181" cy="0"/>
          </a:xfrm>
          <a:prstGeom prst="line">
            <a:avLst/>
          </a:prstGeom>
          <a:solidFill>
            <a:schemeClr val="accent1"/>
          </a:solidFill>
          <a:ln w="25400" cap="flat" cmpd="sng" algn="ctr">
            <a:solidFill>
              <a:srgbClr val="FFFFFF"/>
            </a:solidFill>
            <a:prstDash val="solid"/>
            <a:round/>
            <a:headEnd type="none" w="med" len="med"/>
            <a:tailEnd type="none" w="med" len="med"/>
          </a:ln>
          <a:effectLst/>
        </p:spPr>
      </p:cxnSp>
      <p:cxnSp>
        <p:nvCxnSpPr>
          <p:cNvPr id="112" name="Straight Connector 111"/>
          <p:cNvCxnSpPr>
            <a:stCxn id="57" idx="3"/>
            <a:endCxn id="58" idx="2"/>
          </p:cNvCxnSpPr>
          <p:nvPr/>
        </p:nvCxnSpPr>
        <p:spPr bwMode="auto">
          <a:xfrm>
            <a:off x="8449697" y="4544904"/>
            <a:ext cx="657524" cy="4746"/>
          </a:xfrm>
          <a:prstGeom prst="line">
            <a:avLst/>
          </a:prstGeom>
          <a:solidFill>
            <a:schemeClr val="accent1"/>
          </a:solidFill>
          <a:ln w="25400" cap="flat" cmpd="sng" algn="ctr">
            <a:solidFill>
              <a:srgbClr val="FFFFFF"/>
            </a:solidFill>
            <a:prstDash val="solid"/>
            <a:round/>
            <a:headEnd type="none" w="med" len="med"/>
            <a:tailEnd type="none" w="med" len="med"/>
          </a:ln>
          <a:effectLst/>
        </p:spPr>
      </p:cxnSp>
      <p:cxnSp>
        <p:nvCxnSpPr>
          <p:cNvPr id="113" name="Straight Connector 112"/>
          <p:cNvCxnSpPr>
            <a:stCxn id="123" idx="0"/>
            <a:endCxn id="55" idx="2"/>
          </p:cNvCxnSpPr>
          <p:nvPr/>
        </p:nvCxnSpPr>
        <p:spPr bwMode="auto">
          <a:xfrm flipV="1">
            <a:off x="2613672" y="3254969"/>
            <a:ext cx="4807083" cy="100095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14" name="Straight Connector 113"/>
          <p:cNvCxnSpPr>
            <a:stCxn id="55" idx="2"/>
            <a:endCxn id="57" idx="0"/>
          </p:cNvCxnSpPr>
          <p:nvPr/>
        </p:nvCxnSpPr>
        <p:spPr bwMode="auto">
          <a:xfrm>
            <a:off x="7420755" y="3254969"/>
            <a:ext cx="194397" cy="100095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15" name="Straight Connector 114"/>
          <p:cNvCxnSpPr/>
          <p:nvPr/>
        </p:nvCxnSpPr>
        <p:spPr bwMode="auto">
          <a:xfrm>
            <a:off x="6274163" y="4493219"/>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16" name="Straight Connector 115"/>
          <p:cNvCxnSpPr/>
          <p:nvPr/>
        </p:nvCxnSpPr>
        <p:spPr bwMode="auto">
          <a:xfrm>
            <a:off x="8748123" y="4497029"/>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117" name="Rounded Rectangle 70"/>
          <p:cNvSpPr/>
          <p:nvPr/>
        </p:nvSpPr>
        <p:spPr bwMode="auto">
          <a:xfrm>
            <a:off x="9349717" y="2676999"/>
            <a:ext cx="1828800"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 Policy Control</a:t>
            </a:r>
            <a:endParaRPr lang="sv-SE" sz="1400">
              <a:solidFill>
                <a:srgbClr val="FFFFFF"/>
              </a:solidFill>
            </a:endParaRPr>
          </a:p>
        </p:txBody>
      </p:sp>
      <p:cxnSp>
        <p:nvCxnSpPr>
          <p:cNvPr id="118" name="Straight Connector 117"/>
          <p:cNvCxnSpPr>
            <a:endCxn id="117" idx="1"/>
          </p:cNvCxnSpPr>
          <p:nvPr/>
        </p:nvCxnSpPr>
        <p:spPr bwMode="auto">
          <a:xfrm>
            <a:off x="8335155" y="2965984"/>
            <a:ext cx="1014563" cy="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19" name="Straight Connector 118"/>
          <p:cNvCxnSpPr>
            <a:stCxn id="117" idx="2"/>
          </p:cNvCxnSpPr>
          <p:nvPr/>
        </p:nvCxnSpPr>
        <p:spPr bwMode="auto">
          <a:xfrm>
            <a:off x="10264117" y="3254969"/>
            <a:ext cx="0" cy="708084"/>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20" name="Straight Connector 119"/>
          <p:cNvCxnSpPr/>
          <p:nvPr/>
        </p:nvCxnSpPr>
        <p:spPr bwMode="auto">
          <a:xfrm>
            <a:off x="10259565" y="3539640"/>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a:scene3d>
            <a:camera prst="orthographicFront">
              <a:rot lat="0" lon="0" rev="5400000"/>
            </a:camera>
            <a:lightRig rig="threePt" dir="t"/>
          </a:scene3d>
        </p:spPr>
      </p:cxnSp>
      <p:cxnSp>
        <p:nvCxnSpPr>
          <p:cNvPr id="121" name="Straight Connector 120"/>
          <p:cNvCxnSpPr/>
          <p:nvPr/>
        </p:nvCxnSpPr>
        <p:spPr bwMode="auto">
          <a:xfrm>
            <a:off x="8857053" y="2912429"/>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122" name="Rounded Rectangle 77"/>
          <p:cNvSpPr/>
          <p:nvPr/>
        </p:nvSpPr>
        <p:spPr bwMode="auto">
          <a:xfrm>
            <a:off x="4044439" y="4255919"/>
            <a:ext cx="1613988"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 User </a:t>
            </a:r>
            <a:br>
              <a:rPr lang="en-GB" sz="1400">
                <a:solidFill>
                  <a:srgbClr val="FFFFFF"/>
                </a:solidFill>
              </a:rPr>
            </a:br>
            <a:r>
              <a:rPr lang="en-GB" sz="1400">
                <a:solidFill>
                  <a:srgbClr val="FFFFFF"/>
                </a:solidFill>
              </a:rPr>
              <a:t>Plane Function(s)</a:t>
            </a:r>
            <a:endParaRPr lang="sv-SE" sz="1400">
              <a:solidFill>
                <a:srgbClr val="FFFFFF"/>
              </a:solidFill>
            </a:endParaRPr>
          </a:p>
        </p:txBody>
      </p:sp>
      <p:sp>
        <p:nvSpPr>
          <p:cNvPr id="123" name="Rounded Rectangle 50"/>
          <p:cNvSpPr/>
          <p:nvPr/>
        </p:nvSpPr>
        <p:spPr bwMode="auto">
          <a:xfrm>
            <a:off x="2026036" y="4255919"/>
            <a:ext cx="1175271"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5G-RAN</a:t>
            </a:r>
            <a:endParaRPr lang="sv-SE" sz="1400">
              <a:solidFill>
                <a:srgbClr val="FFFFFF"/>
              </a:solidFill>
            </a:endParaRPr>
          </a:p>
        </p:txBody>
      </p:sp>
      <p:cxnSp>
        <p:nvCxnSpPr>
          <p:cNvPr id="124" name="Straight Connector 123"/>
          <p:cNvCxnSpPr>
            <a:endCxn id="122" idx="1"/>
          </p:cNvCxnSpPr>
          <p:nvPr/>
        </p:nvCxnSpPr>
        <p:spPr bwMode="auto">
          <a:xfrm>
            <a:off x="3201307" y="4542364"/>
            <a:ext cx="843132" cy="2540"/>
          </a:xfrm>
          <a:prstGeom prst="line">
            <a:avLst/>
          </a:prstGeom>
          <a:solidFill>
            <a:schemeClr val="accent1"/>
          </a:solidFill>
          <a:ln w="25400" cap="flat" cmpd="sng" algn="ctr">
            <a:solidFill>
              <a:srgbClr val="FFFFFF"/>
            </a:solidFill>
            <a:prstDash val="solid"/>
            <a:round/>
            <a:headEnd type="none" w="med" len="med"/>
            <a:tailEnd type="none" w="med" len="med"/>
          </a:ln>
          <a:effectLst/>
        </p:spPr>
      </p:cxnSp>
      <p:sp>
        <p:nvSpPr>
          <p:cNvPr id="125" name="Oval 124"/>
          <p:cNvSpPr/>
          <p:nvPr/>
        </p:nvSpPr>
        <p:spPr bwMode="auto">
          <a:xfrm>
            <a:off x="4093579" y="5236855"/>
            <a:ext cx="1554584" cy="731011"/>
          </a:xfrm>
          <a:prstGeom prst="ellipse">
            <a:avLst/>
          </a:prstGeom>
          <a:no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hangingPunct="0"/>
            <a:r>
              <a:rPr lang="en-GB" sz="1400">
                <a:solidFill>
                  <a:srgbClr val="FFFFFF"/>
                </a:solidFill>
              </a:rPr>
              <a:t>Local Service Network</a:t>
            </a:r>
            <a:endParaRPr lang="sv-SE" sz="1400">
              <a:solidFill>
                <a:srgbClr val="FFFFFF"/>
              </a:solidFill>
            </a:endParaRPr>
          </a:p>
        </p:txBody>
      </p:sp>
      <p:cxnSp>
        <p:nvCxnSpPr>
          <p:cNvPr id="126" name="Straight Connector 125"/>
          <p:cNvCxnSpPr>
            <a:stCxn id="55" idx="2"/>
            <a:endCxn id="122" idx="0"/>
          </p:cNvCxnSpPr>
          <p:nvPr/>
        </p:nvCxnSpPr>
        <p:spPr bwMode="auto">
          <a:xfrm flipH="1">
            <a:off x="4851434" y="3254969"/>
            <a:ext cx="2569321" cy="1000950"/>
          </a:xfrm>
          <a:prstGeom prst="line">
            <a:avLst/>
          </a:prstGeom>
          <a:solidFill>
            <a:schemeClr val="accent1"/>
          </a:solidFill>
          <a:ln w="12700" cap="flat" cmpd="sng" algn="ctr">
            <a:solidFill>
              <a:srgbClr val="FFFFFF"/>
            </a:solidFill>
            <a:prstDash val="dash"/>
            <a:round/>
            <a:headEnd type="none" w="med" len="med"/>
            <a:tailEnd type="none" w="med" len="med"/>
          </a:ln>
          <a:effectLst/>
        </p:spPr>
      </p:cxnSp>
      <p:sp>
        <p:nvSpPr>
          <p:cNvPr id="127" name="Rounded Rectangle 45"/>
          <p:cNvSpPr/>
          <p:nvPr/>
        </p:nvSpPr>
        <p:spPr bwMode="auto">
          <a:xfrm>
            <a:off x="9335507" y="1539869"/>
            <a:ext cx="1828800"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Charging/Billing</a:t>
            </a:r>
            <a:br>
              <a:rPr lang="en-GB" sz="1400">
                <a:solidFill>
                  <a:srgbClr val="FFFFFF"/>
                </a:solidFill>
              </a:rPr>
            </a:br>
            <a:r>
              <a:rPr lang="en-GB" sz="1400">
                <a:solidFill>
                  <a:srgbClr val="FFFFFF"/>
                </a:solidFill>
              </a:rPr>
              <a:t>Function (on-/offline)</a:t>
            </a:r>
            <a:endParaRPr lang="sv-SE" sz="1400">
              <a:solidFill>
                <a:srgbClr val="FFFFFF"/>
              </a:solidFill>
            </a:endParaRPr>
          </a:p>
        </p:txBody>
      </p:sp>
      <p:cxnSp>
        <p:nvCxnSpPr>
          <p:cNvPr id="128" name="Straight Connector 127"/>
          <p:cNvCxnSpPr/>
          <p:nvPr/>
        </p:nvCxnSpPr>
        <p:spPr bwMode="auto">
          <a:xfrm flipH="1">
            <a:off x="8282247" y="2117839"/>
            <a:ext cx="1183084" cy="55916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29" name="Straight Connector 128"/>
          <p:cNvCxnSpPr/>
          <p:nvPr/>
        </p:nvCxnSpPr>
        <p:spPr bwMode="auto">
          <a:xfrm>
            <a:off x="8805915" y="2367342"/>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a:scene3d>
            <a:camera prst="orthographicFront">
              <a:rot lat="0" lon="0" rev="5400000"/>
            </a:camera>
            <a:lightRig rig="threePt" dir="t"/>
          </a:scene3d>
        </p:spPr>
      </p:cxnSp>
      <p:cxnSp>
        <p:nvCxnSpPr>
          <p:cNvPr id="130" name="Straight Connector 129"/>
          <p:cNvCxnSpPr>
            <a:stCxn id="127" idx="2"/>
            <a:endCxn id="117" idx="0"/>
          </p:cNvCxnSpPr>
          <p:nvPr/>
        </p:nvCxnSpPr>
        <p:spPr bwMode="auto">
          <a:xfrm>
            <a:off x="10249907" y="2117839"/>
            <a:ext cx="14211" cy="559160"/>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31" name="Straight Connector 130"/>
          <p:cNvCxnSpPr/>
          <p:nvPr/>
        </p:nvCxnSpPr>
        <p:spPr bwMode="auto">
          <a:xfrm>
            <a:off x="10259568" y="2390789"/>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a:scene3d>
            <a:camera prst="orthographicFront">
              <a:rot lat="0" lon="0" rev="5400000"/>
            </a:camera>
            <a:lightRig rig="threePt" dir="t"/>
          </a:scene3d>
        </p:spPr>
      </p:cxnSp>
      <p:cxnSp>
        <p:nvCxnSpPr>
          <p:cNvPr id="132" name="Straight Connector 131"/>
          <p:cNvCxnSpPr/>
          <p:nvPr/>
        </p:nvCxnSpPr>
        <p:spPr bwMode="auto">
          <a:xfrm>
            <a:off x="7430417" y="2367343"/>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a:scene3d>
            <a:camera prst="orthographicFront">
              <a:rot lat="0" lon="0" rev="5400000"/>
            </a:camera>
            <a:lightRig rig="threePt" dir="t"/>
          </a:scene3d>
        </p:spPr>
      </p:cxnSp>
      <p:cxnSp>
        <p:nvCxnSpPr>
          <p:cNvPr id="133" name="Straight Connector 132"/>
          <p:cNvCxnSpPr/>
          <p:nvPr/>
        </p:nvCxnSpPr>
        <p:spPr bwMode="auto">
          <a:xfrm>
            <a:off x="3748779" y="4487012"/>
            <a:ext cx="0" cy="110705"/>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34" name="Straight Connector 133"/>
          <p:cNvCxnSpPr/>
          <p:nvPr/>
        </p:nvCxnSpPr>
        <p:spPr bwMode="auto">
          <a:xfrm>
            <a:off x="4784213" y="5021541"/>
            <a:ext cx="122073" cy="0"/>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35" name="Straight Connector 134"/>
          <p:cNvCxnSpPr>
            <a:stCxn id="122" idx="2"/>
          </p:cNvCxnSpPr>
          <p:nvPr/>
        </p:nvCxnSpPr>
        <p:spPr bwMode="auto">
          <a:xfrm>
            <a:off x="4851433" y="4833889"/>
            <a:ext cx="1" cy="402966"/>
          </a:xfrm>
          <a:prstGeom prst="line">
            <a:avLst/>
          </a:prstGeom>
          <a:solidFill>
            <a:schemeClr val="accent1"/>
          </a:solidFill>
          <a:ln w="25400" cap="flat" cmpd="sng" algn="ctr">
            <a:solidFill>
              <a:srgbClr val="FFFFFF"/>
            </a:solidFill>
            <a:prstDash val="solid"/>
            <a:round/>
            <a:headEnd type="none" w="med" len="med"/>
            <a:tailEnd type="none" w="med" len="med"/>
          </a:ln>
          <a:effectLst/>
        </p:spPr>
      </p:cxnSp>
      <p:sp>
        <p:nvSpPr>
          <p:cNvPr id="136" name="TextBox 135"/>
          <p:cNvSpPr txBox="1"/>
          <p:nvPr/>
        </p:nvSpPr>
        <p:spPr>
          <a:xfrm>
            <a:off x="8397928" y="6177013"/>
            <a:ext cx="3856029" cy="523220"/>
          </a:xfrm>
          <a:prstGeom prst="rect">
            <a:avLst/>
          </a:prstGeom>
          <a:noFill/>
        </p:spPr>
        <p:txBody>
          <a:bodyPr wrap="square" rtlCol="0">
            <a:spAutoFit/>
          </a:bodyPr>
          <a:lstStyle/>
          <a:p>
            <a:pPr>
              <a:spcBef>
                <a:spcPts val="300"/>
              </a:spcBef>
              <a:spcAft>
                <a:spcPts val="300"/>
              </a:spcAft>
            </a:pPr>
            <a:r>
              <a:rPr lang="en-US" sz="1400" dirty="0">
                <a:solidFill>
                  <a:schemeClr val="bg1"/>
                </a:solidFill>
              </a:rPr>
              <a:t>Note: Above shows simplified view of  Ericsson’s proposal</a:t>
            </a:r>
          </a:p>
        </p:txBody>
      </p:sp>
      <p:sp>
        <p:nvSpPr>
          <p:cNvPr id="137" name="Rectangle 136"/>
          <p:cNvSpPr/>
          <p:nvPr/>
        </p:nvSpPr>
        <p:spPr bwMode="auto">
          <a:xfrm>
            <a:off x="3884901" y="4114899"/>
            <a:ext cx="4921014" cy="1001529"/>
          </a:xfrm>
          <a:prstGeom prst="rect">
            <a:avLst/>
          </a:prstGeom>
          <a:noFill/>
          <a:ln w="12700" cap="flat" cmpd="sng" algn="ctr">
            <a:solidFill>
              <a:schemeClr val="bg1"/>
            </a:solidFill>
            <a:prstDash val="dashDot"/>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8" name="Rectangle 137"/>
          <p:cNvSpPr/>
          <p:nvPr/>
        </p:nvSpPr>
        <p:spPr bwMode="auto">
          <a:xfrm>
            <a:off x="6241688" y="1358900"/>
            <a:ext cx="5480412" cy="2331180"/>
          </a:xfrm>
          <a:prstGeom prst="rect">
            <a:avLst/>
          </a:prstGeom>
          <a:noFill/>
          <a:ln w="12700" cap="flat" cmpd="sng" algn="ctr">
            <a:solidFill>
              <a:schemeClr val="bg1"/>
            </a:solidFill>
            <a:prstDash val="dashDot"/>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9" name="Rounded Rectangle 44"/>
          <p:cNvSpPr/>
          <p:nvPr/>
        </p:nvSpPr>
        <p:spPr bwMode="auto">
          <a:xfrm>
            <a:off x="897461" y="5922974"/>
            <a:ext cx="801296" cy="577970"/>
          </a:xfrm>
          <a:prstGeom prst="roundRect">
            <a:avLst/>
          </a:prstGeom>
          <a:noFill/>
          <a:ln w="12700" cap="flat" cmpd="sng" algn="ctr">
            <a:solidFill>
              <a:srgbClr val="7FADA7"/>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US" sz="1400">
                <a:solidFill>
                  <a:srgbClr val="FFFFFF"/>
                </a:solidFill>
              </a:rPr>
              <a:t>CPE</a:t>
            </a:r>
            <a:endParaRPr lang="en-GB" sz="1400">
              <a:solidFill>
                <a:srgbClr val="FFFFFF"/>
              </a:solidFill>
            </a:endParaRPr>
          </a:p>
        </p:txBody>
      </p:sp>
      <p:cxnSp>
        <p:nvCxnSpPr>
          <p:cNvPr id="140" name="Straight Connector 139"/>
          <p:cNvCxnSpPr/>
          <p:nvPr/>
        </p:nvCxnSpPr>
        <p:spPr bwMode="auto">
          <a:xfrm>
            <a:off x="1698757" y="6211959"/>
            <a:ext cx="316797" cy="0"/>
          </a:xfrm>
          <a:prstGeom prst="line">
            <a:avLst/>
          </a:prstGeom>
          <a:solidFill>
            <a:schemeClr val="accent1"/>
          </a:solidFill>
          <a:ln w="25400" cap="flat" cmpd="sng" algn="ctr">
            <a:solidFill>
              <a:srgbClr val="7FADA7"/>
            </a:solidFill>
            <a:prstDash val="solid"/>
            <a:round/>
            <a:headEnd type="none" w="med" len="med"/>
            <a:tailEnd type="none" w="med" len="med"/>
          </a:ln>
          <a:effectLst/>
        </p:spPr>
      </p:cxnSp>
      <p:sp>
        <p:nvSpPr>
          <p:cNvPr id="141" name="Rounded Rectangle 63"/>
          <p:cNvSpPr/>
          <p:nvPr/>
        </p:nvSpPr>
        <p:spPr bwMode="auto">
          <a:xfrm>
            <a:off x="2015554" y="5922974"/>
            <a:ext cx="1175271" cy="577970"/>
          </a:xfrm>
          <a:prstGeom prst="roundRect">
            <a:avLst/>
          </a:prstGeom>
          <a:noFill/>
          <a:ln w="12700" cap="flat" cmpd="sng" algn="ctr">
            <a:solidFill>
              <a:srgbClr val="7FADA7"/>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Fixed</a:t>
            </a:r>
            <a:br>
              <a:rPr lang="en-GB" sz="1400">
                <a:solidFill>
                  <a:srgbClr val="FFFFFF"/>
                </a:solidFill>
              </a:rPr>
            </a:br>
            <a:r>
              <a:rPr lang="en-GB" sz="1400">
                <a:solidFill>
                  <a:srgbClr val="FFFFFF"/>
                </a:solidFill>
              </a:rPr>
              <a:t>Access</a:t>
            </a:r>
            <a:endParaRPr lang="sv-SE" sz="1400">
              <a:solidFill>
                <a:srgbClr val="FFFFFF"/>
              </a:solidFill>
            </a:endParaRPr>
          </a:p>
        </p:txBody>
      </p:sp>
      <p:sp>
        <p:nvSpPr>
          <p:cNvPr id="142" name="Rounded Rectangle 64"/>
          <p:cNvSpPr/>
          <p:nvPr/>
        </p:nvSpPr>
        <p:spPr bwMode="auto">
          <a:xfrm>
            <a:off x="878371" y="3460372"/>
            <a:ext cx="801296"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US" sz="1400">
                <a:solidFill>
                  <a:srgbClr val="FFFFFF"/>
                </a:solidFill>
              </a:rPr>
              <a:t>4G</a:t>
            </a:r>
            <a:br>
              <a:rPr lang="en-US" sz="1400">
                <a:solidFill>
                  <a:srgbClr val="FFFFFF"/>
                </a:solidFill>
              </a:rPr>
            </a:br>
            <a:r>
              <a:rPr lang="en-US" sz="1400">
                <a:solidFill>
                  <a:srgbClr val="FFFFFF"/>
                </a:solidFill>
              </a:rPr>
              <a:t>UE</a:t>
            </a:r>
            <a:endParaRPr lang="en-GB" sz="1400">
              <a:solidFill>
                <a:srgbClr val="FFFFFF"/>
              </a:solidFill>
            </a:endParaRPr>
          </a:p>
        </p:txBody>
      </p:sp>
      <p:cxnSp>
        <p:nvCxnSpPr>
          <p:cNvPr id="143" name="Straight Connector 142"/>
          <p:cNvCxnSpPr/>
          <p:nvPr/>
        </p:nvCxnSpPr>
        <p:spPr bwMode="auto">
          <a:xfrm>
            <a:off x="1679667" y="3749357"/>
            <a:ext cx="316797" cy="0"/>
          </a:xfrm>
          <a:prstGeom prst="line">
            <a:avLst/>
          </a:prstGeom>
          <a:solidFill>
            <a:schemeClr val="accent1"/>
          </a:solidFill>
          <a:ln w="25400" cap="flat" cmpd="sng" algn="ctr">
            <a:solidFill>
              <a:srgbClr val="FFFFFF"/>
            </a:solidFill>
            <a:prstDash val="solid"/>
            <a:round/>
            <a:headEnd type="none" w="med" len="med"/>
            <a:tailEnd type="none" w="med" len="med"/>
          </a:ln>
          <a:effectLst/>
        </p:spPr>
      </p:cxnSp>
      <p:sp>
        <p:nvSpPr>
          <p:cNvPr id="144" name="Rounded Rectangle 66"/>
          <p:cNvSpPr/>
          <p:nvPr/>
        </p:nvSpPr>
        <p:spPr bwMode="auto">
          <a:xfrm>
            <a:off x="1996464" y="3460372"/>
            <a:ext cx="1175271"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4G-RAN</a:t>
            </a:r>
            <a:endParaRPr lang="sv-SE" sz="1400">
              <a:solidFill>
                <a:srgbClr val="FFFFFF"/>
              </a:solidFill>
            </a:endParaRPr>
          </a:p>
        </p:txBody>
      </p:sp>
      <p:sp>
        <p:nvSpPr>
          <p:cNvPr id="145" name="Rounded Rectangle 67"/>
          <p:cNvSpPr/>
          <p:nvPr/>
        </p:nvSpPr>
        <p:spPr bwMode="auto">
          <a:xfrm>
            <a:off x="910161" y="5122874"/>
            <a:ext cx="801296"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US" sz="1400">
                <a:solidFill>
                  <a:srgbClr val="FFFFFF"/>
                </a:solidFill>
              </a:rPr>
              <a:t>Wi-Fi</a:t>
            </a:r>
            <a:br>
              <a:rPr lang="en-US" sz="1400">
                <a:solidFill>
                  <a:srgbClr val="FFFFFF"/>
                </a:solidFill>
              </a:rPr>
            </a:br>
            <a:r>
              <a:rPr lang="en-US" sz="1400">
                <a:solidFill>
                  <a:srgbClr val="FFFFFF"/>
                </a:solidFill>
              </a:rPr>
              <a:t>UE</a:t>
            </a:r>
            <a:endParaRPr lang="en-GB" sz="1400">
              <a:solidFill>
                <a:srgbClr val="FFFFFF"/>
              </a:solidFill>
            </a:endParaRPr>
          </a:p>
        </p:txBody>
      </p:sp>
      <p:cxnSp>
        <p:nvCxnSpPr>
          <p:cNvPr id="146" name="Straight Connector 145"/>
          <p:cNvCxnSpPr/>
          <p:nvPr/>
        </p:nvCxnSpPr>
        <p:spPr bwMode="auto">
          <a:xfrm>
            <a:off x="1711457" y="5411859"/>
            <a:ext cx="316797" cy="0"/>
          </a:xfrm>
          <a:prstGeom prst="line">
            <a:avLst/>
          </a:prstGeom>
          <a:solidFill>
            <a:schemeClr val="accent1"/>
          </a:solidFill>
          <a:ln w="25400" cap="flat" cmpd="sng" algn="ctr">
            <a:solidFill>
              <a:srgbClr val="FFFFFF"/>
            </a:solidFill>
            <a:prstDash val="solid"/>
            <a:round/>
            <a:headEnd type="none" w="med" len="med"/>
            <a:tailEnd type="none" w="med" len="med"/>
          </a:ln>
          <a:effectLst/>
        </p:spPr>
      </p:cxnSp>
      <p:sp>
        <p:nvSpPr>
          <p:cNvPr id="147" name="Rounded Rectangle 75"/>
          <p:cNvSpPr/>
          <p:nvPr/>
        </p:nvSpPr>
        <p:spPr bwMode="auto">
          <a:xfrm>
            <a:off x="2028254" y="5122874"/>
            <a:ext cx="1175271" cy="577970"/>
          </a:xfrm>
          <a:prstGeom prst="round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noAutofit/>
          </a:bodyPr>
          <a:lstStyle/>
          <a:p>
            <a:pPr algn="ctr" hangingPunct="0"/>
            <a:r>
              <a:rPr lang="en-GB" sz="1400">
                <a:solidFill>
                  <a:srgbClr val="FFFFFF"/>
                </a:solidFill>
              </a:rPr>
              <a:t>Wi-Fi</a:t>
            </a:r>
            <a:br>
              <a:rPr lang="en-GB" sz="1400">
                <a:solidFill>
                  <a:srgbClr val="FFFFFF"/>
                </a:solidFill>
              </a:rPr>
            </a:br>
            <a:r>
              <a:rPr lang="en-GB" sz="1400">
                <a:solidFill>
                  <a:srgbClr val="FFFFFF"/>
                </a:solidFill>
              </a:rPr>
              <a:t>Access</a:t>
            </a:r>
            <a:endParaRPr lang="sv-SE" sz="1400">
              <a:solidFill>
                <a:srgbClr val="FFFFFF"/>
              </a:solidFill>
            </a:endParaRPr>
          </a:p>
        </p:txBody>
      </p:sp>
      <p:cxnSp>
        <p:nvCxnSpPr>
          <p:cNvPr id="148" name="Straight Connector 147"/>
          <p:cNvCxnSpPr>
            <a:stCxn id="144" idx="0"/>
            <a:endCxn id="55" idx="1"/>
          </p:cNvCxnSpPr>
          <p:nvPr/>
        </p:nvCxnSpPr>
        <p:spPr bwMode="auto">
          <a:xfrm flipV="1">
            <a:off x="2584100" y="2965984"/>
            <a:ext cx="3922255" cy="494388"/>
          </a:xfrm>
          <a:prstGeom prst="line">
            <a:avLst/>
          </a:prstGeom>
          <a:solidFill>
            <a:schemeClr val="accent1"/>
          </a:solidFill>
          <a:ln w="12700" cap="flat" cmpd="sng" algn="ctr">
            <a:solidFill>
              <a:srgbClr val="FFFFFF"/>
            </a:solidFill>
            <a:prstDash val="dash"/>
            <a:round/>
            <a:headEnd type="none" w="med" len="med"/>
            <a:tailEnd type="none" w="med" len="med"/>
          </a:ln>
          <a:effectLst/>
        </p:spPr>
      </p:cxnSp>
      <p:cxnSp>
        <p:nvCxnSpPr>
          <p:cNvPr id="149" name="Straight Connector 148"/>
          <p:cNvCxnSpPr>
            <a:stCxn id="144" idx="3"/>
            <a:endCxn id="122" idx="1"/>
          </p:cNvCxnSpPr>
          <p:nvPr/>
        </p:nvCxnSpPr>
        <p:spPr bwMode="auto">
          <a:xfrm>
            <a:off x="3171735" y="3749357"/>
            <a:ext cx="872704" cy="795547"/>
          </a:xfrm>
          <a:prstGeom prst="line">
            <a:avLst/>
          </a:prstGeom>
          <a:solidFill>
            <a:schemeClr val="accent1"/>
          </a:solidFill>
          <a:ln w="25400" cap="flat" cmpd="sng" algn="ctr">
            <a:solidFill>
              <a:srgbClr val="FFFFFF"/>
            </a:solidFill>
            <a:prstDash val="solid"/>
            <a:round/>
            <a:headEnd type="none" w="med" len="med"/>
            <a:tailEnd type="none" w="med" len="med"/>
          </a:ln>
          <a:effectLst/>
        </p:spPr>
      </p:cxnSp>
      <p:cxnSp>
        <p:nvCxnSpPr>
          <p:cNvPr id="150" name="Straight Connector 149"/>
          <p:cNvCxnSpPr>
            <a:endCxn id="122" idx="1"/>
          </p:cNvCxnSpPr>
          <p:nvPr/>
        </p:nvCxnSpPr>
        <p:spPr bwMode="auto">
          <a:xfrm flipV="1">
            <a:off x="3251359" y="4544904"/>
            <a:ext cx="793080" cy="857969"/>
          </a:xfrm>
          <a:prstGeom prst="line">
            <a:avLst/>
          </a:prstGeom>
          <a:solidFill>
            <a:schemeClr val="accent1"/>
          </a:solidFill>
          <a:ln w="25400" cap="flat" cmpd="sng" algn="ctr">
            <a:solidFill>
              <a:srgbClr val="FFFFFF"/>
            </a:solidFill>
            <a:prstDash val="solid"/>
            <a:round/>
            <a:headEnd type="none" w="med" len="med"/>
            <a:tailEnd type="none" w="med" len="med"/>
          </a:ln>
          <a:effectLst/>
        </p:spPr>
      </p:cxnSp>
      <p:cxnSp>
        <p:nvCxnSpPr>
          <p:cNvPr id="151" name="Straight Connector 150"/>
          <p:cNvCxnSpPr>
            <a:stCxn id="141" idx="3"/>
            <a:endCxn id="122" idx="1"/>
          </p:cNvCxnSpPr>
          <p:nvPr/>
        </p:nvCxnSpPr>
        <p:spPr bwMode="auto">
          <a:xfrm flipV="1">
            <a:off x="3190825" y="4544904"/>
            <a:ext cx="853614" cy="1667055"/>
          </a:xfrm>
          <a:prstGeom prst="line">
            <a:avLst/>
          </a:prstGeom>
          <a:solidFill>
            <a:schemeClr val="accent1"/>
          </a:solidFill>
          <a:ln w="25400" cap="flat" cmpd="sng" algn="ctr">
            <a:solidFill>
              <a:srgbClr val="7FADA7"/>
            </a:solidFill>
            <a:prstDash val="solid"/>
            <a:round/>
            <a:headEnd type="none" w="med" len="med"/>
            <a:tailEnd type="none" w="med" len="med"/>
          </a:ln>
          <a:effectLst/>
        </p:spPr>
      </p:cxnSp>
    </p:spTree>
    <p:extLst>
      <p:ext uri="{BB962C8B-B14F-4D97-AF65-F5344CB8AC3E}">
        <p14:creationId xmlns:p14="http://schemas.microsoft.com/office/powerpoint/2010/main" val="34425531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29167" y="2082106"/>
            <a:ext cx="11436861" cy="2600730"/>
          </a:xfrm>
        </p:spPr>
        <p:txBody>
          <a:bodyPr/>
          <a:lstStyle/>
          <a:p>
            <a:pPr marL="0" indent="0" hangingPunct="0">
              <a:buNone/>
            </a:pPr>
            <a:r>
              <a:rPr lang="en-GB" i="1" dirty="0"/>
              <a:t>“The 5G System architecture is defined to support data connectivity and services enabling deployments to use techniques such as e.g. Network Function Virtualization and Software Defined Networking. The 5G System architecture shall leverage service-based interactions between Control Plane (CP) Network Functions where identified.”</a:t>
            </a:r>
            <a:endParaRPr lang="en-US" i="1" dirty="0"/>
          </a:p>
          <a:p>
            <a:pPr lvl="1" hangingPunct="0"/>
            <a:endParaRPr lang="en-GB" sz="2400" dirty="0"/>
          </a:p>
          <a:p>
            <a:pPr hangingPunct="0"/>
            <a:endParaRPr lang="en-US" sz="2400" dirty="0"/>
          </a:p>
        </p:txBody>
      </p:sp>
      <p:sp>
        <p:nvSpPr>
          <p:cNvPr id="3" name="Title 2"/>
          <p:cNvSpPr>
            <a:spLocks noGrp="1"/>
          </p:cNvSpPr>
          <p:nvPr>
            <p:ph type="title"/>
          </p:nvPr>
        </p:nvSpPr>
        <p:spPr/>
        <p:txBody>
          <a:bodyPr/>
          <a:lstStyle/>
          <a:p>
            <a:r>
              <a:rPr lang="en-US" altLang="en-US" dirty="0">
                <a:latin typeface="Ericsson Capital TT" pitchFamily="2" charset="0"/>
              </a:rPr>
              <a:t>Overall 5G Core Architecture</a:t>
            </a:r>
            <a:br>
              <a:rPr lang="en-US" altLang="en-US" sz="3200" dirty="0">
                <a:latin typeface="Ericsson Capital TT" pitchFamily="2" charset="0"/>
              </a:rPr>
            </a:br>
            <a:r>
              <a:rPr lang="en-US" altLang="en-US" sz="2800" dirty="0">
                <a:latin typeface="+mn-lt"/>
              </a:rPr>
              <a:t>General concept according to 3GPP TS 23.501</a:t>
            </a:r>
            <a:endParaRPr lang="en-US" sz="4000" dirty="0">
              <a:latin typeface="+mn-lt"/>
            </a:endParaRPr>
          </a:p>
        </p:txBody>
      </p:sp>
    </p:spTree>
    <p:extLst>
      <p:ext uri="{BB962C8B-B14F-4D97-AF65-F5344CB8AC3E}">
        <p14:creationId xmlns:p14="http://schemas.microsoft.com/office/powerpoint/2010/main" val="40713261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4935" y="239714"/>
            <a:ext cx="10586410" cy="1085371"/>
          </a:xfrm>
        </p:spPr>
        <p:txBody>
          <a:bodyPr>
            <a:normAutofit fontScale="90000"/>
          </a:bodyPr>
          <a:lstStyle/>
          <a:p>
            <a:r>
              <a:rPr lang="en-US" altLang="en-US" dirty="0">
                <a:latin typeface="Ericsson Capital TT" pitchFamily="2" charset="0"/>
              </a:rPr>
              <a:t>Overall 5G Core Architecture (1/2)</a:t>
            </a:r>
            <a:br>
              <a:rPr lang="en-US" altLang="en-US" sz="3200" dirty="0">
                <a:latin typeface="Ericsson Capital TT" pitchFamily="2" charset="0"/>
              </a:rPr>
            </a:br>
            <a:r>
              <a:rPr lang="en-US" altLang="en-US" sz="2800" dirty="0">
                <a:latin typeface="+mn-lt"/>
              </a:rPr>
              <a:t>Key principles according to 3GPP TS 23.501</a:t>
            </a:r>
            <a:endParaRPr lang="en-US" sz="4000" dirty="0">
              <a:latin typeface="+mn-lt"/>
            </a:endParaRPr>
          </a:p>
        </p:txBody>
      </p:sp>
      <p:sp>
        <p:nvSpPr>
          <p:cNvPr id="5" name="Content Placeholder 4"/>
          <p:cNvSpPr>
            <a:spLocks noGrp="1"/>
          </p:cNvSpPr>
          <p:nvPr>
            <p:ph idx="1"/>
          </p:nvPr>
        </p:nvSpPr>
        <p:spPr>
          <a:xfrm>
            <a:off x="529167" y="1567986"/>
            <a:ext cx="11135785" cy="4873758"/>
          </a:xfrm>
        </p:spPr>
        <p:txBody>
          <a:bodyPr/>
          <a:lstStyle/>
          <a:p>
            <a:r>
              <a:rPr lang="en-US" dirty="0"/>
              <a:t>Separate the User Plane (UP) functions from the Control Plane (CP)</a:t>
            </a:r>
          </a:p>
          <a:p>
            <a:pPr lvl="1"/>
            <a:r>
              <a:rPr lang="en-US" dirty="0"/>
              <a:t>Allows independent scalability and flexible deployments</a:t>
            </a:r>
          </a:p>
          <a:p>
            <a:r>
              <a:rPr lang="en-US" dirty="0"/>
              <a:t>Modularize the function design</a:t>
            </a:r>
          </a:p>
          <a:p>
            <a:pPr lvl="1"/>
            <a:r>
              <a:rPr lang="en-US" dirty="0"/>
              <a:t>Allows for </a:t>
            </a:r>
            <a:r>
              <a:rPr lang="en-GB" dirty="0"/>
              <a:t>flexible and efficient network slicing</a:t>
            </a:r>
          </a:p>
          <a:p>
            <a:r>
              <a:rPr lang="en-GB" dirty="0"/>
              <a:t>Where applicable define procedures as services</a:t>
            </a:r>
          </a:p>
          <a:p>
            <a:pPr lvl="1"/>
            <a:r>
              <a:rPr lang="en-GB" dirty="0"/>
              <a:t>In order to enable re-use</a:t>
            </a:r>
          </a:p>
          <a:p>
            <a:r>
              <a:rPr lang="en-GB" dirty="0"/>
              <a:t>Enable each Network Function to interact with other NF directly</a:t>
            </a:r>
          </a:p>
          <a:p>
            <a:pPr lvl="1"/>
            <a:r>
              <a:rPr lang="en-GB" dirty="0"/>
              <a:t>No need for intermediate function for control plane message routing (e.g. like a DRA) </a:t>
            </a:r>
          </a:p>
          <a:p>
            <a:r>
              <a:rPr lang="en-GB" dirty="0"/>
              <a:t>Minimize dependencies between </a:t>
            </a:r>
            <a:r>
              <a:rPr lang="en-US" dirty="0"/>
              <a:t>the </a:t>
            </a:r>
            <a:r>
              <a:rPr lang="en-GB" dirty="0"/>
              <a:t>Access Network (AN) and</a:t>
            </a:r>
            <a:r>
              <a:rPr lang="en-US" dirty="0"/>
              <a:t> the</a:t>
            </a:r>
            <a:r>
              <a:rPr lang="en-GB" dirty="0"/>
              <a:t> Core Network (CN)</a:t>
            </a:r>
          </a:p>
          <a:p>
            <a:pPr lvl="1"/>
            <a:r>
              <a:rPr lang="en-GB" dirty="0"/>
              <a:t>Allows for a converged access-agnostic core network supporting different 3GPP and non-3GPP access types</a:t>
            </a:r>
          </a:p>
        </p:txBody>
      </p:sp>
    </p:spTree>
    <p:extLst>
      <p:ext uri="{BB962C8B-B14F-4D97-AF65-F5344CB8AC3E}">
        <p14:creationId xmlns:p14="http://schemas.microsoft.com/office/powerpoint/2010/main" val="18072577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4935" y="239714"/>
            <a:ext cx="10586410" cy="1085371"/>
          </a:xfrm>
        </p:spPr>
        <p:txBody>
          <a:bodyPr>
            <a:normAutofit fontScale="90000"/>
          </a:bodyPr>
          <a:lstStyle/>
          <a:p>
            <a:r>
              <a:rPr lang="en-US" altLang="en-US" dirty="0">
                <a:latin typeface="Ericsson Capital TT" pitchFamily="2" charset="0"/>
              </a:rPr>
              <a:t>Overall 5G Core Architecture (2/2)</a:t>
            </a:r>
            <a:br>
              <a:rPr lang="en-US" altLang="en-US" sz="3200" dirty="0">
                <a:latin typeface="Ericsson Capital TT" pitchFamily="2" charset="0"/>
              </a:rPr>
            </a:br>
            <a:r>
              <a:rPr lang="en-US" altLang="en-US" sz="2800" dirty="0">
                <a:latin typeface="+mn-lt"/>
              </a:rPr>
              <a:t>Key principles according to 3GPP TS 23.501</a:t>
            </a:r>
            <a:endParaRPr lang="en-US" sz="4000" dirty="0">
              <a:latin typeface="+mn-lt"/>
            </a:endParaRPr>
          </a:p>
        </p:txBody>
      </p:sp>
      <p:sp>
        <p:nvSpPr>
          <p:cNvPr id="5" name="Content Placeholder 4"/>
          <p:cNvSpPr>
            <a:spLocks noGrp="1"/>
          </p:cNvSpPr>
          <p:nvPr>
            <p:ph idx="1"/>
          </p:nvPr>
        </p:nvSpPr>
        <p:spPr>
          <a:xfrm>
            <a:off x="529167" y="1622576"/>
            <a:ext cx="11135785" cy="4764576"/>
          </a:xfrm>
        </p:spPr>
        <p:txBody>
          <a:bodyPr/>
          <a:lstStyle/>
          <a:p>
            <a:r>
              <a:rPr lang="en-GB" dirty="0"/>
              <a:t>Support a unified authentication framework</a:t>
            </a:r>
          </a:p>
          <a:p>
            <a:pPr lvl="1"/>
            <a:r>
              <a:rPr lang="en-GB" dirty="0"/>
              <a:t>Support authentication for both IMSI-based non IMSI-based identities</a:t>
            </a:r>
          </a:p>
          <a:p>
            <a:r>
              <a:rPr lang="en-GB" dirty="0"/>
              <a:t>Support “stateless” NFs</a:t>
            </a:r>
          </a:p>
          <a:p>
            <a:pPr lvl="1"/>
            <a:r>
              <a:rPr lang="en-US" dirty="0"/>
              <a:t>“Compute” resources decoupled from “storage” resources</a:t>
            </a:r>
          </a:p>
          <a:p>
            <a:r>
              <a:rPr lang="en-GB" dirty="0"/>
              <a:t>Support capability exposure</a:t>
            </a:r>
          </a:p>
          <a:p>
            <a:pPr lvl="1"/>
            <a:r>
              <a:rPr lang="en-GB" dirty="0"/>
              <a:t>NF can expose service capabilities via a service based interface to other authorized NFs</a:t>
            </a:r>
          </a:p>
          <a:p>
            <a:r>
              <a:rPr lang="en-GB" dirty="0"/>
              <a:t>Support concurrent access to local and centralized services</a:t>
            </a:r>
          </a:p>
          <a:p>
            <a:pPr lvl="1"/>
            <a:r>
              <a:rPr lang="en-GB" dirty="0"/>
              <a:t>Allows support for low latency services and access to local data networks</a:t>
            </a:r>
          </a:p>
          <a:p>
            <a:pPr lvl="1"/>
            <a:r>
              <a:rPr lang="en-GB" dirty="0"/>
              <a:t>UP functions can be deployed close to the Access Network</a:t>
            </a:r>
          </a:p>
          <a:p>
            <a:r>
              <a:rPr lang="en-GB" dirty="0"/>
              <a:t>Support the following Roaming procedures:</a:t>
            </a:r>
          </a:p>
          <a:p>
            <a:pPr lvl="1"/>
            <a:r>
              <a:rPr lang="en-GB" dirty="0"/>
              <a:t>Home routed traffic</a:t>
            </a:r>
          </a:p>
          <a:p>
            <a:pPr lvl="1"/>
            <a:r>
              <a:rPr lang="en-GB" dirty="0"/>
              <a:t>Local breakout traffic in the visited PLMN</a:t>
            </a:r>
          </a:p>
        </p:txBody>
      </p:sp>
    </p:spTree>
    <p:extLst>
      <p:ext uri="{BB962C8B-B14F-4D97-AF65-F5344CB8AC3E}">
        <p14:creationId xmlns:p14="http://schemas.microsoft.com/office/powerpoint/2010/main" val="26048387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17435"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itle 1"/>
          <p:cNvSpPr txBox="1">
            <a:spLocks/>
          </p:cNvSpPr>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altLang="en-US" kern="0" dirty="0">
                <a:solidFill>
                  <a:schemeClr val="bg1"/>
                </a:solidFill>
              </a:rPr>
              <a:t>5G Core Basic Architecture</a:t>
            </a:r>
          </a:p>
        </p:txBody>
      </p:sp>
      <p:sp>
        <p:nvSpPr>
          <p:cNvPr id="60" name="Rectangle 4"/>
          <p:cNvSpPr>
            <a:spLocks noChangeArrowheads="1"/>
          </p:cNvSpPr>
          <p:nvPr/>
        </p:nvSpPr>
        <p:spPr bwMode="auto">
          <a:xfrm>
            <a:off x="0" y="-200055"/>
            <a:ext cx="184731" cy="400110"/>
          </a:xfrm>
          <a:prstGeom prst="rect">
            <a:avLst/>
          </a:prstGeom>
          <a:noFill/>
          <a:ln>
            <a:noFill/>
          </a:ln>
          <a:effectLst>
            <a:prstShdw prst="shdw17" dist="17961" dir="2700000">
              <a:srgbClr val="52700E">
                <a:alpha val="74998"/>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spAutoFit/>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endParaRPr lang="en-US" altLang="en-US"/>
          </a:p>
        </p:txBody>
      </p:sp>
      <p:cxnSp>
        <p:nvCxnSpPr>
          <p:cNvPr id="61" name="Straight Connector 11"/>
          <p:cNvCxnSpPr>
            <a:cxnSpLocks noChangeShapeType="1"/>
          </p:cNvCxnSpPr>
          <p:nvPr/>
        </p:nvCxnSpPr>
        <p:spPr bwMode="auto">
          <a:xfrm>
            <a:off x="7299336" y="1686713"/>
            <a:ext cx="2621761" cy="13908"/>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62" name="Straight Connector 15"/>
          <p:cNvCxnSpPr>
            <a:cxnSpLocks noChangeShapeType="1"/>
          </p:cNvCxnSpPr>
          <p:nvPr/>
        </p:nvCxnSpPr>
        <p:spPr bwMode="auto">
          <a:xfrm flipV="1">
            <a:off x="7745423" y="3700468"/>
            <a:ext cx="711200" cy="0"/>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63" name="Straight Connector 17"/>
          <p:cNvCxnSpPr>
            <a:cxnSpLocks noChangeShapeType="1"/>
            <a:stCxn id="103" idx="0"/>
            <a:endCxn id="97" idx="2"/>
          </p:cNvCxnSpPr>
          <p:nvPr/>
        </p:nvCxnSpPr>
        <p:spPr bwMode="auto">
          <a:xfrm flipH="1" flipV="1">
            <a:off x="6501611" y="2793994"/>
            <a:ext cx="700094" cy="627074"/>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64" name="Rounded Rectangle 21"/>
          <p:cNvSpPr>
            <a:spLocks noChangeArrowheads="1"/>
          </p:cNvSpPr>
          <p:nvPr/>
        </p:nvSpPr>
        <p:spPr bwMode="auto">
          <a:xfrm>
            <a:off x="10864861" y="3949706"/>
            <a:ext cx="1108075" cy="544512"/>
          </a:xfrm>
          <a:prstGeom prst="roundRect">
            <a:avLst>
              <a:gd name="adj" fmla="val 16667"/>
            </a:avLst>
          </a:prstGeom>
          <a:solidFill>
            <a:srgbClr val="FFC000"/>
          </a:solidFill>
          <a:ln w="12700">
            <a:solidFill>
              <a:schemeClr val="tx1"/>
            </a:solidFill>
            <a:round/>
            <a:headEnd/>
            <a:tailEnd/>
          </a:ln>
        </p:spPr>
        <p:txBody>
          <a:bodyPr wrap="none" lIns="72000" rIns="72000" anchor="ct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en-US" sz="1200">
                <a:solidFill>
                  <a:schemeClr val="bg1"/>
                </a:solidFill>
              </a:rPr>
              <a:t>Application</a:t>
            </a:r>
          </a:p>
        </p:txBody>
      </p:sp>
      <p:cxnSp>
        <p:nvCxnSpPr>
          <p:cNvPr id="65" name="Straight Connector 22"/>
          <p:cNvCxnSpPr>
            <a:cxnSpLocks noChangeShapeType="1"/>
            <a:endCxn id="64" idx="0"/>
          </p:cNvCxnSpPr>
          <p:nvPr/>
        </p:nvCxnSpPr>
        <p:spPr bwMode="auto">
          <a:xfrm>
            <a:off x="10110798" y="2793994"/>
            <a:ext cx="1308101" cy="1155712"/>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66" name="Rounded Rectangle 26"/>
          <p:cNvSpPr/>
          <p:nvPr/>
        </p:nvSpPr>
        <p:spPr bwMode="auto">
          <a:xfrm>
            <a:off x="8423286" y="3411543"/>
            <a:ext cx="1108075" cy="544513"/>
          </a:xfrm>
          <a:prstGeom prst="roundRect">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200">
                <a:solidFill>
                  <a:schemeClr val="bg1"/>
                </a:solidFill>
                <a:latin typeface="Arial" pitchFamily="34" charset="0"/>
                <a:ea typeface="+mn-ea"/>
                <a:cs typeface="Arial" pitchFamily="34" charset="0"/>
              </a:rPr>
              <a:t>Session</a:t>
            </a:r>
            <a:br>
              <a:rPr lang="en-US" sz="1200">
                <a:solidFill>
                  <a:schemeClr val="bg1"/>
                </a:solidFill>
                <a:latin typeface="Arial" pitchFamily="34" charset="0"/>
                <a:ea typeface="+mn-ea"/>
                <a:cs typeface="Arial" pitchFamily="34" charset="0"/>
              </a:rPr>
            </a:br>
            <a:r>
              <a:rPr lang="en-US" sz="1200" err="1">
                <a:solidFill>
                  <a:schemeClr val="bg1"/>
                </a:solidFill>
                <a:latin typeface="Arial" pitchFamily="34" charset="0"/>
                <a:ea typeface="+mn-ea"/>
                <a:cs typeface="Arial" pitchFamily="34" charset="0"/>
              </a:rPr>
              <a:t>Mgmt</a:t>
            </a:r>
            <a:endParaRPr lang="en-US" sz="1200">
              <a:solidFill>
                <a:schemeClr val="bg1"/>
              </a:solidFill>
              <a:latin typeface="Arial" pitchFamily="34" charset="0"/>
              <a:ea typeface="+mn-ea"/>
              <a:cs typeface="Arial" pitchFamily="34" charset="0"/>
            </a:endParaRPr>
          </a:p>
        </p:txBody>
      </p:sp>
      <p:sp>
        <p:nvSpPr>
          <p:cNvPr id="67" name="Rounded Rectangle 45"/>
          <p:cNvSpPr>
            <a:spLocks noChangeArrowheads="1"/>
          </p:cNvSpPr>
          <p:nvPr/>
        </p:nvSpPr>
        <p:spPr bwMode="auto">
          <a:xfrm>
            <a:off x="8456623" y="4611693"/>
            <a:ext cx="1108075" cy="544513"/>
          </a:xfrm>
          <a:prstGeom prst="roundRect">
            <a:avLst>
              <a:gd name="adj" fmla="val 16667"/>
            </a:avLst>
          </a:prstGeom>
          <a:solidFill>
            <a:srgbClr val="00B050"/>
          </a:solidFill>
          <a:ln w="12700">
            <a:solidFill>
              <a:schemeClr val="tx1"/>
            </a:solidFill>
            <a:round/>
            <a:headEnd/>
            <a:tailEnd/>
          </a:ln>
        </p:spPr>
        <p:txBody>
          <a:bodyPr wrap="none" lIns="72000" rIns="72000" anchor="ct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en-US" sz="1600">
                <a:solidFill>
                  <a:schemeClr val="bg1"/>
                </a:solidFill>
              </a:rPr>
              <a:t>User Plane</a:t>
            </a:r>
          </a:p>
        </p:txBody>
      </p:sp>
      <p:cxnSp>
        <p:nvCxnSpPr>
          <p:cNvPr id="68" name="Straight Connector 46"/>
          <p:cNvCxnSpPr>
            <a:cxnSpLocks noChangeShapeType="1"/>
            <a:stCxn id="66" idx="2"/>
            <a:endCxn id="67" idx="0"/>
          </p:cNvCxnSpPr>
          <p:nvPr/>
        </p:nvCxnSpPr>
        <p:spPr bwMode="auto">
          <a:xfrm>
            <a:off x="8977323" y="3956056"/>
            <a:ext cx="33338" cy="655637"/>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69" name="Freeform 70"/>
          <p:cNvSpPr>
            <a:spLocks noChangeAspect="1"/>
          </p:cNvSpPr>
          <p:nvPr/>
        </p:nvSpPr>
        <p:spPr bwMode="auto">
          <a:xfrm>
            <a:off x="10706111" y="4398968"/>
            <a:ext cx="1000125" cy="685800"/>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0" name="Oval 69"/>
          <p:cNvSpPr/>
          <p:nvPr/>
        </p:nvSpPr>
        <p:spPr bwMode="auto">
          <a:xfrm>
            <a:off x="5613411" y="4713293"/>
            <a:ext cx="930275" cy="369888"/>
          </a:xfrm>
          <a:prstGeom prst="ellipse">
            <a:avLst/>
          </a:prstGeom>
          <a:solidFill>
            <a:schemeClr val="tx1">
              <a:lumMod val="40000"/>
              <a:lumOff val="60000"/>
            </a:schemeClr>
          </a:solidFill>
          <a:ln w="12700" cap="flat" cmpd="sng" algn="ctr">
            <a:solidFill>
              <a:schemeClr val="tx1"/>
            </a:solidFill>
            <a:prstDash val="solid"/>
            <a:round/>
            <a:headEnd type="none" w="med" len="med"/>
            <a:tailEnd type="none" w="med" len="med"/>
          </a:ln>
          <a:effectLst/>
        </p:spPr>
        <p:txBody>
          <a:bodyPr wrap="none" lIns="72000" rIns="72000"/>
          <a:lstStyle/>
          <a:p>
            <a:pPr>
              <a:spcBef>
                <a:spcPct val="50000"/>
              </a:spcBef>
              <a:defRPr/>
            </a:pPr>
            <a:endParaRPr lang="en-US">
              <a:latin typeface="Arial" pitchFamily="34" charset="0"/>
              <a:ea typeface="+mn-ea"/>
              <a:cs typeface="Arial" pitchFamily="34" charset="0"/>
            </a:endParaRPr>
          </a:p>
        </p:txBody>
      </p:sp>
      <p:sp>
        <p:nvSpPr>
          <p:cNvPr id="71" name="Freeform 3"/>
          <p:cNvSpPr>
            <a:spLocks noChangeAspect="1" noEditPoints="1"/>
          </p:cNvSpPr>
          <p:nvPr/>
        </p:nvSpPr>
        <p:spPr bwMode="auto">
          <a:xfrm>
            <a:off x="5735648" y="4089406"/>
            <a:ext cx="687388" cy="84455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2" name="Freeform 6"/>
          <p:cNvSpPr>
            <a:spLocks noEditPoints="1"/>
          </p:cNvSpPr>
          <p:nvPr/>
        </p:nvSpPr>
        <p:spPr bwMode="auto">
          <a:xfrm>
            <a:off x="4608523" y="4398968"/>
            <a:ext cx="419100" cy="66516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cxnSp>
        <p:nvCxnSpPr>
          <p:cNvPr id="73" name="Straight Connector 59"/>
          <p:cNvCxnSpPr>
            <a:cxnSpLocks noChangeShapeType="1"/>
            <a:endCxn id="103" idx="1"/>
          </p:cNvCxnSpPr>
          <p:nvPr/>
        </p:nvCxnSpPr>
        <p:spPr bwMode="auto">
          <a:xfrm flipV="1">
            <a:off x="5027623" y="3694118"/>
            <a:ext cx="1620838" cy="646113"/>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74" name="Straight Connector 61"/>
          <p:cNvCxnSpPr>
            <a:cxnSpLocks noChangeShapeType="1"/>
            <a:endCxn id="103" idx="2"/>
          </p:cNvCxnSpPr>
          <p:nvPr/>
        </p:nvCxnSpPr>
        <p:spPr bwMode="auto">
          <a:xfrm flipV="1">
            <a:off x="6434148" y="3965581"/>
            <a:ext cx="766763" cy="747712"/>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75" name="Straight Connector 15360"/>
          <p:cNvCxnSpPr>
            <a:cxnSpLocks noChangeShapeType="1"/>
            <a:stCxn id="70" idx="6"/>
            <a:endCxn id="67" idx="1"/>
          </p:cNvCxnSpPr>
          <p:nvPr/>
        </p:nvCxnSpPr>
        <p:spPr bwMode="auto">
          <a:xfrm flipV="1">
            <a:off x="6543686" y="4884743"/>
            <a:ext cx="1912937" cy="14288"/>
          </a:xfrm>
          <a:prstGeom prst="line">
            <a:avLst/>
          </a:prstGeom>
          <a:noFill/>
          <a:ln w="57150">
            <a:solidFill>
              <a:schemeClr val="bg1"/>
            </a:solidFill>
            <a:round/>
            <a:headEnd/>
            <a:tailEnd/>
          </a:ln>
          <a:extLst>
            <a:ext uri="{909E8E84-426E-40DD-AFC4-6F175D3DCCD1}">
              <a14:hiddenFill xmlns:a14="http://schemas.microsoft.com/office/drawing/2010/main">
                <a:noFill/>
              </a14:hiddenFill>
            </a:ext>
          </a:extLst>
        </p:spPr>
      </p:cxnSp>
      <p:cxnSp>
        <p:nvCxnSpPr>
          <p:cNvPr id="76" name="Straight Connector 15363"/>
          <p:cNvCxnSpPr>
            <a:cxnSpLocks noChangeShapeType="1"/>
            <a:stCxn id="67" idx="3"/>
          </p:cNvCxnSpPr>
          <p:nvPr/>
        </p:nvCxnSpPr>
        <p:spPr bwMode="auto">
          <a:xfrm>
            <a:off x="9564698" y="4884743"/>
            <a:ext cx="1174750" cy="0"/>
          </a:xfrm>
          <a:prstGeom prst="line">
            <a:avLst/>
          </a:prstGeom>
          <a:noFill/>
          <a:ln w="57150">
            <a:solidFill>
              <a:schemeClr val="bg1"/>
            </a:solidFill>
            <a:round/>
            <a:headEnd/>
            <a:tailEnd/>
          </a:ln>
          <a:extLst>
            <a:ext uri="{909E8E84-426E-40DD-AFC4-6F175D3DCCD1}">
              <a14:hiddenFill xmlns:a14="http://schemas.microsoft.com/office/drawing/2010/main">
                <a:noFill/>
              </a14:hiddenFill>
            </a:ext>
          </a:extLst>
        </p:spPr>
      </p:cxnSp>
      <p:cxnSp>
        <p:nvCxnSpPr>
          <p:cNvPr id="77" name="Straight Connector 71"/>
          <p:cNvCxnSpPr>
            <a:cxnSpLocks noChangeShapeType="1"/>
            <a:endCxn id="70" idx="2"/>
          </p:cNvCxnSpPr>
          <p:nvPr/>
        </p:nvCxnSpPr>
        <p:spPr bwMode="auto">
          <a:xfrm>
            <a:off x="5064136" y="4899031"/>
            <a:ext cx="549275" cy="0"/>
          </a:xfrm>
          <a:prstGeom prst="line">
            <a:avLst/>
          </a:prstGeom>
          <a:noFill/>
          <a:ln w="57150">
            <a:solidFill>
              <a:schemeClr val="bg1"/>
            </a:solidFill>
            <a:round/>
            <a:headEnd/>
            <a:tailEnd/>
          </a:ln>
          <a:extLst>
            <a:ext uri="{909E8E84-426E-40DD-AFC4-6F175D3DCCD1}">
              <a14:hiddenFill xmlns:a14="http://schemas.microsoft.com/office/drawing/2010/main">
                <a:noFill/>
              </a14:hiddenFill>
            </a:ext>
          </a:extLst>
        </p:spPr>
      </p:cxnSp>
      <p:cxnSp>
        <p:nvCxnSpPr>
          <p:cNvPr id="78" name="Straight Connector 73"/>
          <p:cNvCxnSpPr>
            <a:cxnSpLocks noChangeShapeType="1"/>
          </p:cNvCxnSpPr>
          <p:nvPr/>
        </p:nvCxnSpPr>
        <p:spPr bwMode="auto">
          <a:xfrm flipV="1">
            <a:off x="5064136" y="4511681"/>
            <a:ext cx="549275" cy="153987"/>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79" name="TextBox 97"/>
          <p:cNvSpPr txBox="1">
            <a:spLocks noChangeArrowheads="1"/>
          </p:cNvSpPr>
          <p:nvPr/>
        </p:nvSpPr>
        <p:spPr bwMode="auto">
          <a:xfrm>
            <a:off x="6199195" y="3051180"/>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2</a:t>
            </a:r>
          </a:p>
        </p:txBody>
      </p:sp>
      <p:sp>
        <p:nvSpPr>
          <p:cNvPr id="80" name="TextBox 98"/>
          <p:cNvSpPr txBox="1">
            <a:spLocks noChangeArrowheads="1"/>
          </p:cNvSpPr>
          <p:nvPr/>
        </p:nvSpPr>
        <p:spPr bwMode="auto">
          <a:xfrm>
            <a:off x="7794636" y="3752859"/>
            <a:ext cx="5000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1</a:t>
            </a:r>
          </a:p>
        </p:txBody>
      </p:sp>
      <p:sp>
        <p:nvSpPr>
          <p:cNvPr id="81" name="TextBox 99"/>
          <p:cNvSpPr txBox="1">
            <a:spLocks noChangeArrowheads="1"/>
          </p:cNvSpPr>
          <p:nvPr/>
        </p:nvSpPr>
        <p:spPr bwMode="auto">
          <a:xfrm>
            <a:off x="9399598" y="3052765"/>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7</a:t>
            </a:r>
          </a:p>
        </p:txBody>
      </p:sp>
      <p:sp>
        <p:nvSpPr>
          <p:cNvPr id="83" name="TextBox 100"/>
          <p:cNvSpPr txBox="1">
            <a:spLocks noChangeArrowheads="1"/>
          </p:cNvSpPr>
          <p:nvPr/>
        </p:nvSpPr>
        <p:spPr bwMode="auto">
          <a:xfrm>
            <a:off x="10653723" y="3035302"/>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5</a:t>
            </a:r>
          </a:p>
        </p:txBody>
      </p:sp>
      <p:sp>
        <p:nvSpPr>
          <p:cNvPr id="84" name="TextBox 101"/>
          <p:cNvSpPr txBox="1">
            <a:spLocks noChangeArrowheads="1"/>
          </p:cNvSpPr>
          <p:nvPr/>
        </p:nvSpPr>
        <p:spPr bwMode="auto">
          <a:xfrm>
            <a:off x="8977323" y="4186243"/>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4</a:t>
            </a:r>
          </a:p>
        </p:txBody>
      </p:sp>
      <p:sp>
        <p:nvSpPr>
          <p:cNvPr id="85" name="TextBox 104"/>
          <p:cNvSpPr txBox="1">
            <a:spLocks noChangeArrowheads="1"/>
          </p:cNvSpPr>
          <p:nvPr/>
        </p:nvSpPr>
        <p:spPr bwMode="auto">
          <a:xfrm>
            <a:off x="7299336" y="4584706"/>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3</a:t>
            </a:r>
          </a:p>
        </p:txBody>
      </p:sp>
      <p:sp>
        <p:nvSpPr>
          <p:cNvPr id="86" name="TextBox 105"/>
          <p:cNvSpPr txBox="1">
            <a:spLocks noChangeArrowheads="1"/>
          </p:cNvSpPr>
          <p:nvPr/>
        </p:nvSpPr>
        <p:spPr bwMode="auto">
          <a:xfrm>
            <a:off x="6889761" y="4130681"/>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2</a:t>
            </a:r>
          </a:p>
        </p:txBody>
      </p:sp>
      <p:sp>
        <p:nvSpPr>
          <p:cNvPr id="87" name="TextBox 106"/>
          <p:cNvSpPr txBox="1">
            <a:spLocks noChangeArrowheads="1"/>
          </p:cNvSpPr>
          <p:nvPr/>
        </p:nvSpPr>
        <p:spPr bwMode="auto">
          <a:xfrm>
            <a:off x="5207002" y="3790961"/>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a:t>
            </a:r>
          </a:p>
        </p:txBody>
      </p:sp>
      <p:sp>
        <p:nvSpPr>
          <p:cNvPr id="88" name="TextBox 107"/>
          <p:cNvSpPr txBox="1">
            <a:spLocks noChangeArrowheads="1"/>
          </p:cNvSpPr>
          <p:nvPr/>
        </p:nvSpPr>
        <p:spPr bwMode="auto">
          <a:xfrm>
            <a:off x="9758373" y="4589468"/>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6</a:t>
            </a:r>
          </a:p>
        </p:txBody>
      </p:sp>
      <p:sp>
        <p:nvSpPr>
          <p:cNvPr id="89" name="Rounded Rectangle 108"/>
          <p:cNvSpPr>
            <a:spLocks noChangeArrowheads="1"/>
          </p:cNvSpPr>
          <p:nvPr/>
        </p:nvSpPr>
        <p:spPr bwMode="auto">
          <a:xfrm>
            <a:off x="8609023" y="4764093"/>
            <a:ext cx="1108075" cy="544513"/>
          </a:xfrm>
          <a:prstGeom prst="roundRect">
            <a:avLst>
              <a:gd name="adj" fmla="val 16667"/>
            </a:avLst>
          </a:prstGeom>
          <a:solidFill>
            <a:srgbClr val="00B050"/>
          </a:solidFill>
          <a:ln w="12700">
            <a:solidFill>
              <a:schemeClr val="tx1"/>
            </a:solidFill>
            <a:round/>
            <a:headEnd/>
            <a:tailEnd/>
          </a:ln>
        </p:spPr>
        <p:txBody>
          <a:bodyPr wrap="none" lIns="72000" rIns="72000" anchor="ct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algn="ctr" eaLnBrk="1" hangingPunct="1">
              <a:spcBef>
                <a:spcPct val="50000"/>
              </a:spcBef>
              <a:buClrTx/>
              <a:buFontTx/>
              <a:buNone/>
            </a:pPr>
            <a:r>
              <a:rPr lang="en-US" altLang="en-US" sz="1200">
                <a:solidFill>
                  <a:schemeClr val="bg1"/>
                </a:solidFill>
              </a:rPr>
              <a:t>User Plane</a:t>
            </a:r>
          </a:p>
        </p:txBody>
      </p:sp>
      <p:cxnSp>
        <p:nvCxnSpPr>
          <p:cNvPr id="90" name="Elbow Connector 65"/>
          <p:cNvCxnSpPr>
            <a:cxnSpLocks noChangeShapeType="1"/>
            <a:endCxn id="89" idx="2"/>
          </p:cNvCxnSpPr>
          <p:nvPr/>
        </p:nvCxnSpPr>
        <p:spPr bwMode="auto">
          <a:xfrm>
            <a:off x="8456623" y="5037143"/>
            <a:ext cx="706438" cy="271463"/>
          </a:xfrm>
          <a:prstGeom prst="bentConnector4">
            <a:avLst>
              <a:gd name="adj1" fmla="val -36685"/>
              <a:gd name="adj2" fmla="val 183940"/>
            </a:avLst>
          </a:prstGeom>
          <a:noFill/>
          <a:ln w="57150">
            <a:solidFill>
              <a:schemeClr val="bg1"/>
            </a:solidFill>
            <a:round/>
            <a:headEnd/>
            <a:tailEnd/>
          </a:ln>
          <a:extLst>
            <a:ext uri="{909E8E84-426E-40DD-AFC4-6F175D3DCCD1}">
              <a14:hiddenFill xmlns:a14="http://schemas.microsoft.com/office/drawing/2010/main">
                <a:noFill/>
              </a14:hiddenFill>
            </a:ext>
          </a:extLst>
        </p:spPr>
      </p:cxnSp>
      <p:sp>
        <p:nvSpPr>
          <p:cNvPr id="91" name="TextBox 114"/>
          <p:cNvSpPr txBox="1">
            <a:spLocks noChangeArrowheads="1"/>
          </p:cNvSpPr>
          <p:nvPr/>
        </p:nvSpPr>
        <p:spPr bwMode="auto">
          <a:xfrm>
            <a:off x="8180398" y="5233993"/>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9</a:t>
            </a:r>
          </a:p>
        </p:txBody>
      </p:sp>
      <p:sp>
        <p:nvSpPr>
          <p:cNvPr id="92" name="TextBox 69"/>
          <p:cNvSpPr txBox="1">
            <a:spLocks noChangeArrowheads="1"/>
          </p:cNvSpPr>
          <p:nvPr/>
        </p:nvSpPr>
        <p:spPr bwMode="auto">
          <a:xfrm>
            <a:off x="9554379" y="5899265"/>
            <a:ext cx="275113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100">
                <a:solidFill>
                  <a:schemeClr val="bg1"/>
                </a:solidFill>
              </a:rPr>
              <a:t>Tentative architecture</a:t>
            </a:r>
            <a:br>
              <a:rPr lang="en-US" altLang="en-US" sz="1100">
                <a:solidFill>
                  <a:schemeClr val="bg1"/>
                </a:solidFill>
              </a:rPr>
            </a:br>
            <a:r>
              <a:rPr lang="en-US" sz="1100">
                <a:solidFill>
                  <a:schemeClr val="bg1"/>
                </a:solidFill>
              </a:rPr>
              <a:t> p2p reference representation</a:t>
            </a:r>
            <a:endParaRPr lang="en-US" altLang="en-US" sz="1100">
              <a:solidFill>
                <a:schemeClr val="bg1"/>
              </a:solidFill>
            </a:endParaRPr>
          </a:p>
        </p:txBody>
      </p:sp>
      <p:sp>
        <p:nvSpPr>
          <p:cNvPr id="93" name="Content Placeholder 1"/>
          <p:cNvSpPr txBox="1">
            <a:spLocks/>
          </p:cNvSpPr>
          <p:nvPr/>
        </p:nvSpPr>
        <p:spPr>
          <a:xfrm>
            <a:off x="411163" y="1784353"/>
            <a:ext cx="3783012" cy="4602163"/>
          </a:xfrm>
          <a:prstGeom prst="rect">
            <a:avLst/>
          </a:prstGeom>
          <a:noFill/>
        </p:spPr>
        <p:txBody>
          <a:bodyPr/>
          <a:lstStyle>
            <a:lvl1pPr marL="176213" indent="-176213" algn="l" rtl="0" eaLnBrk="0" fontAlgn="base" hangingPunct="0">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0" fontAlgn="base" hangingPunct="0">
              <a:spcBef>
                <a:spcPct val="20000"/>
              </a:spcBef>
              <a:spcAft>
                <a:spcPct val="0"/>
              </a:spcAft>
              <a:buClr>
                <a:schemeClr val="tx1"/>
              </a:buClr>
              <a:buFont typeface="Ericsson Capital TT" pitchFamily="2" charset="0"/>
              <a:buChar char="–"/>
              <a:defRPr>
                <a:solidFill>
                  <a:schemeClr val="tx1"/>
                </a:solidFill>
                <a:latin typeface="+mn-lt"/>
              </a:defRPr>
            </a:lvl2pPr>
            <a:lvl3pPr marL="892175" indent="-179388" algn="l" rtl="0" eaLnBrk="0" fontAlgn="base" hangingPunct="0">
              <a:spcBef>
                <a:spcPct val="20000"/>
              </a:spcBef>
              <a:spcAft>
                <a:spcPct val="0"/>
              </a:spcAft>
              <a:buClr>
                <a:srgbClr val="92CCE5"/>
              </a:buClr>
              <a:buFont typeface="Ericsson Capital TT" pitchFamily="2" charset="0"/>
              <a:buChar char="›"/>
              <a:defRPr>
                <a:solidFill>
                  <a:schemeClr val="tx1"/>
                </a:solidFill>
                <a:latin typeface="+mn-lt"/>
              </a:defRPr>
            </a:lvl3pPr>
            <a:lvl4pPr marL="1252538" indent="-180975" algn="l" rtl="0" eaLnBrk="0" fontAlgn="base" hangingPunct="0">
              <a:spcBef>
                <a:spcPct val="20000"/>
              </a:spcBef>
              <a:spcAft>
                <a:spcPct val="0"/>
              </a:spcAft>
              <a:buClr>
                <a:schemeClr val="tx1"/>
              </a:buClr>
              <a:buFont typeface="Ericsson Capital TT" pitchFamily="2" charset="0"/>
              <a:buChar char="-"/>
              <a:defRPr>
                <a:solidFill>
                  <a:schemeClr val="tx1"/>
                </a:solidFill>
                <a:latin typeface="+mn-lt"/>
              </a:defRPr>
            </a:lvl4pPr>
            <a:lvl5pPr marL="1614488" indent="-180975" algn="l" rtl="0" eaLnBrk="0" fontAlgn="base" hangingPunct="0">
              <a:spcBef>
                <a:spcPct val="20000"/>
              </a:spcBef>
              <a:spcAft>
                <a:spcPct val="0"/>
              </a:spcAft>
              <a:buClr>
                <a:schemeClr val="tx1"/>
              </a:buClr>
              <a:buFont typeface="Ericsson Capital TT" pitchFamily="2" charset="0"/>
              <a:buChar char="›"/>
              <a:defRPr>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buClr>
                <a:schemeClr val="bg1"/>
              </a:buClr>
              <a:buNone/>
              <a:defRPr/>
            </a:pPr>
            <a:r>
              <a:rPr lang="en-US" altLang="en-US" sz="2400" kern="0">
                <a:solidFill>
                  <a:schemeClr val="bg1"/>
                </a:solidFill>
              </a:rPr>
              <a:t>Potential benefits: </a:t>
            </a:r>
          </a:p>
          <a:p>
            <a:pPr>
              <a:spcBef>
                <a:spcPts val="600"/>
              </a:spcBef>
              <a:spcAft>
                <a:spcPts val="600"/>
              </a:spcAft>
              <a:buClr>
                <a:schemeClr val="bg1"/>
              </a:buClr>
              <a:buFont typeface="Wingdings" charset="2"/>
              <a:buChar char="§"/>
              <a:defRPr/>
            </a:pPr>
            <a:r>
              <a:rPr lang="en-US" altLang="en-US" sz="1600" kern="0">
                <a:solidFill>
                  <a:schemeClr val="bg1"/>
                </a:solidFill>
              </a:rPr>
              <a:t>NR standalone  (SA) mode</a:t>
            </a:r>
          </a:p>
          <a:p>
            <a:pPr>
              <a:buClr>
                <a:schemeClr val="bg1"/>
              </a:buClr>
              <a:buFont typeface="Wingdings" charset="2"/>
              <a:buChar char="§"/>
              <a:defRPr/>
            </a:pPr>
            <a:r>
              <a:rPr lang="en-US" sz="1600" kern="0">
                <a:solidFill>
                  <a:schemeClr val="bg1"/>
                </a:solidFill>
              </a:rPr>
              <a:t>Multi-slice UE, single UE simultaneously connecting to multiple services over multiple slices with optimized access and mobility signaling</a:t>
            </a:r>
          </a:p>
          <a:p>
            <a:pPr>
              <a:spcBef>
                <a:spcPts val="600"/>
              </a:spcBef>
              <a:spcAft>
                <a:spcPts val="600"/>
              </a:spcAft>
              <a:buClr>
                <a:schemeClr val="bg1"/>
              </a:buClr>
              <a:buFont typeface="Wingdings" charset="2"/>
              <a:buChar char="§"/>
            </a:pPr>
            <a:r>
              <a:rPr lang="en-US" sz="1600">
                <a:solidFill>
                  <a:schemeClr val="bg1"/>
                </a:solidFill>
              </a:rPr>
              <a:t>Improved </a:t>
            </a:r>
            <a:r>
              <a:rPr lang="en-US" sz="1600" err="1">
                <a:solidFill>
                  <a:schemeClr val="bg1"/>
                </a:solidFill>
              </a:rPr>
              <a:t>QoS</a:t>
            </a:r>
            <a:r>
              <a:rPr lang="en-US" sz="1600">
                <a:solidFill>
                  <a:schemeClr val="bg1"/>
                </a:solidFill>
              </a:rPr>
              <a:t> concept</a:t>
            </a:r>
          </a:p>
          <a:p>
            <a:pPr>
              <a:spcBef>
                <a:spcPts val="600"/>
              </a:spcBef>
              <a:spcAft>
                <a:spcPts val="600"/>
              </a:spcAft>
              <a:buClr>
                <a:schemeClr val="bg1"/>
              </a:buClr>
              <a:buFont typeface="Wingdings" charset="2"/>
              <a:buChar char="§"/>
            </a:pPr>
            <a:r>
              <a:rPr lang="en-US" sz="1600">
                <a:solidFill>
                  <a:schemeClr val="bg1"/>
                </a:solidFill>
              </a:rPr>
              <a:t>Simultaneous access to local and centralized networks </a:t>
            </a:r>
            <a:r>
              <a:rPr lang="en-US" sz="1600" kern="0">
                <a:solidFill>
                  <a:schemeClr val="bg1"/>
                </a:solidFill>
              </a:rPr>
              <a:t>within the same data connection</a:t>
            </a:r>
            <a:endParaRPr lang="en-US" sz="1600">
              <a:solidFill>
                <a:schemeClr val="bg1"/>
              </a:solidFill>
            </a:endParaRPr>
          </a:p>
          <a:p>
            <a:pPr>
              <a:spcBef>
                <a:spcPts val="600"/>
              </a:spcBef>
              <a:spcAft>
                <a:spcPts val="600"/>
              </a:spcAft>
              <a:buClr>
                <a:schemeClr val="bg1"/>
              </a:buClr>
              <a:buFont typeface="Wingdings" charset="2"/>
              <a:buChar char="§"/>
            </a:pPr>
            <a:r>
              <a:rPr lang="en-US" sz="1600">
                <a:solidFill>
                  <a:schemeClr val="bg1"/>
                </a:solidFill>
              </a:rPr>
              <a:t>Mobility on Demand concept</a:t>
            </a:r>
          </a:p>
          <a:p>
            <a:pPr>
              <a:spcBef>
                <a:spcPts val="600"/>
              </a:spcBef>
              <a:spcAft>
                <a:spcPts val="600"/>
              </a:spcAft>
              <a:buClr>
                <a:schemeClr val="bg1"/>
              </a:buClr>
              <a:buFont typeface="Wingdings" charset="2"/>
              <a:buChar char="§"/>
            </a:pPr>
            <a:r>
              <a:rPr lang="en-US" altLang="en-US" sz="1600" kern="0">
                <a:solidFill>
                  <a:schemeClr val="bg1"/>
                </a:solidFill>
              </a:rPr>
              <a:t>Preparing for non-3GPP access integration</a:t>
            </a:r>
          </a:p>
        </p:txBody>
      </p:sp>
      <p:cxnSp>
        <p:nvCxnSpPr>
          <p:cNvPr id="94" name="Straight Connector 17"/>
          <p:cNvCxnSpPr>
            <a:cxnSpLocks noChangeShapeType="1"/>
          </p:cNvCxnSpPr>
          <p:nvPr/>
        </p:nvCxnSpPr>
        <p:spPr bwMode="auto">
          <a:xfrm flipV="1">
            <a:off x="7387572" y="2789226"/>
            <a:ext cx="822989" cy="639779"/>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cxnSp>
        <p:nvCxnSpPr>
          <p:cNvPr id="95" name="Straight Connector 15"/>
          <p:cNvCxnSpPr>
            <a:cxnSpLocks noChangeShapeType="1"/>
          </p:cNvCxnSpPr>
          <p:nvPr/>
        </p:nvCxnSpPr>
        <p:spPr bwMode="auto">
          <a:xfrm flipV="1">
            <a:off x="7040564" y="2595547"/>
            <a:ext cx="711200" cy="0"/>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96" name="TextBox 98"/>
          <p:cNvSpPr txBox="1">
            <a:spLocks noChangeArrowheads="1"/>
          </p:cNvSpPr>
          <p:nvPr/>
        </p:nvSpPr>
        <p:spPr bwMode="auto">
          <a:xfrm>
            <a:off x="7061201" y="2619362"/>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3</a:t>
            </a:r>
          </a:p>
        </p:txBody>
      </p:sp>
      <p:sp>
        <p:nvSpPr>
          <p:cNvPr id="97" name="Rounded Rectangle 30"/>
          <p:cNvSpPr/>
          <p:nvPr/>
        </p:nvSpPr>
        <p:spPr bwMode="auto">
          <a:xfrm>
            <a:off x="5948367" y="2249481"/>
            <a:ext cx="1106487" cy="544513"/>
          </a:xfrm>
          <a:prstGeom prst="roundRect">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200">
                <a:solidFill>
                  <a:schemeClr val="bg1"/>
                </a:solidFill>
                <a:latin typeface="Arial" pitchFamily="34" charset="0"/>
                <a:ea typeface="+mn-ea"/>
                <a:cs typeface="Arial" pitchFamily="34" charset="0"/>
              </a:rPr>
              <a:t>Authentication</a:t>
            </a:r>
            <a:br>
              <a:rPr lang="en-US" sz="1200">
                <a:solidFill>
                  <a:schemeClr val="bg1"/>
                </a:solidFill>
                <a:latin typeface="Arial" pitchFamily="34" charset="0"/>
                <a:ea typeface="+mn-ea"/>
                <a:cs typeface="Arial" pitchFamily="34" charset="0"/>
              </a:rPr>
            </a:br>
            <a:r>
              <a:rPr lang="en-US" sz="1200">
                <a:solidFill>
                  <a:schemeClr val="bg1"/>
                </a:solidFill>
                <a:latin typeface="Arial" pitchFamily="34" charset="0"/>
                <a:ea typeface="+mn-ea"/>
                <a:cs typeface="Arial" pitchFamily="34" charset="0"/>
              </a:rPr>
              <a:t>Function</a:t>
            </a:r>
          </a:p>
        </p:txBody>
      </p:sp>
      <p:sp>
        <p:nvSpPr>
          <p:cNvPr id="98" name="Rounded Rectangle 53"/>
          <p:cNvSpPr/>
          <p:nvPr/>
        </p:nvSpPr>
        <p:spPr bwMode="auto">
          <a:xfrm>
            <a:off x="7658111" y="2244713"/>
            <a:ext cx="1106487" cy="544513"/>
          </a:xfrm>
          <a:prstGeom prst="roundRect">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200" err="1">
                <a:solidFill>
                  <a:schemeClr val="bg1"/>
                </a:solidFill>
                <a:latin typeface="Arial" pitchFamily="34" charset="0"/>
                <a:ea typeface="+mn-ea"/>
                <a:cs typeface="Arial" pitchFamily="34" charset="0"/>
              </a:rPr>
              <a:t>Subscriberr</a:t>
            </a:r>
            <a:br>
              <a:rPr lang="en-US" sz="1200">
                <a:solidFill>
                  <a:schemeClr val="bg1"/>
                </a:solidFill>
                <a:latin typeface="Arial" pitchFamily="34" charset="0"/>
                <a:ea typeface="+mn-ea"/>
                <a:cs typeface="Arial" pitchFamily="34" charset="0"/>
              </a:rPr>
            </a:br>
            <a:r>
              <a:rPr lang="en-US" sz="1200">
                <a:solidFill>
                  <a:schemeClr val="bg1"/>
                </a:solidFill>
                <a:latin typeface="Arial" pitchFamily="34" charset="0"/>
                <a:ea typeface="+mn-ea"/>
                <a:cs typeface="Arial" pitchFamily="34" charset="0"/>
              </a:rPr>
              <a:t>Data </a:t>
            </a:r>
            <a:r>
              <a:rPr lang="en-US" sz="1200" err="1">
                <a:solidFill>
                  <a:schemeClr val="bg1"/>
                </a:solidFill>
                <a:latin typeface="Arial" pitchFamily="34" charset="0"/>
                <a:ea typeface="+mn-ea"/>
                <a:cs typeface="Arial" pitchFamily="34" charset="0"/>
              </a:rPr>
              <a:t>Mgmt</a:t>
            </a:r>
            <a:endParaRPr lang="en-US" sz="1200">
              <a:solidFill>
                <a:schemeClr val="bg1"/>
              </a:solidFill>
              <a:latin typeface="Arial" pitchFamily="34" charset="0"/>
              <a:ea typeface="+mn-ea"/>
              <a:cs typeface="Arial" pitchFamily="34" charset="0"/>
            </a:endParaRPr>
          </a:p>
        </p:txBody>
      </p:sp>
      <p:sp>
        <p:nvSpPr>
          <p:cNvPr id="99" name="TextBox 97"/>
          <p:cNvSpPr txBox="1">
            <a:spLocks noChangeArrowheads="1"/>
          </p:cNvSpPr>
          <p:nvPr/>
        </p:nvSpPr>
        <p:spPr bwMode="auto">
          <a:xfrm>
            <a:off x="7666048" y="3046412"/>
            <a:ext cx="413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8</a:t>
            </a:r>
          </a:p>
        </p:txBody>
      </p:sp>
      <p:cxnSp>
        <p:nvCxnSpPr>
          <p:cNvPr id="100" name="Straight Connector 17"/>
          <p:cNvCxnSpPr>
            <a:cxnSpLocks noChangeShapeType="1"/>
            <a:endCxn id="98" idx="2"/>
          </p:cNvCxnSpPr>
          <p:nvPr/>
        </p:nvCxnSpPr>
        <p:spPr bwMode="auto">
          <a:xfrm flipH="1" flipV="1">
            <a:off x="8211355" y="2789226"/>
            <a:ext cx="647691" cy="606037"/>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101" name="TextBox 97"/>
          <p:cNvSpPr txBox="1">
            <a:spLocks noChangeArrowheads="1"/>
          </p:cNvSpPr>
          <p:nvPr/>
        </p:nvSpPr>
        <p:spPr bwMode="auto">
          <a:xfrm>
            <a:off x="8518546" y="3027361"/>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0</a:t>
            </a:r>
          </a:p>
        </p:txBody>
      </p:sp>
      <p:cxnSp>
        <p:nvCxnSpPr>
          <p:cNvPr id="102" name="Straight Connector 17"/>
          <p:cNvCxnSpPr>
            <a:cxnSpLocks noChangeShapeType="1"/>
          </p:cNvCxnSpPr>
          <p:nvPr/>
        </p:nvCxnSpPr>
        <p:spPr bwMode="auto">
          <a:xfrm flipV="1">
            <a:off x="8940156" y="2784458"/>
            <a:ext cx="822989" cy="639779"/>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103" name="Rounded Rectangle 27"/>
          <p:cNvSpPr/>
          <p:nvPr/>
        </p:nvSpPr>
        <p:spPr bwMode="auto">
          <a:xfrm>
            <a:off x="6648461" y="3421068"/>
            <a:ext cx="1106487" cy="544513"/>
          </a:xfrm>
          <a:prstGeom prst="roundRect">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200">
                <a:solidFill>
                  <a:schemeClr val="bg1"/>
                </a:solidFill>
                <a:latin typeface="Arial" pitchFamily="34" charset="0"/>
                <a:ea typeface="+mn-ea"/>
                <a:cs typeface="Arial" pitchFamily="34" charset="0"/>
              </a:rPr>
              <a:t>Access &amp; </a:t>
            </a:r>
            <a:br>
              <a:rPr lang="en-US" sz="1200">
                <a:solidFill>
                  <a:schemeClr val="bg1"/>
                </a:solidFill>
                <a:latin typeface="Arial" pitchFamily="34" charset="0"/>
                <a:ea typeface="+mn-ea"/>
                <a:cs typeface="Arial" pitchFamily="34" charset="0"/>
              </a:rPr>
            </a:br>
            <a:r>
              <a:rPr lang="en-US" sz="1200">
                <a:solidFill>
                  <a:schemeClr val="bg1"/>
                </a:solidFill>
                <a:latin typeface="Arial" pitchFamily="34" charset="0"/>
                <a:ea typeface="+mn-ea"/>
                <a:cs typeface="Arial" pitchFamily="34" charset="0"/>
              </a:rPr>
              <a:t>Mobility</a:t>
            </a:r>
          </a:p>
        </p:txBody>
      </p:sp>
      <p:cxnSp>
        <p:nvCxnSpPr>
          <p:cNvPr id="104" name="Elbow Connector 59"/>
          <p:cNvCxnSpPr>
            <a:cxnSpLocks/>
          </p:cNvCxnSpPr>
          <p:nvPr/>
        </p:nvCxnSpPr>
        <p:spPr bwMode="auto">
          <a:xfrm rot="5400000">
            <a:off x="6459016" y="3572024"/>
            <a:ext cx="204532" cy="94981"/>
          </a:xfrm>
          <a:prstGeom prst="bentConnector4">
            <a:avLst>
              <a:gd name="adj1" fmla="val 3920"/>
              <a:gd name="adj2" fmla="val 763241"/>
            </a:avLst>
          </a:prstGeom>
          <a:noFill/>
          <a:ln w="19050">
            <a:solidFill>
              <a:schemeClr val="bg1"/>
            </a:solidFill>
            <a:prstDash val="dash"/>
            <a:round/>
            <a:headEnd/>
            <a:tailEnd/>
          </a:ln>
        </p:spPr>
      </p:cxnSp>
      <p:sp>
        <p:nvSpPr>
          <p:cNvPr id="105" name="Text Box 144"/>
          <p:cNvSpPr txBox="1">
            <a:spLocks noChangeAspect="1" noChangeArrowheads="1"/>
          </p:cNvSpPr>
          <p:nvPr/>
        </p:nvSpPr>
        <p:spPr bwMode="auto">
          <a:xfrm>
            <a:off x="5096430" y="351857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schemeClr val="bg1"/>
                </a:solidFill>
                <a:effectLst/>
                <a:uLnTx/>
                <a:uFillTx/>
                <a:latin typeface="Arial" charset="0"/>
                <a:ea typeface="MS PGothic" charset="-128"/>
              </a:rPr>
              <a:t>N14</a:t>
            </a:r>
          </a:p>
        </p:txBody>
      </p:sp>
      <p:cxnSp>
        <p:nvCxnSpPr>
          <p:cNvPr id="106" name="Straight Connector 17"/>
          <p:cNvCxnSpPr>
            <a:cxnSpLocks noChangeShapeType="1"/>
          </p:cNvCxnSpPr>
          <p:nvPr/>
        </p:nvCxnSpPr>
        <p:spPr bwMode="auto">
          <a:xfrm flipH="1" flipV="1">
            <a:off x="7241533" y="1654181"/>
            <a:ext cx="3036" cy="1766887"/>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107" name="Rounded Rectangle 55"/>
          <p:cNvSpPr/>
          <p:nvPr/>
        </p:nvSpPr>
        <p:spPr bwMode="auto">
          <a:xfrm>
            <a:off x="9367854" y="2266162"/>
            <a:ext cx="1106487" cy="544513"/>
          </a:xfrm>
          <a:prstGeom prst="roundRect">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200">
                <a:solidFill>
                  <a:schemeClr val="bg1"/>
                </a:solidFill>
                <a:latin typeface="Arial" pitchFamily="34" charset="0"/>
                <a:ea typeface="+mn-ea"/>
                <a:cs typeface="Arial" pitchFamily="34" charset="0"/>
              </a:rPr>
              <a:t>Policy</a:t>
            </a:r>
            <a:br>
              <a:rPr lang="en-US" sz="1200">
                <a:solidFill>
                  <a:schemeClr val="bg1"/>
                </a:solidFill>
                <a:latin typeface="Arial" pitchFamily="34" charset="0"/>
                <a:ea typeface="+mn-ea"/>
                <a:cs typeface="Arial" pitchFamily="34" charset="0"/>
              </a:rPr>
            </a:br>
            <a:r>
              <a:rPr lang="en-US" sz="1200">
                <a:solidFill>
                  <a:schemeClr val="bg1"/>
                </a:solidFill>
                <a:latin typeface="Arial" pitchFamily="34" charset="0"/>
                <a:ea typeface="+mn-ea"/>
                <a:cs typeface="Arial" pitchFamily="34" charset="0"/>
              </a:rPr>
              <a:t>Controller</a:t>
            </a:r>
          </a:p>
        </p:txBody>
      </p:sp>
      <p:cxnSp>
        <p:nvCxnSpPr>
          <p:cNvPr id="108" name="Straight Connector 17"/>
          <p:cNvCxnSpPr>
            <a:cxnSpLocks noChangeShapeType="1"/>
            <a:stCxn id="107" idx="0"/>
          </p:cNvCxnSpPr>
          <p:nvPr/>
        </p:nvCxnSpPr>
        <p:spPr bwMode="auto">
          <a:xfrm flipH="1" flipV="1">
            <a:off x="9921097" y="1709733"/>
            <a:ext cx="1" cy="556429"/>
          </a:xfrm>
          <a:prstGeom prst="line">
            <a:avLst/>
          </a:prstGeom>
          <a:noFill/>
          <a:ln w="12700">
            <a:solidFill>
              <a:schemeClr val="bg1"/>
            </a:solidFill>
            <a:prstDash val="dash"/>
            <a:round/>
            <a:headEnd/>
            <a:tailEnd/>
          </a:ln>
          <a:extLst>
            <a:ext uri="{909E8E84-426E-40DD-AFC4-6F175D3DCCD1}">
              <a14:hiddenFill xmlns:a14="http://schemas.microsoft.com/office/drawing/2010/main">
                <a:noFill/>
              </a14:hiddenFill>
            </a:ext>
          </a:extLst>
        </p:spPr>
      </p:cxnSp>
      <p:sp>
        <p:nvSpPr>
          <p:cNvPr id="109" name="TextBox 100"/>
          <p:cNvSpPr txBox="1">
            <a:spLocks noChangeArrowheads="1"/>
          </p:cNvSpPr>
          <p:nvPr/>
        </p:nvSpPr>
        <p:spPr bwMode="auto">
          <a:xfrm>
            <a:off x="8306596" y="1744289"/>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9D4"/>
              </a:buClr>
              <a:buFont typeface="Arial" charset="0"/>
              <a:buChar char="›"/>
              <a:defRPr sz="2000">
                <a:solidFill>
                  <a:schemeClr val="tx1"/>
                </a:solidFill>
                <a:latin typeface="Arial" charset="0"/>
              </a:defRPr>
            </a:lvl1pPr>
            <a:lvl2pPr marL="742950" indent="-285750" eaLnBrk="0" hangingPunct="0">
              <a:spcBef>
                <a:spcPct val="20000"/>
              </a:spcBef>
              <a:buClr>
                <a:schemeClr val="tx1"/>
              </a:buClr>
              <a:buFont typeface="Ericsson Capital TT" charset="0"/>
              <a:buChar char="–"/>
              <a:defRPr>
                <a:solidFill>
                  <a:schemeClr val="tx1"/>
                </a:solidFill>
                <a:latin typeface="Arial" charset="0"/>
              </a:defRPr>
            </a:lvl2pPr>
            <a:lvl3pPr marL="1143000" indent="-228600" eaLnBrk="0" hangingPunct="0">
              <a:spcBef>
                <a:spcPct val="20000"/>
              </a:spcBef>
              <a:buClr>
                <a:srgbClr val="92CCE5"/>
              </a:buClr>
              <a:buFont typeface="Ericsson Capital TT" charset="0"/>
              <a:buChar char="›"/>
              <a:defRPr>
                <a:solidFill>
                  <a:schemeClr val="tx1"/>
                </a:solidFill>
                <a:latin typeface="Arial" charset="0"/>
              </a:defRPr>
            </a:lvl3pPr>
            <a:lvl4pPr marL="1600200" indent="-228600" eaLnBrk="0" hangingPunct="0">
              <a:spcBef>
                <a:spcPct val="20000"/>
              </a:spcBef>
              <a:buClr>
                <a:schemeClr val="tx1"/>
              </a:buClr>
              <a:buFont typeface="Ericsson Capital TT" charset="0"/>
              <a:buChar char="-"/>
              <a:defRPr>
                <a:solidFill>
                  <a:schemeClr val="tx1"/>
                </a:solidFill>
                <a:latin typeface="Arial" charset="0"/>
              </a:defRPr>
            </a:lvl4pPr>
            <a:lvl5pPr marL="2057400" indent="-228600" eaLnBrk="0" hangingPunct="0">
              <a:spcBef>
                <a:spcPct val="20000"/>
              </a:spcBef>
              <a:buClr>
                <a:schemeClr val="tx1"/>
              </a:buClr>
              <a:buFont typeface="Ericsson Capital TT" charset="0"/>
              <a:buChar char="›"/>
              <a:defRPr>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charset="0"/>
              <a:buChar char="›"/>
              <a:defRPr>
                <a:solidFill>
                  <a:schemeClr val="tx1"/>
                </a:solidFill>
                <a:latin typeface="Arial" charset="0"/>
              </a:defRPr>
            </a:lvl9pPr>
          </a:lstStyle>
          <a:p>
            <a:pPr eaLnBrk="1" hangingPunct="1">
              <a:spcBef>
                <a:spcPct val="0"/>
              </a:spcBef>
              <a:buClrTx/>
              <a:buFontTx/>
              <a:buNone/>
            </a:pPr>
            <a:r>
              <a:rPr lang="en-US" altLang="en-US" sz="1400" i="1" dirty="0">
                <a:solidFill>
                  <a:schemeClr val="bg1"/>
                </a:solidFill>
              </a:rPr>
              <a:t>N15</a:t>
            </a:r>
          </a:p>
        </p:txBody>
      </p:sp>
    </p:spTree>
    <p:extLst>
      <p:ext uri="{BB962C8B-B14F-4D97-AF65-F5344CB8AC3E}">
        <p14:creationId xmlns:p14="http://schemas.microsoft.com/office/powerpoint/2010/main" val="42529187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5G system architecture</a:t>
            </a:r>
            <a:br>
              <a:rPr lang="en-GB" dirty="0"/>
            </a:br>
            <a:r>
              <a:rPr lang="en-GB" sz="2400" dirty="0"/>
              <a:t>3GPP TS 23.501 V1.0.0 (2017-06)</a:t>
            </a:r>
            <a:endParaRPr lang="en-US" sz="2400" dirty="0"/>
          </a:p>
        </p:txBody>
      </p:sp>
      <p:sp>
        <p:nvSpPr>
          <p:cNvPr id="5" name="Content Placeholder 3"/>
          <p:cNvSpPr txBox="1">
            <a:spLocks/>
          </p:cNvSpPr>
          <p:nvPr/>
        </p:nvSpPr>
        <p:spPr bwMode="auto">
          <a:xfrm>
            <a:off x="682984" y="1850809"/>
            <a:ext cx="5464175" cy="3643551"/>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buFont typeface="Arial" charset="0"/>
              <a:buNone/>
            </a:pPr>
            <a:r>
              <a:rPr lang="en-US" sz="2000" kern="0" dirty="0"/>
              <a:t>S</a:t>
            </a:r>
            <a:r>
              <a:rPr lang="x-none" sz="2000" kern="0" dirty="0"/>
              <a:t>ervice-based representation</a:t>
            </a:r>
            <a:r>
              <a:rPr lang="sv-SE" sz="2000" kern="0" dirty="0"/>
              <a:t>.</a:t>
            </a:r>
            <a:r>
              <a:rPr lang="x-none" sz="2000" kern="0" dirty="0"/>
              <a:t> </a:t>
            </a:r>
            <a:br>
              <a:rPr lang="en-US" sz="1800" kern="0" dirty="0"/>
            </a:br>
            <a:r>
              <a:rPr lang="x-none" sz="1400" kern="0" dirty="0"/>
              <a:t>where network functions (e.g. AMF) within the control plane enables other authorized network functions to access their services </a:t>
            </a:r>
            <a:endParaRPr lang="en-US" sz="1400" kern="0" dirty="0"/>
          </a:p>
        </p:txBody>
      </p:sp>
      <p:sp>
        <p:nvSpPr>
          <p:cNvPr id="6" name="Rectangle 2"/>
          <p:cNvSpPr>
            <a:spLocks noChangeArrowheads="1"/>
          </p:cNvSpPr>
          <p:nvPr/>
        </p:nvSpPr>
        <p:spPr bwMode="auto">
          <a:xfrm>
            <a:off x="660400" y="26035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4"/>
          <p:cNvSpPr>
            <a:spLocks noChangeArrowheads="1"/>
          </p:cNvSpPr>
          <p:nvPr/>
        </p:nvSpPr>
        <p:spPr bwMode="auto">
          <a:xfrm>
            <a:off x="5537200" y="2235200"/>
            <a:ext cx="12192000" cy="0"/>
          </a:xfrm>
          <a:prstGeom prst="rect">
            <a:avLst/>
          </a:prstGeom>
          <a:solidFill>
            <a:schemeClr val="bg1"/>
          </a:solidFill>
          <a:ln>
            <a:noFill/>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 name="Content Placeholder 1"/>
          <p:cNvSpPr txBox="1">
            <a:spLocks/>
          </p:cNvSpPr>
          <p:nvPr/>
        </p:nvSpPr>
        <p:spPr bwMode="auto">
          <a:xfrm>
            <a:off x="6127923" y="1827595"/>
            <a:ext cx="6049273" cy="3643552"/>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buNone/>
            </a:pPr>
            <a:r>
              <a:rPr lang="en-US" sz="2000" kern="0" dirty="0"/>
              <a:t>R</a:t>
            </a:r>
            <a:r>
              <a:rPr lang="x-none" sz="2000" kern="0" dirty="0"/>
              <a:t>eference point representation</a:t>
            </a:r>
            <a:r>
              <a:rPr lang="en-US" sz="2000" kern="0" dirty="0"/>
              <a:t>. </a:t>
            </a:r>
            <a:br>
              <a:rPr lang="en-US" sz="1800" kern="0" dirty="0"/>
            </a:br>
            <a:r>
              <a:rPr lang="en-GB" sz="1400" dirty="0"/>
              <a:t>Shows that interaction exist between  the NF services in the network functions described by point-to-point reference point (e.g. N11) between any two network functions (e.g. AMF and SMF)</a:t>
            </a:r>
            <a:endParaRPr lang="en-US" sz="1400" kern="0" dirty="0"/>
          </a:p>
        </p:txBody>
      </p:sp>
      <p:sp>
        <p:nvSpPr>
          <p:cNvPr id="13" name="TextBox 12"/>
          <p:cNvSpPr txBox="1"/>
          <p:nvPr/>
        </p:nvSpPr>
        <p:spPr>
          <a:xfrm>
            <a:off x="457200" y="1371600"/>
            <a:ext cx="11109131"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a:ln>
                  <a:noFill/>
                </a:ln>
                <a:effectLst/>
                <a:uLnTx/>
                <a:uFillTx/>
              </a:rPr>
              <a:t>The 5G architecture</a:t>
            </a:r>
            <a:r>
              <a:rPr kumimoji="0" lang="en-GB" b="0" i="0" u="none" strike="noStrike" kern="0" cap="none" spc="0" normalizeH="0" noProof="0" dirty="0">
                <a:ln>
                  <a:noFill/>
                </a:ln>
                <a:effectLst/>
                <a:uLnTx/>
                <a:uFillTx/>
              </a:rPr>
              <a:t> is defined as service-based, interaction between NFs represented in 2 ways:</a:t>
            </a:r>
            <a:endParaRPr kumimoji="0" lang="en-US" b="0" i="0" u="none" strike="noStrike" kern="0" cap="none" spc="0" normalizeH="0" baseline="0" noProof="0" dirty="0">
              <a:ln>
                <a:noFill/>
              </a:ln>
              <a:effectLst/>
              <a:uLnTx/>
              <a:uFillTx/>
            </a:endParaRPr>
          </a:p>
        </p:txBody>
      </p:sp>
      <p:pic>
        <p:nvPicPr>
          <p:cNvPr id="14" name="Picture 13"/>
          <p:cNvPicPr>
            <a:picLocks noChangeAspect="1"/>
          </p:cNvPicPr>
          <p:nvPr/>
        </p:nvPicPr>
        <p:blipFill>
          <a:blip r:embed="rId3"/>
          <a:stretch>
            <a:fillRect/>
          </a:stretch>
        </p:blipFill>
        <p:spPr>
          <a:xfrm>
            <a:off x="113184" y="3235519"/>
            <a:ext cx="5569477" cy="2716818"/>
          </a:xfrm>
          <a:prstGeom prst="rect">
            <a:avLst/>
          </a:prstGeom>
        </p:spPr>
      </p:pic>
      <p:pic>
        <p:nvPicPr>
          <p:cNvPr id="16" name="Picture 15"/>
          <p:cNvPicPr>
            <a:picLocks noChangeAspect="1"/>
          </p:cNvPicPr>
          <p:nvPr/>
        </p:nvPicPr>
        <p:blipFill>
          <a:blip r:embed="rId4"/>
          <a:stretch>
            <a:fillRect/>
          </a:stretch>
        </p:blipFill>
        <p:spPr>
          <a:xfrm>
            <a:off x="5666932" y="3085619"/>
            <a:ext cx="6391275" cy="3124200"/>
          </a:xfrm>
          <a:prstGeom prst="rect">
            <a:avLst/>
          </a:prstGeom>
        </p:spPr>
      </p:pic>
      <p:cxnSp>
        <p:nvCxnSpPr>
          <p:cNvPr id="18" name="Straight Connector 17"/>
          <p:cNvCxnSpPr/>
          <p:nvPr/>
        </p:nvCxnSpPr>
        <p:spPr bwMode="auto">
          <a:xfrm>
            <a:off x="5747060" y="2893102"/>
            <a:ext cx="0" cy="364261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315087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5G terms and definitions (1/5)</a:t>
            </a:r>
            <a:br>
              <a:rPr lang="en-US" dirty="0"/>
            </a:br>
            <a:r>
              <a:rPr lang="en-US" sz="2400" dirty="0">
                <a:latin typeface="+mn-lt"/>
              </a:rPr>
              <a:t>3GPP TS 23.501</a:t>
            </a:r>
            <a:r>
              <a:rPr lang="en-US" sz="2400" dirty="0"/>
              <a:t> </a:t>
            </a:r>
          </a:p>
        </p:txBody>
      </p:sp>
      <p:sp>
        <p:nvSpPr>
          <p:cNvPr id="3" name="Text Placeholder 2"/>
          <p:cNvSpPr>
            <a:spLocks noGrp="1"/>
          </p:cNvSpPr>
          <p:nvPr>
            <p:ph type="body" idx="1"/>
          </p:nvPr>
        </p:nvSpPr>
        <p:spPr>
          <a:xfrm>
            <a:off x="529167" y="1481338"/>
            <a:ext cx="11135785" cy="4891751"/>
          </a:xfrm>
        </p:spPr>
        <p:txBody>
          <a:bodyPr/>
          <a:lstStyle/>
          <a:p>
            <a:r>
              <a:rPr lang="en-US" dirty="0"/>
              <a:t>5G System</a:t>
            </a:r>
          </a:p>
          <a:p>
            <a:pPr lvl="1"/>
            <a:r>
              <a:rPr lang="en-GB" dirty="0"/>
              <a:t>3GPP system consisting of 5G Access Network (AN), 5G Core Network and UE.</a:t>
            </a:r>
            <a:endParaRPr lang="en-US" dirty="0"/>
          </a:p>
          <a:p>
            <a:r>
              <a:rPr lang="en-US" dirty="0"/>
              <a:t>5G Access Network</a:t>
            </a:r>
          </a:p>
          <a:p>
            <a:pPr lvl="1"/>
            <a:r>
              <a:rPr lang="en-GB" dirty="0"/>
              <a:t>An access network comprising a 5G-RAN and/or non-3GPP AN connecting to a 5G Core Network.</a:t>
            </a:r>
          </a:p>
          <a:p>
            <a:r>
              <a:rPr lang="en-GB" dirty="0"/>
              <a:t>5G Core Network</a:t>
            </a:r>
          </a:p>
          <a:p>
            <a:pPr lvl="1"/>
            <a:r>
              <a:rPr lang="en-GB" dirty="0"/>
              <a:t>The core network specified in 3GPP TS 23.501. It connects to a 5G Access Network</a:t>
            </a:r>
          </a:p>
          <a:p>
            <a:r>
              <a:rPr lang="en-GB" dirty="0"/>
              <a:t>5G-RAN</a:t>
            </a:r>
          </a:p>
          <a:p>
            <a:pPr lvl="1"/>
            <a:r>
              <a:rPr lang="en-GB" dirty="0"/>
              <a:t>A radio access network that supports one or more of the following options with the common characteristics that it connects to 5GC:</a:t>
            </a:r>
          </a:p>
          <a:p>
            <a:pPr marL="1055687" lvl="2" indent="-342900">
              <a:buFont typeface="+mj-lt"/>
              <a:buAutoNum type="arabicPeriod"/>
            </a:pPr>
            <a:r>
              <a:rPr lang="en-GB" sz="1600" dirty="0"/>
              <a:t>Standalone New Radio (NR)</a:t>
            </a:r>
          </a:p>
          <a:p>
            <a:pPr marL="1055687" lvl="2" indent="-342900">
              <a:buFont typeface="+mj-lt"/>
              <a:buAutoNum type="arabicPeriod"/>
            </a:pPr>
            <a:r>
              <a:rPr lang="en-GB" sz="1600" dirty="0"/>
              <a:t>NR is the anchor with E-UTRA extensions</a:t>
            </a:r>
          </a:p>
          <a:p>
            <a:pPr marL="1055687" lvl="2" indent="-342900">
              <a:buFont typeface="+mj-lt"/>
              <a:buAutoNum type="arabicPeriod"/>
            </a:pPr>
            <a:r>
              <a:rPr lang="en-GB" sz="1600" dirty="0"/>
              <a:t>Standalone E-UTRA</a:t>
            </a:r>
          </a:p>
          <a:p>
            <a:pPr marL="1055687" lvl="2" indent="-342900">
              <a:buFont typeface="+mj-lt"/>
              <a:buAutoNum type="arabicPeriod"/>
            </a:pPr>
            <a:r>
              <a:rPr lang="en-GB" sz="1600" dirty="0"/>
              <a:t>E-UTRA is the anchor with NR extensions</a:t>
            </a:r>
          </a:p>
          <a:p>
            <a:pPr lvl="1"/>
            <a:endParaRPr lang="en-US" dirty="0"/>
          </a:p>
        </p:txBody>
      </p:sp>
    </p:spTree>
    <p:extLst>
      <p:ext uri="{BB962C8B-B14F-4D97-AF65-F5344CB8AC3E}">
        <p14:creationId xmlns:p14="http://schemas.microsoft.com/office/powerpoint/2010/main" val="3781950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10131"/>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dirty="0"/>
          </a:p>
        </p:txBody>
      </p:sp>
      <p:sp>
        <p:nvSpPr>
          <p:cNvPr id="7171" name="Title 3"/>
          <p:cNvSpPr>
            <a:spLocks noGrp="1"/>
          </p:cNvSpPr>
          <p:nvPr>
            <p:ph type="title"/>
          </p:nvPr>
        </p:nvSpPr>
        <p:spPr>
          <a:xfrm>
            <a:off x="525463" y="239713"/>
            <a:ext cx="10636250" cy="1085850"/>
          </a:xfrm>
          <a:noFill/>
        </p:spPr>
        <p:txBody>
          <a:bodyPr>
            <a:normAutofit/>
          </a:bodyPr>
          <a:lstStyle/>
          <a:p>
            <a:r>
              <a:rPr lang="en-US" altLang="en-US" dirty="0">
                <a:solidFill>
                  <a:schemeClr val="bg1"/>
                </a:solidFill>
                <a:latin typeface="Ericsson Capital TT" pitchFamily="2" charset="0"/>
              </a:rPr>
              <a:t>5G – Classes of Use Cases</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6"/>
          <p:cNvSpPr>
            <a:spLocks noChangeAspect="1"/>
          </p:cNvSpPr>
          <p:nvPr/>
        </p:nvSpPr>
        <p:spPr bwMode="auto">
          <a:xfrm>
            <a:off x="5585532" y="4484371"/>
            <a:ext cx="6375286" cy="1112838"/>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gradFill flip="none" rotWithShape="1">
            <a:gsLst>
              <a:gs pos="0">
                <a:schemeClr val="accent1">
                  <a:lumMod val="5000"/>
                  <a:lumOff val="95000"/>
                  <a:alpha val="0"/>
                </a:schemeClr>
              </a:gs>
              <a:gs pos="83000">
                <a:schemeClr val="bg1"/>
              </a:gs>
            </a:gsLst>
            <a:lin ang="0" scaled="1"/>
            <a:tileRect/>
          </a:gradFill>
          <a:ln>
            <a:noFill/>
          </a:ln>
        </p:spPr>
        <p:txBody>
          <a:bodyPr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pPr>
            <a:endParaRPr lang="en-US" altLang="sv-SE" b="1" dirty="0">
              <a:solidFill>
                <a:srgbClr val="58585A"/>
              </a:solidFill>
              <a:ea typeface="MS PGothic" charset="-128"/>
            </a:endParaRPr>
          </a:p>
        </p:txBody>
      </p:sp>
      <p:sp>
        <p:nvSpPr>
          <p:cNvPr id="6" name="Freeform 6"/>
          <p:cNvSpPr>
            <a:spLocks noChangeAspect="1"/>
          </p:cNvSpPr>
          <p:nvPr/>
        </p:nvSpPr>
        <p:spPr bwMode="auto">
          <a:xfrm rot="10800000">
            <a:off x="380072" y="4484371"/>
            <a:ext cx="5510259" cy="1112838"/>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gradFill flip="none" rotWithShape="1">
            <a:gsLst>
              <a:gs pos="0">
                <a:schemeClr val="accent1">
                  <a:lumMod val="5000"/>
                  <a:lumOff val="95000"/>
                  <a:alpha val="0"/>
                </a:schemeClr>
              </a:gs>
              <a:gs pos="83000">
                <a:schemeClr val="bg1"/>
              </a:gs>
            </a:gsLst>
            <a:lin ang="0" scaled="1"/>
            <a:tileRect/>
          </a:gradFill>
          <a:ln>
            <a:noFill/>
          </a:ln>
        </p:spPr>
        <p:txBody>
          <a:bodyPr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pPr>
            <a:endParaRPr lang="en-US" altLang="sv-SE" b="1" dirty="0">
              <a:solidFill>
                <a:srgbClr val="58585A"/>
              </a:solidFill>
              <a:ea typeface="MS PGothic" charset="-128"/>
            </a:endParaRPr>
          </a:p>
        </p:txBody>
      </p:sp>
      <p:sp>
        <p:nvSpPr>
          <p:cNvPr id="7" name="TextBox 34"/>
          <p:cNvSpPr txBox="1">
            <a:spLocks noChangeArrowheads="1"/>
          </p:cNvSpPr>
          <p:nvPr/>
        </p:nvSpPr>
        <p:spPr bwMode="auto">
          <a:xfrm>
            <a:off x="1032330" y="4671086"/>
            <a:ext cx="3067301" cy="738664"/>
          </a:xfrm>
          <a:prstGeom prst="rect">
            <a:avLst/>
          </a:prstGeom>
          <a:noFill/>
          <a:ln w="9525">
            <a:noFill/>
            <a:miter lim="800000"/>
            <a:headEnd/>
            <a:tailEnd/>
          </a:ln>
          <a:extLst/>
        </p:spPr>
        <p:txBody>
          <a:bodyPr wrap="square">
            <a:spAutoFit/>
          </a:bodyPr>
          <a:lstStyle>
            <a:defPPr>
              <a:defRPr lang="en-GB"/>
            </a:defPPr>
            <a:lvl1pPr eaLnBrk="1" hangingPunct="1">
              <a:defRPr sz="1400" b="1">
                <a:cs typeface="Arial" charset="0"/>
              </a:defRPr>
            </a:lvl1pPr>
            <a:lvl2pPr marL="742950" indent="-285750" eaLnBrk="0" hangingPunct="0">
              <a:defRPr>
                <a:cs typeface="Arial" charset="0"/>
              </a:defRPr>
            </a:lvl2pPr>
            <a:lvl3pPr marL="1143000" indent="-228600" eaLnBrk="0" hangingPunct="0">
              <a:defRPr>
                <a:cs typeface="Arial" charset="0"/>
              </a:defRPr>
            </a:lvl3pPr>
            <a:lvl4pPr marL="1600200" indent="-228600" eaLnBrk="0" hangingPunct="0">
              <a:defRPr>
                <a:cs typeface="Arial" charset="0"/>
              </a:defRPr>
            </a:lvl4pPr>
            <a:lvl5pPr marL="2057400" indent="-228600" eaLnBrk="0" hangingPunct="0">
              <a:defRPr>
                <a:cs typeface="Arial" charset="0"/>
              </a:defRPr>
            </a:lvl5pPr>
            <a:lvl6pPr marL="2514600" indent="-228600" eaLnBrk="0" fontAlgn="base" hangingPunct="0">
              <a:spcBef>
                <a:spcPct val="0"/>
              </a:spcBef>
              <a:spcAft>
                <a:spcPct val="0"/>
              </a:spcAft>
              <a:defRPr>
                <a:cs typeface="Arial" charset="0"/>
              </a:defRPr>
            </a:lvl6pPr>
            <a:lvl7pPr marL="2971800" indent="-228600" eaLnBrk="0" fontAlgn="base" hangingPunct="0">
              <a:spcBef>
                <a:spcPct val="0"/>
              </a:spcBef>
              <a:spcAft>
                <a:spcPct val="0"/>
              </a:spcAft>
              <a:defRPr>
                <a:cs typeface="Arial" charset="0"/>
              </a:defRPr>
            </a:lvl7pPr>
            <a:lvl8pPr marL="3429000" indent="-228600" eaLnBrk="0" fontAlgn="base" hangingPunct="0">
              <a:spcBef>
                <a:spcPct val="0"/>
              </a:spcBef>
              <a:spcAft>
                <a:spcPct val="0"/>
              </a:spcAft>
              <a:defRPr>
                <a:cs typeface="Arial" charset="0"/>
              </a:defRPr>
            </a:lvl8pPr>
            <a:lvl9pPr marL="3886200" indent="-228600" eaLnBrk="0" fontAlgn="base" hangingPunct="0">
              <a:spcBef>
                <a:spcPct val="0"/>
              </a:spcBef>
              <a:spcAft>
                <a:spcPct val="0"/>
              </a:spcAft>
              <a:defRPr>
                <a:cs typeface="Arial" charset="0"/>
              </a:defRPr>
            </a:lvl9pPr>
          </a:lstStyle>
          <a:p>
            <a:r>
              <a:rPr lang="en-US" b="0" dirty="0">
                <a:solidFill>
                  <a:srgbClr val="58585A">
                    <a:lumMod val="75000"/>
                  </a:srgbClr>
                </a:solidFill>
              </a:rPr>
              <a:t>LOW COST, LOW ENERGY</a:t>
            </a:r>
            <a:br>
              <a:rPr lang="en-US" b="0" dirty="0">
                <a:solidFill>
                  <a:srgbClr val="58585A">
                    <a:lumMod val="75000"/>
                  </a:srgbClr>
                </a:solidFill>
              </a:rPr>
            </a:br>
            <a:r>
              <a:rPr lang="en-US" b="0" dirty="0">
                <a:solidFill>
                  <a:srgbClr val="58585A">
                    <a:lumMod val="75000"/>
                  </a:srgbClr>
                </a:solidFill>
              </a:rPr>
              <a:t>SMALL DATA VOLUMES</a:t>
            </a:r>
            <a:br>
              <a:rPr lang="en-US" b="0" dirty="0">
                <a:solidFill>
                  <a:srgbClr val="58585A">
                    <a:lumMod val="75000"/>
                  </a:srgbClr>
                </a:solidFill>
              </a:rPr>
            </a:br>
            <a:r>
              <a:rPr lang="en-US" b="0" dirty="0">
                <a:solidFill>
                  <a:srgbClr val="58585A">
                    <a:lumMod val="75000"/>
                  </a:srgbClr>
                </a:solidFill>
              </a:rPr>
              <a:t>MASSIVE NUMBERS</a:t>
            </a:r>
          </a:p>
        </p:txBody>
      </p:sp>
      <p:sp>
        <p:nvSpPr>
          <p:cNvPr id="8" name="TextBox 90"/>
          <p:cNvSpPr txBox="1">
            <a:spLocks noChangeArrowheads="1"/>
          </p:cNvSpPr>
          <p:nvPr/>
        </p:nvSpPr>
        <p:spPr bwMode="auto">
          <a:xfrm>
            <a:off x="7997762" y="4671086"/>
            <a:ext cx="3154032" cy="738664"/>
          </a:xfrm>
          <a:prstGeom prst="rect">
            <a:avLst/>
          </a:prstGeom>
          <a:noFill/>
          <a:ln w="9525">
            <a:noFill/>
            <a:miter lim="800000"/>
            <a:headEnd/>
            <a:tailEnd/>
          </a:ln>
          <a:extLst/>
        </p:spPr>
        <p:txBody>
          <a:bodyPr>
            <a:spAutoFit/>
          </a:bodyPr>
          <a:lstStyle>
            <a:defPPr>
              <a:defRPr lang="en-GB"/>
            </a:defPPr>
            <a:lvl1pPr eaLnBrk="1" hangingPunct="1">
              <a:defRPr sz="1400" b="1">
                <a:cs typeface="Arial" charset="0"/>
              </a:defRPr>
            </a:lvl1pPr>
            <a:lvl2pPr marL="742950" indent="-285750" eaLnBrk="0" hangingPunct="0">
              <a:defRPr>
                <a:cs typeface="Arial" charset="0"/>
              </a:defRPr>
            </a:lvl2pPr>
            <a:lvl3pPr marL="1143000" indent="-228600" eaLnBrk="0" hangingPunct="0">
              <a:defRPr>
                <a:cs typeface="Arial" charset="0"/>
              </a:defRPr>
            </a:lvl3pPr>
            <a:lvl4pPr marL="1600200" indent="-228600" eaLnBrk="0" hangingPunct="0">
              <a:defRPr>
                <a:cs typeface="Arial" charset="0"/>
              </a:defRPr>
            </a:lvl4pPr>
            <a:lvl5pPr marL="2057400" indent="-228600" eaLnBrk="0" hangingPunct="0">
              <a:defRPr>
                <a:cs typeface="Arial" charset="0"/>
              </a:defRPr>
            </a:lvl5pPr>
            <a:lvl6pPr marL="2514600" indent="-228600" eaLnBrk="0" fontAlgn="base" hangingPunct="0">
              <a:spcBef>
                <a:spcPct val="0"/>
              </a:spcBef>
              <a:spcAft>
                <a:spcPct val="0"/>
              </a:spcAft>
              <a:defRPr>
                <a:cs typeface="Arial" charset="0"/>
              </a:defRPr>
            </a:lvl6pPr>
            <a:lvl7pPr marL="2971800" indent="-228600" eaLnBrk="0" fontAlgn="base" hangingPunct="0">
              <a:spcBef>
                <a:spcPct val="0"/>
              </a:spcBef>
              <a:spcAft>
                <a:spcPct val="0"/>
              </a:spcAft>
              <a:defRPr>
                <a:cs typeface="Arial" charset="0"/>
              </a:defRPr>
            </a:lvl7pPr>
            <a:lvl8pPr marL="3429000" indent="-228600" eaLnBrk="0" fontAlgn="base" hangingPunct="0">
              <a:spcBef>
                <a:spcPct val="0"/>
              </a:spcBef>
              <a:spcAft>
                <a:spcPct val="0"/>
              </a:spcAft>
              <a:defRPr>
                <a:cs typeface="Arial" charset="0"/>
              </a:defRPr>
            </a:lvl8pPr>
            <a:lvl9pPr marL="3886200" indent="-228600" eaLnBrk="0" fontAlgn="base" hangingPunct="0">
              <a:spcBef>
                <a:spcPct val="0"/>
              </a:spcBef>
              <a:spcAft>
                <a:spcPct val="0"/>
              </a:spcAft>
              <a:defRPr>
                <a:cs typeface="Arial" charset="0"/>
              </a:defRPr>
            </a:lvl9pPr>
          </a:lstStyle>
          <a:p>
            <a:pPr algn="r"/>
            <a:r>
              <a:rPr lang="en-US" b="0" dirty="0">
                <a:solidFill>
                  <a:srgbClr val="58585A">
                    <a:lumMod val="75000"/>
                  </a:srgbClr>
                </a:solidFill>
              </a:rPr>
              <a:t>ULTRA RELIABLE</a:t>
            </a:r>
            <a:br>
              <a:rPr lang="en-US" b="0" dirty="0">
                <a:solidFill>
                  <a:srgbClr val="58585A">
                    <a:lumMod val="75000"/>
                  </a:srgbClr>
                </a:solidFill>
              </a:rPr>
            </a:br>
            <a:r>
              <a:rPr lang="en-US" b="0" dirty="0">
                <a:solidFill>
                  <a:srgbClr val="58585A">
                    <a:lumMod val="75000"/>
                  </a:srgbClr>
                </a:solidFill>
              </a:rPr>
              <a:t>VERY LOW LATENCY</a:t>
            </a:r>
            <a:br>
              <a:rPr lang="en-US" b="0" dirty="0">
                <a:solidFill>
                  <a:srgbClr val="58585A">
                    <a:lumMod val="75000"/>
                  </a:srgbClr>
                </a:solidFill>
              </a:rPr>
            </a:br>
            <a:r>
              <a:rPr lang="en-US" b="0" dirty="0">
                <a:solidFill>
                  <a:srgbClr val="58585A">
                    <a:lumMod val="75000"/>
                  </a:srgbClr>
                </a:solidFill>
              </a:rPr>
              <a:t>VERY HIGH AVAILABILITY</a:t>
            </a:r>
          </a:p>
        </p:txBody>
      </p:sp>
      <p:cxnSp>
        <p:nvCxnSpPr>
          <p:cNvPr id="9" name="Rak 108"/>
          <p:cNvCxnSpPr/>
          <p:nvPr/>
        </p:nvCxnSpPr>
        <p:spPr bwMode="auto">
          <a:xfrm>
            <a:off x="8550451" y="2771296"/>
            <a:ext cx="2394770" cy="23529"/>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10" name="Freeform 3"/>
          <p:cNvSpPr>
            <a:spLocks noChangeAspect="1" noEditPoints="1"/>
          </p:cNvSpPr>
          <p:nvPr/>
        </p:nvSpPr>
        <p:spPr bwMode="auto">
          <a:xfrm rot="16200000">
            <a:off x="9576370" y="2194492"/>
            <a:ext cx="234288" cy="17960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solidFill>
            <a:srgbClr val="2E817F"/>
          </a:solidFill>
          <a:ln>
            <a:noFill/>
          </a:ln>
          <a:extLst/>
        </p:spPr>
        <p:txBody>
          <a:bodyPr/>
          <a:lstStyle/>
          <a:p>
            <a:pPr algn="ctr"/>
            <a:endParaRPr lang="en-US" b="1" dirty="0">
              <a:solidFill>
                <a:srgbClr val="58585A"/>
              </a:solidFill>
            </a:endParaRPr>
          </a:p>
        </p:txBody>
      </p:sp>
      <p:sp>
        <p:nvSpPr>
          <p:cNvPr id="11" name="Rektangel med rundade hörn 2"/>
          <p:cNvSpPr/>
          <p:nvPr/>
        </p:nvSpPr>
        <p:spPr bwMode="auto">
          <a:xfrm>
            <a:off x="6898058" y="1411283"/>
            <a:ext cx="4719636" cy="2603860"/>
          </a:xfrm>
          <a:prstGeom prst="roundRect">
            <a:avLst>
              <a:gd name="adj" fmla="val 2170"/>
            </a:avLst>
          </a:prstGeom>
          <a:solidFill>
            <a:schemeClr val="bg1">
              <a:alpha val="7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sv-SE" b="1" dirty="0">
              <a:solidFill>
                <a:srgbClr val="58585A"/>
              </a:solidFill>
            </a:endParaRPr>
          </a:p>
        </p:txBody>
      </p:sp>
      <p:sp>
        <p:nvSpPr>
          <p:cNvPr id="12" name="Freeform 2"/>
          <p:cNvSpPr>
            <a:spLocks noChangeAspect="1" noEditPoints="1"/>
          </p:cNvSpPr>
          <p:nvPr/>
        </p:nvSpPr>
        <p:spPr bwMode="auto">
          <a:xfrm>
            <a:off x="7500645" y="2930100"/>
            <a:ext cx="966125" cy="579186"/>
          </a:xfrm>
          <a:custGeom>
            <a:avLst/>
            <a:gdLst>
              <a:gd name="T0" fmla="*/ 2147483647 w 502"/>
              <a:gd name="T1" fmla="*/ 2147483647 h 301"/>
              <a:gd name="T2" fmla="*/ 2147483647 w 502"/>
              <a:gd name="T3" fmla="*/ 2147483647 h 301"/>
              <a:gd name="T4" fmla="*/ 2147483647 w 502"/>
              <a:gd name="T5" fmla="*/ 2147483647 h 301"/>
              <a:gd name="T6" fmla="*/ 2147483647 w 502"/>
              <a:gd name="T7" fmla="*/ 2147483647 h 301"/>
              <a:gd name="T8" fmla="*/ 2147483647 w 502"/>
              <a:gd name="T9" fmla="*/ 2147483647 h 301"/>
              <a:gd name="T10" fmla="*/ 2147483647 w 502"/>
              <a:gd name="T11" fmla="*/ 2147483647 h 301"/>
              <a:gd name="T12" fmla="*/ 2147483647 w 502"/>
              <a:gd name="T13" fmla="*/ 2147483647 h 301"/>
              <a:gd name="T14" fmla="*/ 2147483647 w 502"/>
              <a:gd name="T15" fmla="*/ 2147483647 h 301"/>
              <a:gd name="T16" fmla="*/ 2147483647 w 502"/>
              <a:gd name="T17" fmla="*/ 2147483647 h 301"/>
              <a:gd name="T18" fmla="*/ 2147483647 w 502"/>
              <a:gd name="T19" fmla="*/ 2147483647 h 301"/>
              <a:gd name="T20" fmla="*/ 2147483647 w 502"/>
              <a:gd name="T21" fmla="*/ 2147483647 h 301"/>
              <a:gd name="T22" fmla="*/ 2147483647 w 502"/>
              <a:gd name="T23" fmla="*/ 2147483647 h 301"/>
              <a:gd name="T24" fmla="*/ 2147483647 w 502"/>
              <a:gd name="T25" fmla="*/ 0 h 301"/>
              <a:gd name="T26" fmla="*/ 2147483647 w 502"/>
              <a:gd name="T27" fmla="*/ 2147483647 h 301"/>
              <a:gd name="T28" fmla="*/ 2147483647 w 502"/>
              <a:gd name="T29" fmla="*/ 2147483647 h 301"/>
              <a:gd name="T30" fmla="*/ 2147483647 w 502"/>
              <a:gd name="T31" fmla="*/ 2147483647 h 301"/>
              <a:gd name="T32" fmla="*/ 2147483647 w 502"/>
              <a:gd name="T33" fmla="*/ 2147483647 h 301"/>
              <a:gd name="T34" fmla="*/ 2147483647 w 502"/>
              <a:gd name="T35" fmla="*/ 2147483647 h 301"/>
              <a:gd name="T36" fmla="*/ 2147483647 w 502"/>
              <a:gd name="T37" fmla="*/ 2147483647 h 301"/>
              <a:gd name="T38" fmla="*/ 2147483647 w 502"/>
              <a:gd name="T39" fmla="*/ 2147483647 h 301"/>
              <a:gd name="T40" fmla="*/ 2147483647 w 502"/>
              <a:gd name="T41" fmla="*/ 2147483647 h 301"/>
              <a:gd name="T42" fmla="*/ 2147483647 w 502"/>
              <a:gd name="T43" fmla="*/ 2147483647 h 301"/>
              <a:gd name="T44" fmla="*/ 2147483647 w 502"/>
              <a:gd name="T45" fmla="*/ 2147483647 h 301"/>
              <a:gd name="T46" fmla="*/ 2147483647 w 502"/>
              <a:gd name="T47" fmla="*/ 2147483647 h 301"/>
              <a:gd name="T48" fmla="*/ 2147483647 w 502"/>
              <a:gd name="T49" fmla="*/ 2147483647 h 301"/>
              <a:gd name="T50" fmla="*/ 2147483647 w 502"/>
              <a:gd name="T51" fmla="*/ 2147483647 h 301"/>
              <a:gd name="T52" fmla="*/ 2147483647 w 502"/>
              <a:gd name="T53" fmla="*/ 2147483647 h 301"/>
              <a:gd name="T54" fmla="*/ 2147483647 w 502"/>
              <a:gd name="T55" fmla="*/ 2147483647 h 301"/>
              <a:gd name="T56" fmla="*/ 2147483647 w 502"/>
              <a:gd name="T57" fmla="*/ 2147483647 h 301"/>
              <a:gd name="T58" fmla="*/ 2147483647 w 502"/>
              <a:gd name="T59" fmla="*/ 2147483647 h 301"/>
              <a:gd name="T60" fmla="*/ 2147483647 w 502"/>
              <a:gd name="T61" fmla="*/ 2147483647 h 301"/>
              <a:gd name="T62" fmla="*/ 2147483647 w 502"/>
              <a:gd name="T63" fmla="*/ 2147483647 h 301"/>
              <a:gd name="T64" fmla="*/ 2147483647 w 502"/>
              <a:gd name="T65" fmla="*/ 2147483647 h 301"/>
              <a:gd name="T66" fmla="*/ 2147483647 w 502"/>
              <a:gd name="T67" fmla="*/ 2147483647 h 301"/>
              <a:gd name="T68" fmla="*/ 2147483647 w 502"/>
              <a:gd name="T69" fmla="*/ 2147483647 h 301"/>
              <a:gd name="T70" fmla="*/ 2147483647 w 502"/>
              <a:gd name="T71" fmla="*/ 2147483647 h 301"/>
              <a:gd name="T72" fmla="*/ 2147483647 w 502"/>
              <a:gd name="T73" fmla="*/ 2147483647 h 301"/>
              <a:gd name="T74" fmla="*/ 2147483647 w 502"/>
              <a:gd name="T75" fmla="*/ 2147483647 h 301"/>
              <a:gd name="T76" fmla="*/ 2147483647 w 502"/>
              <a:gd name="T77" fmla="*/ 2147483647 h 301"/>
              <a:gd name="T78" fmla="*/ 2147483647 w 502"/>
              <a:gd name="T79" fmla="*/ 2147483647 h 301"/>
              <a:gd name="T80" fmla="*/ 2147483647 w 502"/>
              <a:gd name="T81" fmla="*/ 2147483647 h 301"/>
              <a:gd name="T82" fmla="*/ 2147483647 w 502"/>
              <a:gd name="T83" fmla="*/ 2147483647 h 301"/>
              <a:gd name="T84" fmla="*/ 2147483647 w 502"/>
              <a:gd name="T85" fmla="*/ 2147483647 h 301"/>
              <a:gd name="T86" fmla="*/ 2147483647 w 502"/>
              <a:gd name="T87" fmla="*/ 2147483647 h 301"/>
              <a:gd name="T88" fmla="*/ 2147483647 w 502"/>
              <a:gd name="T89" fmla="*/ 2147483647 h 301"/>
              <a:gd name="T90" fmla="*/ 2147483647 w 502"/>
              <a:gd name="T91" fmla="*/ 2147483647 h 301"/>
              <a:gd name="T92" fmla="*/ 2147483647 w 502"/>
              <a:gd name="T93" fmla="*/ 2147483647 h 301"/>
              <a:gd name="T94" fmla="*/ 2147483647 w 502"/>
              <a:gd name="T95" fmla="*/ 2147483647 h 301"/>
              <a:gd name="T96" fmla="*/ 2147483647 w 502"/>
              <a:gd name="T97" fmla="*/ 2147483647 h 301"/>
              <a:gd name="T98" fmla="*/ 2147483647 w 502"/>
              <a:gd name="T99" fmla="*/ 2147483647 h 301"/>
              <a:gd name="T100" fmla="*/ 2147483647 w 502"/>
              <a:gd name="T101" fmla="*/ 2147483647 h 301"/>
              <a:gd name="T102" fmla="*/ 2147483647 w 502"/>
              <a:gd name="T103" fmla="*/ 2147483647 h 3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2" h="301">
                <a:moveTo>
                  <a:pt x="483" y="122"/>
                </a:moveTo>
                <a:cubicBezTo>
                  <a:pt x="449" y="122"/>
                  <a:pt x="449" y="122"/>
                  <a:pt x="449" y="122"/>
                </a:cubicBezTo>
                <a:cubicBezTo>
                  <a:pt x="449" y="98"/>
                  <a:pt x="449" y="75"/>
                  <a:pt x="449" y="75"/>
                </a:cubicBezTo>
                <a:cubicBezTo>
                  <a:pt x="449" y="71"/>
                  <a:pt x="445" y="67"/>
                  <a:pt x="441" y="67"/>
                </a:cubicBezTo>
                <a:cubicBezTo>
                  <a:pt x="436" y="67"/>
                  <a:pt x="433" y="71"/>
                  <a:pt x="433" y="75"/>
                </a:cubicBezTo>
                <a:cubicBezTo>
                  <a:pt x="433" y="75"/>
                  <a:pt x="433" y="139"/>
                  <a:pt x="433" y="163"/>
                </a:cubicBezTo>
                <a:cubicBezTo>
                  <a:pt x="433" y="169"/>
                  <a:pt x="431" y="171"/>
                  <a:pt x="430" y="172"/>
                </a:cubicBezTo>
                <a:cubicBezTo>
                  <a:pt x="429" y="173"/>
                  <a:pt x="428" y="173"/>
                  <a:pt x="425" y="173"/>
                </a:cubicBezTo>
                <a:cubicBezTo>
                  <a:pt x="424" y="173"/>
                  <a:pt x="423" y="173"/>
                  <a:pt x="422" y="173"/>
                </a:cubicBezTo>
                <a:cubicBezTo>
                  <a:pt x="422" y="173"/>
                  <a:pt x="422" y="173"/>
                  <a:pt x="422" y="173"/>
                </a:cubicBezTo>
                <a:cubicBezTo>
                  <a:pt x="421" y="173"/>
                  <a:pt x="421" y="173"/>
                  <a:pt x="421" y="173"/>
                </a:cubicBezTo>
                <a:cubicBezTo>
                  <a:pt x="282" y="132"/>
                  <a:pt x="282" y="132"/>
                  <a:pt x="282" y="132"/>
                </a:cubicBezTo>
                <a:cubicBezTo>
                  <a:pt x="313" y="46"/>
                  <a:pt x="313" y="46"/>
                  <a:pt x="313" y="46"/>
                </a:cubicBezTo>
                <a:cubicBezTo>
                  <a:pt x="313" y="46"/>
                  <a:pt x="313" y="46"/>
                  <a:pt x="313" y="45"/>
                </a:cubicBezTo>
                <a:cubicBezTo>
                  <a:pt x="315" y="42"/>
                  <a:pt x="318" y="34"/>
                  <a:pt x="325" y="28"/>
                </a:cubicBezTo>
                <a:cubicBezTo>
                  <a:pt x="331" y="21"/>
                  <a:pt x="340" y="16"/>
                  <a:pt x="353" y="16"/>
                </a:cubicBezTo>
                <a:cubicBezTo>
                  <a:pt x="387" y="16"/>
                  <a:pt x="396" y="16"/>
                  <a:pt x="412" y="16"/>
                </a:cubicBezTo>
                <a:cubicBezTo>
                  <a:pt x="419" y="16"/>
                  <a:pt x="424" y="18"/>
                  <a:pt x="427" y="21"/>
                </a:cubicBezTo>
                <a:cubicBezTo>
                  <a:pt x="430" y="23"/>
                  <a:pt x="433" y="29"/>
                  <a:pt x="433" y="39"/>
                </a:cubicBezTo>
                <a:cubicBezTo>
                  <a:pt x="433" y="44"/>
                  <a:pt x="433" y="44"/>
                  <a:pt x="433" y="44"/>
                </a:cubicBezTo>
                <a:cubicBezTo>
                  <a:pt x="433" y="48"/>
                  <a:pt x="436" y="52"/>
                  <a:pt x="441" y="52"/>
                </a:cubicBezTo>
                <a:cubicBezTo>
                  <a:pt x="445" y="52"/>
                  <a:pt x="449" y="48"/>
                  <a:pt x="449" y="44"/>
                </a:cubicBezTo>
                <a:cubicBezTo>
                  <a:pt x="449" y="39"/>
                  <a:pt x="449" y="39"/>
                  <a:pt x="449" y="39"/>
                </a:cubicBezTo>
                <a:cubicBezTo>
                  <a:pt x="449" y="26"/>
                  <a:pt x="445" y="16"/>
                  <a:pt x="438" y="9"/>
                </a:cubicBezTo>
                <a:cubicBezTo>
                  <a:pt x="431" y="2"/>
                  <a:pt x="421" y="0"/>
                  <a:pt x="412" y="0"/>
                </a:cubicBezTo>
                <a:cubicBezTo>
                  <a:pt x="396" y="0"/>
                  <a:pt x="387" y="0"/>
                  <a:pt x="353" y="0"/>
                </a:cubicBezTo>
                <a:cubicBezTo>
                  <a:pt x="332" y="0"/>
                  <a:pt x="318" y="10"/>
                  <a:pt x="310" y="20"/>
                </a:cubicBezTo>
                <a:cubicBezTo>
                  <a:pt x="302" y="30"/>
                  <a:pt x="298" y="40"/>
                  <a:pt x="298" y="41"/>
                </a:cubicBezTo>
                <a:cubicBezTo>
                  <a:pt x="247" y="182"/>
                  <a:pt x="247" y="182"/>
                  <a:pt x="247" y="182"/>
                </a:cubicBezTo>
                <a:cubicBezTo>
                  <a:pt x="226" y="183"/>
                  <a:pt x="209" y="193"/>
                  <a:pt x="198" y="209"/>
                </a:cubicBezTo>
                <a:cubicBezTo>
                  <a:pt x="161" y="209"/>
                  <a:pt x="161" y="209"/>
                  <a:pt x="161" y="209"/>
                </a:cubicBezTo>
                <a:cubicBezTo>
                  <a:pt x="161" y="8"/>
                  <a:pt x="161" y="8"/>
                  <a:pt x="161" y="8"/>
                </a:cubicBezTo>
                <a:cubicBezTo>
                  <a:pt x="161" y="4"/>
                  <a:pt x="158" y="0"/>
                  <a:pt x="153" y="0"/>
                </a:cubicBezTo>
                <a:cubicBezTo>
                  <a:pt x="149" y="0"/>
                  <a:pt x="145" y="4"/>
                  <a:pt x="145" y="8"/>
                </a:cubicBezTo>
                <a:cubicBezTo>
                  <a:pt x="145" y="270"/>
                  <a:pt x="145" y="270"/>
                  <a:pt x="145" y="270"/>
                </a:cubicBezTo>
                <a:cubicBezTo>
                  <a:pt x="8" y="270"/>
                  <a:pt x="8" y="270"/>
                  <a:pt x="8" y="270"/>
                </a:cubicBezTo>
                <a:cubicBezTo>
                  <a:pt x="4" y="270"/>
                  <a:pt x="0" y="274"/>
                  <a:pt x="0" y="278"/>
                </a:cubicBezTo>
                <a:cubicBezTo>
                  <a:pt x="0" y="283"/>
                  <a:pt x="4" y="286"/>
                  <a:pt x="8" y="286"/>
                </a:cubicBezTo>
                <a:cubicBezTo>
                  <a:pt x="8" y="286"/>
                  <a:pt x="8" y="286"/>
                  <a:pt x="8" y="286"/>
                </a:cubicBezTo>
                <a:cubicBezTo>
                  <a:pt x="153" y="286"/>
                  <a:pt x="153" y="286"/>
                  <a:pt x="153" y="286"/>
                </a:cubicBezTo>
                <a:cubicBezTo>
                  <a:pt x="156" y="286"/>
                  <a:pt x="158" y="285"/>
                  <a:pt x="159" y="284"/>
                </a:cubicBezTo>
                <a:cubicBezTo>
                  <a:pt x="161" y="282"/>
                  <a:pt x="161" y="280"/>
                  <a:pt x="161" y="278"/>
                </a:cubicBezTo>
                <a:cubicBezTo>
                  <a:pt x="161" y="257"/>
                  <a:pt x="161" y="257"/>
                  <a:pt x="161" y="257"/>
                </a:cubicBezTo>
                <a:cubicBezTo>
                  <a:pt x="191" y="257"/>
                  <a:pt x="191" y="257"/>
                  <a:pt x="191" y="257"/>
                </a:cubicBezTo>
                <a:cubicBezTo>
                  <a:pt x="197" y="282"/>
                  <a:pt x="220" y="301"/>
                  <a:pt x="248" y="301"/>
                </a:cubicBezTo>
                <a:cubicBezTo>
                  <a:pt x="265" y="301"/>
                  <a:pt x="281" y="293"/>
                  <a:pt x="292" y="281"/>
                </a:cubicBezTo>
                <a:cubicBezTo>
                  <a:pt x="403" y="281"/>
                  <a:pt x="403" y="281"/>
                  <a:pt x="403" y="281"/>
                </a:cubicBezTo>
                <a:cubicBezTo>
                  <a:pt x="409" y="293"/>
                  <a:pt x="421" y="301"/>
                  <a:pt x="435" y="301"/>
                </a:cubicBezTo>
                <a:cubicBezTo>
                  <a:pt x="448" y="301"/>
                  <a:pt x="460" y="293"/>
                  <a:pt x="466" y="281"/>
                </a:cubicBezTo>
                <a:cubicBezTo>
                  <a:pt x="483" y="281"/>
                  <a:pt x="483" y="281"/>
                  <a:pt x="483" y="281"/>
                </a:cubicBezTo>
                <a:cubicBezTo>
                  <a:pt x="493" y="281"/>
                  <a:pt x="502" y="273"/>
                  <a:pt x="502" y="262"/>
                </a:cubicBezTo>
                <a:cubicBezTo>
                  <a:pt x="502" y="141"/>
                  <a:pt x="502" y="141"/>
                  <a:pt x="502" y="141"/>
                </a:cubicBezTo>
                <a:cubicBezTo>
                  <a:pt x="502" y="131"/>
                  <a:pt x="493" y="122"/>
                  <a:pt x="483" y="122"/>
                </a:cubicBezTo>
                <a:close/>
                <a:moveTo>
                  <a:pt x="189" y="241"/>
                </a:moveTo>
                <a:cubicBezTo>
                  <a:pt x="161" y="241"/>
                  <a:pt x="161" y="241"/>
                  <a:pt x="161" y="241"/>
                </a:cubicBezTo>
                <a:cubicBezTo>
                  <a:pt x="161" y="225"/>
                  <a:pt x="161" y="225"/>
                  <a:pt x="161" y="225"/>
                </a:cubicBezTo>
                <a:cubicBezTo>
                  <a:pt x="191" y="225"/>
                  <a:pt x="191" y="225"/>
                  <a:pt x="191" y="225"/>
                </a:cubicBezTo>
                <a:cubicBezTo>
                  <a:pt x="189" y="230"/>
                  <a:pt x="189" y="235"/>
                  <a:pt x="189" y="241"/>
                </a:cubicBezTo>
                <a:close/>
                <a:moveTo>
                  <a:pt x="248" y="285"/>
                </a:moveTo>
                <a:cubicBezTo>
                  <a:pt x="224" y="285"/>
                  <a:pt x="205" y="265"/>
                  <a:pt x="204" y="241"/>
                </a:cubicBezTo>
                <a:cubicBezTo>
                  <a:pt x="205" y="217"/>
                  <a:pt x="224" y="198"/>
                  <a:pt x="248" y="198"/>
                </a:cubicBezTo>
                <a:cubicBezTo>
                  <a:pt x="272" y="198"/>
                  <a:pt x="291" y="217"/>
                  <a:pt x="291" y="241"/>
                </a:cubicBezTo>
                <a:cubicBezTo>
                  <a:pt x="291" y="241"/>
                  <a:pt x="291" y="241"/>
                  <a:pt x="291" y="241"/>
                </a:cubicBezTo>
                <a:cubicBezTo>
                  <a:pt x="291" y="265"/>
                  <a:pt x="272" y="285"/>
                  <a:pt x="248" y="285"/>
                </a:cubicBezTo>
                <a:close/>
                <a:moveTo>
                  <a:pt x="435" y="285"/>
                </a:moveTo>
                <a:cubicBezTo>
                  <a:pt x="424" y="285"/>
                  <a:pt x="415" y="276"/>
                  <a:pt x="415" y="266"/>
                </a:cubicBezTo>
                <a:cubicBezTo>
                  <a:pt x="415" y="255"/>
                  <a:pt x="424" y="246"/>
                  <a:pt x="435" y="246"/>
                </a:cubicBezTo>
                <a:cubicBezTo>
                  <a:pt x="445" y="246"/>
                  <a:pt x="454" y="255"/>
                  <a:pt x="454" y="266"/>
                </a:cubicBezTo>
                <a:cubicBezTo>
                  <a:pt x="454" y="276"/>
                  <a:pt x="445" y="285"/>
                  <a:pt x="435" y="285"/>
                </a:cubicBezTo>
                <a:close/>
                <a:moveTo>
                  <a:pt x="486" y="262"/>
                </a:moveTo>
                <a:cubicBezTo>
                  <a:pt x="486" y="264"/>
                  <a:pt x="484" y="265"/>
                  <a:pt x="483" y="265"/>
                </a:cubicBezTo>
                <a:cubicBezTo>
                  <a:pt x="470" y="265"/>
                  <a:pt x="470" y="265"/>
                  <a:pt x="470" y="265"/>
                </a:cubicBezTo>
                <a:cubicBezTo>
                  <a:pt x="470" y="246"/>
                  <a:pt x="454" y="230"/>
                  <a:pt x="435" y="230"/>
                </a:cubicBezTo>
                <a:cubicBezTo>
                  <a:pt x="415" y="230"/>
                  <a:pt x="400" y="246"/>
                  <a:pt x="399" y="265"/>
                </a:cubicBezTo>
                <a:cubicBezTo>
                  <a:pt x="302" y="265"/>
                  <a:pt x="302" y="265"/>
                  <a:pt x="302" y="265"/>
                </a:cubicBezTo>
                <a:cubicBezTo>
                  <a:pt x="305" y="258"/>
                  <a:pt x="307" y="250"/>
                  <a:pt x="307" y="241"/>
                </a:cubicBezTo>
                <a:cubicBezTo>
                  <a:pt x="307" y="241"/>
                  <a:pt x="307" y="241"/>
                  <a:pt x="307" y="241"/>
                </a:cubicBezTo>
                <a:cubicBezTo>
                  <a:pt x="307" y="214"/>
                  <a:pt x="288" y="191"/>
                  <a:pt x="263" y="184"/>
                </a:cubicBezTo>
                <a:cubicBezTo>
                  <a:pt x="276" y="148"/>
                  <a:pt x="276" y="148"/>
                  <a:pt x="276" y="148"/>
                </a:cubicBezTo>
                <a:cubicBezTo>
                  <a:pt x="417" y="188"/>
                  <a:pt x="417" y="188"/>
                  <a:pt x="417" y="188"/>
                </a:cubicBezTo>
                <a:cubicBezTo>
                  <a:pt x="417" y="188"/>
                  <a:pt x="421" y="189"/>
                  <a:pt x="425" y="189"/>
                </a:cubicBezTo>
                <a:cubicBezTo>
                  <a:pt x="430" y="189"/>
                  <a:pt x="436" y="188"/>
                  <a:pt x="441" y="184"/>
                </a:cubicBezTo>
                <a:cubicBezTo>
                  <a:pt x="446" y="180"/>
                  <a:pt x="449" y="172"/>
                  <a:pt x="449" y="163"/>
                </a:cubicBezTo>
                <a:cubicBezTo>
                  <a:pt x="449" y="157"/>
                  <a:pt x="449" y="148"/>
                  <a:pt x="449" y="138"/>
                </a:cubicBezTo>
                <a:cubicBezTo>
                  <a:pt x="483" y="138"/>
                  <a:pt x="483" y="138"/>
                  <a:pt x="483" y="138"/>
                </a:cubicBezTo>
                <a:cubicBezTo>
                  <a:pt x="485" y="138"/>
                  <a:pt x="486" y="140"/>
                  <a:pt x="486" y="141"/>
                </a:cubicBezTo>
                <a:lnTo>
                  <a:pt x="486" y="262"/>
                </a:lnTo>
                <a:close/>
                <a:moveTo>
                  <a:pt x="44" y="253"/>
                </a:moveTo>
                <a:cubicBezTo>
                  <a:pt x="112" y="253"/>
                  <a:pt x="112" y="253"/>
                  <a:pt x="112" y="253"/>
                </a:cubicBezTo>
                <a:cubicBezTo>
                  <a:pt x="121" y="253"/>
                  <a:pt x="129" y="246"/>
                  <a:pt x="129" y="236"/>
                </a:cubicBezTo>
                <a:cubicBezTo>
                  <a:pt x="129" y="169"/>
                  <a:pt x="129" y="169"/>
                  <a:pt x="129" y="169"/>
                </a:cubicBezTo>
                <a:cubicBezTo>
                  <a:pt x="129" y="159"/>
                  <a:pt x="121" y="152"/>
                  <a:pt x="112" y="152"/>
                </a:cubicBezTo>
                <a:cubicBezTo>
                  <a:pt x="44" y="152"/>
                  <a:pt x="44" y="152"/>
                  <a:pt x="44" y="152"/>
                </a:cubicBezTo>
                <a:cubicBezTo>
                  <a:pt x="35" y="152"/>
                  <a:pt x="27" y="159"/>
                  <a:pt x="27" y="169"/>
                </a:cubicBezTo>
                <a:cubicBezTo>
                  <a:pt x="27" y="236"/>
                  <a:pt x="27" y="236"/>
                  <a:pt x="27" y="236"/>
                </a:cubicBezTo>
                <a:cubicBezTo>
                  <a:pt x="27" y="246"/>
                  <a:pt x="35" y="253"/>
                  <a:pt x="44" y="253"/>
                </a:cubicBezTo>
                <a:close/>
                <a:moveTo>
                  <a:pt x="43" y="169"/>
                </a:moveTo>
                <a:cubicBezTo>
                  <a:pt x="43" y="168"/>
                  <a:pt x="44" y="168"/>
                  <a:pt x="44" y="168"/>
                </a:cubicBezTo>
                <a:cubicBezTo>
                  <a:pt x="112" y="168"/>
                  <a:pt x="112" y="168"/>
                  <a:pt x="112" y="168"/>
                </a:cubicBezTo>
                <a:cubicBezTo>
                  <a:pt x="112" y="168"/>
                  <a:pt x="113" y="168"/>
                  <a:pt x="113" y="169"/>
                </a:cubicBezTo>
                <a:cubicBezTo>
                  <a:pt x="113" y="236"/>
                  <a:pt x="113" y="236"/>
                  <a:pt x="113" y="236"/>
                </a:cubicBezTo>
                <a:cubicBezTo>
                  <a:pt x="113" y="237"/>
                  <a:pt x="112" y="237"/>
                  <a:pt x="112" y="237"/>
                </a:cubicBezTo>
                <a:cubicBezTo>
                  <a:pt x="44" y="237"/>
                  <a:pt x="44" y="237"/>
                  <a:pt x="44" y="237"/>
                </a:cubicBezTo>
                <a:cubicBezTo>
                  <a:pt x="44" y="237"/>
                  <a:pt x="43" y="237"/>
                  <a:pt x="43" y="236"/>
                </a:cubicBezTo>
                <a:lnTo>
                  <a:pt x="43" y="169"/>
                </a:lnTo>
                <a:close/>
              </a:path>
            </a:pathLst>
          </a:custGeom>
          <a:solidFill>
            <a:srgbClr val="2E817F"/>
          </a:solidFill>
          <a:ln>
            <a:noFill/>
          </a:ln>
          <a:extLst/>
        </p:spPr>
        <p:txBody>
          <a:bodyPr/>
          <a:lstStyle/>
          <a:p>
            <a:endParaRPr lang="en-US" b="1" dirty="0">
              <a:solidFill>
                <a:srgbClr val="58585A"/>
              </a:solidFill>
            </a:endParaRPr>
          </a:p>
        </p:txBody>
      </p:sp>
      <p:sp>
        <p:nvSpPr>
          <p:cNvPr id="13" name="Freeform 3"/>
          <p:cNvSpPr>
            <a:spLocks noChangeAspect="1" noEditPoints="1"/>
          </p:cNvSpPr>
          <p:nvPr/>
        </p:nvSpPr>
        <p:spPr bwMode="auto">
          <a:xfrm>
            <a:off x="8647451" y="2897666"/>
            <a:ext cx="573302" cy="599259"/>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2E817F"/>
          </a:solidFill>
          <a:ln>
            <a:noFill/>
          </a:ln>
        </p:spPr>
        <p:txBody>
          <a:bodyPr/>
          <a:lstStyle/>
          <a:p>
            <a:endParaRPr lang="en-US" b="1" dirty="0">
              <a:solidFill>
                <a:srgbClr val="58585A"/>
              </a:solidFill>
            </a:endParaRPr>
          </a:p>
        </p:txBody>
      </p:sp>
      <p:grpSp>
        <p:nvGrpSpPr>
          <p:cNvPr id="14" name="Group 5"/>
          <p:cNvGrpSpPr>
            <a:grpSpLocks/>
          </p:cNvGrpSpPr>
          <p:nvPr/>
        </p:nvGrpSpPr>
        <p:grpSpPr bwMode="auto">
          <a:xfrm>
            <a:off x="10435141" y="2594254"/>
            <a:ext cx="396143" cy="685758"/>
            <a:chOff x="8666373" y="3959472"/>
            <a:chExt cx="417749" cy="754250"/>
          </a:xfrm>
          <a:solidFill>
            <a:srgbClr val="2E817F"/>
          </a:solidFill>
        </p:grpSpPr>
        <p:sp>
          <p:nvSpPr>
            <p:cNvPr id="15" name="Freeform 3"/>
            <p:cNvSpPr>
              <a:spLocks/>
            </p:cNvSpPr>
            <p:nvPr/>
          </p:nvSpPr>
          <p:spPr bwMode="auto">
            <a:xfrm>
              <a:off x="8667198" y="3959472"/>
              <a:ext cx="38724" cy="67222"/>
            </a:xfrm>
            <a:custGeom>
              <a:avLst/>
              <a:gdLst>
                <a:gd name="T0" fmla="*/ 552 w 38724"/>
                <a:gd name="T1" fmla="*/ 547 h 67222"/>
                <a:gd name="T2" fmla="*/ 5315 w 38724"/>
                <a:gd name="T3" fmla="*/ 12453 h 67222"/>
                <a:gd name="T4" fmla="*/ 7696 w 38724"/>
                <a:gd name="T5" fmla="*/ 26741 h 67222"/>
                <a:gd name="T6" fmla="*/ 12458 w 38724"/>
                <a:gd name="T7" fmla="*/ 45791 h 67222"/>
                <a:gd name="T8" fmla="*/ 14840 w 38724"/>
                <a:gd name="T9" fmla="*/ 55316 h 67222"/>
                <a:gd name="T10" fmla="*/ 31508 w 38724"/>
                <a:gd name="T11" fmla="*/ 67222 h 67222"/>
                <a:gd name="T12" fmla="*/ 33890 w 38724"/>
                <a:gd name="T13" fmla="*/ 57697 h 67222"/>
                <a:gd name="T14" fmla="*/ 38652 w 38724"/>
                <a:gd name="T15" fmla="*/ 48172 h 67222"/>
                <a:gd name="T16" fmla="*/ 31508 w 38724"/>
                <a:gd name="T17" fmla="*/ 19597 h 67222"/>
                <a:gd name="T18" fmla="*/ 24365 w 38724"/>
                <a:gd name="T19" fmla="*/ 12453 h 67222"/>
                <a:gd name="T20" fmla="*/ 19602 w 38724"/>
                <a:gd name="T21" fmla="*/ 2928 h 67222"/>
                <a:gd name="T22" fmla="*/ 552 w 38724"/>
                <a:gd name="T23" fmla="*/ 547 h 672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724" h="67222">
                  <a:moveTo>
                    <a:pt x="552" y="547"/>
                  </a:moveTo>
                  <a:cubicBezTo>
                    <a:pt x="-1829" y="2135"/>
                    <a:pt x="4190" y="8329"/>
                    <a:pt x="5315" y="12453"/>
                  </a:cubicBezTo>
                  <a:cubicBezTo>
                    <a:pt x="6585" y="17111"/>
                    <a:pt x="6832" y="21991"/>
                    <a:pt x="7696" y="26741"/>
                  </a:cubicBezTo>
                  <a:cubicBezTo>
                    <a:pt x="11324" y="46696"/>
                    <a:pt x="8329" y="31342"/>
                    <a:pt x="12458" y="45791"/>
                  </a:cubicBezTo>
                  <a:cubicBezTo>
                    <a:pt x="13357" y="48938"/>
                    <a:pt x="12938" y="52653"/>
                    <a:pt x="14840" y="55316"/>
                  </a:cubicBezTo>
                  <a:cubicBezTo>
                    <a:pt x="16180" y="57191"/>
                    <a:pt x="28617" y="65294"/>
                    <a:pt x="31508" y="67222"/>
                  </a:cubicBezTo>
                  <a:cubicBezTo>
                    <a:pt x="32302" y="64047"/>
                    <a:pt x="32741" y="60761"/>
                    <a:pt x="33890" y="57697"/>
                  </a:cubicBezTo>
                  <a:cubicBezTo>
                    <a:pt x="35136" y="54373"/>
                    <a:pt x="38331" y="51707"/>
                    <a:pt x="38652" y="48172"/>
                  </a:cubicBezTo>
                  <a:cubicBezTo>
                    <a:pt x="39290" y="41158"/>
                    <a:pt x="35597" y="26139"/>
                    <a:pt x="31508" y="19597"/>
                  </a:cubicBezTo>
                  <a:cubicBezTo>
                    <a:pt x="29723" y="16741"/>
                    <a:pt x="26322" y="15193"/>
                    <a:pt x="24365" y="12453"/>
                  </a:cubicBezTo>
                  <a:cubicBezTo>
                    <a:pt x="22302" y="9564"/>
                    <a:pt x="22112" y="5438"/>
                    <a:pt x="19602" y="2928"/>
                  </a:cubicBezTo>
                  <a:cubicBezTo>
                    <a:pt x="17827" y="1153"/>
                    <a:pt x="2933" y="-1041"/>
                    <a:pt x="552" y="547"/>
                  </a:cubicBezTo>
                  <a:close/>
                </a:path>
              </a:pathLst>
            </a:custGeom>
            <a:grpFill/>
            <a:ln w="12700" cap="flat" cmpd="sng" algn="ctr">
              <a:solidFill>
                <a:schemeClr val="bg1"/>
              </a:solidFill>
              <a:prstDash val="solid"/>
              <a:round/>
              <a:headEnd type="none" w="med" len="med"/>
              <a:tailEnd type="none" w="med" len="med"/>
            </a:ln>
          </p:spPr>
          <p:txBody>
            <a:bodyPr wrap="none" lIns="72000" rIns="72000"/>
            <a:lstStyle/>
            <a:p>
              <a:endParaRPr lang="en-US" b="1" dirty="0">
                <a:solidFill>
                  <a:srgbClr val="58585A"/>
                </a:solidFill>
              </a:endParaRPr>
            </a:p>
          </p:txBody>
        </p:sp>
        <p:sp>
          <p:nvSpPr>
            <p:cNvPr id="16" name="Freeform 6"/>
            <p:cNvSpPr>
              <a:spLocks/>
            </p:cNvSpPr>
            <p:nvPr/>
          </p:nvSpPr>
          <p:spPr bwMode="auto">
            <a:xfrm>
              <a:off x="8666373" y="4090545"/>
              <a:ext cx="417749" cy="623177"/>
            </a:xfrm>
            <a:custGeom>
              <a:avLst/>
              <a:gdLst>
                <a:gd name="T0" fmla="*/ 2147483647 w 233"/>
                <a:gd name="T1" fmla="*/ 2147483647 h 318"/>
                <a:gd name="T2" fmla="*/ 2147483647 w 233"/>
                <a:gd name="T3" fmla="*/ 2147483647 h 318"/>
                <a:gd name="T4" fmla="*/ 2147483647 w 233"/>
                <a:gd name="T5" fmla="*/ 2147483647 h 318"/>
                <a:gd name="T6" fmla="*/ 2147483647 w 233"/>
                <a:gd name="T7" fmla="*/ 2147483647 h 318"/>
                <a:gd name="T8" fmla="*/ 2147483647 w 233"/>
                <a:gd name="T9" fmla="*/ 2147483647 h 318"/>
                <a:gd name="T10" fmla="*/ 2147483647 w 233"/>
                <a:gd name="T11" fmla="*/ 2147483647 h 318"/>
                <a:gd name="T12" fmla="*/ 2147483647 w 233"/>
                <a:gd name="T13" fmla="*/ 2147483647 h 318"/>
                <a:gd name="T14" fmla="*/ 2147483647 w 233"/>
                <a:gd name="T15" fmla="*/ 2147483647 h 318"/>
                <a:gd name="T16" fmla="*/ 2147483647 w 233"/>
                <a:gd name="T17" fmla="*/ 2147483647 h 318"/>
                <a:gd name="T18" fmla="*/ 2147483647 w 233"/>
                <a:gd name="T19" fmla="*/ 2147483647 h 318"/>
                <a:gd name="T20" fmla="*/ 2147483647 w 233"/>
                <a:gd name="T21" fmla="*/ 0 h 318"/>
                <a:gd name="T22" fmla="*/ 2147483647 w 233"/>
                <a:gd name="T23" fmla="*/ 2147483647 h 318"/>
                <a:gd name="T24" fmla="*/ 2147483647 w 233"/>
                <a:gd name="T25" fmla="*/ 2147483647 h 318"/>
                <a:gd name="T26" fmla="*/ 2147483647 w 233"/>
                <a:gd name="T27" fmla="*/ 2147483647 h 318"/>
                <a:gd name="T28" fmla="*/ 2147483647 w 233"/>
                <a:gd name="T29" fmla="*/ 2147483647 h 318"/>
                <a:gd name="T30" fmla="*/ 2147483647 w 233"/>
                <a:gd name="T31" fmla="*/ 2147483647 h 318"/>
                <a:gd name="T32" fmla="*/ 2147483647 w 233"/>
                <a:gd name="T33" fmla="*/ 2147483647 h 318"/>
                <a:gd name="T34" fmla="*/ 2147483647 w 233"/>
                <a:gd name="T35" fmla="*/ 2147483647 h 318"/>
                <a:gd name="T36" fmla="*/ 2147483647 w 233"/>
                <a:gd name="T37" fmla="*/ 2147483647 h 318"/>
                <a:gd name="T38" fmla="*/ 2147483647 w 233"/>
                <a:gd name="T39" fmla="*/ 2147483647 h 318"/>
                <a:gd name="T40" fmla="*/ 2147483647 w 233"/>
                <a:gd name="T41" fmla="*/ 2147483647 h 318"/>
                <a:gd name="T42" fmla="*/ 2147483647 w 233"/>
                <a:gd name="T43" fmla="*/ 2147483647 h 318"/>
                <a:gd name="T44" fmla="*/ 2147483647 w 233"/>
                <a:gd name="T45" fmla="*/ 2147483647 h 318"/>
                <a:gd name="T46" fmla="*/ 2147483647 w 233"/>
                <a:gd name="T47" fmla="*/ 2147483647 h 318"/>
                <a:gd name="T48" fmla="*/ 2147483647 w 233"/>
                <a:gd name="T49" fmla="*/ 2147483647 h 318"/>
                <a:gd name="T50" fmla="*/ 2147483647 w 233"/>
                <a:gd name="T51" fmla="*/ 2147483647 h 318"/>
                <a:gd name="T52" fmla="*/ 2147483647 w 233"/>
                <a:gd name="T53" fmla="*/ 2147483647 h 318"/>
                <a:gd name="T54" fmla="*/ 2147483647 w 233"/>
                <a:gd name="T55" fmla="*/ 2147483647 h 318"/>
                <a:gd name="T56" fmla="*/ 2147483647 w 233"/>
                <a:gd name="T57" fmla="*/ 2147483647 h 318"/>
                <a:gd name="T58" fmla="*/ 2147483647 w 233"/>
                <a:gd name="T59" fmla="*/ 2147483647 h 318"/>
                <a:gd name="T60" fmla="*/ 2147483647 w 233"/>
                <a:gd name="T61" fmla="*/ 2147483647 h 318"/>
                <a:gd name="T62" fmla="*/ 2147483647 w 233"/>
                <a:gd name="T63" fmla="*/ 2147483647 h 318"/>
                <a:gd name="T64" fmla="*/ 2147483647 w 233"/>
                <a:gd name="T65" fmla="*/ 2147483647 h 318"/>
                <a:gd name="T66" fmla="*/ 2147483647 w 233"/>
                <a:gd name="T67" fmla="*/ 2147483647 h 318"/>
                <a:gd name="T68" fmla="*/ 2147483647 w 233"/>
                <a:gd name="T69" fmla="*/ 2147483647 h 318"/>
                <a:gd name="T70" fmla="*/ 2147483647 w 233"/>
                <a:gd name="T71" fmla="*/ 2147483647 h 318"/>
                <a:gd name="T72" fmla="*/ 2147483647 w 233"/>
                <a:gd name="T73" fmla="*/ 2147483647 h 318"/>
                <a:gd name="T74" fmla="*/ 2147483647 w 233"/>
                <a:gd name="T75" fmla="*/ 2147483647 h 318"/>
                <a:gd name="T76" fmla="*/ 2147483647 w 233"/>
                <a:gd name="T77" fmla="*/ 2147483647 h 318"/>
                <a:gd name="T78" fmla="*/ 2147483647 w 233"/>
                <a:gd name="T79" fmla="*/ 2147483647 h 318"/>
                <a:gd name="T80" fmla="*/ 2147483647 w 233"/>
                <a:gd name="T81" fmla="*/ 2147483647 h 318"/>
                <a:gd name="T82" fmla="*/ 2147483647 w 233"/>
                <a:gd name="T83" fmla="*/ 2147483647 h 318"/>
                <a:gd name="T84" fmla="*/ 2147483647 w 233"/>
                <a:gd name="T85" fmla="*/ 2147483647 h 318"/>
                <a:gd name="T86" fmla="*/ 2147483647 w 233"/>
                <a:gd name="T87" fmla="*/ 2147483647 h 318"/>
                <a:gd name="T88" fmla="*/ 2147483647 w 233"/>
                <a:gd name="T89" fmla="*/ 2147483647 h 318"/>
                <a:gd name="T90" fmla="*/ 2147483647 w 233"/>
                <a:gd name="T91" fmla="*/ 2147483647 h 318"/>
                <a:gd name="T92" fmla="*/ 2147483647 w 233"/>
                <a:gd name="T93" fmla="*/ 2147483647 h 318"/>
                <a:gd name="T94" fmla="*/ 2147483647 w 233"/>
                <a:gd name="T95" fmla="*/ 2147483647 h 318"/>
                <a:gd name="T96" fmla="*/ 2147483647 w 233"/>
                <a:gd name="T97" fmla="*/ 2147483647 h 318"/>
                <a:gd name="T98" fmla="*/ 2147483647 w 233"/>
                <a:gd name="T99" fmla="*/ 2147483647 h 318"/>
                <a:gd name="T100" fmla="*/ 2147483647 w 233"/>
                <a:gd name="T101" fmla="*/ 2147483647 h 318"/>
                <a:gd name="T102" fmla="*/ 2147483647 w 233"/>
                <a:gd name="T103" fmla="*/ 2147483647 h 3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33" h="318">
                  <a:moveTo>
                    <a:pt x="225" y="149"/>
                  </a:moveTo>
                  <a:cubicBezTo>
                    <a:pt x="229" y="149"/>
                    <a:pt x="233" y="145"/>
                    <a:pt x="233" y="141"/>
                  </a:cubicBezTo>
                  <a:cubicBezTo>
                    <a:pt x="233" y="133"/>
                    <a:pt x="233" y="133"/>
                    <a:pt x="233" y="133"/>
                  </a:cubicBezTo>
                  <a:cubicBezTo>
                    <a:pt x="233" y="117"/>
                    <a:pt x="220" y="105"/>
                    <a:pt x="205" y="105"/>
                  </a:cubicBezTo>
                  <a:cubicBezTo>
                    <a:pt x="198" y="105"/>
                    <a:pt x="193" y="107"/>
                    <a:pt x="188" y="110"/>
                  </a:cubicBezTo>
                  <a:cubicBezTo>
                    <a:pt x="183" y="102"/>
                    <a:pt x="174" y="97"/>
                    <a:pt x="165" y="97"/>
                  </a:cubicBezTo>
                  <a:cubicBezTo>
                    <a:pt x="158" y="97"/>
                    <a:pt x="152" y="100"/>
                    <a:pt x="147" y="103"/>
                  </a:cubicBezTo>
                  <a:cubicBezTo>
                    <a:pt x="142" y="97"/>
                    <a:pt x="134" y="92"/>
                    <a:pt x="125" y="92"/>
                  </a:cubicBezTo>
                  <a:cubicBezTo>
                    <a:pt x="120" y="92"/>
                    <a:pt x="116" y="93"/>
                    <a:pt x="113" y="95"/>
                  </a:cubicBezTo>
                  <a:cubicBezTo>
                    <a:pt x="113" y="28"/>
                    <a:pt x="113" y="28"/>
                    <a:pt x="113" y="28"/>
                  </a:cubicBezTo>
                  <a:cubicBezTo>
                    <a:pt x="113" y="12"/>
                    <a:pt x="100" y="0"/>
                    <a:pt x="85" y="0"/>
                  </a:cubicBezTo>
                  <a:cubicBezTo>
                    <a:pt x="69" y="0"/>
                    <a:pt x="57" y="12"/>
                    <a:pt x="57" y="28"/>
                  </a:cubicBezTo>
                  <a:cubicBezTo>
                    <a:pt x="57" y="142"/>
                    <a:pt x="57" y="142"/>
                    <a:pt x="57" y="142"/>
                  </a:cubicBezTo>
                  <a:cubicBezTo>
                    <a:pt x="51" y="118"/>
                    <a:pt x="44" y="104"/>
                    <a:pt x="40" y="99"/>
                  </a:cubicBezTo>
                  <a:cubicBezTo>
                    <a:pt x="36" y="91"/>
                    <a:pt x="25" y="87"/>
                    <a:pt x="16" y="90"/>
                  </a:cubicBezTo>
                  <a:cubicBezTo>
                    <a:pt x="8" y="93"/>
                    <a:pt x="0" y="102"/>
                    <a:pt x="2" y="118"/>
                  </a:cubicBezTo>
                  <a:cubicBezTo>
                    <a:pt x="2" y="121"/>
                    <a:pt x="9" y="199"/>
                    <a:pt x="30" y="242"/>
                  </a:cubicBezTo>
                  <a:cubicBezTo>
                    <a:pt x="54" y="291"/>
                    <a:pt x="95" y="318"/>
                    <a:pt x="147" y="318"/>
                  </a:cubicBezTo>
                  <a:cubicBezTo>
                    <a:pt x="203" y="318"/>
                    <a:pt x="233" y="271"/>
                    <a:pt x="233" y="237"/>
                  </a:cubicBezTo>
                  <a:cubicBezTo>
                    <a:pt x="233" y="173"/>
                    <a:pt x="233" y="173"/>
                    <a:pt x="233" y="173"/>
                  </a:cubicBezTo>
                  <a:cubicBezTo>
                    <a:pt x="233" y="168"/>
                    <a:pt x="229" y="165"/>
                    <a:pt x="225" y="165"/>
                  </a:cubicBezTo>
                  <a:cubicBezTo>
                    <a:pt x="220" y="165"/>
                    <a:pt x="217" y="168"/>
                    <a:pt x="217" y="173"/>
                  </a:cubicBezTo>
                  <a:cubicBezTo>
                    <a:pt x="217" y="237"/>
                    <a:pt x="217" y="237"/>
                    <a:pt x="217" y="237"/>
                  </a:cubicBezTo>
                  <a:cubicBezTo>
                    <a:pt x="217" y="259"/>
                    <a:pt x="196" y="302"/>
                    <a:pt x="147" y="302"/>
                  </a:cubicBezTo>
                  <a:cubicBezTo>
                    <a:pt x="102" y="302"/>
                    <a:pt x="65" y="278"/>
                    <a:pt x="44" y="235"/>
                  </a:cubicBezTo>
                  <a:cubicBezTo>
                    <a:pt x="25" y="195"/>
                    <a:pt x="18" y="117"/>
                    <a:pt x="18" y="116"/>
                  </a:cubicBezTo>
                  <a:cubicBezTo>
                    <a:pt x="17" y="113"/>
                    <a:pt x="17" y="107"/>
                    <a:pt x="21" y="105"/>
                  </a:cubicBezTo>
                  <a:cubicBezTo>
                    <a:pt x="23" y="105"/>
                    <a:pt x="26" y="105"/>
                    <a:pt x="27" y="107"/>
                  </a:cubicBezTo>
                  <a:cubicBezTo>
                    <a:pt x="29" y="111"/>
                    <a:pt x="38" y="126"/>
                    <a:pt x="43" y="153"/>
                  </a:cubicBezTo>
                  <a:cubicBezTo>
                    <a:pt x="48" y="183"/>
                    <a:pt x="58" y="190"/>
                    <a:pt x="61" y="191"/>
                  </a:cubicBezTo>
                  <a:cubicBezTo>
                    <a:pt x="64" y="192"/>
                    <a:pt x="67" y="192"/>
                    <a:pt x="69" y="190"/>
                  </a:cubicBezTo>
                  <a:cubicBezTo>
                    <a:pt x="71" y="189"/>
                    <a:pt x="73" y="186"/>
                    <a:pt x="73" y="184"/>
                  </a:cubicBezTo>
                  <a:cubicBezTo>
                    <a:pt x="73" y="28"/>
                    <a:pt x="73" y="28"/>
                    <a:pt x="73" y="28"/>
                  </a:cubicBezTo>
                  <a:cubicBezTo>
                    <a:pt x="73" y="21"/>
                    <a:pt x="78" y="16"/>
                    <a:pt x="85" y="16"/>
                  </a:cubicBezTo>
                  <a:cubicBezTo>
                    <a:pt x="91" y="16"/>
                    <a:pt x="97" y="21"/>
                    <a:pt x="97" y="28"/>
                  </a:cubicBezTo>
                  <a:cubicBezTo>
                    <a:pt x="97" y="120"/>
                    <a:pt x="97" y="120"/>
                    <a:pt x="97" y="120"/>
                  </a:cubicBezTo>
                  <a:cubicBezTo>
                    <a:pt x="97" y="125"/>
                    <a:pt x="100" y="128"/>
                    <a:pt x="105" y="128"/>
                  </a:cubicBezTo>
                  <a:cubicBezTo>
                    <a:pt x="109" y="128"/>
                    <a:pt x="113" y="125"/>
                    <a:pt x="113" y="120"/>
                  </a:cubicBezTo>
                  <a:cubicBezTo>
                    <a:pt x="113" y="113"/>
                    <a:pt x="118" y="108"/>
                    <a:pt x="125" y="108"/>
                  </a:cubicBezTo>
                  <a:cubicBezTo>
                    <a:pt x="131" y="108"/>
                    <a:pt x="137" y="113"/>
                    <a:pt x="137" y="120"/>
                  </a:cubicBezTo>
                  <a:cubicBezTo>
                    <a:pt x="137" y="125"/>
                    <a:pt x="137" y="125"/>
                    <a:pt x="137" y="125"/>
                  </a:cubicBezTo>
                  <a:cubicBezTo>
                    <a:pt x="137" y="130"/>
                    <a:pt x="140" y="133"/>
                    <a:pt x="145" y="133"/>
                  </a:cubicBezTo>
                  <a:cubicBezTo>
                    <a:pt x="149" y="133"/>
                    <a:pt x="153" y="130"/>
                    <a:pt x="153" y="125"/>
                  </a:cubicBezTo>
                  <a:cubicBezTo>
                    <a:pt x="153" y="119"/>
                    <a:pt x="158" y="113"/>
                    <a:pt x="165" y="113"/>
                  </a:cubicBezTo>
                  <a:cubicBezTo>
                    <a:pt x="171" y="113"/>
                    <a:pt x="177" y="119"/>
                    <a:pt x="177" y="125"/>
                  </a:cubicBezTo>
                  <a:cubicBezTo>
                    <a:pt x="177" y="133"/>
                    <a:pt x="177" y="133"/>
                    <a:pt x="177" y="133"/>
                  </a:cubicBezTo>
                  <a:cubicBezTo>
                    <a:pt x="177" y="137"/>
                    <a:pt x="180" y="141"/>
                    <a:pt x="185" y="141"/>
                  </a:cubicBezTo>
                  <a:cubicBezTo>
                    <a:pt x="189" y="141"/>
                    <a:pt x="193" y="137"/>
                    <a:pt x="193" y="133"/>
                  </a:cubicBezTo>
                  <a:cubicBezTo>
                    <a:pt x="193" y="126"/>
                    <a:pt x="198" y="121"/>
                    <a:pt x="205" y="121"/>
                  </a:cubicBezTo>
                  <a:cubicBezTo>
                    <a:pt x="211" y="121"/>
                    <a:pt x="217" y="126"/>
                    <a:pt x="217" y="133"/>
                  </a:cubicBezTo>
                  <a:cubicBezTo>
                    <a:pt x="217" y="141"/>
                    <a:pt x="217" y="141"/>
                    <a:pt x="217" y="141"/>
                  </a:cubicBezTo>
                  <a:cubicBezTo>
                    <a:pt x="217" y="145"/>
                    <a:pt x="220" y="149"/>
                    <a:pt x="225"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b="1" dirty="0">
                <a:solidFill>
                  <a:srgbClr val="58585A"/>
                </a:solidFill>
              </a:endParaRPr>
            </a:p>
          </p:txBody>
        </p:sp>
      </p:grpSp>
      <p:sp>
        <p:nvSpPr>
          <p:cNvPr id="17" name="Rounded Rectangle 54"/>
          <p:cNvSpPr/>
          <p:nvPr/>
        </p:nvSpPr>
        <p:spPr bwMode="auto">
          <a:xfrm>
            <a:off x="7835601" y="1391022"/>
            <a:ext cx="3018918" cy="357187"/>
          </a:xfrm>
          <a:prstGeom prst="roundRect">
            <a:avLst/>
          </a:prstGeom>
          <a:noFill/>
          <a:ln w="12700" cap="flat" cmpd="sng" algn="ctr">
            <a:noFill/>
            <a:prstDash val="solid"/>
            <a:round/>
            <a:headEnd type="none" w="med" len="med"/>
            <a:tailEnd type="none" w="med" len="med"/>
          </a:ln>
          <a:effectLst/>
        </p:spPr>
        <p:txBody>
          <a:bodyPr wrap="none" lIns="0" tIns="0" rIns="0" bIns="0" anchor="ctr" anchorCtr="1"/>
          <a:lstStyle/>
          <a:p>
            <a:pPr algn="ctr">
              <a:defRPr/>
            </a:pPr>
            <a:r>
              <a:rPr lang="en-US" sz="2400" b="1" dirty="0">
                <a:solidFill>
                  <a:srgbClr val="00625F"/>
                </a:solidFill>
                <a:latin typeface="+mn-lt"/>
                <a:ea typeface="Ericsson Capital" charset="0"/>
                <a:cs typeface="Ericsson Capital" charset="0"/>
              </a:rPr>
              <a:t>Critical MTC</a:t>
            </a:r>
          </a:p>
        </p:txBody>
      </p:sp>
      <p:sp>
        <p:nvSpPr>
          <p:cNvPr id="18" name="Freeform 3"/>
          <p:cNvSpPr>
            <a:spLocks noChangeAspect="1" noEditPoints="1"/>
          </p:cNvSpPr>
          <p:nvPr/>
        </p:nvSpPr>
        <p:spPr bwMode="auto">
          <a:xfrm>
            <a:off x="7530803" y="1937651"/>
            <a:ext cx="759652" cy="352542"/>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2E817F"/>
          </a:solidFill>
          <a:ln>
            <a:noFill/>
          </a:ln>
          <a:extLst/>
        </p:spPr>
        <p:txBody>
          <a:bodyPr/>
          <a:lstStyle/>
          <a:p>
            <a:endParaRPr lang="en-US" b="1" dirty="0">
              <a:solidFill>
                <a:srgbClr val="58585A"/>
              </a:solidFill>
            </a:endParaRPr>
          </a:p>
        </p:txBody>
      </p:sp>
      <p:sp>
        <p:nvSpPr>
          <p:cNvPr id="19" name="Freeform 3"/>
          <p:cNvSpPr>
            <a:spLocks noChangeAspect="1" noEditPoints="1"/>
          </p:cNvSpPr>
          <p:nvPr/>
        </p:nvSpPr>
        <p:spPr bwMode="auto">
          <a:xfrm>
            <a:off x="8597603" y="1937651"/>
            <a:ext cx="759652" cy="352542"/>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2E817F"/>
          </a:solidFill>
          <a:ln>
            <a:noFill/>
          </a:ln>
          <a:extLst/>
        </p:spPr>
        <p:txBody>
          <a:bodyPr/>
          <a:lstStyle/>
          <a:p>
            <a:endParaRPr lang="en-US" b="1" dirty="0">
              <a:solidFill>
                <a:srgbClr val="58585A"/>
              </a:solidFill>
            </a:endParaRPr>
          </a:p>
        </p:txBody>
      </p:sp>
      <p:sp>
        <p:nvSpPr>
          <p:cNvPr id="20" name="Rectangle 98"/>
          <p:cNvSpPr/>
          <p:nvPr/>
        </p:nvSpPr>
        <p:spPr>
          <a:xfrm>
            <a:off x="7409502" y="2333447"/>
            <a:ext cx="2067134" cy="246221"/>
          </a:xfrm>
          <a:prstGeom prst="rect">
            <a:avLst/>
          </a:prstGeom>
        </p:spPr>
        <p:txBody>
          <a:bodyPr wrap="square">
            <a:spAutoFit/>
          </a:bodyPr>
          <a:lstStyle/>
          <a:p>
            <a:pPr algn="ctr"/>
            <a:r>
              <a:rPr lang="en-US" sz="1000" b="1" dirty="0">
                <a:solidFill>
                  <a:srgbClr val="58585A">
                    <a:lumMod val="75000"/>
                  </a:srgbClr>
                </a:solidFill>
              </a:rPr>
              <a:t>TRAFFIC SAFETY &amp; CONTROL</a:t>
            </a:r>
          </a:p>
        </p:txBody>
      </p:sp>
      <p:sp>
        <p:nvSpPr>
          <p:cNvPr id="21" name="Rectangle 99"/>
          <p:cNvSpPr/>
          <p:nvPr/>
        </p:nvSpPr>
        <p:spPr>
          <a:xfrm>
            <a:off x="6919922" y="3530128"/>
            <a:ext cx="3020174" cy="430887"/>
          </a:xfrm>
          <a:prstGeom prst="rect">
            <a:avLst/>
          </a:prstGeom>
        </p:spPr>
        <p:txBody>
          <a:bodyPr wrap="square">
            <a:spAutoFit/>
          </a:bodyPr>
          <a:lstStyle/>
          <a:p>
            <a:pPr algn="ctr"/>
            <a:r>
              <a:rPr lang="en-US" sz="1100" b="1" dirty="0">
                <a:solidFill>
                  <a:srgbClr val="58585A">
                    <a:lumMod val="75000"/>
                  </a:srgbClr>
                </a:solidFill>
                <a:ea typeface="MS PGothic" pitchFamily="34" charset="-128"/>
              </a:rPr>
              <a:t>INDUSTRIAL APPLICATION</a:t>
            </a:r>
            <a:br>
              <a:rPr lang="en-US" sz="1100" b="1" dirty="0">
                <a:solidFill>
                  <a:srgbClr val="58585A">
                    <a:lumMod val="75000"/>
                  </a:srgbClr>
                </a:solidFill>
                <a:ea typeface="MS PGothic" pitchFamily="34" charset="-128"/>
              </a:rPr>
            </a:br>
            <a:r>
              <a:rPr lang="en-US" sz="1100" b="1" dirty="0">
                <a:solidFill>
                  <a:srgbClr val="58585A">
                    <a:lumMod val="75000"/>
                  </a:srgbClr>
                </a:solidFill>
                <a:ea typeface="MS PGothic" pitchFamily="34" charset="-128"/>
              </a:rPr>
              <a:t>&amp; CONTROL</a:t>
            </a:r>
            <a:endParaRPr lang="en-US" sz="1100" b="1" dirty="0">
              <a:solidFill>
                <a:srgbClr val="58585A">
                  <a:lumMod val="75000"/>
                </a:srgbClr>
              </a:solidFill>
            </a:endParaRPr>
          </a:p>
        </p:txBody>
      </p:sp>
      <p:sp>
        <p:nvSpPr>
          <p:cNvPr id="22" name="Rectangle 99"/>
          <p:cNvSpPr/>
          <p:nvPr/>
        </p:nvSpPr>
        <p:spPr>
          <a:xfrm>
            <a:off x="9716125" y="3246494"/>
            <a:ext cx="1762874" cy="553998"/>
          </a:xfrm>
          <a:prstGeom prst="rect">
            <a:avLst/>
          </a:prstGeom>
        </p:spPr>
        <p:txBody>
          <a:bodyPr wrap="square">
            <a:spAutoFit/>
          </a:bodyPr>
          <a:lstStyle/>
          <a:p>
            <a:pPr algn="ctr"/>
            <a:r>
              <a:rPr lang="en-US" sz="1000" b="1" dirty="0">
                <a:solidFill>
                  <a:srgbClr val="58585A">
                    <a:lumMod val="75000"/>
                  </a:srgbClr>
                </a:solidFill>
                <a:ea typeface="MS PGothic" pitchFamily="34" charset="-128"/>
              </a:rPr>
              <a:t>REMOTE</a:t>
            </a:r>
            <a:br>
              <a:rPr lang="en-US" sz="1000" b="1" dirty="0">
                <a:solidFill>
                  <a:srgbClr val="58585A">
                    <a:lumMod val="75000"/>
                  </a:srgbClr>
                </a:solidFill>
                <a:ea typeface="MS PGothic" pitchFamily="34" charset="-128"/>
              </a:rPr>
            </a:br>
            <a:r>
              <a:rPr lang="en-US" sz="1000" b="1" dirty="0">
                <a:solidFill>
                  <a:srgbClr val="58585A">
                    <a:lumMod val="75000"/>
                  </a:srgbClr>
                </a:solidFill>
                <a:ea typeface="MS PGothic" pitchFamily="34" charset="-128"/>
              </a:rPr>
              <a:t>MANUFACTURING,</a:t>
            </a:r>
            <a:br>
              <a:rPr lang="en-US" sz="1000" b="1" dirty="0">
                <a:solidFill>
                  <a:srgbClr val="58585A">
                    <a:lumMod val="75000"/>
                  </a:srgbClr>
                </a:solidFill>
                <a:ea typeface="MS PGothic" pitchFamily="34" charset="-128"/>
              </a:rPr>
            </a:br>
            <a:r>
              <a:rPr lang="en-US" sz="1000" b="1" dirty="0">
                <a:solidFill>
                  <a:srgbClr val="58585A">
                    <a:lumMod val="75000"/>
                  </a:srgbClr>
                </a:solidFill>
                <a:ea typeface="MS PGothic" pitchFamily="34" charset="-128"/>
              </a:rPr>
              <a:t>TRAINING, SURGERY</a:t>
            </a:r>
            <a:endParaRPr lang="en-US" sz="1000" b="1" dirty="0">
              <a:solidFill>
                <a:srgbClr val="58585A">
                  <a:lumMod val="75000"/>
                </a:srgbClr>
              </a:solidFill>
            </a:endParaRPr>
          </a:p>
        </p:txBody>
      </p:sp>
      <p:cxnSp>
        <p:nvCxnSpPr>
          <p:cNvPr id="23" name="Rak 121"/>
          <p:cNvCxnSpPr/>
          <p:nvPr/>
        </p:nvCxnSpPr>
        <p:spPr bwMode="auto">
          <a:xfrm>
            <a:off x="9769452" y="2768492"/>
            <a:ext cx="0" cy="11134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24" name="Rak 123"/>
          <p:cNvCxnSpPr/>
          <p:nvPr/>
        </p:nvCxnSpPr>
        <p:spPr bwMode="auto">
          <a:xfrm>
            <a:off x="9791517" y="1695676"/>
            <a:ext cx="0" cy="9356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25" name="Freeform 3"/>
          <p:cNvSpPr>
            <a:spLocks noChangeAspect="1" noEditPoints="1"/>
          </p:cNvSpPr>
          <p:nvPr/>
        </p:nvSpPr>
        <p:spPr bwMode="auto">
          <a:xfrm>
            <a:off x="10060834" y="1673329"/>
            <a:ext cx="1112062" cy="1012825"/>
          </a:xfrm>
          <a:custGeom>
            <a:avLst/>
            <a:gdLst>
              <a:gd name="T0" fmla="*/ 2147483647 w 460"/>
              <a:gd name="T1" fmla="*/ 2147483647 h 419"/>
              <a:gd name="T2" fmla="*/ 2147483647 w 460"/>
              <a:gd name="T3" fmla="*/ 2147483647 h 419"/>
              <a:gd name="T4" fmla="*/ 2147483647 w 460"/>
              <a:gd name="T5" fmla="*/ 2147483647 h 419"/>
              <a:gd name="T6" fmla="*/ 2147483647 w 460"/>
              <a:gd name="T7" fmla="*/ 2147483647 h 419"/>
              <a:gd name="T8" fmla="*/ 2147483647 w 460"/>
              <a:gd name="T9" fmla="*/ 2147483647 h 419"/>
              <a:gd name="T10" fmla="*/ 2147483647 w 460"/>
              <a:gd name="T11" fmla="*/ 2147483647 h 419"/>
              <a:gd name="T12" fmla="*/ 2147483647 w 460"/>
              <a:gd name="T13" fmla="*/ 2147483647 h 419"/>
              <a:gd name="T14" fmla="*/ 2147483647 w 460"/>
              <a:gd name="T15" fmla="*/ 2147483647 h 419"/>
              <a:gd name="T16" fmla="*/ 2147483647 w 460"/>
              <a:gd name="T17" fmla="*/ 2147483647 h 419"/>
              <a:gd name="T18" fmla="*/ 2147483647 w 460"/>
              <a:gd name="T19" fmla="*/ 2147483647 h 419"/>
              <a:gd name="T20" fmla="*/ 2147483647 w 460"/>
              <a:gd name="T21" fmla="*/ 2147483647 h 419"/>
              <a:gd name="T22" fmla="*/ 2147483647 w 460"/>
              <a:gd name="T23" fmla="*/ 2147483647 h 419"/>
              <a:gd name="T24" fmla="*/ 2147483647 w 460"/>
              <a:gd name="T25" fmla="*/ 2147483647 h 419"/>
              <a:gd name="T26" fmla="*/ 2147483647 w 460"/>
              <a:gd name="T27" fmla="*/ 2147483647 h 419"/>
              <a:gd name="T28" fmla="*/ 2147483647 w 460"/>
              <a:gd name="T29" fmla="*/ 2147483647 h 419"/>
              <a:gd name="T30" fmla="*/ 2147483647 w 460"/>
              <a:gd name="T31" fmla="*/ 2147483647 h 419"/>
              <a:gd name="T32" fmla="*/ 2147483647 w 460"/>
              <a:gd name="T33" fmla="*/ 2147483647 h 419"/>
              <a:gd name="T34" fmla="*/ 2147483647 w 460"/>
              <a:gd name="T35" fmla="*/ 2147483647 h 419"/>
              <a:gd name="T36" fmla="*/ 2147483647 w 460"/>
              <a:gd name="T37" fmla="*/ 2147483647 h 419"/>
              <a:gd name="T38" fmla="*/ 2147483647 w 460"/>
              <a:gd name="T39" fmla="*/ 2147483647 h 419"/>
              <a:gd name="T40" fmla="*/ 2147483647 w 460"/>
              <a:gd name="T41" fmla="*/ 2147483647 h 419"/>
              <a:gd name="T42" fmla="*/ 2147483647 w 460"/>
              <a:gd name="T43" fmla="*/ 2147483647 h 419"/>
              <a:gd name="T44" fmla="*/ 2147483647 w 460"/>
              <a:gd name="T45" fmla="*/ 2147483647 h 419"/>
              <a:gd name="T46" fmla="*/ 2147483647 w 460"/>
              <a:gd name="T47" fmla="*/ 2147483647 h 419"/>
              <a:gd name="T48" fmla="*/ 2147483647 w 460"/>
              <a:gd name="T49" fmla="*/ 2147483647 h 419"/>
              <a:gd name="T50" fmla="*/ 2147483647 w 460"/>
              <a:gd name="T51" fmla="*/ 2147483647 h 419"/>
              <a:gd name="T52" fmla="*/ 2147483647 w 460"/>
              <a:gd name="T53" fmla="*/ 2147483647 h 419"/>
              <a:gd name="T54" fmla="*/ 2147483647 w 460"/>
              <a:gd name="T55" fmla="*/ 2147483647 h 419"/>
              <a:gd name="T56" fmla="*/ 2147483647 w 460"/>
              <a:gd name="T57" fmla="*/ 2147483647 h 419"/>
              <a:gd name="T58" fmla="*/ 2147483647 w 460"/>
              <a:gd name="T59" fmla="*/ 2147483647 h 419"/>
              <a:gd name="T60" fmla="*/ 2147483647 w 460"/>
              <a:gd name="T61" fmla="*/ 2147483647 h 419"/>
              <a:gd name="T62" fmla="*/ 2147483647 w 460"/>
              <a:gd name="T63" fmla="*/ 2147483647 h 419"/>
              <a:gd name="T64" fmla="*/ 2147483647 w 460"/>
              <a:gd name="T65" fmla="*/ 2147483647 h 419"/>
              <a:gd name="T66" fmla="*/ 2147483647 w 460"/>
              <a:gd name="T67" fmla="*/ 2147483647 h 419"/>
              <a:gd name="T68" fmla="*/ 2147483647 w 460"/>
              <a:gd name="T69" fmla="*/ 2147483647 h 419"/>
              <a:gd name="T70" fmla="*/ 2147483647 w 460"/>
              <a:gd name="T71" fmla="*/ 2147483647 h 419"/>
              <a:gd name="T72" fmla="*/ 2147483647 w 460"/>
              <a:gd name="T73" fmla="*/ 2147483647 h 419"/>
              <a:gd name="T74" fmla="*/ 2147483647 w 460"/>
              <a:gd name="T75" fmla="*/ 2147483647 h 419"/>
              <a:gd name="T76" fmla="*/ 2147483647 w 460"/>
              <a:gd name="T77" fmla="*/ 2147483647 h 419"/>
              <a:gd name="T78" fmla="*/ 2147483647 w 460"/>
              <a:gd name="T79" fmla="*/ 2147483647 h 419"/>
              <a:gd name="T80" fmla="*/ 2147483647 w 460"/>
              <a:gd name="T81" fmla="*/ 2147483647 h 419"/>
              <a:gd name="T82" fmla="*/ 2147483647 w 460"/>
              <a:gd name="T83" fmla="*/ 2147483647 h 419"/>
              <a:gd name="T84" fmla="*/ 2147483647 w 460"/>
              <a:gd name="T85" fmla="*/ 2147483647 h 419"/>
              <a:gd name="T86" fmla="*/ 2147483647 w 460"/>
              <a:gd name="T87" fmla="*/ 2147483647 h 419"/>
              <a:gd name="T88" fmla="*/ 2147483647 w 460"/>
              <a:gd name="T89" fmla="*/ 2147483647 h 419"/>
              <a:gd name="T90" fmla="*/ 2147483647 w 460"/>
              <a:gd name="T91" fmla="*/ 2147483647 h 419"/>
              <a:gd name="T92" fmla="*/ 2147483647 w 460"/>
              <a:gd name="T93" fmla="*/ 2147483647 h 419"/>
              <a:gd name="T94" fmla="*/ 2147483647 w 460"/>
              <a:gd name="T95" fmla="*/ 2147483647 h 419"/>
              <a:gd name="T96" fmla="*/ 2147483647 w 460"/>
              <a:gd name="T97" fmla="*/ 2147483647 h 419"/>
              <a:gd name="T98" fmla="*/ 2147483647 w 460"/>
              <a:gd name="T99" fmla="*/ 2147483647 h 419"/>
              <a:gd name="T100" fmla="*/ 2147483647 w 460"/>
              <a:gd name="T101" fmla="*/ 2147483647 h 4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60" h="419">
                <a:moveTo>
                  <a:pt x="347" y="30"/>
                </a:moveTo>
                <a:cubicBezTo>
                  <a:pt x="355" y="30"/>
                  <a:pt x="362" y="23"/>
                  <a:pt x="362" y="15"/>
                </a:cubicBezTo>
                <a:cubicBezTo>
                  <a:pt x="362" y="7"/>
                  <a:pt x="355" y="0"/>
                  <a:pt x="347" y="0"/>
                </a:cubicBezTo>
                <a:cubicBezTo>
                  <a:pt x="339" y="0"/>
                  <a:pt x="332" y="7"/>
                  <a:pt x="332" y="15"/>
                </a:cubicBezTo>
                <a:cubicBezTo>
                  <a:pt x="332" y="23"/>
                  <a:pt x="339" y="30"/>
                  <a:pt x="347" y="30"/>
                </a:cubicBezTo>
                <a:close/>
                <a:moveTo>
                  <a:pt x="15" y="103"/>
                </a:moveTo>
                <a:cubicBezTo>
                  <a:pt x="7" y="103"/>
                  <a:pt x="0" y="110"/>
                  <a:pt x="0" y="118"/>
                </a:cubicBezTo>
                <a:cubicBezTo>
                  <a:pt x="0" y="126"/>
                  <a:pt x="7" y="133"/>
                  <a:pt x="15" y="133"/>
                </a:cubicBezTo>
                <a:cubicBezTo>
                  <a:pt x="23" y="133"/>
                  <a:pt x="30" y="126"/>
                  <a:pt x="30" y="118"/>
                </a:cubicBezTo>
                <a:cubicBezTo>
                  <a:pt x="30" y="110"/>
                  <a:pt x="23" y="103"/>
                  <a:pt x="15" y="103"/>
                </a:cubicBezTo>
                <a:close/>
                <a:moveTo>
                  <a:pt x="366" y="102"/>
                </a:moveTo>
                <a:cubicBezTo>
                  <a:pt x="363" y="104"/>
                  <a:pt x="363" y="109"/>
                  <a:pt x="365" y="113"/>
                </a:cubicBezTo>
                <a:cubicBezTo>
                  <a:pt x="374" y="123"/>
                  <a:pt x="382" y="135"/>
                  <a:pt x="388" y="147"/>
                </a:cubicBezTo>
                <a:cubicBezTo>
                  <a:pt x="371" y="153"/>
                  <a:pt x="371" y="153"/>
                  <a:pt x="371" y="153"/>
                </a:cubicBezTo>
                <a:cubicBezTo>
                  <a:pt x="369" y="153"/>
                  <a:pt x="368" y="156"/>
                  <a:pt x="368" y="158"/>
                </a:cubicBezTo>
                <a:cubicBezTo>
                  <a:pt x="375" y="199"/>
                  <a:pt x="375" y="199"/>
                  <a:pt x="375" y="199"/>
                </a:cubicBezTo>
                <a:cubicBezTo>
                  <a:pt x="370" y="201"/>
                  <a:pt x="367" y="206"/>
                  <a:pt x="367" y="212"/>
                </a:cubicBezTo>
                <a:cubicBezTo>
                  <a:pt x="367" y="212"/>
                  <a:pt x="367" y="213"/>
                  <a:pt x="367" y="213"/>
                </a:cubicBezTo>
                <a:cubicBezTo>
                  <a:pt x="325" y="226"/>
                  <a:pt x="325" y="226"/>
                  <a:pt x="325" y="226"/>
                </a:cubicBezTo>
                <a:cubicBezTo>
                  <a:pt x="323" y="227"/>
                  <a:pt x="322" y="228"/>
                  <a:pt x="321" y="230"/>
                </a:cubicBezTo>
                <a:cubicBezTo>
                  <a:pt x="321" y="231"/>
                  <a:pt x="321" y="233"/>
                  <a:pt x="322" y="234"/>
                </a:cubicBezTo>
                <a:cubicBezTo>
                  <a:pt x="334" y="252"/>
                  <a:pt x="334" y="252"/>
                  <a:pt x="334" y="252"/>
                </a:cubicBezTo>
                <a:cubicBezTo>
                  <a:pt x="331" y="255"/>
                  <a:pt x="329" y="258"/>
                  <a:pt x="329" y="263"/>
                </a:cubicBezTo>
                <a:cubicBezTo>
                  <a:pt x="329" y="265"/>
                  <a:pt x="330" y="268"/>
                  <a:pt x="331" y="270"/>
                </a:cubicBezTo>
                <a:cubicBezTo>
                  <a:pt x="309" y="291"/>
                  <a:pt x="309" y="291"/>
                  <a:pt x="309" y="291"/>
                </a:cubicBezTo>
                <a:cubicBezTo>
                  <a:pt x="308" y="292"/>
                  <a:pt x="307" y="293"/>
                  <a:pt x="307" y="295"/>
                </a:cubicBezTo>
                <a:cubicBezTo>
                  <a:pt x="307" y="296"/>
                  <a:pt x="308" y="298"/>
                  <a:pt x="309" y="299"/>
                </a:cubicBezTo>
                <a:cubicBezTo>
                  <a:pt x="338" y="319"/>
                  <a:pt x="338" y="319"/>
                  <a:pt x="338" y="319"/>
                </a:cubicBezTo>
                <a:cubicBezTo>
                  <a:pt x="338" y="320"/>
                  <a:pt x="338" y="321"/>
                  <a:pt x="338" y="322"/>
                </a:cubicBezTo>
                <a:cubicBezTo>
                  <a:pt x="338" y="330"/>
                  <a:pt x="343" y="336"/>
                  <a:pt x="350" y="337"/>
                </a:cubicBezTo>
                <a:cubicBezTo>
                  <a:pt x="353" y="353"/>
                  <a:pt x="353" y="353"/>
                  <a:pt x="353" y="353"/>
                </a:cubicBezTo>
                <a:cubicBezTo>
                  <a:pt x="322" y="384"/>
                  <a:pt x="280" y="402"/>
                  <a:pt x="233" y="403"/>
                </a:cubicBezTo>
                <a:cubicBezTo>
                  <a:pt x="260" y="365"/>
                  <a:pt x="260" y="365"/>
                  <a:pt x="260" y="365"/>
                </a:cubicBezTo>
                <a:cubicBezTo>
                  <a:pt x="260" y="365"/>
                  <a:pt x="261" y="365"/>
                  <a:pt x="261" y="365"/>
                </a:cubicBezTo>
                <a:cubicBezTo>
                  <a:pt x="270" y="365"/>
                  <a:pt x="276" y="359"/>
                  <a:pt x="276" y="351"/>
                </a:cubicBezTo>
                <a:cubicBezTo>
                  <a:pt x="276" y="342"/>
                  <a:pt x="270" y="336"/>
                  <a:pt x="261" y="336"/>
                </a:cubicBezTo>
                <a:cubicBezTo>
                  <a:pt x="257" y="336"/>
                  <a:pt x="253" y="338"/>
                  <a:pt x="250" y="341"/>
                </a:cubicBezTo>
                <a:cubicBezTo>
                  <a:pt x="173" y="319"/>
                  <a:pt x="173" y="319"/>
                  <a:pt x="173" y="319"/>
                </a:cubicBezTo>
                <a:cubicBezTo>
                  <a:pt x="122" y="297"/>
                  <a:pt x="122" y="297"/>
                  <a:pt x="122" y="297"/>
                </a:cubicBezTo>
                <a:cubicBezTo>
                  <a:pt x="140" y="282"/>
                  <a:pt x="140" y="282"/>
                  <a:pt x="140" y="282"/>
                </a:cubicBezTo>
                <a:cubicBezTo>
                  <a:pt x="142" y="283"/>
                  <a:pt x="144" y="284"/>
                  <a:pt x="147" y="284"/>
                </a:cubicBezTo>
                <a:cubicBezTo>
                  <a:pt x="151" y="284"/>
                  <a:pt x="154" y="283"/>
                  <a:pt x="156" y="281"/>
                </a:cubicBezTo>
                <a:cubicBezTo>
                  <a:pt x="181" y="296"/>
                  <a:pt x="181" y="296"/>
                  <a:pt x="181" y="296"/>
                </a:cubicBezTo>
                <a:cubicBezTo>
                  <a:pt x="181" y="296"/>
                  <a:pt x="182" y="297"/>
                  <a:pt x="183" y="297"/>
                </a:cubicBezTo>
                <a:cubicBezTo>
                  <a:pt x="183" y="297"/>
                  <a:pt x="184" y="297"/>
                  <a:pt x="184" y="297"/>
                </a:cubicBezTo>
                <a:cubicBezTo>
                  <a:pt x="202" y="294"/>
                  <a:pt x="202" y="294"/>
                  <a:pt x="202" y="294"/>
                </a:cubicBezTo>
                <a:cubicBezTo>
                  <a:pt x="205" y="299"/>
                  <a:pt x="210" y="302"/>
                  <a:pt x="216" y="302"/>
                </a:cubicBezTo>
                <a:cubicBezTo>
                  <a:pt x="224" y="302"/>
                  <a:pt x="230" y="296"/>
                  <a:pt x="230" y="288"/>
                </a:cubicBezTo>
                <a:cubicBezTo>
                  <a:pt x="230" y="279"/>
                  <a:pt x="224" y="273"/>
                  <a:pt x="216" y="273"/>
                </a:cubicBezTo>
                <a:cubicBezTo>
                  <a:pt x="209" y="273"/>
                  <a:pt x="203" y="278"/>
                  <a:pt x="201" y="284"/>
                </a:cubicBezTo>
                <a:cubicBezTo>
                  <a:pt x="184" y="287"/>
                  <a:pt x="184" y="287"/>
                  <a:pt x="184" y="287"/>
                </a:cubicBezTo>
                <a:cubicBezTo>
                  <a:pt x="162" y="272"/>
                  <a:pt x="162" y="272"/>
                  <a:pt x="162" y="272"/>
                </a:cubicBezTo>
                <a:cubicBezTo>
                  <a:pt x="162" y="271"/>
                  <a:pt x="162" y="270"/>
                  <a:pt x="162" y="269"/>
                </a:cubicBezTo>
                <a:cubicBezTo>
                  <a:pt x="162" y="268"/>
                  <a:pt x="162" y="266"/>
                  <a:pt x="161" y="265"/>
                </a:cubicBezTo>
                <a:cubicBezTo>
                  <a:pt x="179" y="250"/>
                  <a:pt x="179" y="250"/>
                  <a:pt x="179" y="250"/>
                </a:cubicBezTo>
                <a:cubicBezTo>
                  <a:pt x="181" y="249"/>
                  <a:pt x="181" y="247"/>
                  <a:pt x="181" y="245"/>
                </a:cubicBezTo>
                <a:cubicBezTo>
                  <a:pt x="174" y="223"/>
                  <a:pt x="174" y="223"/>
                  <a:pt x="174" y="223"/>
                </a:cubicBezTo>
                <a:cubicBezTo>
                  <a:pt x="177" y="221"/>
                  <a:pt x="179" y="217"/>
                  <a:pt x="179" y="212"/>
                </a:cubicBezTo>
                <a:cubicBezTo>
                  <a:pt x="179" y="212"/>
                  <a:pt x="179" y="211"/>
                  <a:pt x="179" y="211"/>
                </a:cubicBezTo>
                <a:cubicBezTo>
                  <a:pt x="190" y="206"/>
                  <a:pt x="190" y="206"/>
                  <a:pt x="190" y="206"/>
                </a:cubicBezTo>
                <a:cubicBezTo>
                  <a:pt x="193" y="209"/>
                  <a:pt x="197" y="211"/>
                  <a:pt x="201" y="211"/>
                </a:cubicBezTo>
                <a:cubicBezTo>
                  <a:pt x="209" y="211"/>
                  <a:pt x="216" y="204"/>
                  <a:pt x="216" y="196"/>
                </a:cubicBezTo>
                <a:cubicBezTo>
                  <a:pt x="216" y="188"/>
                  <a:pt x="209" y="181"/>
                  <a:pt x="201" y="181"/>
                </a:cubicBezTo>
                <a:cubicBezTo>
                  <a:pt x="199" y="181"/>
                  <a:pt x="198" y="181"/>
                  <a:pt x="197" y="182"/>
                </a:cubicBezTo>
                <a:cubicBezTo>
                  <a:pt x="146" y="125"/>
                  <a:pt x="146" y="125"/>
                  <a:pt x="146" y="125"/>
                </a:cubicBezTo>
                <a:cubicBezTo>
                  <a:pt x="147" y="123"/>
                  <a:pt x="147" y="121"/>
                  <a:pt x="147" y="119"/>
                </a:cubicBezTo>
                <a:cubicBezTo>
                  <a:pt x="147" y="111"/>
                  <a:pt x="140" y="104"/>
                  <a:pt x="132" y="104"/>
                </a:cubicBezTo>
                <a:cubicBezTo>
                  <a:pt x="128" y="104"/>
                  <a:pt x="124" y="106"/>
                  <a:pt x="121" y="109"/>
                </a:cubicBezTo>
                <a:cubicBezTo>
                  <a:pt x="104" y="104"/>
                  <a:pt x="104" y="104"/>
                  <a:pt x="104" y="104"/>
                </a:cubicBezTo>
                <a:cubicBezTo>
                  <a:pt x="126" y="81"/>
                  <a:pt x="154" y="64"/>
                  <a:pt x="186" y="55"/>
                </a:cubicBezTo>
                <a:cubicBezTo>
                  <a:pt x="198" y="85"/>
                  <a:pt x="198" y="85"/>
                  <a:pt x="198" y="85"/>
                </a:cubicBezTo>
                <a:cubicBezTo>
                  <a:pt x="196" y="88"/>
                  <a:pt x="195" y="91"/>
                  <a:pt x="195" y="94"/>
                </a:cubicBezTo>
                <a:cubicBezTo>
                  <a:pt x="195" y="102"/>
                  <a:pt x="201" y="109"/>
                  <a:pt x="209" y="109"/>
                </a:cubicBezTo>
                <a:cubicBezTo>
                  <a:pt x="210" y="109"/>
                  <a:pt x="211" y="109"/>
                  <a:pt x="212" y="109"/>
                </a:cubicBezTo>
                <a:cubicBezTo>
                  <a:pt x="238" y="141"/>
                  <a:pt x="238" y="141"/>
                  <a:pt x="238" y="141"/>
                </a:cubicBezTo>
                <a:cubicBezTo>
                  <a:pt x="237" y="143"/>
                  <a:pt x="237" y="145"/>
                  <a:pt x="237" y="147"/>
                </a:cubicBezTo>
                <a:cubicBezTo>
                  <a:pt x="237" y="155"/>
                  <a:pt x="243" y="162"/>
                  <a:pt x="252" y="162"/>
                </a:cubicBezTo>
                <a:cubicBezTo>
                  <a:pt x="260" y="162"/>
                  <a:pt x="266" y="155"/>
                  <a:pt x="266" y="147"/>
                </a:cubicBezTo>
                <a:cubicBezTo>
                  <a:pt x="266" y="145"/>
                  <a:pt x="266" y="143"/>
                  <a:pt x="265" y="141"/>
                </a:cubicBezTo>
                <a:cubicBezTo>
                  <a:pt x="292" y="109"/>
                  <a:pt x="292" y="109"/>
                  <a:pt x="292" y="109"/>
                </a:cubicBezTo>
                <a:cubicBezTo>
                  <a:pt x="293" y="110"/>
                  <a:pt x="295" y="110"/>
                  <a:pt x="297" y="110"/>
                </a:cubicBezTo>
                <a:cubicBezTo>
                  <a:pt x="305" y="110"/>
                  <a:pt x="312" y="103"/>
                  <a:pt x="312" y="95"/>
                </a:cubicBezTo>
                <a:cubicBezTo>
                  <a:pt x="312" y="89"/>
                  <a:pt x="308" y="84"/>
                  <a:pt x="303" y="82"/>
                </a:cubicBezTo>
                <a:cubicBezTo>
                  <a:pt x="305" y="66"/>
                  <a:pt x="305" y="66"/>
                  <a:pt x="305" y="66"/>
                </a:cubicBezTo>
                <a:cubicBezTo>
                  <a:pt x="319" y="73"/>
                  <a:pt x="332" y="81"/>
                  <a:pt x="344" y="91"/>
                </a:cubicBezTo>
                <a:cubicBezTo>
                  <a:pt x="347" y="94"/>
                  <a:pt x="352" y="94"/>
                  <a:pt x="355" y="90"/>
                </a:cubicBezTo>
                <a:cubicBezTo>
                  <a:pt x="358" y="87"/>
                  <a:pt x="358" y="82"/>
                  <a:pt x="354" y="79"/>
                </a:cubicBezTo>
                <a:cubicBezTo>
                  <a:pt x="319" y="49"/>
                  <a:pt x="276" y="34"/>
                  <a:pt x="230" y="34"/>
                </a:cubicBezTo>
                <a:cubicBezTo>
                  <a:pt x="124" y="34"/>
                  <a:pt x="38" y="120"/>
                  <a:pt x="38" y="227"/>
                </a:cubicBezTo>
                <a:cubicBezTo>
                  <a:pt x="38" y="333"/>
                  <a:pt x="124" y="419"/>
                  <a:pt x="230" y="419"/>
                </a:cubicBezTo>
                <a:cubicBezTo>
                  <a:pt x="337" y="419"/>
                  <a:pt x="423" y="333"/>
                  <a:pt x="423" y="227"/>
                </a:cubicBezTo>
                <a:cubicBezTo>
                  <a:pt x="423" y="180"/>
                  <a:pt x="407" y="138"/>
                  <a:pt x="378" y="103"/>
                </a:cubicBezTo>
                <a:cubicBezTo>
                  <a:pt x="375" y="99"/>
                  <a:pt x="370" y="99"/>
                  <a:pt x="366" y="102"/>
                </a:cubicBezTo>
                <a:close/>
                <a:moveTo>
                  <a:pt x="258" y="134"/>
                </a:moveTo>
                <a:cubicBezTo>
                  <a:pt x="256" y="133"/>
                  <a:pt x="254" y="132"/>
                  <a:pt x="252" y="132"/>
                </a:cubicBezTo>
                <a:cubicBezTo>
                  <a:pt x="249" y="132"/>
                  <a:pt x="247" y="133"/>
                  <a:pt x="245" y="134"/>
                </a:cubicBezTo>
                <a:cubicBezTo>
                  <a:pt x="221" y="104"/>
                  <a:pt x="221" y="104"/>
                  <a:pt x="221" y="104"/>
                </a:cubicBezTo>
                <a:cubicBezTo>
                  <a:pt x="222" y="103"/>
                  <a:pt x="223" y="101"/>
                  <a:pt x="223" y="100"/>
                </a:cubicBezTo>
                <a:cubicBezTo>
                  <a:pt x="283" y="100"/>
                  <a:pt x="283" y="100"/>
                  <a:pt x="283" y="100"/>
                </a:cubicBezTo>
                <a:cubicBezTo>
                  <a:pt x="283" y="101"/>
                  <a:pt x="284" y="102"/>
                  <a:pt x="284" y="103"/>
                </a:cubicBezTo>
                <a:lnTo>
                  <a:pt x="258" y="134"/>
                </a:lnTo>
                <a:close/>
                <a:moveTo>
                  <a:pt x="295" y="62"/>
                </a:moveTo>
                <a:cubicBezTo>
                  <a:pt x="293" y="81"/>
                  <a:pt x="293" y="81"/>
                  <a:pt x="293" y="81"/>
                </a:cubicBezTo>
                <a:cubicBezTo>
                  <a:pt x="288" y="82"/>
                  <a:pt x="285" y="86"/>
                  <a:pt x="283" y="90"/>
                </a:cubicBezTo>
                <a:cubicBezTo>
                  <a:pt x="223" y="90"/>
                  <a:pt x="223" y="90"/>
                  <a:pt x="223" y="90"/>
                </a:cubicBezTo>
                <a:cubicBezTo>
                  <a:pt x="223" y="89"/>
                  <a:pt x="223" y="88"/>
                  <a:pt x="223" y="88"/>
                </a:cubicBezTo>
                <a:cubicBezTo>
                  <a:pt x="266" y="53"/>
                  <a:pt x="266" y="53"/>
                  <a:pt x="266" y="53"/>
                </a:cubicBezTo>
                <a:cubicBezTo>
                  <a:pt x="276" y="55"/>
                  <a:pt x="286" y="58"/>
                  <a:pt x="295" y="62"/>
                </a:cubicBezTo>
                <a:close/>
                <a:moveTo>
                  <a:pt x="230" y="50"/>
                </a:moveTo>
                <a:cubicBezTo>
                  <a:pt x="238" y="50"/>
                  <a:pt x="245" y="50"/>
                  <a:pt x="253" y="51"/>
                </a:cubicBezTo>
                <a:cubicBezTo>
                  <a:pt x="215" y="81"/>
                  <a:pt x="215" y="81"/>
                  <a:pt x="215" y="81"/>
                </a:cubicBezTo>
                <a:cubicBezTo>
                  <a:pt x="214" y="80"/>
                  <a:pt x="212" y="79"/>
                  <a:pt x="209" y="79"/>
                </a:cubicBezTo>
                <a:cubicBezTo>
                  <a:pt x="208" y="79"/>
                  <a:pt x="207" y="80"/>
                  <a:pt x="206" y="80"/>
                </a:cubicBezTo>
                <a:cubicBezTo>
                  <a:pt x="196" y="53"/>
                  <a:pt x="196" y="53"/>
                  <a:pt x="196" y="53"/>
                </a:cubicBezTo>
                <a:cubicBezTo>
                  <a:pt x="207" y="51"/>
                  <a:pt x="219" y="50"/>
                  <a:pt x="230" y="50"/>
                </a:cubicBezTo>
                <a:close/>
                <a:moveTo>
                  <a:pt x="133" y="274"/>
                </a:moveTo>
                <a:cubicBezTo>
                  <a:pt x="115" y="290"/>
                  <a:pt x="115" y="290"/>
                  <a:pt x="115" y="290"/>
                </a:cubicBezTo>
                <a:cubicBezTo>
                  <a:pt x="97" y="254"/>
                  <a:pt x="97" y="254"/>
                  <a:pt x="97" y="254"/>
                </a:cubicBezTo>
                <a:cubicBezTo>
                  <a:pt x="99" y="251"/>
                  <a:pt x="101" y="248"/>
                  <a:pt x="101" y="244"/>
                </a:cubicBezTo>
                <a:cubicBezTo>
                  <a:pt x="101" y="243"/>
                  <a:pt x="101" y="243"/>
                  <a:pt x="101" y="242"/>
                </a:cubicBezTo>
                <a:cubicBezTo>
                  <a:pt x="115" y="237"/>
                  <a:pt x="115" y="237"/>
                  <a:pt x="115" y="237"/>
                </a:cubicBezTo>
                <a:cubicBezTo>
                  <a:pt x="118" y="239"/>
                  <a:pt x="122" y="241"/>
                  <a:pt x="126" y="241"/>
                </a:cubicBezTo>
                <a:cubicBezTo>
                  <a:pt x="127" y="241"/>
                  <a:pt x="127" y="241"/>
                  <a:pt x="128" y="241"/>
                </a:cubicBezTo>
                <a:cubicBezTo>
                  <a:pt x="136" y="259"/>
                  <a:pt x="136" y="259"/>
                  <a:pt x="136" y="259"/>
                </a:cubicBezTo>
                <a:cubicBezTo>
                  <a:pt x="134" y="261"/>
                  <a:pt x="132" y="265"/>
                  <a:pt x="132" y="269"/>
                </a:cubicBezTo>
                <a:cubicBezTo>
                  <a:pt x="132" y="271"/>
                  <a:pt x="133" y="273"/>
                  <a:pt x="133" y="274"/>
                </a:cubicBezTo>
                <a:close/>
                <a:moveTo>
                  <a:pt x="155" y="257"/>
                </a:moveTo>
                <a:cubicBezTo>
                  <a:pt x="153" y="255"/>
                  <a:pt x="150" y="254"/>
                  <a:pt x="147" y="254"/>
                </a:cubicBezTo>
                <a:cubicBezTo>
                  <a:pt x="147" y="254"/>
                  <a:pt x="146" y="254"/>
                  <a:pt x="145" y="254"/>
                </a:cubicBezTo>
                <a:cubicBezTo>
                  <a:pt x="137" y="237"/>
                  <a:pt x="137" y="237"/>
                  <a:pt x="137" y="237"/>
                </a:cubicBezTo>
                <a:cubicBezTo>
                  <a:pt x="139" y="234"/>
                  <a:pt x="141" y="230"/>
                  <a:pt x="141" y="227"/>
                </a:cubicBezTo>
                <a:cubicBezTo>
                  <a:pt x="141" y="226"/>
                  <a:pt x="141" y="226"/>
                  <a:pt x="141" y="226"/>
                </a:cubicBezTo>
                <a:cubicBezTo>
                  <a:pt x="153" y="221"/>
                  <a:pt x="153" y="221"/>
                  <a:pt x="153" y="221"/>
                </a:cubicBezTo>
                <a:cubicBezTo>
                  <a:pt x="156" y="224"/>
                  <a:pt x="160" y="226"/>
                  <a:pt x="164" y="227"/>
                </a:cubicBezTo>
                <a:cubicBezTo>
                  <a:pt x="170" y="244"/>
                  <a:pt x="170" y="244"/>
                  <a:pt x="170" y="244"/>
                </a:cubicBezTo>
                <a:lnTo>
                  <a:pt x="155" y="257"/>
                </a:lnTo>
                <a:close/>
                <a:moveTo>
                  <a:pt x="175" y="201"/>
                </a:moveTo>
                <a:cubicBezTo>
                  <a:pt x="173" y="199"/>
                  <a:pt x="169" y="197"/>
                  <a:pt x="165" y="197"/>
                </a:cubicBezTo>
                <a:cubicBezTo>
                  <a:pt x="157" y="197"/>
                  <a:pt x="150" y="204"/>
                  <a:pt x="150" y="212"/>
                </a:cubicBezTo>
                <a:cubicBezTo>
                  <a:pt x="137" y="217"/>
                  <a:pt x="137" y="217"/>
                  <a:pt x="137" y="217"/>
                </a:cubicBezTo>
                <a:cubicBezTo>
                  <a:pt x="134" y="214"/>
                  <a:pt x="130" y="212"/>
                  <a:pt x="126" y="212"/>
                </a:cubicBezTo>
                <a:cubicBezTo>
                  <a:pt x="125" y="212"/>
                  <a:pt x="125" y="212"/>
                  <a:pt x="124" y="212"/>
                </a:cubicBezTo>
                <a:cubicBezTo>
                  <a:pt x="109" y="180"/>
                  <a:pt x="109" y="180"/>
                  <a:pt x="109" y="180"/>
                </a:cubicBezTo>
                <a:cubicBezTo>
                  <a:pt x="110" y="179"/>
                  <a:pt x="111" y="178"/>
                  <a:pt x="112" y="177"/>
                </a:cubicBezTo>
                <a:cubicBezTo>
                  <a:pt x="186" y="197"/>
                  <a:pt x="186" y="197"/>
                  <a:pt x="186" y="197"/>
                </a:cubicBezTo>
                <a:cubicBezTo>
                  <a:pt x="186" y="197"/>
                  <a:pt x="186" y="197"/>
                  <a:pt x="186" y="197"/>
                </a:cubicBezTo>
                <a:lnTo>
                  <a:pt x="175" y="201"/>
                </a:lnTo>
                <a:close/>
                <a:moveTo>
                  <a:pt x="130" y="134"/>
                </a:moveTo>
                <a:cubicBezTo>
                  <a:pt x="131" y="134"/>
                  <a:pt x="131" y="134"/>
                  <a:pt x="132" y="134"/>
                </a:cubicBezTo>
                <a:cubicBezTo>
                  <a:pt x="135" y="134"/>
                  <a:pt x="137" y="133"/>
                  <a:pt x="139" y="132"/>
                </a:cubicBezTo>
                <a:cubicBezTo>
                  <a:pt x="188" y="187"/>
                  <a:pt x="188" y="187"/>
                  <a:pt x="188" y="187"/>
                </a:cubicBezTo>
                <a:cubicBezTo>
                  <a:pt x="114" y="168"/>
                  <a:pt x="114" y="168"/>
                  <a:pt x="114" y="168"/>
                </a:cubicBezTo>
                <a:cubicBezTo>
                  <a:pt x="114" y="164"/>
                  <a:pt x="113" y="161"/>
                  <a:pt x="111" y="159"/>
                </a:cubicBezTo>
                <a:lnTo>
                  <a:pt x="130" y="134"/>
                </a:lnTo>
                <a:close/>
                <a:moveTo>
                  <a:pt x="96" y="112"/>
                </a:moveTo>
                <a:cubicBezTo>
                  <a:pt x="118" y="119"/>
                  <a:pt x="118" y="119"/>
                  <a:pt x="118" y="119"/>
                </a:cubicBezTo>
                <a:cubicBezTo>
                  <a:pt x="118" y="119"/>
                  <a:pt x="117" y="119"/>
                  <a:pt x="117" y="119"/>
                </a:cubicBezTo>
                <a:cubicBezTo>
                  <a:pt x="117" y="123"/>
                  <a:pt x="119" y="126"/>
                  <a:pt x="121" y="129"/>
                </a:cubicBezTo>
                <a:cubicBezTo>
                  <a:pt x="102" y="154"/>
                  <a:pt x="102" y="154"/>
                  <a:pt x="102" y="154"/>
                </a:cubicBezTo>
                <a:cubicBezTo>
                  <a:pt x="101" y="154"/>
                  <a:pt x="100" y="154"/>
                  <a:pt x="100" y="154"/>
                </a:cubicBezTo>
                <a:cubicBezTo>
                  <a:pt x="95" y="154"/>
                  <a:pt x="90" y="157"/>
                  <a:pt x="88" y="160"/>
                </a:cubicBezTo>
                <a:cubicBezTo>
                  <a:pt x="69" y="155"/>
                  <a:pt x="69" y="155"/>
                  <a:pt x="69" y="155"/>
                </a:cubicBezTo>
                <a:cubicBezTo>
                  <a:pt x="76" y="139"/>
                  <a:pt x="85" y="125"/>
                  <a:pt x="96" y="112"/>
                </a:cubicBezTo>
                <a:close/>
                <a:moveTo>
                  <a:pt x="65" y="165"/>
                </a:moveTo>
                <a:cubicBezTo>
                  <a:pt x="85" y="170"/>
                  <a:pt x="85" y="170"/>
                  <a:pt x="85" y="170"/>
                </a:cubicBezTo>
                <a:cubicBezTo>
                  <a:pt x="85" y="178"/>
                  <a:pt x="92" y="184"/>
                  <a:pt x="99" y="184"/>
                </a:cubicBezTo>
                <a:cubicBezTo>
                  <a:pt x="115" y="216"/>
                  <a:pt x="115" y="216"/>
                  <a:pt x="115" y="216"/>
                </a:cubicBezTo>
                <a:cubicBezTo>
                  <a:pt x="113" y="219"/>
                  <a:pt x="111" y="223"/>
                  <a:pt x="111" y="227"/>
                </a:cubicBezTo>
                <a:cubicBezTo>
                  <a:pt x="111" y="227"/>
                  <a:pt x="111" y="227"/>
                  <a:pt x="111" y="227"/>
                </a:cubicBezTo>
                <a:cubicBezTo>
                  <a:pt x="96" y="233"/>
                  <a:pt x="96" y="233"/>
                  <a:pt x="96" y="233"/>
                </a:cubicBezTo>
                <a:cubicBezTo>
                  <a:pt x="94" y="231"/>
                  <a:pt x="90" y="229"/>
                  <a:pt x="86" y="229"/>
                </a:cubicBezTo>
                <a:cubicBezTo>
                  <a:pt x="86" y="229"/>
                  <a:pt x="85" y="229"/>
                  <a:pt x="85" y="229"/>
                </a:cubicBezTo>
                <a:cubicBezTo>
                  <a:pt x="60" y="178"/>
                  <a:pt x="60" y="178"/>
                  <a:pt x="60" y="178"/>
                </a:cubicBezTo>
                <a:cubicBezTo>
                  <a:pt x="62" y="174"/>
                  <a:pt x="63" y="169"/>
                  <a:pt x="65" y="165"/>
                </a:cubicBezTo>
                <a:close/>
                <a:moveTo>
                  <a:pt x="54" y="227"/>
                </a:moveTo>
                <a:cubicBezTo>
                  <a:pt x="54" y="215"/>
                  <a:pt x="55" y="204"/>
                  <a:pt x="57" y="193"/>
                </a:cubicBezTo>
                <a:cubicBezTo>
                  <a:pt x="76" y="233"/>
                  <a:pt x="76" y="233"/>
                  <a:pt x="76" y="233"/>
                </a:cubicBezTo>
                <a:cubicBezTo>
                  <a:pt x="73" y="236"/>
                  <a:pt x="71" y="240"/>
                  <a:pt x="71" y="244"/>
                </a:cubicBezTo>
                <a:cubicBezTo>
                  <a:pt x="71" y="252"/>
                  <a:pt x="78" y="259"/>
                  <a:pt x="86" y="259"/>
                </a:cubicBezTo>
                <a:cubicBezTo>
                  <a:pt x="87" y="259"/>
                  <a:pt x="88" y="258"/>
                  <a:pt x="88" y="258"/>
                </a:cubicBezTo>
                <a:cubicBezTo>
                  <a:pt x="109" y="300"/>
                  <a:pt x="109" y="300"/>
                  <a:pt x="109" y="300"/>
                </a:cubicBezTo>
                <a:cubicBezTo>
                  <a:pt x="109" y="302"/>
                  <a:pt x="110" y="302"/>
                  <a:pt x="111" y="303"/>
                </a:cubicBezTo>
                <a:cubicBezTo>
                  <a:pt x="167" y="328"/>
                  <a:pt x="167" y="328"/>
                  <a:pt x="167" y="328"/>
                </a:cubicBezTo>
                <a:cubicBezTo>
                  <a:pt x="180" y="361"/>
                  <a:pt x="180" y="361"/>
                  <a:pt x="180" y="361"/>
                </a:cubicBezTo>
                <a:cubicBezTo>
                  <a:pt x="176" y="364"/>
                  <a:pt x="174" y="368"/>
                  <a:pt x="174" y="372"/>
                </a:cubicBezTo>
                <a:cubicBezTo>
                  <a:pt x="174" y="380"/>
                  <a:pt x="179" y="385"/>
                  <a:pt x="185" y="387"/>
                </a:cubicBezTo>
                <a:cubicBezTo>
                  <a:pt x="186" y="398"/>
                  <a:pt x="186" y="398"/>
                  <a:pt x="186" y="398"/>
                </a:cubicBezTo>
                <a:cubicBezTo>
                  <a:pt x="110" y="378"/>
                  <a:pt x="54" y="309"/>
                  <a:pt x="54" y="227"/>
                </a:cubicBezTo>
                <a:close/>
                <a:moveTo>
                  <a:pt x="179" y="331"/>
                </a:moveTo>
                <a:cubicBezTo>
                  <a:pt x="247" y="351"/>
                  <a:pt x="247" y="351"/>
                  <a:pt x="247" y="351"/>
                </a:cubicBezTo>
                <a:cubicBezTo>
                  <a:pt x="247" y="351"/>
                  <a:pt x="247" y="351"/>
                  <a:pt x="247" y="351"/>
                </a:cubicBezTo>
                <a:cubicBezTo>
                  <a:pt x="201" y="364"/>
                  <a:pt x="201" y="364"/>
                  <a:pt x="201" y="364"/>
                </a:cubicBezTo>
                <a:cubicBezTo>
                  <a:pt x="198" y="360"/>
                  <a:pt x="194" y="358"/>
                  <a:pt x="189" y="358"/>
                </a:cubicBezTo>
                <a:lnTo>
                  <a:pt x="179" y="331"/>
                </a:lnTo>
                <a:close/>
                <a:moveTo>
                  <a:pt x="221" y="403"/>
                </a:moveTo>
                <a:cubicBezTo>
                  <a:pt x="213" y="403"/>
                  <a:pt x="205" y="402"/>
                  <a:pt x="197" y="400"/>
                </a:cubicBezTo>
                <a:cubicBezTo>
                  <a:pt x="195" y="386"/>
                  <a:pt x="195" y="386"/>
                  <a:pt x="195" y="386"/>
                </a:cubicBezTo>
                <a:cubicBezTo>
                  <a:pt x="200" y="383"/>
                  <a:pt x="203" y="379"/>
                  <a:pt x="203" y="374"/>
                </a:cubicBezTo>
                <a:cubicBezTo>
                  <a:pt x="250" y="361"/>
                  <a:pt x="250" y="361"/>
                  <a:pt x="250" y="361"/>
                </a:cubicBezTo>
                <a:cubicBezTo>
                  <a:pt x="251" y="361"/>
                  <a:pt x="251" y="361"/>
                  <a:pt x="251" y="361"/>
                </a:cubicBezTo>
                <a:lnTo>
                  <a:pt x="221" y="403"/>
                </a:lnTo>
                <a:close/>
                <a:moveTo>
                  <a:pt x="352" y="308"/>
                </a:moveTo>
                <a:cubicBezTo>
                  <a:pt x="349" y="308"/>
                  <a:pt x="346" y="309"/>
                  <a:pt x="343" y="311"/>
                </a:cubicBezTo>
                <a:cubicBezTo>
                  <a:pt x="320" y="294"/>
                  <a:pt x="320" y="294"/>
                  <a:pt x="320" y="294"/>
                </a:cubicBezTo>
                <a:cubicBezTo>
                  <a:pt x="339" y="276"/>
                  <a:pt x="339" y="276"/>
                  <a:pt x="339" y="276"/>
                </a:cubicBezTo>
                <a:cubicBezTo>
                  <a:pt x="341" y="277"/>
                  <a:pt x="342" y="277"/>
                  <a:pt x="344" y="277"/>
                </a:cubicBezTo>
                <a:cubicBezTo>
                  <a:pt x="348" y="277"/>
                  <a:pt x="351" y="276"/>
                  <a:pt x="353" y="274"/>
                </a:cubicBezTo>
                <a:cubicBezTo>
                  <a:pt x="365" y="283"/>
                  <a:pt x="365" y="283"/>
                  <a:pt x="365" y="283"/>
                </a:cubicBezTo>
                <a:cubicBezTo>
                  <a:pt x="365" y="285"/>
                  <a:pt x="364" y="286"/>
                  <a:pt x="364" y="288"/>
                </a:cubicBezTo>
                <a:cubicBezTo>
                  <a:pt x="364" y="291"/>
                  <a:pt x="365" y="293"/>
                  <a:pt x="367" y="296"/>
                </a:cubicBezTo>
                <a:cubicBezTo>
                  <a:pt x="357" y="308"/>
                  <a:pt x="357" y="308"/>
                  <a:pt x="357" y="308"/>
                </a:cubicBezTo>
                <a:cubicBezTo>
                  <a:pt x="356" y="308"/>
                  <a:pt x="354" y="308"/>
                  <a:pt x="352" y="308"/>
                </a:cubicBezTo>
                <a:close/>
                <a:moveTo>
                  <a:pt x="362" y="345"/>
                </a:moveTo>
                <a:cubicBezTo>
                  <a:pt x="360" y="335"/>
                  <a:pt x="360" y="335"/>
                  <a:pt x="360" y="335"/>
                </a:cubicBezTo>
                <a:cubicBezTo>
                  <a:pt x="364" y="333"/>
                  <a:pt x="367" y="328"/>
                  <a:pt x="367" y="322"/>
                </a:cubicBezTo>
                <a:cubicBezTo>
                  <a:pt x="367" y="320"/>
                  <a:pt x="366" y="317"/>
                  <a:pt x="365" y="315"/>
                </a:cubicBezTo>
                <a:cubicBezTo>
                  <a:pt x="375" y="302"/>
                  <a:pt x="375" y="302"/>
                  <a:pt x="375" y="302"/>
                </a:cubicBezTo>
                <a:cubicBezTo>
                  <a:pt x="376" y="302"/>
                  <a:pt x="378" y="302"/>
                  <a:pt x="379" y="302"/>
                </a:cubicBezTo>
                <a:cubicBezTo>
                  <a:pt x="382" y="302"/>
                  <a:pt x="385" y="302"/>
                  <a:pt x="387" y="300"/>
                </a:cubicBezTo>
                <a:cubicBezTo>
                  <a:pt x="390" y="302"/>
                  <a:pt x="390" y="302"/>
                  <a:pt x="390" y="302"/>
                </a:cubicBezTo>
                <a:cubicBezTo>
                  <a:pt x="383" y="318"/>
                  <a:pt x="373" y="332"/>
                  <a:pt x="362" y="345"/>
                </a:cubicBezTo>
                <a:close/>
                <a:moveTo>
                  <a:pt x="394" y="293"/>
                </a:moveTo>
                <a:cubicBezTo>
                  <a:pt x="393" y="292"/>
                  <a:pt x="393" y="292"/>
                  <a:pt x="393" y="292"/>
                </a:cubicBezTo>
                <a:cubicBezTo>
                  <a:pt x="394" y="291"/>
                  <a:pt x="394" y="289"/>
                  <a:pt x="394" y="288"/>
                </a:cubicBezTo>
                <a:cubicBezTo>
                  <a:pt x="394" y="284"/>
                  <a:pt x="393" y="281"/>
                  <a:pt x="391" y="279"/>
                </a:cubicBezTo>
                <a:cubicBezTo>
                  <a:pt x="403" y="262"/>
                  <a:pt x="403" y="262"/>
                  <a:pt x="403" y="262"/>
                </a:cubicBezTo>
                <a:cubicBezTo>
                  <a:pt x="401" y="273"/>
                  <a:pt x="398" y="283"/>
                  <a:pt x="394" y="293"/>
                </a:cubicBezTo>
                <a:close/>
                <a:moveTo>
                  <a:pt x="406" y="241"/>
                </a:moveTo>
                <a:cubicBezTo>
                  <a:pt x="383" y="273"/>
                  <a:pt x="383" y="273"/>
                  <a:pt x="383" y="273"/>
                </a:cubicBezTo>
                <a:cubicBezTo>
                  <a:pt x="382" y="273"/>
                  <a:pt x="381" y="273"/>
                  <a:pt x="379" y="273"/>
                </a:cubicBezTo>
                <a:cubicBezTo>
                  <a:pt x="376" y="273"/>
                  <a:pt x="374" y="274"/>
                  <a:pt x="371" y="275"/>
                </a:cubicBezTo>
                <a:cubicBezTo>
                  <a:pt x="359" y="266"/>
                  <a:pt x="359" y="266"/>
                  <a:pt x="359" y="266"/>
                </a:cubicBezTo>
                <a:cubicBezTo>
                  <a:pt x="359" y="265"/>
                  <a:pt x="359" y="264"/>
                  <a:pt x="359" y="263"/>
                </a:cubicBezTo>
                <a:cubicBezTo>
                  <a:pt x="359" y="254"/>
                  <a:pt x="352" y="248"/>
                  <a:pt x="344" y="248"/>
                </a:cubicBezTo>
                <a:cubicBezTo>
                  <a:pt x="344" y="248"/>
                  <a:pt x="343" y="248"/>
                  <a:pt x="343" y="248"/>
                </a:cubicBezTo>
                <a:cubicBezTo>
                  <a:pt x="334" y="234"/>
                  <a:pt x="334" y="234"/>
                  <a:pt x="334" y="234"/>
                </a:cubicBezTo>
                <a:cubicBezTo>
                  <a:pt x="371" y="222"/>
                  <a:pt x="371" y="222"/>
                  <a:pt x="371" y="222"/>
                </a:cubicBezTo>
                <a:cubicBezTo>
                  <a:pt x="374" y="225"/>
                  <a:pt x="378" y="227"/>
                  <a:pt x="382" y="227"/>
                </a:cubicBezTo>
                <a:cubicBezTo>
                  <a:pt x="385" y="227"/>
                  <a:pt x="389" y="225"/>
                  <a:pt x="391" y="223"/>
                </a:cubicBezTo>
                <a:cubicBezTo>
                  <a:pt x="407" y="230"/>
                  <a:pt x="407" y="230"/>
                  <a:pt x="407" y="230"/>
                </a:cubicBezTo>
                <a:cubicBezTo>
                  <a:pt x="407" y="234"/>
                  <a:pt x="407" y="238"/>
                  <a:pt x="406" y="241"/>
                </a:cubicBezTo>
                <a:close/>
                <a:moveTo>
                  <a:pt x="407" y="219"/>
                </a:moveTo>
                <a:cubicBezTo>
                  <a:pt x="396" y="214"/>
                  <a:pt x="396" y="214"/>
                  <a:pt x="396" y="214"/>
                </a:cubicBezTo>
                <a:cubicBezTo>
                  <a:pt x="396" y="214"/>
                  <a:pt x="397" y="213"/>
                  <a:pt x="397" y="212"/>
                </a:cubicBezTo>
                <a:cubicBezTo>
                  <a:pt x="397" y="205"/>
                  <a:pt x="391" y="199"/>
                  <a:pt x="385" y="197"/>
                </a:cubicBezTo>
                <a:cubicBezTo>
                  <a:pt x="379" y="161"/>
                  <a:pt x="379" y="161"/>
                  <a:pt x="379" y="161"/>
                </a:cubicBezTo>
                <a:cubicBezTo>
                  <a:pt x="392" y="156"/>
                  <a:pt x="392" y="156"/>
                  <a:pt x="392" y="156"/>
                </a:cubicBezTo>
                <a:cubicBezTo>
                  <a:pt x="401" y="175"/>
                  <a:pt x="406" y="197"/>
                  <a:pt x="407" y="219"/>
                </a:cubicBezTo>
                <a:close/>
                <a:moveTo>
                  <a:pt x="445" y="331"/>
                </a:moveTo>
                <a:cubicBezTo>
                  <a:pt x="437" y="331"/>
                  <a:pt x="430" y="338"/>
                  <a:pt x="430" y="346"/>
                </a:cubicBezTo>
                <a:cubicBezTo>
                  <a:pt x="430" y="354"/>
                  <a:pt x="437" y="361"/>
                  <a:pt x="445" y="361"/>
                </a:cubicBezTo>
                <a:cubicBezTo>
                  <a:pt x="453" y="361"/>
                  <a:pt x="460" y="354"/>
                  <a:pt x="460" y="346"/>
                </a:cubicBezTo>
                <a:cubicBezTo>
                  <a:pt x="460" y="338"/>
                  <a:pt x="453" y="331"/>
                  <a:pt x="445" y="331"/>
                </a:cubicBezTo>
                <a:close/>
                <a:moveTo>
                  <a:pt x="332" y="169"/>
                </a:moveTo>
                <a:cubicBezTo>
                  <a:pt x="324" y="169"/>
                  <a:pt x="317" y="176"/>
                  <a:pt x="317" y="184"/>
                </a:cubicBezTo>
                <a:cubicBezTo>
                  <a:pt x="317" y="192"/>
                  <a:pt x="324" y="199"/>
                  <a:pt x="332" y="199"/>
                </a:cubicBezTo>
                <a:cubicBezTo>
                  <a:pt x="340" y="199"/>
                  <a:pt x="347" y="192"/>
                  <a:pt x="347" y="184"/>
                </a:cubicBezTo>
                <a:cubicBezTo>
                  <a:pt x="347" y="176"/>
                  <a:pt x="340" y="169"/>
                  <a:pt x="332" y="169"/>
                </a:cubicBezTo>
                <a:close/>
              </a:path>
            </a:pathLst>
          </a:custGeom>
          <a:solidFill>
            <a:srgbClr val="2E817F"/>
          </a:solidFill>
          <a:ln>
            <a:noFill/>
          </a:ln>
        </p:spPr>
        <p:txBody>
          <a:bodyPr/>
          <a:lstStyle/>
          <a:p>
            <a:endParaRPr lang="sv-SE" dirty="0">
              <a:solidFill>
                <a:srgbClr val="58585A"/>
              </a:solidFill>
            </a:endParaRPr>
          </a:p>
        </p:txBody>
      </p:sp>
      <p:sp>
        <p:nvSpPr>
          <p:cNvPr id="26" name="Rektangel med rundade hörn 2"/>
          <p:cNvSpPr/>
          <p:nvPr/>
        </p:nvSpPr>
        <p:spPr bwMode="auto">
          <a:xfrm>
            <a:off x="536843" y="1419896"/>
            <a:ext cx="4719636" cy="2603860"/>
          </a:xfrm>
          <a:prstGeom prst="roundRect">
            <a:avLst>
              <a:gd name="adj" fmla="val 2170"/>
            </a:avLst>
          </a:prstGeom>
          <a:solidFill>
            <a:schemeClr val="bg1">
              <a:alpha val="7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sv-SE" b="1" dirty="0">
              <a:solidFill>
                <a:srgbClr val="58585A"/>
              </a:solidFill>
            </a:endParaRPr>
          </a:p>
        </p:txBody>
      </p:sp>
      <p:sp>
        <p:nvSpPr>
          <p:cNvPr id="27" name="Freeform 3"/>
          <p:cNvSpPr>
            <a:spLocks noChangeAspect="1" noEditPoints="1"/>
          </p:cNvSpPr>
          <p:nvPr/>
        </p:nvSpPr>
        <p:spPr bwMode="auto">
          <a:xfrm>
            <a:off x="784381" y="1753753"/>
            <a:ext cx="734079" cy="593256"/>
          </a:xfrm>
          <a:custGeom>
            <a:avLst/>
            <a:gdLst>
              <a:gd name="T0" fmla="*/ 2147483647 w 311"/>
              <a:gd name="T1" fmla="*/ 2147483647 h 252"/>
              <a:gd name="T2" fmla="*/ 2147483647 w 311"/>
              <a:gd name="T3" fmla="*/ 2147483647 h 252"/>
              <a:gd name="T4" fmla="*/ 2147483647 w 311"/>
              <a:gd name="T5" fmla="*/ 2147483647 h 252"/>
              <a:gd name="T6" fmla="*/ 2147483647 w 311"/>
              <a:gd name="T7" fmla="*/ 2147483647 h 252"/>
              <a:gd name="T8" fmla="*/ 2147483647 w 311"/>
              <a:gd name="T9" fmla="*/ 2147483647 h 252"/>
              <a:gd name="T10" fmla="*/ 2147483647 w 311"/>
              <a:gd name="T11" fmla="*/ 2147483647 h 252"/>
              <a:gd name="T12" fmla="*/ 2147483647 w 311"/>
              <a:gd name="T13" fmla="*/ 2147483647 h 252"/>
              <a:gd name="T14" fmla="*/ 2147483647 w 311"/>
              <a:gd name="T15" fmla="*/ 2147483647 h 252"/>
              <a:gd name="T16" fmla="*/ 2147483647 w 311"/>
              <a:gd name="T17" fmla="*/ 2147483647 h 252"/>
              <a:gd name="T18" fmla="*/ 2147483647 w 311"/>
              <a:gd name="T19" fmla="*/ 2147483647 h 252"/>
              <a:gd name="T20" fmla="*/ 2147483647 w 311"/>
              <a:gd name="T21" fmla="*/ 2147483647 h 252"/>
              <a:gd name="T22" fmla="*/ 2147483647 w 311"/>
              <a:gd name="T23" fmla="*/ 2147483647 h 252"/>
              <a:gd name="T24" fmla="*/ 2147483647 w 311"/>
              <a:gd name="T25" fmla="*/ 0 h 252"/>
              <a:gd name="T26" fmla="*/ 2147483647 w 311"/>
              <a:gd name="T27" fmla="*/ 2147483647 h 252"/>
              <a:gd name="T28" fmla="*/ 2147483647 w 311"/>
              <a:gd name="T29" fmla="*/ 2147483647 h 252"/>
              <a:gd name="T30" fmla="*/ 2147483647 w 311"/>
              <a:gd name="T31" fmla="*/ 2147483647 h 252"/>
              <a:gd name="T32" fmla="*/ 2147483647 w 311"/>
              <a:gd name="T33" fmla="*/ 2147483647 h 252"/>
              <a:gd name="T34" fmla="*/ 2147483647 w 311"/>
              <a:gd name="T35" fmla="*/ 2147483647 h 252"/>
              <a:gd name="T36" fmla="*/ 2147483647 w 311"/>
              <a:gd name="T37" fmla="*/ 2147483647 h 252"/>
              <a:gd name="T38" fmla="*/ 2147483647 w 311"/>
              <a:gd name="T39" fmla="*/ 2147483647 h 252"/>
              <a:gd name="T40" fmla="*/ 2147483647 w 311"/>
              <a:gd name="T41" fmla="*/ 2147483647 h 252"/>
              <a:gd name="T42" fmla="*/ 2147483647 w 311"/>
              <a:gd name="T43" fmla="*/ 2147483647 h 252"/>
              <a:gd name="T44" fmla="*/ 2147483647 w 311"/>
              <a:gd name="T45" fmla="*/ 2147483647 h 252"/>
              <a:gd name="T46" fmla="*/ 2147483647 w 311"/>
              <a:gd name="T47" fmla="*/ 2147483647 h 252"/>
              <a:gd name="T48" fmla="*/ 2147483647 w 311"/>
              <a:gd name="T49" fmla="*/ 2147483647 h 252"/>
              <a:gd name="T50" fmla="*/ 2147483647 w 311"/>
              <a:gd name="T51" fmla="*/ 2147483647 h 252"/>
              <a:gd name="T52" fmla="*/ 2147483647 w 311"/>
              <a:gd name="T53" fmla="*/ 2147483647 h 252"/>
              <a:gd name="T54" fmla="*/ 2147483647 w 311"/>
              <a:gd name="T55" fmla="*/ 2147483647 h 252"/>
              <a:gd name="T56" fmla="*/ 2147483647 w 311"/>
              <a:gd name="T57" fmla="*/ 2147483647 h 252"/>
              <a:gd name="T58" fmla="*/ 2147483647 w 311"/>
              <a:gd name="T59" fmla="*/ 2147483647 h 252"/>
              <a:gd name="T60" fmla="*/ 2147483647 w 311"/>
              <a:gd name="T61" fmla="*/ 2147483647 h 252"/>
              <a:gd name="T62" fmla="*/ 2147483647 w 311"/>
              <a:gd name="T63" fmla="*/ 2147483647 h 252"/>
              <a:gd name="T64" fmla="*/ 2147483647 w 311"/>
              <a:gd name="T65" fmla="*/ 2147483647 h 252"/>
              <a:gd name="T66" fmla="*/ 2147483647 w 311"/>
              <a:gd name="T67" fmla="*/ 2147483647 h 252"/>
              <a:gd name="T68" fmla="*/ 2147483647 w 311"/>
              <a:gd name="T69" fmla="*/ 2147483647 h 252"/>
              <a:gd name="T70" fmla="*/ 2147483647 w 311"/>
              <a:gd name="T71" fmla="*/ 2147483647 h 252"/>
              <a:gd name="T72" fmla="*/ 2147483647 w 311"/>
              <a:gd name="T73" fmla="*/ 2147483647 h 252"/>
              <a:gd name="T74" fmla="*/ 2147483647 w 311"/>
              <a:gd name="T75" fmla="*/ 2147483647 h 252"/>
              <a:gd name="T76" fmla="*/ 2147483647 w 311"/>
              <a:gd name="T77" fmla="*/ 2147483647 h 252"/>
              <a:gd name="T78" fmla="*/ 2147483647 w 311"/>
              <a:gd name="T79" fmla="*/ 2147483647 h 2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11" h="252">
                <a:moveTo>
                  <a:pt x="303" y="236"/>
                </a:moveTo>
                <a:cubicBezTo>
                  <a:pt x="303" y="236"/>
                  <a:pt x="303" y="236"/>
                  <a:pt x="303" y="236"/>
                </a:cubicBezTo>
                <a:cubicBezTo>
                  <a:pt x="280" y="236"/>
                  <a:pt x="280" y="236"/>
                  <a:pt x="280" y="236"/>
                </a:cubicBezTo>
                <a:cubicBezTo>
                  <a:pt x="280" y="140"/>
                  <a:pt x="280" y="140"/>
                  <a:pt x="280" y="140"/>
                </a:cubicBezTo>
                <a:cubicBezTo>
                  <a:pt x="280" y="135"/>
                  <a:pt x="276" y="132"/>
                  <a:pt x="272" y="132"/>
                </a:cubicBezTo>
                <a:cubicBezTo>
                  <a:pt x="267" y="132"/>
                  <a:pt x="264" y="135"/>
                  <a:pt x="264" y="140"/>
                </a:cubicBezTo>
                <a:cubicBezTo>
                  <a:pt x="264" y="244"/>
                  <a:pt x="264" y="244"/>
                  <a:pt x="264" y="244"/>
                </a:cubicBezTo>
                <a:cubicBezTo>
                  <a:pt x="264" y="246"/>
                  <a:pt x="265" y="248"/>
                  <a:pt x="266" y="249"/>
                </a:cubicBezTo>
                <a:cubicBezTo>
                  <a:pt x="268" y="251"/>
                  <a:pt x="270" y="252"/>
                  <a:pt x="272" y="252"/>
                </a:cubicBezTo>
                <a:cubicBezTo>
                  <a:pt x="303" y="252"/>
                  <a:pt x="303" y="252"/>
                  <a:pt x="303" y="252"/>
                </a:cubicBezTo>
                <a:cubicBezTo>
                  <a:pt x="308" y="252"/>
                  <a:pt x="311" y="248"/>
                  <a:pt x="311" y="244"/>
                </a:cubicBezTo>
                <a:cubicBezTo>
                  <a:pt x="311" y="239"/>
                  <a:pt x="308" y="236"/>
                  <a:pt x="303" y="236"/>
                </a:cubicBezTo>
                <a:close/>
                <a:moveTo>
                  <a:pt x="272" y="116"/>
                </a:moveTo>
                <a:cubicBezTo>
                  <a:pt x="276" y="116"/>
                  <a:pt x="280" y="112"/>
                  <a:pt x="280" y="108"/>
                </a:cubicBezTo>
                <a:cubicBezTo>
                  <a:pt x="280" y="78"/>
                  <a:pt x="280" y="78"/>
                  <a:pt x="280" y="78"/>
                </a:cubicBezTo>
                <a:cubicBezTo>
                  <a:pt x="280" y="76"/>
                  <a:pt x="279" y="74"/>
                  <a:pt x="277" y="73"/>
                </a:cubicBezTo>
                <a:cubicBezTo>
                  <a:pt x="276" y="71"/>
                  <a:pt x="274" y="70"/>
                  <a:pt x="272" y="70"/>
                </a:cubicBezTo>
                <a:cubicBezTo>
                  <a:pt x="228" y="70"/>
                  <a:pt x="228" y="70"/>
                  <a:pt x="228" y="70"/>
                </a:cubicBezTo>
                <a:cubicBezTo>
                  <a:pt x="226" y="70"/>
                  <a:pt x="224" y="71"/>
                  <a:pt x="223" y="73"/>
                </a:cubicBezTo>
                <a:cubicBezTo>
                  <a:pt x="221" y="74"/>
                  <a:pt x="220" y="76"/>
                  <a:pt x="220" y="78"/>
                </a:cubicBezTo>
                <a:cubicBezTo>
                  <a:pt x="220" y="201"/>
                  <a:pt x="220" y="201"/>
                  <a:pt x="220" y="201"/>
                </a:cubicBezTo>
                <a:cubicBezTo>
                  <a:pt x="208" y="201"/>
                  <a:pt x="208" y="201"/>
                  <a:pt x="208" y="201"/>
                </a:cubicBezTo>
                <a:cubicBezTo>
                  <a:pt x="208" y="8"/>
                  <a:pt x="208" y="8"/>
                  <a:pt x="208" y="8"/>
                </a:cubicBezTo>
                <a:cubicBezTo>
                  <a:pt x="208" y="6"/>
                  <a:pt x="207" y="4"/>
                  <a:pt x="206" y="3"/>
                </a:cubicBezTo>
                <a:cubicBezTo>
                  <a:pt x="205" y="1"/>
                  <a:pt x="202" y="0"/>
                  <a:pt x="200" y="0"/>
                </a:cubicBezTo>
                <a:cubicBezTo>
                  <a:pt x="159" y="0"/>
                  <a:pt x="159" y="0"/>
                  <a:pt x="159" y="0"/>
                </a:cubicBezTo>
                <a:cubicBezTo>
                  <a:pt x="157" y="0"/>
                  <a:pt x="155" y="1"/>
                  <a:pt x="153" y="3"/>
                </a:cubicBezTo>
                <a:cubicBezTo>
                  <a:pt x="152" y="4"/>
                  <a:pt x="151" y="6"/>
                  <a:pt x="151" y="8"/>
                </a:cubicBezTo>
                <a:cubicBezTo>
                  <a:pt x="151" y="102"/>
                  <a:pt x="151" y="102"/>
                  <a:pt x="151" y="102"/>
                </a:cubicBezTo>
                <a:cubicBezTo>
                  <a:pt x="148" y="102"/>
                  <a:pt x="148" y="102"/>
                  <a:pt x="148" y="102"/>
                </a:cubicBezTo>
                <a:cubicBezTo>
                  <a:pt x="146" y="102"/>
                  <a:pt x="143" y="103"/>
                  <a:pt x="142" y="104"/>
                </a:cubicBezTo>
                <a:cubicBezTo>
                  <a:pt x="141" y="106"/>
                  <a:pt x="140" y="108"/>
                  <a:pt x="140" y="110"/>
                </a:cubicBezTo>
                <a:cubicBezTo>
                  <a:pt x="140" y="160"/>
                  <a:pt x="140" y="160"/>
                  <a:pt x="140" y="160"/>
                </a:cubicBezTo>
                <a:cubicBezTo>
                  <a:pt x="127" y="160"/>
                  <a:pt x="127" y="160"/>
                  <a:pt x="127" y="160"/>
                </a:cubicBezTo>
                <a:cubicBezTo>
                  <a:pt x="127" y="38"/>
                  <a:pt x="127" y="38"/>
                  <a:pt x="127" y="38"/>
                </a:cubicBezTo>
                <a:cubicBezTo>
                  <a:pt x="127" y="36"/>
                  <a:pt x="126" y="34"/>
                  <a:pt x="124" y="32"/>
                </a:cubicBezTo>
                <a:cubicBezTo>
                  <a:pt x="103" y="16"/>
                  <a:pt x="103" y="16"/>
                  <a:pt x="103" y="16"/>
                </a:cubicBezTo>
                <a:cubicBezTo>
                  <a:pt x="101" y="13"/>
                  <a:pt x="96" y="13"/>
                  <a:pt x="93" y="16"/>
                </a:cubicBezTo>
                <a:cubicBezTo>
                  <a:pt x="73" y="32"/>
                  <a:pt x="73" y="32"/>
                  <a:pt x="73" y="32"/>
                </a:cubicBezTo>
                <a:cubicBezTo>
                  <a:pt x="71" y="34"/>
                  <a:pt x="70" y="36"/>
                  <a:pt x="70" y="38"/>
                </a:cubicBezTo>
                <a:cubicBezTo>
                  <a:pt x="70" y="122"/>
                  <a:pt x="70" y="122"/>
                  <a:pt x="70" y="122"/>
                </a:cubicBezTo>
                <a:cubicBezTo>
                  <a:pt x="40" y="122"/>
                  <a:pt x="40" y="122"/>
                  <a:pt x="40" y="122"/>
                </a:cubicBezTo>
                <a:cubicBezTo>
                  <a:pt x="38" y="122"/>
                  <a:pt x="36" y="123"/>
                  <a:pt x="34" y="124"/>
                </a:cubicBezTo>
                <a:cubicBezTo>
                  <a:pt x="33" y="126"/>
                  <a:pt x="32" y="128"/>
                  <a:pt x="32" y="130"/>
                </a:cubicBezTo>
                <a:cubicBezTo>
                  <a:pt x="32" y="236"/>
                  <a:pt x="32" y="236"/>
                  <a:pt x="32" y="236"/>
                </a:cubicBezTo>
                <a:cubicBezTo>
                  <a:pt x="8" y="236"/>
                  <a:pt x="8" y="236"/>
                  <a:pt x="8" y="236"/>
                </a:cubicBezTo>
                <a:cubicBezTo>
                  <a:pt x="3" y="236"/>
                  <a:pt x="0" y="239"/>
                  <a:pt x="0" y="244"/>
                </a:cubicBezTo>
                <a:cubicBezTo>
                  <a:pt x="0" y="248"/>
                  <a:pt x="3" y="252"/>
                  <a:pt x="8" y="252"/>
                </a:cubicBezTo>
                <a:cubicBezTo>
                  <a:pt x="40" y="252"/>
                  <a:pt x="40" y="252"/>
                  <a:pt x="40" y="252"/>
                </a:cubicBezTo>
                <a:cubicBezTo>
                  <a:pt x="42" y="252"/>
                  <a:pt x="44" y="251"/>
                  <a:pt x="45" y="249"/>
                </a:cubicBezTo>
                <a:cubicBezTo>
                  <a:pt x="47" y="248"/>
                  <a:pt x="48" y="246"/>
                  <a:pt x="48" y="244"/>
                </a:cubicBezTo>
                <a:cubicBezTo>
                  <a:pt x="48" y="138"/>
                  <a:pt x="48" y="138"/>
                  <a:pt x="48" y="138"/>
                </a:cubicBezTo>
                <a:cubicBezTo>
                  <a:pt x="78" y="138"/>
                  <a:pt x="78" y="138"/>
                  <a:pt x="78" y="138"/>
                </a:cubicBezTo>
                <a:cubicBezTo>
                  <a:pt x="80" y="138"/>
                  <a:pt x="82" y="137"/>
                  <a:pt x="83" y="136"/>
                </a:cubicBezTo>
                <a:cubicBezTo>
                  <a:pt x="85" y="134"/>
                  <a:pt x="86" y="132"/>
                  <a:pt x="86" y="130"/>
                </a:cubicBezTo>
                <a:cubicBezTo>
                  <a:pt x="86" y="42"/>
                  <a:pt x="86" y="42"/>
                  <a:pt x="86" y="42"/>
                </a:cubicBezTo>
                <a:cubicBezTo>
                  <a:pt x="98" y="32"/>
                  <a:pt x="98" y="32"/>
                  <a:pt x="98" y="32"/>
                </a:cubicBezTo>
                <a:cubicBezTo>
                  <a:pt x="111" y="42"/>
                  <a:pt x="111" y="42"/>
                  <a:pt x="111" y="42"/>
                </a:cubicBezTo>
                <a:cubicBezTo>
                  <a:pt x="111" y="168"/>
                  <a:pt x="111" y="168"/>
                  <a:pt x="111" y="168"/>
                </a:cubicBezTo>
                <a:cubicBezTo>
                  <a:pt x="111" y="171"/>
                  <a:pt x="112" y="173"/>
                  <a:pt x="113" y="174"/>
                </a:cubicBezTo>
                <a:cubicBezTo>
                  <a:pt x="115" y="176"/>
                  <a:pt x="117" y="176"/>
                  <a:pt x="119" y="176"/>
                </a:cubicBezTo>
                <a:cubicBezTo>
                  <a:pt x="148" y="176"/>
                  <a:pt x="148" y="176"/>
                  <a:pt x="148" y="176"/>
                </a:cubicBezTo>
                <a:cubicBezTo>
                  <a:pt x="150" y="176"/>
                  <a:pt x="152" y="176"/>
                  <a:pt x="153" y="174"/>
                </a:cubicBezTo>
                <a:cubicBezTo>
                  <a:pt x="155" y="173"/>
                  <a:pt x="156" y="171"/>
                  <a:pt x="156" y="168"/>
                </a:cubicBezTo>
                <a:cubicBezTo>
                  <a:pt x="156" y="118"/>
                  <a:pt x="156" y="118"/>
                  <a:pt x="156" y="118"/>
                </a:cubicBezTo>
                <a:cubicBezTo>
                  <a:pt x="159" y="118"/>
                  <a:pt x="159" y="118"/>
                  <a:pt x="159" y="118"/>
                </a:cubicBezTo>
                <a:cubicBezTo>
                  <a:pt x="161" y="118"/>
                  <a:pt x="163" y="117"/>
                  <a:pt x="165" y="115"/>
                </a:cubicBezTo>
                <a:cubicBezTo>
                  <a:pt x="166" y="114"/>
                  <a:pt x="167" y="112"/>
                  <a:pt x="167" y="110"/>
                </a:cubicBezTo>
                <a:cubicBezTo>
                  <a:pt x="167" y="16"/>
                  <a:pt x="167" y="16"/>
                  <a:pt x="167" y="16"/>
                </a:cubicBezTo>
                <a:cubicBezTo>
                  <a:pt x="192" y="16"/>
                  <a:pt x="192" y="16"/>
                  <a:pt x="192" y="16"/>
                </a:cubicBezTo>
                <a:cubicBezTo>
                  <a:pt x="192" y="209"/>
                  <a:pt x="192" y="209"/>
                  <a:pt x="192" y="209"/>
                </a:cubicBezTo>
                <a:cubicBezTo>
                  <a:pt x="192" y="211"/>
                  <a:pt x="193" y="213"/>
                  <a:pt x="195" y="215"/>
                </a:cubicBezTo>
                <a:cubicBezTo>
                  <a:pt x="196" y="216"/>
                  <a:pt x="198" y="217"/>
                  <a:pt x="200" y="217"/>
                </a:cubicBezTo>
                <a:cubicBezTo>
                  <a:pt x="228" y="217"/>
                  <a:pt x="228" y="217"/>
                  <a:pt x="228" y="217"/>
                </a:cubicBezTo>
                <a:cubicBezTo>
                  <a:pt x="230" y="217"/>
                  <a:pt x="232" y="216"/>
                  <a:pt x="234" y="215"/>
                </a:cubicBezTo>
                <a:cubicBezTo>
                  <a:pt x="235" y="213"/>
                  <a:pt x="236" y="211"/>
                  <a:pt x="236" y="209"/>
                </a:cubicBezTo>
                <a:cubicBezTo>
                  <a:pt x="236" y="86"/>
                  <a:pt x="236" y="86"/>
                  <a:pt x="236" y="86"/>
                </a:cubicBezTo>
                <a:cubicBezTo>
                  <a:pt x="264" y="86"/>
                  <a:pt x="264" y="86"/>
                  <a:pt x="264" y="86"/>
                </a:cubicBezTo>
                <a:cubicBezTo>
                  <a:pt x="264" y="108"/>
                  <a:pt x="264" y="108"/>
                  <a:pt x="264" y="108"/>
                </a:cubicBezTo>
                <a:cubicBezTo>
                  <a:pt x="264" y="112"/>
                  <a:pt x="267" y="116"/>
                  <a:pt x="272" y="116"/>
                </a:cubicBezTo>
                <a:close/>
              </a:path>
            </a:pathLst>
          </a:custGeom>
          <a:solidFill>
            <a:srgbClr val="8F3F7B"/>
          </a:solidFill>
          <a:ln>
            <a:noFill/>
          </a:ln>
          <a:extLst/>
        </p:spPr>
        <p:txBody>
          <a:bodyPr/>
          <a:lstStyle/>
          <a:p>
            <a:pPr algn="ctr"/>
            <a:endParaRPr lang="en-US" b="1" dirty="0">
              <a:solidFill>
                <a:srgbClr val="58585A"/>
              </a:solidFill>
            </a:endParaRPr>
          </a:p>
        </p:txBody>
      </p:sp>
      <p:sp>
        <p:nvSpPr>
          <p:cNvPr id="28" name="Freeform 3"/>
          <p:cNvSpPr>
            <a:spLocks noChangeAspect="1" noEditPoints="1"/>
          </p:cNvSpPr>
          <p:nvPr/>
        </p:nvSpPr>
        <p:spPr bwMode="auto">
          <a:xfrm>
            <a:off x="2068779" y="2809499"/>
            <a:ext cx="659958" cy="65346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solidFill>
            <a:srgbClr val="8F3F7B"/>
          </a:solidFill>
          <a:ln>
            <a:noFill/>
          </a:ln>
          <a:extLst/>
        </p:spPr>
        <p:txBody>
          <a:bodyPr/>
          <a:lstStyle/>
          <a:p>
            <a:pPr algn="ctr"/>
            <a:endParaRPr lang="en-US" b="1" dirty="0">
              <a:solidFill>
                <a:srgbClr val="58585A"/>
              </a:solidFill>
            </a:endParaRPr>
          </a:p>
        </p:txBody>
      </p:sp>
      <p:grpSp>
        <p:nvGrpSpPr>
          <p:cNvPr id="29" name="Group 28"/>
          <p:cNvGrpSpPr/>
          <p:nvPr/>
        </p:nvGrpSpPr>
        <p:grpSpPr>
          <a:xfrm>
            <a:off x="2335480" y="1735701"/>
            <a:ext cx="765034" cy="572819"/>
            <a:chOff x="3384135" y="4887956"/>
            <a:chExt cx="619782" cy="454120"/>
          </a:xfrm>
          <a:solidFill>
            <a:srgbClr val="8F3F7B"/>
          </a:solidFill>
        </p:grpSpPr>
        <p:sp>
          <p:nvSpPr>
            <p:cNvPr id="30" name="Freeform 8"/>
            <p:cNvSpPr>
              <a:spLocks noChangeAspect="1" noEditPoints="1"/>
            </p:cNvSpPr>
            <p:nvPr/>
          </p:nvSpPr>
          <p:spPr bwMode="auto">
            <a:xfrm>
              <a:off x="3384135" y="5048389"/>
              <a:ext cx="619782" cy="293687"/>
            </a:xfrm>
            <a:custGeom>
              <a:avLst/>
              <a:gdLst>
                <a:gd name="T0" fmla="*/ 2147483647 w 502"/>
                <a:gd name="T1" fmla="*/ 2147483647 h 273"/>
                <a:gd name="T2" fmla="*/ 2147483647 w 502"/>
                <a:gd name="T3" fmla="*/ 2147483647 h 273"/>
                <a:gd name="T4" fmla="*/ 2147483647 w 502"/>
                <a:gd name="T5" fmla="*/ 2147483647 h 273"/>
                <a:gd name="T6" fmla="*/ 2147483647 w 502"/>
                <a:gd name="T7" fmla="*/ 0 h 273"/>
                <a:gd name="T8" fmla="*/ 2147483647 w 502"/>
                <a:gd name="T9" fmla="*/ 0 h 273"/>
                <a:gd name="T10" fmla="*/ 2147483647 w 502"/>
                <a:gd name="T11" fmla="*/ 0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2147483647 h 273"/>
                <a:gd name="T24" fmla="*/ 0 w 502"/>
                <a:gd name="T25" fmla="*/ 2147483647 h 273"/>
                <a:gd name="T26" fmla="*/ 2147483647 w 502"/>
                <a:gd name="T27" fmla="*/ 2147483647 h 273"/>
                <a:gd name="T28" fmla="*/ 2147483647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2147483647 w 502"/>
                <a:gd name="T87" fmla="*/ 2147483647 h 273"/>
                <a:gd name="T88" fmla="*/ 2147483647 w 502"/>
                <a:gd name="T89" fmla="*/ 2147483647 h 273"/>
                <a:gd name="T90" fmla="*/ 2147483647 w 502"/>
                <a:gd name="T91" fmla="*/ 2147483647 h 273"/>
                <a:gd name="T92" fmla="*/ 2147483647 w 502"/>
                <a:gd name="T93" fmla="*/ 2147483647 h 273"/>
                <a:gd name="T94" fmla="*/ 2147483647 w 502"/>
                <a:gd name="T95" fmla="*/ 2147483647 h 273"/>
                <a:gd name="T96" fmla="*/ 2147483647 w 502"/>
                <a:gd name="T97" fmla="*/ 2147483647 h 273"/>
                <a:gd name="T98" fmla="*/ 2147483647 w 502"/>
                <a:gd name="T99" fmla="*/ 2147483647 h 273"/>
                <a:gd name="T100" fmla="*/ 2147483647 w 502"/>
                <a:gd name="T101" fmla="*/ 2147483647 h 273"/>
                <a:gd name="T102" fmla="*/ 2147483647 w 502"/>
                <a:gd name="T103" fmla="*/ 2147483647 h 273"/>
                <a:gd name="T104" fmla="*/ 2147483647 w 502"/>
                <a:gd name="T105" fmla="*/ 2147483647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2"/>
                <a:gd name="T160" fmla="*/ 0 h 273"/>
                <a:gd name="T161" fmla="*/ 502 w 502"/>
                <a:gd name="T162" fmla="*/ 273 h 2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2" h="273">
                  <a:moveTo>
                    <a:pt x="500" y="150"/>
                  </a:moveTo>
                  <a:cubicBezTo>
                    <a:pt x="498" y="148"/>
                    <a:pt x="496" y="147"/>
                    <a:pt x="494" y="147"/>
                  </a:cubicBezTo>
                  <a:cubicBezTo>
                    <a:pt x="467" y="147"/>
                    <a:pt x="467" y="147"/>
                    <a:pt x="467" y="147"/>
                  </a:cubicBezTo>
                  <a:cubicBezTo>
                    <a:pt x="467" y="114"/>
                    <a:pt x="467" y="114"/>
                    <a:pt x="467" y="114"/>
                  </a:cubicBezTo>
                  <a:cubicBezTo>
                    <a:pt x="467" y="111"/>
                    <a:pt x="466" y="109"/>
                    <a:pt x="465" y="106"/>
                  </a:cubicBezTo>
                  <a:cubicBezTo>
                    <a:pt x="466" y="104"/>
                    <a:pt x="467" y="101"/>
                    <a:pt x="467" y="98"/>
                  </a:cubicBezTo>
                  <a:cubicBezTo>
                    <a:pt x="467" y="98"/>
                    <a:pt x="467" y="98"/>
                    <a:pt x="467" y="98"/>
                  </a:cubicBezTo>
                  <a:cubicBezTo>
                    <a:pt x="467" y="65"/>
                    <a:pt x="467" y="65"/>
                    <a:pt x="467" y="65"/>
                  </a:cubicBezTo>
                  <a:cubicBezTo>
                    <a:pt x="467" y="56"/>
                    <a:pt x="460" y="49"/>
                    <a:pt x="451" y="49"/>
                  </a:cubicBezTo>
                  <a:cubicBezTo>
                    <a:pt x="418" y="49"/>
                    <a:pt x="418" y="49"/>
                    <a:pt x="418" y="49"/>
                  </a:cubicBezTo>
                  <a:cubicBezTo>
                    <a:pt x="418" y="16"/>
                    <a:pt x="418" y="16"/>
                    <a:pt x="418" y="16"/>
                  </a:cubicBezTo>
                  <a:cubicBezTo>
                    <a:pt x="418" y="7"/>
                    <a:pt x="411" y="0"/>
                    <a:pt x="402" y="0"/>
                  </a:cubicBezTo>
                  <a:cubicBezTo>
                    <a:pt x="369" y="0"/>
                    <a:pt x="369" y="0"/>
                    <a:pt x="369" y="0"/>
                  </a:cubicBezTo>
                  <a:cubicBezTo>
                    <a:pt x="366" y="0"/>
                    <a:pt x="364" y="1"/>
                    <a:pt x="361" y="2"/>
                  </a:cubicBezTo>
                  <a:cubicBezTo>
                    <a:pt x="359" y="1"/>
                    <a:pt x="356" y="0"/>
                    <a:pt x="353" y="0"/>
                  </a:cubicBezTo>
                  <a:cubicBezTo>
                    <a:pt x="320" y="0"/>
                    <a:pt x="320" y="0"/>
                    <a:pt x="320" y="0"/>
                  </a:cubicBezTo>
                  <a:cubicBezTo>
                    <a:pt x="317" y="0"/>
                    <a:pt x="314" y="1"/>
                    <a:pt x="312" y="2"/>
                  </a:cubicBezTo>
                  <a:cubicBezTo>
                    <a:pt x="310" y="1"/>
                    <a:pt x="307" y="0"/>
                    <a:pt x="304" y="0"/>
                  </a:cubicBezTo>
                  <a:cubicBezTo>
                    <a:pt x="271" y="0"/>
                    <a:pt x="271" y="0"/>
                    <a:pt x="271" y="0"/>
                  </a:cubicBezTo>
                  <a:cubicBezTo>
                    <a:pt x="262" y="0"/>
                    <a:pt x="255" y="7"/>
                    <a:pt x="255" y="16"/>
                  </a:cubicBezTo>
                  <a:cubicBezTo>
                    <a:pt x="255" y="49"/>
                    <a:pt x="255" y="49"/>
                    <a:pt x="255" y="49"/>
                  </a:cubicBezTo>
                  <a:cubicBezTo>
                    <a:pt x="222" y="49"/>
                    <a:pt x="222" y="49"/>
                    <a:pt x="222" y="49"/>
                  </a:cubicBezTo>
                  <a:cubicBezTo>
                    <a:pt x="213" y="49"/>
                    <a:pt x="206" y="56"/>
                    <a:pt x="206" y="65"/>
                  </a:cubicBezTo>
                  <a:cubicBezTo>
                    <a:pt x="206" y="98"/>
                    <a:pt x="206" y="98"/>
                    <a:pt x="206" y="98"/>
                  </a:cubicBezTo>
                  <a:cubicBezTo>
                    <a:pt x="206" y="101"/>
                    <a:pt x="207" y="104"/>
                    <a:pt x="208" y="106"/>
                  </a:cubicBezTo>
                  <a:cubicBezTo>
                    <a:pt x="207" y="109"/>
                    <a:pt x="206" y="111"/>
                    <a:pt x="206" y="114"/>
                  </a:cubicBezTo>
                  <a:cubicBezTo>
                    <a:pt x="206" y="147"/>
                    <a:pt x="206" y="147"/>
                    <a:pt x="206" y="147"/>
                  </a:cubicBezTo>
                  <a:cubicBezTo>
                    <a:pt x="166" y="147"/>
                    <a:pt x="166" y="147"/>
                    <a:pt x="166" y="147"/>
                  </a:cubicBezTo>
                  <a:cubicBezTo>
                    <a:pt x="166" y="88"/>
                    <a:pt x="166" y="88"/>
                    <a:pt x="166" y="88"/>
                  </a:cubicBezTo>
                  <a:cubicBezTo>
                    <a:pt x="166" y="79"/>
                    <a:pt x="159" y="72"/>
                    <a:pt x="150" y="72"/>
                  </a:cubicBezTo>
                  <a:cubicBezTo>
                    <a:pt x="92" y="72"/>
                    <a:pt x="92" y="72"/>
                    <a:pt x="92" y="72"/>
                  </a:cubicBezTo>
                  <a:cubicBezTo>
                    <a:pt x="92" y="37"/>
                    <a:pt x="92" y="37"/>
                    <a:pt x="92" y="37"/>
                  </a:cubicBezTo>
                  <a:cubicBezTo>
                    <a:pt x="92" y="29"/>
                    <a:pt x="86" y="23"/>
                    <a:pt x="78" y="23"/>
                  </a:cubicBezTo>
                  <a:cubicBezTo>
                    <a:pt x="37" y="23"/>
                    <a:pt x="37" y="23"/>
                    <a:pt x="37" y="23"/>
                  </a:cubicBezTo>
                  <a:cubicBezTo>
                    <a:pt x="28" y="23"/>
                    <a:pt x="22" y="29"/>
                    <a:pt x="22" y="37"/>
                  </a:cubicBezTo>
                  <a:cubicBezTo>
                    <a:pt x="22" y="147"/>
                    <a:pt x="22" y="147"/>
                    <a:pt x="22" y="147"/>
                  </a:cubicBezTo>
                  <a:cubicBezTo>
                    <a:pt x="8" y="147"/>
                    <a:pt x="8" y="147"/>
                    <a:pt x="8" y="147"/>
                  </a:cubicBezTo>
                  <a:cubicBezTo>
                    <a:pt x="6" y="147"/>
                    <a:pt x="4" y="148"/>
                    <a:pt x="2" y="150"/>
                  </a:cubicBezTo>
                  <a:cubicBezTo>
                    <a:pt x="1" y="151"/>
                    <a:pt x="0" y="153"/>
                    <a:pt x="0" y="155"/>
                  </a:cubicBezTo>
                  <a:cubicBezTo>
                    <a:pt x="0" y="190"/>
                    <a:pt x="13" y="219"/>
                    <a:pt x="29" y="239"/>
                  </a:cubicBezTo>
                  <a:cubicBezTo>
                    <a:pt x="37" y="250"/>
                    <a:pt x="46" y="258"/>
                    <a:pt x="54" y="264"/>
                  </a:cubicBezTo>
                  <a:cubicBezTo>
                    <a:pt x="62" y="269"/>
                    <a:pt x="70" y="273"/>
                    <a:pt x="78" y="273"/>
                  </a:cubicBezTo>
                  <a:cubicBezTo>
                    <a:pt x="94" y="273"/>
                    <a:pt x="277" y="273"/>
                    <a:pt x="369" y="273"/>
                  </a:cubicBezTo>
                  <a:cubicBezTo>
                    <a:pt x="373" y="273"/>
                    <a:pt x="377" y="270"/>
                    <a:pt x="377" y="265"/>
                  </a:cubicBezTo>
                  <a:cubicBezTo>
                    <a:pt x="377" y="261"/>
                    <a:pt x="373" y="257"/>
                    <a:pt x="369" y="257"/>
                  </a:cubicBezTo>
                  <a:cubicBezTo>
                    <a:pt x="277" y="257"/>
                    <a:pt x="94" y="257"/>
                    <a:pt x="78" y="257"/>
                  </a:cubicBezTo>
                  <a:cubicBezTo>
                    <a:pt x="76" y="257"/>
                    <a:pt x="70" y="255"/>
                    <a:pt x="63" y="251"/>
                  </a:cubicBezTo>
                  <a:cubicBezTo>
                    <a:pt x="44" y="237"/>
                    <a:pt x="19" y="204"/>
                    <a:pt x="16" y="163"/>
                  </a:cubicBezTo>
                  <a:cubicBezTo>
                    <a:pt x="296" y="163"/>
                    <a:pt x="296" y="163"/>
                    <a:pt x="296" y="163"/>
                  </a:cubicBezTo>
                  <a:cubicBezTo>
                    <a:pt x="304" y="163"/>
                    <a:pt x="304" y="163"/>
                    <a:pt x="304" y="163"/>
                  </a:cubicBezTo>
                  <a:cubicBezTo>
                    <a:pt x="304" y="163"/>
                    <a:pt x="304" y="163"/>
                    <a:pt x="304" y="163"/>
                  </a:cubicBezTo>
                  <a:cubicBezTo>
                    <a:pt x="486" y="163"/>
                    <a:pt x="486" y="163"/>
                    <a:pt x="486" y="163"/>
                  </a:cubicBezTo>
                  <a:cubicBezTo>
                    <a:pt x="484" y="191"/>
                    <a:pt x="473" y="213"/>
                    <a:pt x="459" y="230"/>
                  </a:cubicBezTo>
                  <a:cubicBezTo>
                    <a:pt x="445" y="248"/>
                    <a:pt x="427" y="258"/>
                    <a:pt x="418" y="257"/>
                  </a:cubicBezTo>
                  <a:cubicBezTo>
                    <a:pt x="415" y="257"/>
                    <a:pt x="407" y="257"/>
                    <a:pt x="397" y="257"/>
                  </a:cubicBezTo>
                  <a:cubicBezTo>
                    <a:pt x="392" y="257"/>
                    <a:pt x="389" y="261"/>
                    <a:pt x="389" y="265"/>
                  </a:cubicBezTo>
                  <a:cubicBezTo>
                    <a:pt x="389" y="270"/>
                    <a:pt x="392" y="273"/>
                    <a:pt x="397" y="273"/>
                  </a:cubicBezTo>
                  <a:cubicBezTo>
                    <a:pt x="407" y="273"/>
                    <a:pt x="415" y="273"/>
                    <a:pt x="418" y="273"/>
                  </a:cubicBezTo>
                  <a:cubicBezTo>
                    <a:pt x="435" y="273"/>
                    <a:pt x="455" y="260"/>
                    <a:pt x="472" y="240"/>
                  </a:cubicBezTo>
                  <a:cubicBezTo>
                    <a:pt x="489" y="220"/>
                    <a:pt x="502" y="190"/>
                    <a:pt x="502" y="155"/>
                  </a:cubicBezTo>
                  <a:cubicBezTo>
                    <a:pt x="502" y="153"/>
                    <a:pt x="501" y="151"/>
                    <a:pt x="500" y="150"/>
                  </a:cubicBezTo>
                  <a:close/>
                  <a:moveTo>
                    <a:pt x="38" y="39"/>
                  </a:moveTo>
                  <a:cubicBezTo>
                    <a:pt x="76" y="39"/>
                    <a:pt x="76" y="39"/>
                    <a:pt x="76" y="39"/>
                  </a:cubicBezTo>
                  <a:cubicBezTo>
                    <a:pt x="76" y="80"/>
                    <a:pt x="76" y="80"/>
                    <a:pt x="76" y="80"/>
                  </a:cubicBezTo>
                  <a:cubicBezTo>
                    <a:pt x="76" y="82"/>
                    <a:pt x="77" y="84"/>
                    <a:pt x="79" y="85"/>
                  </a:cubicBezTo>
                  <a:cubicBezTo>
                    <a:pt x="80" y="87"/>
                    <a:pt x="82" y="88"/>
                    <a:pt x="84" y="88"/>
                  </a:cubicBezTo>
                  <a:cubicBezTo>
                    <a:pt x="150" y="88"/>
                    <a:pt x="150" y="88"/>
                    <a:pt x="150" y="88"/>
                  </a:cubicBezTo>
                  <a:cubicBezTo>
                    <a:pt x="150" y="147"/>
                    <a:pt x="150" y="147"/>
                    <a:pt x="150" y="147"/>
                  </a:cubicBezTo>
                  <a:cubicBezTo>
                    <a:pt x="38" y="147"/>
                    <a:pt x="38" y="147"/>
                    <a:pt x="38" y="147"/>
                  </a:cubicBezTo>
                  <a:lnTo>
                    <a:pt x="38" y="39"/>
                  </a:lnTo>
                  <a:close/>
                  <a:moveTo>
                    <a:pt x="382" y="147"/>
                  </a:moveTo>
                  <a:cubicBezTo>
                    <a:pt x="369" y="147"/>
                    <a:pt x="369" y="147"/>
                    <a:pt x="369" y="147"/>
                  </a:cubicBezTo>
                  <a:cubicBezTo>
                    <a:pt x="369" y="114"/>
                    <a:pt x="369" y="114"/>
                    <a:pt x="369" y="114"/>
                  </a:cubicBezTo>
                  <a:cubicBezTo>
                    <a:pt x="369" y="114"/>
                    <a:pt x="369" y="114"/>
                    <a:pt x="369" y="114"/>
                  </a:cubicBezTo>
                  <a:cubicBezTo>
                    <a:pt x="369" y="114"/>
                    <a:pt x="369" y="114"/>
                    <a:pt x="369" y="114"/>
                  </a:cubicBezTo>
                  <a:cubicBezTo>
                    <a:pt x="402" y="114"/>
                    <a:pt x="402" y="114"/>
                    <a:pt x="402" y="114"/>
                  </a:cubicBezTo>
                  <a:cubicBezTo>
                    <a:pt x="402" y="147"/>
                    <a:pt x="402" y="147"/>
                    <a:pt x="402" y="147"/>
                  </a:cubicBezTo>
                  <a:lnTo>
                    <a:pt x="382" y="147"/>
                  </a:lnTo>
                  <a:close/>
                  <a:moveTo>
                    <a:pt x="304" y="114"/>
                  </a:moveTo>
                  <a:cubicBezTo>
                    <a:pt x="304" y="147"/>
                    <a:pt x="304" y="147"/>
                    <a:pt x="304" y="147"/>
                  </a:cubicBezTo>
                  <a:cubicBezTo>
                    <a:pt x="271" y="147"/>
                    <a:pt x="271" y="147"/>
                    <a:pt x="271" y="147"/>
                  </a:cubicBezTo>
                  <a:cubicBezTo>
                    <a:pt x="271" y="114"/>
                    <a:pt x="271" y="114"/>
                    <a:pt x="271" y="114"/>
                  </a:cubicBezTo>
                  <a:cubicBezTo>
                    <a:pt x="271" y="114"/>
                    <a:pt x="271" y="114"/>
                    <a:pt x="271" y="114"/>
                  </a:cubicBezTo>
                  <a:cubicBezTo>
                    <a:pt x="304" y="114"/>
                    <a:pt x="304" y="114"/>
                    <a:pt x="304" y="114"/>
                  </a:cubicBezTo>
                  <a:close/>
                  <a:moveTo>
                    <a:pt x="320" y="147"/>
                  </a:moveTo>
                  <a:cubicBezTo>
                    <a:pt x="320" y="147"/>
                    <a:pt x="320" y="147"/>
                    <a:pt x="320" y="147"/>
                  </a:cubicBezTo>
                  <a:cubicBezTo>
                    <a:pt x="320" y="114"/>
                    <a:pt x="320" y="114"/>
                    <a:pt x="320" y="114"/>
                  </a:cubicBezTo>
                  <a:cubicBezTo>
                    <a:pt x="320" y="114"/>
                    <a:pt x="320" y="114"/>
                    <a:pt x="320" y="114"/>
                  </a:cubicBezTo>
                  <a:cubicBezTo>
                    <a:pt x="320" y="114"/>
                    <a:pt x="320" y="114"/>
                    <a:pt x="320" y="114"/>
                  </a:cubicBezTo>
                  <a:cubicBezTo>
                    <a:pt x="353" y="114"/>
                    <a:pt x="353" y="114"/>
                    <a:pt x="353" y="114"/>
                  </a:cubicBezTo>
                  <a:cubicBezTo>
                    <a:pt x="353" y="147"/>
                    <a:pt x="353" y="147"/>
                    <a:pt x="353" y="147"/>
                  </a:cubicBezTo>
                  <a:cubicBezTo>
                    <a:pt x="320" y="147"/>
                    <a:pt x="320" y="147"/>
                    <a:pt x="320" y="147"/>
                  </a:cubicBezTo>
                  <a:close/>
                  <a:moveTo>
                    <a:pt x="402" y="78"/>
                  </a:moveTo>
                  <a:cubicBezTo>
                    <a:pt x="402" y="98"/>
                    <a:pt x="402" y="98"/>
                    <a:pt x="402" y="98"/>
                  </a:cubicBezTo>
                  <a:cubicBezTo>
                    <a:pt x="402" y="98"/>
                    <a:pt x="402" y="98"/>
                    <a:pt x="402" y="98"/>
                  </a:cubicBezTo>
                  <a:cubicBezTo>
                    <a:pt x="402" y="98"/>
                    <a:pt x="402" y="98"/>
                    <a:pt x="402" y="98"/>
                  </a:cubicBezTo>
                  <a:cubicBezTo>
                    <a:pt x="369" y="98"/>
                    <a:pt x="369" y="98"/>
                    <a:pt x="369" y="98"/>
                  </a:cubicBezTo>
                  <a:cubicBezTo>
                    <a:pt x="369" y="65"/>
                    <a:pt x="369" y="65"/>
                    <a:pt x="369" y="65"/>
                  </a:cubicBezTo>
                  <a:cubicBezTo>
                    <a:pt x="369" y="65"/>
                    <a:pt x="369" y="65"/>
                    <a:pt x="369" y="65"/>
                  </a:cubicBezTo>
                  <a:cubicBezTo>
                    <a:pt x="369" y="65"/>
                    <a:pt x="369" y="65"/>
                    <a:pt x="369" y="65"/>
                  </a:cubicBezTo>
                  <a:cubicBezTo>
                    <a:pt x="402" y="65"/>
                    <a:pt x="402" y="65"/>
                    <a:pt x="402" y="65"/>
                  </a:cubicBezTo>
                  <a:lnTo>
                    <a:pt x="402" y="78"/>
                  </a:lnTo>
                  <a:close/>
                  <a:moveTo>
                    <a:pt x="353" y="98"/>
                  </a:moveTo>
                  <a:cubicBezTo>
                    <a:pt x="320" y="98"/>
                    <a:pt x="320" y="98"/>
                    <a:pt x="320" y="98"/>
                  </a:cubicBezTo>
                  <a:cubicBezTo>
                    <a:pt x="320" y="65"/>
                    <a:pt x="320" y="65"/>
                    <a:pt x="320" y="65"/>
                  </a:cubicBezTo>
                  <a:cubicBezTo>
                    <a:pt x="320" y="65"/>
                    <a:pt x="320" y="65"/>
                    <a:pt x="320" y="65"/>
                  </a:cubicBezTo>
                  <a:cubicBezTo>
                    <a:pt x="320" y="65"/>
                    <a:pt x="320" y="65"/>
                    <a:pt x="320" y="65"/>
                  </a:cubicBezTo>
                  <a:cubicBezTo>
                    <a:pt x="353" y="65"/>
                    <a:pt x="353" y="65"/>
                    <a:pt x="353" y="65"/>
                  </a:cubicBezTo>
                  <a:lnTo>
                    <a:pt x="353" y="98"/>
                  </a:lnTo>
                  <a:close/>
                  <a:moveTo>
                    <a:pt x="304" y="98"/>
                  </a:moveTo>
                  <a:cubicBezTo>
                    <a:pt x="304" y="98"/>
                    <a:pt x="304" y="98"/>
                    <a:pt x="304" y="98"/>
                  </a:cubicBezTo>
                  <a:cubicBezTo>
                    <a:pt x="271" y="98"/>
                    <a:pt x="271" y="98"/>
                    <a:pt x="271" y="98"/>
                  </a:cubicBezTo>
                  <a:cubicBezTo>
                    <a:pt x="271" y="98"/>
                    <a:pt x="271" y="98"/>
                    <a:pt x="271" y="98"/>
                  </a:cubicBezTo>
                  <a:cubicBezTo>
                    <a:pt x="271" y="98"/>
                    <a:pt x="271" y="98"/>
                    <a:pt x="271" y="98"/>
                  </a:cubicBezTo>
                  <a:cubicBezTo>
                    <a:pt x="271" y="65"/>
                    <a:pt x="271" y="65"/>
                    <a:pt x="271" y="65"/>
                  </a:cubicBezTo>
                  <a:cubicBezTo>
                    <a:pt x="271" y="65"/>
                    <a:pt x="271" y="65"/>
                    <a:pt x="271" y="65"/>
                  </a:cubicBezTo>
                  <a:cubicBezTo>
                    <a:pt x="304" y="65"/>
                    <a:pt x="304" y="65"/>
                    <a:pt x="304" y="65"/>
                  </a:cubicBezTo>
                  <a:lnTo>
                    <a:pt x="304" y="98"/>
                  </a:lnTo>
                  <a:close/>
                  <a:moveTo>
                    <a:pt x="435" y="147"/>
                  </a:moveTo>
                  <a:cubicBezTo>
                    <a:pt x="418" y="147"/>
                    <a:pt x="418" y="147"/>
                    <a:pt x="418" y="147"/>
                  </a:cubicBezTo>
                  <a:cubicBezTo>
                    <a:pt x="418" y="114"/>
                    <a:pt x="418" y="114"/>
                    <a:pt x="418" y="114"/>
                  </a:cubicBezTo>
                  <a:cubicBezTo>
                    <a:pt x="451" y="114"/>
                    <a:pt x="451" y="114"/>
                    <a:pt x="451" y="114"/>
                  </a:cubicBezTo>
                  <a:cubicBezTo>
                    <a:pt x="451" y="147"/>
                    <a:pt x="451" y="147"/>
                    <a:pt x="451" y="147"/>
                  </a:cubicBezTo>
                  <a:lnTo>
                    <a:pt x="435" y="147"/>
                  </a:lnTo>
                  <a:close/>
                  <a:moveTo>
                    <a:pt x="451" y="98"/>
                  </a:moveTo>
                  <a:cubicBezTo>
                    <a:pt x="418" y="98"/>
                    <a:pt x="418" y="98"/>
                    <a:pt x="418" y="98"/>
                  </a:cubicBezTo>
                  <a:cubicBezTo>
                    <a:pt x="418" y="65"/>
                    <a:pt x="418" y="65"/>
                    <a:pt x="418" y="65"/>
                  </a:cubicBezTo>
                  <a:cubicBezTo>
                    <a:pt x="451" y="65"/>
                    <a:pt x="451" y="65"/>
                    <a:pt x="451" y="65"/>
                  </a:cubicBezTo>
                  <a:lnTo>
                    <a:pt x="451" y="98"/>
                  </a:lnTo>
                  <a:close/>
                  <a:moveTo>
                    <a:pt x="402" y="16"/>
                  </a:moveTo>
                  <a:cubicBezTo>
                    <a:pt x="402" y="49"/>
                    <a:pt x="402" y="49"/>
                    <a:pt x="402" y="49"/>
                  </a:cubicBezTo>
                  <a:cubicBezTo>
                    <a:pt x="369" y="49"/>
                    <a:pt x="369" y="49"/>
                    <a:pt x="369" y="49"/>
                  </a:cubicBezTo>
                  <a:cubicBezTo>
                    <a:pt x="369" y="16"/>
                    <a:pt x="369" y="16"/>
                    <a:pt x="369" y="16"/>
                  </a:cubicBezTo>
                  <a:cubicBezTo>
                    <a:pt x="369" y="16"/>
                    <a:pt x="369" y="16"/>
                    <a:pt x="369" y="16"/>
                  </a:cubicBezTo>
                  <a:cubicBezTo>
                    <a:pt x="369" y="16"/>
                    <a:pt x="369" y="16"/>
                    <a:pt x="369" y="16"/>
                  </a:cubicBezTo>
                  <a:lnTo>
                    <a:pt x="402" y="16"/>
                  </a:lnTo>
                  <a:close/>
                  <a:moveTo>
                    <a:pt x="353" y="16"/>
                  </a:moveTo>
                  <a:cubicBezTo>
                    <a:pt x="353" y="49"/>
                    <a:pt x="353" y="49"/>
                    <a:pt x="353" y="49"/>
                  </a:cubicBezTo>
                  <a:cubicBezTo>
                    <a:pt x="320" y="49"/>
                    <a:pt x="320" y="49"/>
                    <a:pt x="320" y="49"/>
                  </a:cubicBezTo>
                  <a:cubicBezTo>
                    <a:pt x="320" y="16"/>
                    <a:pt x="320" y="16"/>
                    <a:pt x="320" y="16"/>
                  </a:cubicBezTo>
                  <a:lnTo>
                    <a:pt x="353" y="16"/>
                  </a:lnTo>
                  <a:close/>
                  <a:moveTo>
                    <a:pt x="271" y="16"/>
                  </a:moveTo>
                  <a:cubicBezTo>
                    <a:pt x="304" y="16"/>
                    <a:pt x="304" y="16"/>
                    <a:pt x="304" y="16"/>
                  </a:cubicBezTo>
                  <a:cubicBezTo>
                    <a:pt x="304" y="49"/>
                    <a:pt x="304" y="49"/>
                    <a:pt x="304" y="49"/>
                  </a:cubicBezTo>
                  <a:cubicBezTo>
                    <a:pt x="271" y="49"/>
                    <a:pt x="271" y="49"/>
                    <a:pt x="271" y="49"/>
                  </a:cubicBezTo>
                  <a:lnTo>
                    <a:pt x="271" y="16"/>
                  </a:lnTo>
                  <a:close/>
                  <a:moveTo>
                    <a:pt x="222" y="65"/>
                  </a:moveTo>
                  <a:cubicBezTo>
                    <a:pt x="222" y="65"/>
                    <a:pt x="222" y="65"/>
                    <a:pt x="222" y="65"/>
                  </a:cubicBezTo>
                  <a:cubicBezTo>
                    <a:pt x="255" y="65"/>
                    <a:pt x="255" y="65"/>
                    <a:pt x="255" y="65"/>
                  </a:cubicBezTo>
                  <a:cubicBezTo>
                    <a:pt x="255" y="82"/>
                    <a:pt x="255" y="82"/>
                    <a:pt x="255" y="82"/>
                  </a:cubicBezTo>
                  <a:cubicBezTo>
                    <a:pt x="255" y="98"/>
                    <a:pt x="255" y="98"/>
                    <a:pt x="255" y="98"/>
                  </a:cubicBezTo>
                  <a:cubicBezTo>
                    <a:pt x="222" y="98"/>
                    <a:pt x="222" y="98"/>
                    <a:pt x="222" y="98"/>
                  </a:cubicBezTo>
                  <a:lnTo>
                    <a:pt x="222" y="65"/>
                  </a:lnTo>
                  <a:close/>
                  <a:moveTo>
                    <a:pt x="222" y="114"/>
                  </a:moveTo>
                  <a:cubicBezTo>
                    <a:pt x="255" y="114"/>
                    <a:pt x="255" y="114"/>
                    <a:pt x="255" y="114"/>
                  </a:cubicBezTo>
                  <a:cubicBezTo>
                    <a:pt x="255" y="131"/>
                    <a:pt x="255" y="131"/>
                    <a:pt x="255" y="131"/>
                  </a:cubicBezTo>
                  <a:cubicBezTo>
                    <a:pt x="255" y="147"/>
                    <a:pt x="255" y="147"/>
                    <a:pt x="255" y="147"/>
                  </a:cubicBezTo>
                  <a:cubicBezTo>
                    <a:pt x="255" y="147"/>
                    <a:pt x="255" y="147"/>
                    <a:pt x="255" y="147"/>
                  </a:cubicBezTo>
                  <a:cubicBezTo>
                    <a:pt x="222" y="147"/>
                    <a:pt x="222" y="147"/>
                    <a:pt x="222" y="147"/>
                  </a:cubicBezTo>
                  <a:lnTo>
                    <a:pt x="22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sp>
          <p:nvSpPr>
            <p:cNvPr id="31" name="Freeform 3"/>
            <p:cNvSpPr>
              <a:spLocks noChangeAspect="1" noEditPoints="1"/>
            </p:cNvSpPr>
            <p:nvPr/>
          </p:nvSpPr>
          <p:spPr bwMode="auto">
            <a:xfrm>
              <a:off x="3688189" y="4887956"/>
              <a:ext cx="189805" cy="142384"/>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grpSp>
      <p:sp>
        <p:nvSpPr>
          <p:cNvPr id="32" name="Rounded Rectangle 80"/>
          <p:cNvSpPr/>
          <p:nvPr/>
        </p:nvSpPr>
        <p:spPr bwMode="auto">
          <a:xfrm>
            <a:off x="1488979" y="1411315"/>
            <a:ext cx="3018918" cy="357187"/>
          </a:xfrm>
          <a:prstGeom prst="roundRect">
            <a:avLst/>
          </a:prstGeom>
          <a:noFill/>
          <a:ln w="12700" cap="flat" cmpd="sng" algn="ctr">
            <a:noFill/>
            <a:prstDash val="solid"/>
            <a:round/>
            <a:headEnd type="none" w="med" len="med"/>
            <a:tailEnd type="none" w="med" len="med"/>
          </a:ln>
          <a:effectLst/>
        </p:spPr>
        <p:txBody>
          <a:bodyPr wrap="none" lIns="0" tIns="0" rIns="0" bIns="0" anchor="ctr" anchorCtr="1"/>
          <a:lstStyle/>
          <a:p>
            <a:pPr algn="ctr">
              <a:defRPr/>
            </a:pPr>
            <a:r>
              <a:rPr lang="en-US" sz="2400" b="1" dirty="0">
                <a:solidFill>
                  <a:srgbClr val="7B0664"/>
                </a:solidFill>
                <a:latin typeface="+mn-lt"/>
                <a:ea typeface="Ericsson Capital" charset="0"/>
                <a:cs typeface="Ericsson Capital" charset="0"/>
              </a:rPr>
              <a:t>Massive MTC</a:t>
            </a:r>
          </a:p>
        </p:txBody>
      </p:sp>
      <p:sp>
        <p:nvSpPr>
          <p:cNvPr id="33" name="Freeform 44"/>
          <p:cNvSpPr>
            <a:spLocks noChangeAspect="1" noEditPoints="1"/>
          </p:cNvSpPr>
          <p:nvPr/>
        </p:nvSpPr>
        <p:spPr bwMode="auto">
          <a:xfrm flipH="1">
            <a:off x="3852253" y="3028035"/>
            <a:ext cx="502525" cy="534263"/>
          </a:xfrm>
          <a:custGeom>
            <a:avLst/>
            <a:gdLst>
              <a:gd name="T0" fmla="*/ 2147483647 w 520"/>
              <a:gd name="T1" fmla="*/ 2147483647 h 549"/>
              <a:gd name="T2" fmla="*/ 2147483647 w 520"/>
              <a:gd name="T3" fmla="*/ 2147483647 h 549"/>
              <a:gd name="T4" fmla="*/ 2147483647 w 520"/>
              <a:gd name="T5" fmla="*/ 2147483647 h 549"/>
              <a:gd name="T6" fmla="*/ 2147483647 w 520"/>
              <a:gd name="T7" fmla="*/ 2147483647 h 549"/>
              <a:gd name="T8" fmla="*/ 2147483647 w 520"/>
              <a:gd name="T9" fmla="*/ 2147483647 h 549"/>
              <a:gd name="T10" fmla="*/ 2147483647 w 520"/>
              <a:gd name="T11" fmla="*/ 2147483647 h 549"/>
              <a:gd name="T12" fmla="*/ 2147483647 w 520"/>
              <a:gd name="T13" fmla="*/ 2147483647 h 549"/>
              <a:gd name="T14" fmla="*/ 2147483647 w 520"/>
              <a:gd name="T15" fmla="*/ 2147483647 h 549"/>
              <a:gd name="T16" fmla="*/ 2147483647 w 520"/>
              <a:gd name="T17" fmla="*/ 2147483647 h 549"/>
              <a:gd name="T18" fmla="*/ 2147483647 w 520"/>
              <a:gd name="T19" fmla="*/ 2147483647 h 549"/>
              <a:gd name="T20" fmla="*/ 2147483647 w 520"/>
              <a:gd name="T21" fmla="*/ 2147483647 h 549"/>
              <a:gd name="T22" fmla="*/ 2147483647 w 520"/>
              <a:gd name="T23" fmla="*/ 2147483647 h 549"/>
              <a:gd name="T24" fmla="*/ 2147483647 w 520"/>
              <a:gd name="T25" fmla="*/ 2147483647 h 549"/>
              <a:gd name="T26" fmla="*/ 2147483647 w 520"/>
              <a:gd name="T27" fmla="*/ 2147483647 h 549"/>
              <a:gd name="T28" fmla="*/ 2147483647 w 520"/>
              <a:gd name="T29" fmla="*/ 2147483647 h 549"/>
              <a:gd name="T30" fmla="*/ 2147483647 w 520"/>
              <a:gd name="T31" fmla="*/ 2147483647 h 549"/>
              <a:gd name="T32" fmla="*/ 2147483647 w 520"/>
              <a:gd name="T33" fmla="*/ 2147483647 h 549"/>
              <a:gd name="T34" fmla="*/ 2147483647 w 520"/>
              <a:gd name="T35" fmla="*/ 2147483647 h 549"/>
              <a:gd name="T36" fmla="*/ 2147483647 w 520"/>
              <a:gd name="T37" fmla="*/ 2147483647 h 549"/>
              <a:gd name="T38" fmla="*/ 2147483647 w 520"/>
              <a:gd name="T39" fmla="*/ 2147483647 h 549"/>
              <a:gd name="T40" fmla="*/ 2147483647 w 520"/>
              <a:gd name="T41" fmla="*/ 2147483647 h 549"/>
              <a:gd name="T42" fmla="*/ 2147483647 w 520"/>
              <a:gd name="T43" fmla="*/ 2147483647 h 549"/>
              <a:gd name="T44" fmla="*/ 2147483647 w 520"/>
              <a:gd name="T45" fmla="*/ 2147483647 h 549"/>
              <a:gd name="T46" fmla="*/ 2147483647 w 520"/>
              <a:gd name="T47" fmla="*/ 2147483647 h 549"/>
              <a:gd name="T48" fmla="*/ 2147483647 w 520"/>
              <a:gd name="T49" fmla="*/ 2147483647 h 549"/>
              <a:gd name="T50" fmla="*/ 2147483647 w 520"/>
              <a:gd name="T51" fmla="*/ 2147483647 h 549"/>
              <a:gd name="T52" fmla="*/ 2147483647 w 520"/>
              <a:gd name="T53" fmla="*/ 2147483647 h 549"/>
              <a:gd name="T54" fmla="*/ 2147483647 w 520"/>
              <a:gd name="T55" fmla="*/ 2147483647 h 549"/>
              <a:gd name="T56" fmla="*/ 2147483647 w 520"/>
              <a:gd name="T57" fmla="*/ 2147483647 h 549"/>
              <a:gd name="T58" fmla="*/ 2147483647 w 520"/>
              <a:gd name="T59" fmla="*/ 2147483647 h 549"/>
              <a:gd name="T60" fmla="*/ 2147483647 w 520"/>
              <a:gd name="T61" fmla="*/ 2147483647 h 549"/>
              <a:gd name="T62" fmla="*/ 2147483647 w 520"/>
              <a:gd name="T63" fmla="*/ 2147483647 h 549"/>
              <a:gd name="T64" fmla="*/ 2147483647 w 520"/>
              <a:gd name="T65" fmla="*/ 2147483647 h 549"/>
              <a:gd name="T66" fmla="*/ 2147483647 w 520"/>
              <a:gd name="T67" fmla="*/ 2147483647 h 549"/>
              <a:gd name="T68" fmla="*/ 2147483647 w 520"/>
              <a:gd name="T69" fmla="*/ 2147483647 h 549"/>
              <a:gd name="T70" fmla="*/ 2147483647 w 520"/>
              <a:gd name="T71" fmla="*/ 2147483647 h 549"/>
              <a:gd name="T72" fmla="*/ 2147483647 w 520"/>
              <a:gd name="T73" fmla="*/ 2147483647 h 549"/>
              <a:gd name="T74" fmla="*/ 2147483647 w 520"/>
              <a:gd name="T75" fmla="*/ 2147483647 h 549"/>
              <a:gd name="T76" fmla="*/ 2147483647 w 520"/>
              <a:gd name="T77" fmla="*/ 2147483647 h 549"/>
              <a:gd name="T78" fmla="*/ 2147483647 w 520"/>
              <a:gd name="T79" fmla="*/ 2147483647 h 549"/>
              <a:gd name="T80" fmla="*/ 2147483647 w 520"/>
              <a:gd name="T81" fmla="*/ 2147483647 h 549"/>
              <a:gd name="T82" fmla="*/ 2147483647 w 520"/>
              <a:gd name="T83" fmla="*/ 2147483647 h 549"/>
              <a:gd name="T84" fmla="*/ 2147483647 w 520"/>
              <a:gd name="T85" fmla="*/ 2147483647 h 549"/>
              <a:gd name="T86" fmla="*/ 2147483647 w 520"/>
              <a:gd name="T87" fmla="*/ 2147483647 h 549"/>
              <a:gd name="T88" fmla="*/ 2147483647 w 520"/>
              <a:gd name="T89" fmla="*/ 2147483647 h 549"/>
              <a:gd name="T90" fmla="*/ 2147483647 w 520"/>
              <a:gd name="T91" fmla="*/ 2147483647 h 549"/>
              <a:gd name="T92" fmla="*/ 2147483647 w 520"/>
              <a:gd name="T93" fmla="*/ 2147483647 h 549"/>
              <a:gd name="T94" fmla="*/ 2147483647 w 520"/>
              <a:gd name="T95" fmla="*/ 2147483647 h 549"/>
              <a:gd name="T96" fmla="*/ 2147483647 w 520"/>
              <a:gd name="T97" fmla="*/ 2147483647 h 549"/>
              <a:gd name="T98" fmla="*/ 2147483647 w 520"/>
              <a:gd name="T99" fmla="*/ 2147483647 h 549"/>
              <a:gd name="T100" fmla="*/ 2147483647 w 520"/>
              <a:gd name="T101" fmla="*/ 2147483647 h 5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20" h="549">
                <a:moveTo>
                  <a:pt x="395" y="493"/>
                </a:moveTo>
                <a:cubicBezTo>
                  <a:pt x="395" y="482"/>
                  <a:pt x="399" y="470"/>
                  <a:pt x="408" y="461"/>
                </a:cubicBezTo>
                <a:cubicBezTo>
                  <a:pt x="410" y="459"/>
                  <a:pt x="410" y="456"/>
                  <a:pt x="408" y="454"/>
                </a:cubicBezTo>
                <a:cubicBezTo>
                  <a:pt x="406" y="453"/>
                  <a:pt x="403" y="453"/>
                  <a:pt x="402" y="454"/>
                </a:cubicBezTo>
                <a:cubicBezTo>
                  <a:pt x="391" y="465"/>
                  <a:pt x="386" y="479"/>
                  <a:pt x="386" y="493"/>
                </a:cubicBezTo>
                <a:cubicBezTo>
                  <a:pt x="386" y="507"/>
                  <a:pt x="391" y="522"/>
                  <a:pt x="402" y="532"/>
                </a:cubicBezTo>
                <a:cubicBezTo>
                  <a:pt x="403" y="533"/>
                  <a:pt x="404" y="534"/>
                  <a:pt x="405" y="534"/>
                </a:cubicBezTo>
                <a:cubicBezTo>
                  <a:pt x="406" y="534"/>
                  <a:pt x="407" y="533"/>
                  <a:pt x="408" y="532"/>
                </a:cubicBezTo>
                <a:cubicBezTo>
                  <a:pt x="410" y="531"/>
                  <a:pt x="410" y="528"/>
                  <a:pt x="408" y="526"/>
                </a:cubicBezTo>
                <a:cubicBezTo>
                  <a:pt x="399" y="517"/>
                  <a:pt x="395" y="505"/>
                  <a:pt x="395" y="493"/>
                </a:cubicBezTo>
                <a:close/>
                <a:moveTo>
                  <a:pt x="373" y="493"/>
                </a:moveTo>
                <a:cubicBezTo>
                  <a:pt x="373" y="476"/>
                  <a:pt x="380" y="459"/>
                  <a:pt x="393" y="445"/>
                </a:cubicBezTo>
                <a:cubicBezTo>
                  <a:pt x="395" y="444"/>
                  <a:pt x="395" y="441"/>
                  <a:pt x="393" y="439"/>
                </a:cubicBezTo>
                <a:cubicBezTo>
                  <a:pt x="391" y="437"/>
                  <a:pt x="388" y="437"/>
                  <a:pt x="386" y="439"/>
                </a:cubicBezTo>
                <a:cubicBezTo>
                  <a:pt x="371" y="454"/>
                  <a:pt x="364" y="474"/>
                  <a:pt x="364" y="493"/>
                </a:cubicBezTo>
                <a:cubicBezTo>
                  <a:pt x="364" y="513"/>
                  <a:pt x="371" y="533"/>
                  <a:pt x="386" y="548"/>
                </a:cubicBezTo>
                <a:cubicBezTo>
                  <a:pt x="387" y="549"/>
                  <a:pt x="388" y="549"/>
                  <a:pt x="390" y="549"/>
                </a:cubicBezTo>
                <a:cubicBezTo>
                  <a:pt x="391" y="549"/>
                  <a:pt x="392" y="549"/>
                  <a:pt x="393" y="548"/>
                </a:cubicBezTo>
                <a:cubicBezTo>
                  <a:pt x="395" y="546"/>
                  <a:pt x="395" y="543"/>
                  <a:pt x="393" y="541"/>
                </a:cubicBezTo>
                <a:cubicBezTo>
                  <a:pt x="380" y="528"/>
                  <a:pt x="373" y="511"/>
                  <a:pt x="373" y="493"/>
                </a:cubicBezTo>
                <a:close/>
                <a:moveTo>
                  <a:pt x="423" y="470"/>
                </a:moveTo>
                <a:cubicBezTo>
                  <a:pt x="422" y="468"/>
                  <a:pt x="419" y="468"/>
                  <a:pt x="417" y="470"/>
                </a:cubicBezTo>
                <a:cubicBezTo>
                  <a:pt x="410" y="476"/>
                  <a:pt x="407" y="485"/>
                  <a:pt x="407" y="493"/>
                </a:cubicBezTo>
                <a:cubicBezTo>
                  <a:pt x="407" y="502"/>
                  <a:pt x="410" y="511"/>
                  <a:pt x="417" y="517"/>
                </a:cubicBezTo>
                <a:cubicBezTo>
                  <a:pt x="418" y="518"/>
                  <a:pt x="419" y="518"/>
                  <a:pt x="420" y="518"/>
                </a:cubicBezTo>
                <a:cubicBezTo>
                  <a:pt x="421" y="518"/>
                  <a:pt x="423" y="518"/>
                  <a:pt x="423" y="517"/>
                </a:cubicBezTo>
                <a:cubicBezTo>
                  <a:pt x="425" y="515"/>
                  <a:pt x="425" y="512"/>
                  <a:pt x="423" y="511"/>
                </a:cubicBezTo>
                <a:cubicBezTo>
                  <a:pt x="419" y="506"/>
                  <a:pt x="416" y="500"/>
                  <a:pt x="416" y="493"/>
                </a:cubicBezTo>
                <a:cubicBezTo>
                  <a:pt x="416" y="487"/>
                  <a:pt x="419" y="481"/>
                  <a:pt x="423" y="476"/>
                </a:cubicBezTo>
                <a:cubicBezTo>
                  <a:pt x="425" y="474"/>
                  <a:pt x="425" y="471"/>
                  <a:pt x="423" y="470"/>
                </a:cubicBezTo>
                <a:close/>
                <a:moveTo>
                  <a:pt x="498" y="439"/>
                </a:moveTo>
                <a:cubicBezTo>
                  <a:pt x="496" y="437"/>
                  <a:pt x="493" y="437"/>
                  <a:pt x="492" y="439"/>
                </a:cubicBezTo>
                <a:cubicBezTo>
                  <a:pt x="490" y="441"/>
                  <a:pt x="490" y="444"/>
                  <a:pt x="492" y="445"/>
                </a:cubicBezTo>
                <a:cubicBezTo>
                  <a:pt x="505" y="459"/>
                  <a:pt x="511" y="476"/>
                  <a:pt x="511" y="493"/>
                </a:cubicBezTo>
                <a:cubicBezTo>
                  <a:pt x="511" y="511"/>
                  <a:pt x="505" y="528"/>
                  <a:pt x="492" y="541"/>
                </a:cubicBezTo>
                <a:cubicBezTo>
                  <a:pt x="490" y="543"/>
                  <a:pt x="490" y="546"/>
                  <a:pt x="492" y="548"/>
                </a:cubicBezTo>
                <a:cubicBezTo>
                  <a:pt x="492" y="549"/>
                  <a:pt x="494" y="549"/>
                  <a:pt x="495" y="549"/>
                </a:cubicBezTo>
                <a:cubicBezTo>
                  <a:pt x="496" y="549"/>
                  <a:pt x="497" y="549"/>
                  <a:pt x="498" y="548"/>
                </a:cubicBezTo>
                <a:cubicBezTo>
                  <a:pt x="513" y="533"/>
                  <a:pt x="520" y="513"/>
                  <a:pt x="520" y="493"/>
                </a:cubicBezTo>
                <a:cubicBezTo>
                  <a:pt x="520" y="474"/>
                  <a:pt x="513" y="454"/>
                  <a:pt x="498" y="439"/>
                </a:cubicBezTo>
                <a:close/>
                <a:moveTo>
                  <a:pt x="483" y="454"/>
                </a:moveTo>
                <a:cubicBezTo>
                  <a:pt x="481" y="453"/>
                  <a:pt x="478" y="453"/>
                  <a:pt x="476" y="454"/>
                </a:cubicBezTo>
                <a:cubicBezTo>
                  <a:pt x="474" y="456"/>
                  <a:pt x="474" y="459"/>
                  <a:pt x="476" y="461"/>
                </a:cubicBezTo>
                <a:cubicBezTo>
                  <a:pt x="485" y="470"/>
                  <a:pt x="490" y="482"/>
                  <a:pt x="490" y="493"/>
                </a:cubicBezTo>
                <a:cubicBezTo>
                  <a:pt x="490" y="505"/>
                  <a:pt x="485" y="517"/>
                  <a:pt x="476" y="526"/>
                </a:cubicBezTo>
                <a:cubicBezTo>
                  <a:pt x="474" y="528"/>
                  <a:pt x="474" y="531"/>
                  <a:pt x="476" y="532"/>
                </a:cubicBezTo>
                <a:cubicBezTo>
                  <a:pt x="477" y="533"/>
                  <a:pt x="478" y="534"/>
                  <a:pt x="479" y="534"/>
                </a:cubicBezTo>
                <a:cubicBezTo>
                  <a:pt x="481" y="534"/>
                  <a:pt x="482" y="533"/>
                  <a:pt x="483" y="532"/>
                </a:cubicBezTo>
                <a:cubicBezTo>
                  <a:pt x="493" y="522"/>
                  <a:pt x="499" y="507"/>
                  <a:pt x="499" y="493"/>
                </a:cubicBezTo>
                <a:cubicBezTo>
                  <a:pt x="499" y="479"/>
                  <a:pt x="493" y="465"/>
                  <a:pt x="483" y="454"/>
                </a:cubicBezTo>
                <a:close/>
                <a:moveTo>
                  <a:pt x="467" y="470"/>
                </a:moveTo>
                <a:cubicBezTo>
                  <a:pt x="466" y="468"/>
                  <a:pt x="463" y="468"/>
                  <a:pt x="461" y="470"/>
                </a:cubicBezTo>
                <a:cubicBezTo>
                  <a:pt x="459" y="471"/>
                  <a:pt x="459" y="474"/>
                  <a:pt x="461" y="476"/>
                </a:cubicBezTo>
                <a:cubicBezTo>
                  <a:pt x="466" y="481"/>
                  <a:pt x="468" y="487"/>
                  <a:pt x="468" y="493"/>
                </a:cubicBezTo>
                <a:cubicBezTo>
                  <a:pt x="468" y="500"/>
                  <a:pt x="466" y="506"/>
                  <a:pt x="461" y="511"/>
                </a:cubicBezTo>
                <a:cubicBezTo>
                  <a:pt x="459" y="512"/>
                  <a:pt x="459" y="515"/>
                  <a:pt x="461" y="517"/>
                </a:cubicBezTo>
                <a:cubicBezTo>
                  <a:pt x="462" y="518"/>
                  <a:pt x="463" y="518"/>
                  <a:pt x="464" y="518"/>
                </a:cubicBezTo>
                <a:cubicBezTo>
                  <a:pt x="465" y="518"/>
                  <a:pt x="466" y="518"/>
                  <a:pt x="467" y="517"/>
                </a:cubicBezTo>
                <a:cubicBezTo>
                  <a:pt x="474" y="511"/>
                  <a:pt x="477" y="502"/>
                  <a:pt x="477" y="493"/>
                </a:cubicBezTo>
                <a:cubicBezTo>
                  <a:pt x="477" y="485"/>
                  <a:pt x="474" y="476"/>
                  <a:pt x="467" y="470"/>
                </a:cubicBezTo>
                <a:close/>
                <a:moveTo>
                  <a:pt x="54" y="100"/>
                </a:moveTo>
                <a:cubicBezTo>
                  <a:pt x="54" y="79"/>
                  <a:pt x="62" y="58"/>
                  <a:pt x="78" y="42"/>
                </a:cubicBezTo>
                <a:cubicBezTo>
                  <a:pt x="81" y="39"/>
                  <a:pt x="81" y="34"/>
                  <a:pt x="78" y="31"/>
                </a:cubicBezTo>
                <a:cubicBezTo>
                  <a:pt x="75" y="27"/>
                  <a:pt x="70" y="27"/>
                  <a:pt x="67" y="31"/>
                </a:cubicBezTo>
                <a:cubicBezTo>
                  <a:pt x="48" y="50"/>
                  <a:pt x="38" y="75"/>
                  <a:pt x="38" y="100"/>
                </a:cubicBezTo>
                <a:cubicBezTo>
                  <a:pt x="38" y="125"/>
                  <a:pt x="48" y="150"/>
                  <a:pt x="67" y="169"/>
                </a:cubicBezTo>
                <a:cubicBezTo>
                  <a:pt x="68" y="171"/>
                  <a:pt x="70" y="172"/>
                  <a:pt x="73" y="172"/>
                </a:cubicBezTo>
                <a:cubicBezTo>
                  <a:pt x="75" y="172"/>
                  <a:pt x="77" y="171"/>
                  <a:pt x="78" y="169"/>
                </a:cubicBezTo>
                <a:cubicBezTo>
                  <a:pt x="81" y="166"/>
                  <a:pt x="81" y="161"/>
                  <a:pt x="78" y="158"/>
                </a:cubicBezTo>
                <a:cubicBezTo>
                  <a:pt x="62" y="142"/>
                  <a:pt x="54" y="121"/>
                  <a:pt x="54" y="100"/>
                </a:cubicBezTo>
                <a:close/>
                <a:moveTo>
                  <a:pt x="105" y="58"/>
                </a:moveTo>
                <a:cubicBezTo>
                  <a:pt x="102" y="55"/>
                  <a:pt x="97" y="55"/>
                  <a:pt x="94" y="58"/>
                </a:cubicBezTo>
                <a:cubicBezTo>
                  <a:pt x="82" y="69"/>
                  <a:pt x="77" y="85"/>
                  <a:pt x="77" y="100"/>
                </a:cubicBezTo>
                <a:cubicBezTo>
                  <a:pt x="77" y="115"/>
                  <a:pt x="82" y="130"/>
                  <a:pt x="94" y="142"/>
                </a:cubicBezTo>
                <a:cubicBezTo>
                  <a:pt x="96" y="144"/>
                  <a:pt x="98" y="144"/>
                  <a:pt x="100" y="144"/>
                </a:cubicBezTo>
                <a:cubicBezTo>
                  <a:pt x="102" y="144"/>
                  <a:pt x="104" y="144"/>
                  <a:pt x="105" y="142"/>
                </a:cubicBezTo>
                <a:cubicBezTo>
                  <a:pt x="109" y="139"/>
                  <a:pt x="109" y="134"/>
                  <a:pt x="105" y="131"/>
                </a:cubicBezTo>
                <a:cubicBezTo>
                  <a:pt x="97" y="122"/>
                  <a:pt x="93" y="111"/>
                  <a:pt x="93" y="100"/>
                </a:cubicBezTo>
                <a:cubicBezTo>
                  <a:pt x="93" y="89"/>
                  <a:pt x="97" y="78"/>
                  <a:pt x="105" y="69"/>
                </a:cubicBezTo>
                <a:cubicBezTo>
                  <a:pt x="109" y="66"/>
                  <a:pt x="109" y="61"/>
                  <a:pt x="105" y="58"/>
                </a:cubicBezTo>
                <a:close/>
                <a:moveTo>
                  <a:pt x="172" y="142"/>
                </a:moveTo>
                <a:cubicBezTo>
                  <a:pt x="174" y="144"/>
                  <a:pt x="176" y="144"/>
                  <a:pt x="178" y="144"/>
                </a:cubicBezTo>
                <a:cubicBezTo>
                  <a:pt x="180" y="144"/>
                  <a:pt x="182" y="144"/>
                  <a:pt x="183" y="142"/>
                </a:cubicBezTo>
                <a:cubicBezTo>
                  <a:pt x="195" y="130"/>
                  <a:pt x="201" y="115"/>
                  <a:pt x="201" y="100"/>
                </a:cubicBezTo>
                <a:cubicBezTo>
                  <a:pt x="201" y="85"/>
                  <a:pt x="195" y="69"/>
                  <a:pt x="183" y="58"/>
                </a:cubicBezTo>
                <a:cubicBezTo>
                  <a:pt x="180" y="55"/>
                  <a:pt x="175" y="55"/>
                  <a:pt x="172" y="58"/>
                </a:cubicBezTo>
                <a:cubicBezTo>
                  <a:pt x="169" y="61"/>
                  <a:pt x="169" y="66"/>
                  <a:pt x="172" y="69"/>
                </a:cubicBezTo>
                <a:cubicBezTo>
                  <a:pt x="181" y="78"/>
                  <a:pt x="185" y="89"/>
                  <a:pt x="185" y="100"/>
                </a:cubicBezTo>
                <a:cubicBezTo>
                  <a:pt x="185" y="111"/>
                  <a:pt x="181" y="122"/>
                  <a:pt x="172" y="131"/>
                </a:cubicBezTo>
                <a:cubicBezTo>
                  <a:pt x="169" y="134"/>
                  <a:pt x="169" y="139"/>
                  <a:pt x="172" y="142"/>
                </a:cubicBezTo>
                <a:close/>
                <a:moveTo>
                  <a:pt x="16" y="100"/>
                </a:moveTo>
                <a:cubicBezTo>
                  <a:pt x="16" y="69"/>
                  <a:pt x="27" y="38"/>
                  <a:pt x="51" y="15"/>
                </a:cubicBezTo>
                <a:cubicBezTo>
                  <a:pt x="54" y="12"/>
                  <a:pt x="54" y="6"/>
                  <a:pt x="51" y="3"/>
                </a:cubicBezTo>
                <a:cubicBezTo>
                  <a:pt x="48" y="0"/>
                  <a:pt x="43" y="0"/>
                  <a:pt x="40" y="3"/>
                </a:cubicBezTo>
                <a:cubicBezTo>
                  <a:pt x="13" y="30"/>
                  <a:pt x="0" y="65"/>
                  <a:pt x="0" y="100"/>
                </a:cubicBezTo>
                <a:cubicBezTo>
                  <a:pt x="0" y="135"/>
                  <a:pt x="13" y="170"/>
                  <a:pt x="40" y="196"/>
                </a:cubicBezTo>
                <a:cubicBezTo>
                  <a:pt x="41" y="198"/>
                  <a:pt x="43" y="199"/>
                  <a:pt x="45" y="199"/>
                </a:cubicBezTo>
                <a:cubicBezTo>
                  <a:pt x="47" y="199"/>
                  <a:pt x="49" y="198"/>
                  <a:pt x="51" y="196"/>
                </a:cubicBezTo>
                <a:cubicBezTo>
                  <a:pt x="54" y="193"/>
                  <a:pt x="54" y="188"/>
                  <a:pt x="51" y="185"/>
                </a:cubicBezTo>
                <a:cubicBezTo>
                  <a:pt x="27" y="162"/>
                  <a:pt x="16" y="131"/>
                  <a:pt x="16" y="100"/>
                </a:cubicBezTo>
                <a:close/>
                <a:moveTo>
                  <a:pt x="227" y="15"/>
                </a:moveTo>
                <a:cubicBezTo>
                  <a:pt x="250" y="39"/>
                  <a:pt x="262" y="69"/>
                  <a:pt x="262" y="100"/>
                </a:cubicBezTo>
                <a:cubicBezTo>
                  <a:pt x="262" y="131"/>
                  <a:pt x="250" y="162"/>
                  <a:pt x="227" y="185"/>
                </a:cubicBezTo>
                <a:cubicBezTo>
                  <a:pt x="223" y="188"/>
                  <a:pt x="223" y="193"/>
                  <a:pt x="227" y="196"/>
                </a:cubicBezTo>
                <a:cubicBezTo>
                  <a:pt x="228" y="198"/>
                  <a:pt x="230" y="199"/>
                  <a:pt x="232" y="199"/>
                </a:cubicBezTo>
                <a:cubicBezTo>
                  <a:pt x="234" y="199"/>
                  <a:pt x="236" y="198"/>
                  <a:pt x="238" y="196"/>
                </a:cubicBezTo>
                <a:cubicBezTo>
                  <a:pt x="264" y="170"/>
                  <a:pt x="278" y="135"/>
                  <a:pt x="278" y="100"/>
                </a:cubicBezTo>
                <a:cubicBezTo>
                  <a:pt x="278" y="65"/>
                  <a:pt x="264" y="30"/>
                  <a:pt x="238" y="3"/>
                </a:cubicBezTo>
                <a:cubicBezTo>
                  <a:pt x="235" y="0"/>
                  <a:pt x="230" y="0"/>
                  <a:pt x="227" y="4"/>
                </a:cubicBezTo>
                <a:cubicBezTo>
                  <a:pt x="223" y="7"/>
                  <a:pt x="223" y="11"/>
                  <a:pt x="227" y="15"/>
                </a:cubicBezTo>
                <a:close/>
                <a:moveTo>
                  <a:pt x="223" y="100"/>
                </a:moveTo>
                <a:cubicBezTo>
                  <a:pt x="223" y="121"/>
                  <a:pt x="215" y="142"/>
                  <a:pt x="199" y="158"/>
                </a:cubicBezTo>
                <a:cubicBezTo>
                  <a:pt x="196" y="161"/>
                  <a:pt x="196" y="166"/>
                  <a:pt x="199" y="169"/>
                </a:cubicBezTo>
                <a:cubicBezTo>
                  <a:pt x="201" y="171"/>
                  <a:pt x="203" y="172"/>
                  <a:pt x="205" y="172"/>
                </a:cubicBezTo>
                <a:cubicBezTo>
                  <a:pt x="207" y="172"/>
                  <a:pt x="209" y="171"/>
                  <a:pt x="211" y="169"/>
                </a:cubicBezTo>
                <a:cubicBezTo>
                  <a:pt x="230" y="150"/>
                  <a:pt x="239" y="125"/>
                  <a:pt x="239" y="100"/>
                </a:cubicBezTo>
                <a:cubicBezTo>
                  <a:pt x="239" y="75"/>
                  <a:pt x="230" y="50"/>
                  <a:pt x="211" y="31"/>
                </a:cubicBezTo>
                <a:cubicBezTo>
                  <a:pt x="207" y="27"/>
                  <a:pt x="202" y="27"/>
                  <a:pt x="199" y="31"/>
                </a:cubicBezTo>
                <a:cubicBezTo>
                  <a:pt x="196" y="34"/>
                  <a:pt x="196" y="39"/>
                  <a:pt x="199" y="42"/>
                </a:cubicBezTo>
                <a:cubicBezTo>
                  <a:pt x="215" y="58"/>
                  <a:pt x="223" y="79"/>
                  <a:pt x="223" y="100"/>
                </a:cubicBezTo>
                <a:close/>
                <a:moveTo>
                  <a:pt x="240" y="332"/>
                </a:moveTo>
                <a:cubicBezTo>
                  <a:pt x="240" y="375"/>
                  <a:pt x="240" y="375"/>
                  <a:pt x="240" y="375"/>
                </a:cubicBezTo>
                <a:cubicBezTo>
                  <a:pt x="240" y="380"/>
                  <a:pt x="244" y="383"/>
                  <a:pt x="248" y="383"/>
                </a:cubicBezTo>
                <a:cubicBezTo>
                  <a:pt x="252" y="383"/>
                  <a:pt x="256" y="380"/>
                  <a:pt x="256" y="375"/>
                </a:cubicBezTo>
                <a:cubicBezTo>
                  <a:pt x="256" y="332"/>
                  <a:pt x="256" y="332"/>
                  <a:pt x="256" y="332"/>
                </a:cubicBezTo>
                <a:cubicBezTo>
                  <a:pt x="256" y="328"/>
                  <a:pt x="252" y="324"/>
                  <a:pt x="248" y="324"/>
                </a:cubicBezTo>
                <a:cubicBezTo>
                  <a:pt x="244" y="324"/>
                  <a:pt x="240" y="328"/>
                  <a:pt x="240" y="332"/>
                </a:cubicBezTo>
                <a:close/>
                <a:moveTo>
                  <a:pt x="216" y="332"/>
                </a:moveTo>
                <a:cubicBezTo>
                  <a:pt x="216" y="375"/>
                  <a:pt x="216" y="375"/>
                  <a:pt x="216" y="375"/>
                </a:cubicBezTo>
                <a:cubicBezTo>
                  <a:pt x="216" y="380"/>
                  <a:pt x="220" y="383"/>
                  <a:pt x="224" y="383"/>
                </a:cubicBezTo>
                <a:cubicBezTo>
                  <a:pt x="228" y="383"/>
                  <a:pt x="232" y="380"/>
                  <a:pt x="232" y="375"/>
                </a:cubicBezTo>
                <a:cubicBezTo>
                  <a:pt x="232" y="332"/>
                  <a:pt x="232" y="332"/>
                  <a:pt x="232" y="332"/>
                </a:cubicBezTo>
                <a:cubicBezTo>
                  <a:pt x="232" y="328"/>
                  <a:pt x="228" y="324"/>
                  <a:pt x="224" y="324"/>
                </a:cubicBezTo>
                <a:cubicBezTo>
                  <a:pt x="220" y="324"/>
                  <a:pt x="216" y="328"/>
                  <a:pt x="216" y="332"/>
                </a:cubicBezTo>
                <a:close/>
                <a:moveTo>
                  <a:pt x="188" y="332"/>
                </a:moveTo>
                <a:cubicBezTo>
                  <a:pt x="188" y="375"/>
                  <a:pt x="188" y="375"/>
                  <a:pt x="188" y="375"/>
                </a:cubicBezTo>
                <a:cubicBezTo>
                  <a:pt x="188" y="380"/>
                  <a:pt x="192" y="383"/>
                  <a:pt x="196" y="383"/>
                </a:cubicBezTo>
                <a:cubicBezTo>
                  <a:pt x="200" y="383"/>
                  <a:pt x="204" y="380"/>
                  <a:pt x="204" y="375"/>
                </a:cubicBezTo>
                <a:cubicBezTo>
                  <a:pt x="204" y="332"/>
                  <a:pt x="204" y="332"/>
                  <a:pt x="204" y="332"/>
                </a:cubicBezTo>
                <a:cubicBezTo>
                  <a:pt x="204" y="328"/>
                  <a:pt x="200" y="324"/>
                  <a:pt x="196" y="324"/>
                </a:cubicBezTo>
                <a:cubicBezTo>
                  <a:pt x="192" y="324"/>
                  <a:pt x="188" y="328"/>
                  <a:pt x="188" y="332"/>
                </a:cubicBezTo>
                <a:close/>
                <a:moveTo>
                  <a:pt x="164" y="332"/>
                </a:moveTo>
                <a:cubicBezTo>
                  <a:pt x="164" y="375"/>
                  <a:pt x="164" y="375"/>
                  <a:pt x="164" y="375"/>
                </a:cubicBezTo>
                <a:cubicBezTo>
                  <a:pt x="164" y="380"/>
                  <a:pt x="168" y="383"/>
                  <a:pt x="172" y="383"/>
                </a:cubicBezTo>
                <a:cubicBezTo>
                  <a:pt x="176" y="383"/>
                  <a:pt x="180" y="380"/>
                  <a:pt x="180" y="375"/>
                </a:cubicBezTo>
                <a:cubicBezTo>
                  <a:pt x="180" y="332"/>
                  <a:pt x="180" y="332"/>
                  <a:pt x="180" y="332"/>
                </a:cubicBezTo>
                <a:cubicBezTo>
                  <a:pt x="180" y="328"/>
                  <a:pt x="176" y="324"/>
                  <a:pt x="172" y="324"/>
                </a:cubicBezTo>
                <a:cubicBezTo>
                  <a:pt x="168" y="324"/>
                  <a:pt x="164" y="328"/>
                  <a:pt x="164" y="332"/>
                </a:cubicBezTo>
                <a:close/>
                <a:moveTo>
                  <a:pt x="372" y="331"/>
                </a:moveTo>
                <a:cubicBezTo>
                  <a:pt x="372" y="327"/>
                  <a:pt x="368" y="323"/>
                  <a:pt x="364" y="323"/>
                </a:cubicBezTo>
                <a:cubicBezTo>
                  <a:pt x="332" y="323"/>
                  <a:pt x="332" y="323"/>
                  <a:pt x="332" y="323"/>
                </a:cubicBezTo>
                <a:cubicBezTo>
                  <a:pt x="328" y="323"/>
                  <a:pt x="324" y="327"/>
                  <a:pt x="324" y="331"/>
                </a:cubicBezTo>
                <a:cubicBezTo>
                  <a:pt x="324" y="375"/>
                  <a:pt x="324" y="375"/>
                  <a:pt x="324" y="375"/>
                </a:cubicBezTo>
                <a:cubicBezTo>
                  <a:pt x="324" y="379"/>
                  <a:pt x="328" y="383"/>
                  <a:pt x="332" y="383"/>
                </a:cubicBezTo>
                <a:cubicBezTo>
                  <a:pt x="364" y="383"/>
                  <a:pt x="364" y="383"/>
                  <a:pt x="364" y="383"/>
                </a:cubicBezTo>
                <a:cubicBezTo>
                  <a:pt x="368" y="383"/>
                  <a:pt x="372" y="379"/>
                  <a:pt x="372" y="375"/>
                </a:cubicBezTo>
                <a:lnTo>
                  <a:pt x="372" y="331"/>
                </a:lnTo>
                <a:close/>
                <a:moveTo>
                  <a:pt x="424" y="331"/>
                </a:moveTo>
                <a:cubicBezTo>
                  <a:pt x="424" y="327"/>
                  <a:pt x="420" y="323"/>
                  <a:pt x="416" y="323"/>
                </a:cubicBezTo>
                <a:cubicBezTo>
                  <a:pt x="384" y="323"/>
                  <a:pt x="384" y="323"/>
                  <a:pt x="384" y="323"/>
                </a:cubicBezTo>
                <a:cubicBezTo>
                  <a:pt x="380" y="323"/>
                  <a:pt x="376" y="327"/>
                  <a:pt x="376" y="331"/>
                </a:cubicBezTo>
                <a:cubicBezTo>
                  <a:pt x="376" y="375"/>
                  <a:pt x="376" y="375"/>
                  <a:pt x="376" y="375"/>
                </a:cubicBezTo>
                <a:cubicBezTo>
                  <a:pt x="376" y="379"/>
                  <a:pt x="380" y="383"/>
                  <a:pt x="384" y="383"/>
                </a:cubicBezTo>
                <a:cubicBezTo>
                  <a:pt x="416" y="383"/>
                  <a:pt x="416" y="383"/>
                  <a:pt x="416" y="383"/>
                </a:cubicBezTo>
                <a:cubicBezTo>
                  <a:pt x="420" y="383"/>
                  <a:pt x="424" y="379"/>
                  <a:pt x="424" y="375"/>
                </a:cubicBezTo>
                <a:lnTo>
                  <a:pt x="424" y="331"/>
                </a:lnTo>
                <a:close/>
                <a:moveTo>
                  <a:pt x="316" y="331"/>
                </a:moveTo>
                <a:cubicBezTo>
                  <a:pt x="316" y="327"/>
                  <a:pt x="312" y="323"/>
                  <a:pt x="308" y="323"/>
                </a:cubicBezTo>
                <a:cubicBezTo>
                  <a:pt x="276" y="323"/>
                  <a:pt x="276" y="323"/>
                  <a:pt x="276" y="323"/>
                </a:cubicBezTo>
                <a:cubicBezTo>
                  <a:pt x="272" y="323"/>
                  <a:pt x="268" y="327"/>
                  <a:pt x="268" y="331"/>
                </a:cubicBezTo>
                <a:cubicBezTo>
                  <a:pt x="268" y="375"/>
                  <a:pt x="268" y="375"/>
                  <a:pt x="268" y="375"/>
                </a:cubicBezTo>
                <a:cubicBezTo>
                  <a:pt x="268" y="379"/>
                  <a:pt x="272" y="383"/>
                  <a:pt x="276" y="383"/>
                </a:cubicBezTo>
                <a:cubicBezTo>
                  <a:pt x="308" y="383"/>
                  <a:pt x="308" y="383"/>
                  <a:pt x="308" y="383"/>
                </a:cubicBezTo>
                <a:cubicBezTo>
                  <a:pt x="312" y="383"/>
                  <a:pt x="316" y="379"/>
                  <a:pt x="316" y="375"/>
                </a:cubicBezTo>
                <a:lnTo>
                  <a:pt x="316" y="331"/>
                </a:lnTo>
                <a:close/>
                <a:moveTo>
                  <a:pt x="436" y="300"/>
                </a:moveTo>
                <a:cubicBezTo>
                  <a:pt x="144" y="300"/>
                  <a:pt x="144" y="300"/>
                  <a:pt x="144" y="300"/>
                </a:cubicBezTo>
                <a:cubicBezTo>
                  <a:pt x="144" y="102"/>
                  <a:pt x="144" y="102"/>
                  <a:pt x="144" y="102"/>
                </a:cubicBezTo>
                <a:cubicBezTo>
                  <a:pt x="144" y="97"/>
                  <a:pt x="140" y="94"/>
                  <a:pt x="136" y="94"/>
                </a:cubicBezTo>
                <a:cubicBezTo>
                  <a:pt x="132" y="94"/>
                  <a:pt x="128" y="97"/>
                  <a:pt x="128" y="102"/>
                </a:cubicBezTo>
                <a:cubicBezTo>
                  <a:pt x="128" y="370"/>
                  <a:pt x="128" y="370"/>
                  <a:pt x="128" y="370"/>
                </a:cubicBezTo>
                <a:cubicBezTo>
                  <a:pt x="128" y="370"/>
                  <a:pt x="128" y="370"/>
                  <a:pt x="128" y="370"/>
                </a:cubicBezTo>
                <a:cubicBezTo>
                  <a:pt x="128" y="392"/>
                  <a:pt x="128" y="392"/>
                  <a:pt x="128" y="392"/>
                </a:cubicBezTo>
                <a:cubicBezTo>
                  <a:pt x="128" y="401"/>
                  <a:pt x="136" y="407"/>
                  <a:pt x="144" y="407"/>
                </a:cubicBezTo>
                <a:cubicBezTo>
                  <a:pt x="436" y="407"/>
                  <a:pt x="436" y="407"/>
                  <a:pt x="436" y="407"/>
                </a:cubicBezTo>
                <a:cubicBezTo>
                  <a:pt x="436" y="494"/>
                  <a:pt x="436" y="494"/>
                  <a:pt x="436" y="494"/>
                </a:cubicBezTo>
                <a:cubicBezTo>
                  <a:pt x="436" y="497"/>
                  <a:pt x="440" y="499"/>
                  <a:pt x="444" y="499"/>
                </a:cubicBezTo>
                <a:cubicBezTo>
                  <a:pt x="448" y="499"/>
                  <a:pt x="452" y="497"/>
                  <a:pt x="452" y="494"/>
                </a:cubicBezTo>
                <a:cubicBezTo>
                  <a:pt x="452" y="369"/>
                  <a:pt x="452" y="369"/>
                  <a:pt x="452" y="369"/>
                </a:cubicBezTo>
                <a:cubicBezTo>
                  <a:pt x="452" y="365"/>
                  <a:pt x="448" y="361"/>
                  <a:pt x="444" y="361"/>
                </a:cubicBezTo>
                <a:cubicBezTo>
                  <a:pt x="440" y="361"/>
                  <a:pt x="436" y="365"/>
                  <a:pt x="436" y="369"/>
                </a:cubicBezTo>
                <a:cubicBezTo>
                  <a:pt x="436" y="391"/>
                  <a:pt x="436" y="391"/>
                  <a:pt x="436" y="391"/>
                </a:cubicBezTo>
                <a:cubicBezTo>
                  <a:pt x="436" y="391"/>
                  <a:pt x="436" y="391"/>
                  <a:pt x="436" y="391"/>
                </a:cubicBezTo>
                <a:cubicBezTo>
                  <a:pt x="436" y="391"/>
                  <a:pt x="436" y="391"/>
                  <a:pt x="436" y="391"/>
                </a:cubicBezTo>
                <a:cubicBezTo>
                  <a:pt x="144" y="391"/>
                  <a:pt x="144" y="391"/>
                  <a:pt x="144" y="391"/>
                </a:cubicBezTo>
                <a:cubicBezTo>
                  <a:pt x="144" y="370"/>
                  <a:pt x="144" y="370"/>
                  <a:pt x="144" y="370"/>
                </a:cubicBezTo>
                <a:cubicBezTo>
                  <a:pt x="144" y="370"/>
                  <a:pt x="144" y="370"/>
                  <a:pt x="144" y="370"/>
                </a:cubicBezTo>
                <a:cubicBezTo>
                  <a:pt x="144" y="315"/>
                  <a:pt x="144" y="315"/>
                  <a:pt x="144" y="315"/>
                </a:cubicBezTo>
                <a:cubicBezTo>
                  <a:pt x="436" y="315"/>
                  <a:pt x="436" y="315"/>
                  <a:pt x="436" y="315"/>
                </a:cubicBezTo>
                <a:cubicBezTo>
                  <a:pt x="436" y="341"/>
                  <a:pt x="436" y="341"/>
                  <a:pt x="436" y="341"/>
                </a:cubicBezTo>
                <a:cubicBezTo>
                  <a:pt x="436" y="346"/>
                  <a:pt x="440" y="349"/>
                  <a:pt x="444" y="349"/>
                </a:cubicBezTo>
                <a:cubicBezTo>
                  <a:pt x="448" y="349"/>
                  <a:pt x="452" y="346"/>
                  <a:pt x="452" y="341"/>
                </a:cubicBezTo>
                <a:cubicBezTo>
                  <a:pt x="452" y="315"/>
                  <a:pt x="452" y="315"/>
                  <a:pt x="452" y="315"/>
                </a:cubicBezTo>
                <a:cubicBezTo>
                  <a:pt x="452" y="307"/>
                  <a:pt x="444" y="300"/>
                  <a:pt x="436" y="300"/>
                </a:cubicBezTo>
                <a:close/>
              </a:path>
            </a:pathLst>
          </a:custGeom>
          <a:solidFill>
            <a:srgbClr val="8F3F7B"/>
          </a:solidFill>
          <a:ln>
            <a:noFill/>
          </a:ln>
          <a:extLst/>
        </p:spPr>
        <p:txBody>
          <a:bodyPr/>
          <a:lstStyle/>
          <a:p>
            <a:pPr algn="ctr">
              <a:spcBef>
                <a:spcPct val="50000"/>
              </a:spcBef>
              <a:defRPr/>
            </a:pPr>
            <a:endParaRPr lang="en-US" b="1" dirty="0">
              <a:solidFill>
                <a:srgbClr val="58585A"/>
              </a:solidFill>
              <a:latin typeface="Arial" pitchFamily="34" charset="0"/>
            </a:endParaRPr>
          </a:p>
        </p:txBody>
      </p:sp>
      <p:sp>
        <p:nvSpPr>
          <p:cNvPr id="34" name="Freeform 3"/>
          <p:cNvSpPr>
            <a:spLocks noChangeAspect="1" noEditPoints="1"/>
          </p:cNvSpPr>
          <p:nvPr/>
        </p:nvSpPr>
        <p:spPr bwMode="auto">
          <a:xfrm>
            <a:off x="4409539" y="2809362"/>
            <a:ext cx="554082" cy="682372"/>
          </a:xfrm>
          <a:custGeom>
            <a:avLst/>
            <a:gdLst>
              <a:gd name="T0" fmla="*/ 189765096 w 363"/>
              <a:gd name="T1" fmla="*/ 84212038 h 447"/>
              <a:gd name="T2" fmla="*/ 218757077 w 363"/>
              <a:gd name="T3" fmla="*/ 471067184 h 447"/>
              <a:gd name="T4" fmla="*/ 150230975 w 363"/>
              <a:gd name="T5" fmla="*/ 278956622 h 447"/>
              <a:gd name="T6" fmla="*/ 123873432 w 363"/>
              <a:gd name="T7" fmla="*/ 500015140 h 447"/>
              <a:gd name="T8" fmla="*/ 63255032 w 363"/>
              <a:gd name="T9" fmla="*/ 400012112 h 447"/>
              <a:gd name="T10" fmla="*/ 52712892 w 363"/>
              <a:gd name="T11" fmla="*/ 368432324 h 447"/>
              <a:gd name="T12" fmla="*/ 44805191 w 363"/>
              <a:gd name="T13" fmla="*/ 334220704 h 447"/>
              <a:gd name="T14" fmla="*/ 42170752 w 363"/>
              <a:gd name="T15" fmla="*/ 300009084 h 447"/>
              <a:gd name="T16" fmla="*/ 42170752 w 363"/>
              <a:gd name="T17" fmla="*/ 278956622 h 447"/>
              <a:gd name="T18" fmla="*/ 44805191 w 363"/>
              <a:gd name="T19" fmla="*/ 239481339 h 447"/>
              <a:gd name="T20" fmla="*/ 50076261 w 363"/>
              <a:gd name="T21" fmla="*/ 205269719 h 447"/>
              <a:gd name="T22" fmla="*/ 57983962 w 363"/>
              <a:gd name="T23" fmla="*/ 171058099 h 447"/>
              <a:gd name="T24" fmla="*/ 110696854 w 363"/>
              <a:gd name="T25" fmla="*/ 73686903 h 447"/>
              <a:gd name="T26" fmla="*/ 142323274 w 363"/>
              <a:gd name="T27" fmla="*/ 36843452 h 447"/>
              <a:gd name="T28" fmla="*/ 144959905 w 363"/>
              <a:gd name="T29" fmla="*/ 15790990 h 447"/>
              <a:gd name="T30" fmla="*/ 94881451 w 363"/>
              <a:gd name="T31" fmla="*/ 26316125 h 447"/>
              <a:gd name="T32" fmla="*/ 76433803 w 363"/>
              <a:gd name="T33" fmla="*/ 47370778 h 447"/>
              <a:gd name="T34" fmla="*/ 23720911 w 363"/>
              <a:gd name="T35" fmla="*/ 139478311 h 447"/>
              <a:gd name="T36" fmla="*/ 18449841 w 363"/>
              <a:gd name="T37" fmla="*/ 157898941 h 447"/>
              <a:gd name="T38" fmla="*/ 7907702 w 363"/>
              <a:gd name="T39" fmla="*/ 194742393 h 447"/>
              <a:gd name="T40" fmla="*/ 2636632 w 363"/>
              <a:gd name="T41" fmla="*/ 234217676 h 447"/>
              <a:gd name="T42" fmla="*/ 0 w 363"/>
              <a:gd name="T43" fmla="*/ 278956622 h 447"/>
              <a:gd name="T44" fmla="*/ 0 w 363"/>
              <a:gd name="T45" fmla="*/ 297377252 h 447"/>
              <a:gd name="T46" fmla="*/ 2636632 w 363"/>
              <a:gd name="T47" fmla="*/ 334220704 h 447"/>
              <a:gd name="T48" fmla="*/ 10542140 w 363"/>
              <a:gd name="T49" fmla="*/ 368432324 h 447"/>
              <a:gd name="T50" fmla="*/ 18449841 w 363"/>
              <a:gd name="T51" fmla="*/ 400012112 h 447"/>
              <a:gd name="T52" fmla="*/ 65889470 w 363"/>
              <a:gd name="T53" fmla="*/ 494751477 h 447"/>
              <a:gd name="T54" fmla="*/ 76433803 w 363"/>
              <a:gd name="T55" fmla="*/ 510542467 h 447"/>
              <a:gd name="T56" fmla="*/ 110696854 w 363"/>
              <a:gd name="T57" fmla="*/ 550017750 h 447"/>
              <a:gd name="T58" fmla="*/ 144959905 w 363"/>
              <a:gd name="T59" fmla="*/ 542122255 h 447"/>
              <a:gd name="T60" fmla="*/ 126510064 w 363"/>
              <a:gd name="T61" fmla="*/ 502646972 h 447"/>
              <a:gd name="T62" fmla="*/ 363716982 w 363"/>
              <a:gd name="T63" fmla="*/ 1155299581 h 447"/>
              <a:gd name="T64" fmla="*/ 556116516 w 363"/>
              <a:gd name="T65" fmla="*/ 955293525 h 447"/>
              <a:gd name="T66" fmla="*/ 598287269 w 363"/>
              <a:gd name="T67" fmla="*/ 210533383 h 447"/>
              <a:gd name="T68" fmla="*/ 521853465 w 363"/>
              <a:gd name="T69" fmla="*/ 200006056 h 447"/>
              <a:gd name="T70" fmla="*/ 545574376 w 363"/>
              <a:gd name="T71" fmla="*/ 544754087 h 447"/>
              <a:gd name="T72" fmla="*/ 405885541 w 363"/>
              <a:gd name="T73" fmla="*/ 773708099 h 447"/>
              <a:gd name="T74" fmla="*/ 421698751 w 363"/>
              <a:gd name="T75" fmla="*/ 728969153 h 447"/>
              <a:gd name="T76" fmla="*/ 419064312 w 363"/>
              <a:gd name="T77" fmla="*/ 360536829 h 447"/>
              <a:gd name="T78" fmla="*/ 260925636 w 363"/>
              <a:gd name="T79" fmla="*/ 173689931 h 447"/>
              <a:gd name="T80" fmla="*/ 303096388 w 363"/>
              <a:gd name="T81" fmla="*/ 173689931 h 447"/>
              <a:gd name="T82" fmla="*/ 882933816 w 363"/>
              <a:gd name="T83" fmla="*/ 92107533 h 447"/>
              <a:gd name="T84" fmla="*/ 814407714 w 363"/>
              <a:gd name="T85" fmla="*/ 7895495 h 447"/>
              <a:gd name="T86" fmla="*/ 677355510 w 363"/>
              <a:gd name="T87" fmla="*/ 155267110 h 447"/>
              <a:gd name="T88" fmla="*/ 698439790 w 363"/>
              <a:gd name="T89" fmla="*/ 381591482 h 447"/>
              <a:gd name="T90" fmla="*/ 735339472 w 363"/>
              <a:gd name="T91" fmla="*/ 84212038 h 447"/>
              <a:gd name="T92" fmla="*/ 735339472 w 363"/>
              <a:gd name="T93" fmla="*/ 442119227 h 447"/>
              <a:gd name="T94" fmla="*/ 846034133 w 363"/>
              <a:gd name="T95" fmla="*/ 278956622 h 447"/>
              <a:gd name="T96" fmla="*/ 890841517 w 363"/>
              <a:gd name="T97" fmla="*/ 155267110 h 447"/>
              <a:gd name="T98" fmla="*/ 814407714 w 363"/>
              <a:gd name="T99" fmla="*/ 550017750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8F3F7B"/>
          </a:solidFill>
          <a:ln w="9525">
            <a:noFill/>
            <a:round/>
            <a:headEnd/>
            <a:tailEnd/>
          </a:ln>
          <a:extLst/>
        </p:spPr>
        <p:txBody>
          <a:bodyPr/>
          <a:lstStyle/>
          <a:p>
            <a:pPr algn="ctr"/>
            <a:endParaRPr lang="en-US" b="1" dirty="0">
              <a:solidFill>
                <a:srgbClr val="58585A"/>
              </a:solidFill>
            </a:endParaRPr>
          </a:p>
        </p:txBody>
      </p:sp>
      <p:sp>
        <p:nvSpPr>
          <p:cNvPr id="35" name="Rectangle 34"/>
          <p:cNvSpPr/>
          <p:nvPr/>
        </p:nvSpPr>
        <p:spPr>
          <a:xfrm>
            <a:off x="3101289" y="3594288"/>
            <a:ext cx="1859805" cy="261610"/>
          </a:xfrm>
          <a:prstGeom prst="rect">
            <a:avLst/>
          </a:prstGeom>
        </p:spPr>
        <p:txBody>
          <a:bodyPr wrap="none">
            <a:spAutoFit/>
          </a:bodyPr>
          <a:lstStyle/>
          <a:p>
            <a:pPr algn="ctr"/>
            <a:r>
              <a:rPr lang="en-US" sz="1100" b="1" dirty="0">
                <a:solidFill>
                  <a:srgbClr val="58585A">
                    <a:lumMod val="75000"/>
                  </a:srgbClr>
                </a:solidFill>
                <a:ea typeface="MS PGothic" pitchFamily="34" charset="-128"/>
              </a:rPr>
              <a:t>CAPILLARY NETWORKS</a:t>
            </a:r>
            <a:endParaRPr lang="en-US" sz="1100" b="1" dirty="0">
              <a:solidFill>
                <a:srgbClr val="58585A">
                  <a:lumMod val="75000"/>
                </a:srgbClr>
              </a:solidFill>
            </a:endParaRPr>
          </a:p>
        </p:txBody>
      </p:sp>
      <p:sp>
        <p:nvSpPr>
          <p:cNvPr id="36" name="Rectangle 35"/>
          <p:cNvSpPr/>
          <p:nvPr/>
        </p:nvSpPr>
        <p:spPr>
          <a:xfrm>
            <a:off x="1736039" y="2350113"/>
            <a:ext cx="3520440" cy="246221"/>
          </a:xfrm>
          <a:prstGeom prst="rect">
            <a:avLst/>
          </a:prstGeom>
        </p:spPr>
        <p:txBody>
          <a:bodyPr wrap="square">
            <a:spAutoFit/>
          </a:bodyPr>
          <a:lstStyle/>
          <a:p>
            <a:pPr algn="ctr"/>
            <a:r>
              <a:rPr lang="en-US" sz="1000" b="1" dirty="0">
                <a:solidFill>
                  <a:srgbClr val="58585A">
                    <a:lumMod val="75000"/>
                  </a:srgbClr>
                </a:solidFill>
              </a:rPr>
              <a:t>LOGISTICS, TRACKING AND FLEET MANAGEMENT</a:t>
            </a:r>
          </a:p>
        </p:txBody>
      </p:sp>
      <p:sp>
        <p:nvSpPr>
          <p:cNvPr id="37" name="Rectangle 36"/>
          <p:cNvSpPr/>
          <p:nvPr/>
        </p:nvSpPr>
        <p:spPr>
          <a:xfrm>
            <a:off x="1598074" y="3506508"/>
            <a:ext cx="1321605" cy="430887"/>
          </a:xfrm>
          <a:prstGeom prst="rect">
            <a:avLst/>
          </a:prstGeom>
        </p:spPr>
        <p:txBody>
          <a:bodyPr wrap="square">
            <a:spAutoFit/>
          </a:bodyPr>
          <a:lstStyle/>
          <a:p>
            <a:pPr algn="ctr"/>
            <a:r>
              <a:rPr lang="en-US" sz="1100" b="1" dirty="0">
                <a:solidFill>
                  <a:srgbClr val="58585A">
                    <a:lumMod val="75000"/>
                  </a:srgbClr>
                </a:solidFill>
              </a:rPr>
              <a:t>SMART</a:t>
            </a:r>
            <a:br>
              <a:rPr lang="en-US" sz="1100" b="1" dirty="0">
                <a:solidFill>
                  <a:srgbClr val="58585A">
                    <a:lumMod val="75000"/>
                  </a:srgbClr>
                </a:solidFill>
              </a:rPr>
            </a:br>
            <a:r>
              <a:rPr lang="en-US" sz="1100" b="1" dirty="0">
                <a:solidFill>
                  <a:srgbClr val="58585A">
                    <a:lumMod val="75000"/>
                  </a:srgbClr>
                </a:solidFill>
              </a:rPr>
              <a:t>AGRICULTURE</a:t>
            </a:r>
          </a:p>
        </p:txBody>
      </p:sp>
      <p:sp>
        <p:nvSpPr>
          <p:cNvPr id="38" name="Rectangle 37"/>
          <p:cNvSpPr/>
          <p:nvPr/>
        </p:nvSpPr>
        <p:spPr>
          <a:xfrm>
            <a:off x="395346" y="2362321"/>
            <a:ext cx="1495633" cy="246221"/>
          </a:xfrm>
          <a:prstGeom prst="rect">
            <a:avLst/>
          </a:prstGeom>
        </p:spPr>
        <p:txBody>
          <a:bodyPr wrap="square">
            <a:spAutoFit/>
          </a:bodyPr>
          <a:lstStyle/>
          <a:p>
            <a:pPr algn="ctr"/>
            <a:r>
              <a:rPr lang="en-US" sz="1000" b="1" dirty="0">
                <a:solidFill>
                  <a:srgbClr val="58585A">
                    <a:lumMod val="75000"/>
                  </a:srgbClr>
                </a:solidFill>
              </a:rPr>
              <a:t>SMART BUILDING</a:t>
            </a:r>
          </a:p>
        </p:txBody>
      </p:sp>
      <p:grpSp>
        <p:nvGrpSpPr>
          <p:cNvPr id="39" name="Grupp 8"/>
          <p:cNvGrpSpPr/>
          <p:nvPr/>
        </p:nvGrpSpPr>
        <p:grpSpPr>
          <a:xfrm>
            <a:off x="2998438" y="3015799"/>
            <a:ext cx="838264" cy="534651"/>
            <a:chOff x="3495059" y="3232465"/>
            <a:chExt cx="838264" cy="534651"/>
          </a:xfrm>
          <a:solidFill>
            <a:srgbClr val="8F3F7B"/>
          </a:solidFill>
        </p:grpSpPr>
        <p:grpSp>
          <p:nvGrpSpPr>
            <p:cNvPr id="40" name="Grupp 4"/>
            <p:cNvGrpSpPr/>
            <p:nvPr/>
          </p:nvGrpSpPr>
          <p:grpSpPr>
            <a:xfrm>
              <a:off x="3495059" y="3232465"/>
              <a:ext cx="838264" cy="534651"/>
              <a:chOff x="3495059" y="3221643"/>
              <a:chExt cx="838264" cy="534651"/>
            </a:xfrm>
            <a:grpFill/>
          </p:grpSpPr>
          <p:sp>
            <p:nvSpPr>
              <p:cNvPr id="43" name="Freeform 3" descr="bpct-blend4"/>
              <p:cNvSpPr>
                <a:spLocks noChangeAspect="1"/>
              </p:cNvSpPr>
              <p:nvPr/>
            </p:nvSpPr>
            <p:spPr bwMode="auto">
              <a:xfrm>
                <a:off x="3495059" y="3221643"/>
                <a:ext cx="838264" cy="534651"/>
              </a:xfrm>
              <a:custGeom>
                <a:avLst/>
                <a:gdLst>
                  <a:gd name="T0" fmla="*/ 2147483647 w 522"/>
                  <a:gd name="T1" fmla="*/ 2147483647 h 399"/>
                  <a:gd name="T2" fmla="*/ 2147483647 w 522"/>
                  <a:gd name="T3" fmla="*/ 2147483647 h 399"/>
                  <a:gd name="T4" fmla="*/ 0 w 522"/>
                  <a:gd name="T5" fmla="*/ 2147483647 h 399"/>
                  <a:gd name="T6" fmla="*/ 2147483647 w 522"/>
                  <a:gd name="T7" fmla="*/ 2147483647 h 399"/>
                  <a:gd name="T8" fmla="*/ 2147483647 w 522"/>
                  <a:gd name="T9" fmla="*/ 2147483647 h 399"/>
                  <a:gd name="T10" fmla="*/ 2147483647 w 522"/>
                  <a:gd name="T11" fmla="*/ 0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5"/>
                    </a:moveTo>
                    <a:cubicBezTo>
                      <a:pt x="105" y="356"/>
                      <a:pt x="98" y="357"/>
                      <a:pt x="91" y="357"/>
                    </a:cubicBezTo>
                    <a:cubicBezTo>
                      <a:pt x="91" y="357"/>
                      <a:pt x="91" y="357"/>
                      <a:pt x="91" y="357"/>
                    </a:cubicBezTo>
                    <a:cubicBezTo>
                      <a:pt x="53" y="357"/>
                      <a:pt x="23" y="327"/>
                      <a:pt x="23" y="289"/>
                    </a:cubicBezTo>
                    <a:cubicBezTo>
                      <a:pt x="23" y="289"/>
                      <a:pt x="23" y="289"/>
                      <a:pt x="23" y="289"/>
                    </a:cubicBezTo>
                    <a:cubicBezTo>
                      <a:pt x="23" y="282"/>
                      <a:pt x="24" y="275"/>
                      <a:pt x="26" y="269"/>
                    </a:cubicBezTo>
                    <a:cubicBezTo>
                      <a:pt x="26" y="269"/>
                      <a:pt x="26" y="269"/>
                      <a:pt x="26" y="269"/>
                    </a:cubicBezTo>
                    <a:cubicBezTo>
                      <a:pt x="10" y="252"/>
                      <a:pt x="0" y="230"/>
                      <a:pt x="0" y="206"/>
                    </a:cubicBezTo>
                    <a:cubicBezTo>
                      <a:pt x="0" y="206"/>
                      <a:pt x="0" y="206"/>
                      <a:pt x="0" y="206"/>
                    </a:cubicBezTo>
                    <a:cubicBezTo>
                      <a:pt x="0" y="159"/>
                      <a:pt x="35" y="121"/>
                      <a:pt x="81" y="115"/>
                    </a:cubicBezTo>
                    <a:cubicBezTo>
                      <a:pt x="81" y="115"/>
                      <a:pt x="81" y="115"/>
                      <a:pt x="81" y="115"/>
                    </a:cubicBezTo>
                    <a:cubicBezTo>
                      <a:pt x="81" y="114"/>
                      <a:pt x="80" y="113"/>
                      <a:pt x="80" y="111"/>
                    </a:cubicBezTo>
                    <a:cubicBezTo>
                      <a:pt x="80" y="111"/>
                      <a:pt x="80" y="111"/>
                      <a:pt x="80" y="111"/>
                    </a:cubicBezTo>
                    <a:cubicBezTo>
                      <a:pt x="80" y="73"/>
                      <a:pt x="112" y="42"/>
                      <a:pt x="150" y="42"/>
                    </a:cubicBezTo>
                    <a:cubicBezTo>
                      <a:pt x="150" y="42"/>
                      <a:pt x="150" y="42"/>
                      <a:pt x="150" y="42"/>
                    </a:cubicBezTo>
                    <a:cubicBezTo>
                      <a:pt x="164" y="42"/>
                      <a:pt x="177" y="46"/>
                      <a:pt x="188" y="54"/>
                    </a:cubicBezTo>
                    <a:cubicBezTo>
                      <a:pt x="188" y="54"/>
                      <a:pt x="188" y="54"/>
                      <a:pt x="188" y="54"/>
                    </a:cubicBezTo>
                    <a:cubicBezTo>
                      <a:pt x="206" y="22"/>
                      <a:pt x="240" y="0"/>
                      <a:pt x="279" y="0"/>
                    </a:cubicBezTo>
                    <a:cubicBezTo>
                      <a:pt x="279" y="0"/>
                      <a:pt x="279" y="0"/>
                      <a:pt x="279" y="0"/>
                    </a:cubicBezTo>
                    <a:cubicBezTo>
                      <a:pt x="325" y="0"/>
                      <a:pt x="363" y="30"/>
                      <a:pt x="376" y="72"/>
                    </a:cubicBezTo>
                    <a:cubicBezTo>
                      <a:pt x="376" y="72"/>
                      <a:pt x="376" y="72"/>
                      <a:pt x="376" y="72"/>
                    </a:cubicBezTo>
                    <a:cubicBezTo>
                      <a:pt x="379" y="72"/>
                      <a:pt x="381" y="72"/>
                      <a:pt x="383" y="72"/>
                    </a:cubicBezTo>
                    <a:cubicBezTo>
                      <a:pt x="383" y="72"/>
                      <a:pt x="383" y="72"/>
                      <a:pt x="383" y="72"/>
                    </a:cubicBezTo>
                    <a:cubicBezTo>
                      <a:pt x="400" y="72"/>
                      <a:pt x="416" y="77"/>
                      <a:pt x="430" y="85"/>
                    </a:cubicBezTo>
                    <a:cubicBezTo>
                      <a:pt x="430" y="85"/>
                      <a:pt x="430" y="85"/>
                      <a:pt x="430" y="85"/>
                    </a:cubicBezTo>
                    <a:cubicBezTo>
                      <a:pt x="430" y="85"/>
                      <a:pt x="430" y="85"/>
                      <a:pt x="430" y="85"/>
                    </a:cubicBezTo>
                    <a:cubicBezTo>
                      <a:pt x="433" y="88"/>
                      <a:pt x="435" y="92"/>
                      <a:pt x="432" y="96"/>
                    </a:cubicBezTo>
                    <a:cubicBezTo>
                      <a:pt x="432" y="96"/>
                      <a:pt x="432" y="96"/>
                      <a:pt x="432" y="96"/>
                    </a:cubicBezTo>
                    <a:cubicBezTo>
                      <a:pt x="430" y="100"/>
                      <a:pt x="425" y="101"/>
                      <a:pt x="421" y="99"/>
                    </a:cubicBezTo>
                    <a:cubicBezTo>
                      <a:pt x="421" y="99"/>
                      <a:pt x="421" y="99"/>
                      <a:pt x="421" y="99"/>
                    </a:cubicBezTo>
                    <a:cubicBezTo>
                      <a:pt x="410" y="92"/>
                      <a:pt x="397" y="88"/>
                      <a:pt x="383" y="88"/>
                    </a:cubicBezTo>
                    <a:cubicBezTo>
                      <a:pt x="383" y="88"/>
                      <a:pt x="383" y="88"/>
                      <a:pt x="383" y="88"/>
                    </a:cubicBezTo>
                    <a:cubicBezTo>
                      <a:pt x="380" y="88"/>
                      <a:pt x="376" y="88"/>
                      <a:pt x="372" y="89"/>
                    </a:cubicBezTo>
                    <a:cubicBezTo>
                      <a:pt x="372" y="89"/>
                      <a:pt x="372" y="89"/>
                      <a:pt x="372" y="89"/>
                    </a:cubicBezTo>
                    <a:cubicBezTo>
                      <a:pt x="368" y="89"/>
                      <a:pt x="364" y="87"/>
                      <a:pt x="363" y="83"/>
                    </a:cubicBezTo>
                    <a:cubicBezTo>
                      <a:pt x="363" y="83"/>
                      <a:pt x="363" y="83"/>
                      <a:pt x="363" y="83"/>
                    </a:cubicBezTo>
                    <a:cubicBezTo>
                      <a:pt x="354" y="45"/>
                      <a:pt x="319" y="16"/>
                      <a:pt x="279" y="16"/>
                    </a:cubicBezTo>
                    <a:cubicBezTo>
                      <a:pt x="279" y="16"/>
                      <a:pt x="279" y="16"/>
                      <a:pt x="279" y="16"/>
                    </a:cubicBezTo>
                    <a:cubicBezTo>
                      <a:pt x="243" y="16"/>
                      <a:pt x="212" y="38"/>
                      <a:pt x="199" y="69"/>
                    </a:cubicBezTo>
                    <a:cubicBezTo>
                      <a:pt x="199" y="69"/>
                      <a:pt x="199" y="69"/>
                      <a:pt x="199" y="69"/>
                    </a:cubicBezTo>
                    <a:cubicBezTo>
                      <a:pt x="198" y="71"/>
                      <a:pt x="195" y="73"/>
                      <a:pt x="193" y="74"/>
                    </a:cubicBezTo>
                    <a:cubicBezTo>
                      <a:pt x="193" y="74"/>
                      <a:pt x="193" y="74"/>
                      <a:pt x="193" y="74"/>
                    </a:cubicBezTo>
                    <a:cubicBezTo>
                      <a:pt x="190" y="74"/>
                      <a:pt x="188" y="74"/>
                      <a:pt x="186" y="72"/>
                    </a:cubicBezTo>
                    <a:cubicBezTo>
                      <a:pt x="186" y="72"/>
                      <a:pt x="186" y="72"/>
                      <a:pt x="186" y="72"/>
                    </a:cubicBezTo>
                    <a:cubicBezTo>
                      <a:pt x="176" y="63"/>
                      <a:pt x="164" y="58"/>
                      <a:pt x="150" y="58"/>
                    </a:cubicBezTo>
                    <a:cubicBezTo>
                      <a:pt x="150" y="58"/>
                      <a:pt x="150" y="58"/>
                      <a:pt x="150" y="58"/>
                    </a:cubicBezTo>
                    <a:cubicBezTo>
                      <a:pt x="120" y="58"/>
                      <a:pt x="97" y="82"/>
                      <a:pt x="96" y="111"/>
                    </a:cubicBezTo>
                    <a:cubicBezTo>
                      <a:pt x="96" y="111"/>
                      <a:pt x="96" y="111"/>
                      <a:pt x="96" y="111"/>
                    </a:cubicBezTo>
                    <a:cubicBezTo>
                      <a:pt x="96" y="115"/>
                      <a:pt x="97" y="118"/>
                      <a:pt x="97" y="121"/>
                    </a:cubicBezTo>
                    <a:cubicBezTo>
                      <a:pt x="97" y="121"/>
                      <a:pt x="97" y="121"/>
                      <a:pt x="97" y="121"/>
                    </a:cubicBezTo>
                    <a:cubicBezTo>
                      <a:pt x="98" y="124"/>
                      <a:pt x="97" y="126"/>
                      <a:pt x="96" y="128"/>
                    </a:cubicBezTo>
                    <a:cubicBezTo>
                      <a:pt x="96" y="128"/>
                      <a:pt x="96" y="128"/>
                      <a:pt x="96" y="128"/>
                    </a:cubicBezTo>
                    <a:cubicBezTo>
                      <a:pt x="94" y="130"/>
                      <a:pt x="92" y="131"/>
                      <a:pt x="90" y="131"/>
                    </a:cubicBezTo>
                    <a:cubicBezTo>
                      <a:pt x="90" y="131"/>
                      <a:pt x="90" y="131"/>
                      <a:pt x="90" y="131"/>
                    </a:cubicBezTo>
                    <a:cubicBezTo>
                      <a:pt x="49" y="132"/>
                      <a:pt x="16" y="165"/>
                      <a:pt x="16" y="206"/>
                    </a:cubicBezTo>
                    <a:cubicBezTo>
                      <a:pt x="16" y="206"/>
                      <a:pt x="16" y="206"/>
                      <a:pt x="16" y="206"/>
                    </a:cubicBezTo>
                    <a:cubicBezTo>
                      <a:pt x="16" y="227"/>
                      <a:pt x="25" y="247"/>
                      <a:pt x="40" y="261"/>
                    </a:cubicBezTo>
                    <a:cubicBezTo>
                      <a:pt x="40" y="261"/>
                      <a:pt x="40" y="261"/>
                      <a:pt x="40" y="261"/>
                    </a:cubicBezTo>
                    <a:cubicBezTo>
                      <a:pt x="43" y="263"/>
                      <a:pt x="44" y="266"/>
                      <a:pt x="42" y="270"/>
                    </a:cubicBezTo>
                    <a:cubicBezTo>
                      <a:pt x="42" y="270"/>
                      <a:pt x="42" y="270"/>
                      <a:pt x="42" y="270"/>
                    </a:cubicBezTo>
                    <a:cubicBezTo>
                      <a:pt x="40" y="276"/>
                      <a:pt x="39" y="282"/>
                      <a:pt x="39" y="289"/>
                    </a:cubicBezTo>
                    <a:cubicBezTo>
                      <a:pt x="39" y="289"/>
                      <a:pt x="39" y="289"/>
                      <a:pt x="39" y="289"/>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7" y="336"/>
                      <a:pt x="119" y="337"/>
                    </a:cubicBezTo>
                    <a:cubicBezTo>
                      <a:pt x="119" y="337"/>
                      <a:pt x="119" y="337"/>
                      <a:pt x="119" y="337"/>
                    </a:cubicBezTo>
                    <a:cubicBezTo>
                      <a:pt x="121" y="338"/>
                      <a:pt x="122" y="340"/>
                      <a:pt x="123" y="342"/>
                    </a:cubicBezTo>
                    <a:cubicBezTo>
                      <a:pt x="123" y="342"/>
                      <a:pt x="123" y="342"/>
                      <a:pt x="123" y="342"/>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4"/>
                    </a:cubicBezTo>
                    <a:cubicBezTo>
                      <a:pt x="242" y="354"/>
                      <a:pt x="242" y="354"/>
                      <a:pt x="242" y="354"/>
                    </a:cubicBezTo>
                    <a:cubicBezTo>
                      <a:pt x="244" y="353"/>
                      <a:pt x="246" y="354"/>
                      <a:pt x="248" y="355"/>
                    </a:cubicBezTo>
                    <a:cubicBezTo>
                      <a:pt x="248" y="355"/>
                      <a:pt x="248" y="355"/>
                      <a:pt x="248" y="355"/>
                    </a:cubicBezTo>
                    <a:cubicBezTo>
                      <a:pt x="259" y="364"/>
                      <a:pt x="273" y="369"/>
                      <a:pt x="289" y="369"/>
                    </a:cubicBezTo>
                    <a:cubicBezTo>
                      <a:pt x="289" y="369"/>
                      <a:pt x="289" y="369"/>
                      <a:pt x="289" y="369"/>
                    </a:cubicBezTo>
                    <a:cubicBezTo>
                      <a:pt x="312" y="369"/>
                      <a:pt x="333" y="357"/>
                      <a:pt x="344" y="338"/>
                    </a:cubicBezTo>
                    <a:cubicBezTo>
                      <a:pt x="344" y="338"/>
                      <a:pt x="344" y="338"/>
                      <a:pt x="344" y="338"/>
                    </a:cubicBezTo>
                    <a:cubicBezTo>
                      <a:pt x="345" y="336"/>
                      <a:pt x="347" y="335"/>
                      <a:pt x="350" y="334"/>
                    </a:cubicBezTo>
                    <a:cubicBezTo>
                      <a:pt x="350" y="334"/>
                      <a:pt x="350" y="334"/>
                      <a:pt x="350" y="334"/>
                    </a:cubicBezTo>
                    <a:cubicBezTo>
                      <a:pt x="352" y="334"/>
                      <a:pt x="354" y="334"/>
                      <a:pt x="356" y="336"/>
                    </a:cubicBezTo>
                    <a:cubicBezTo>
                      <a:pt x="356" y="336"/>
                      <a:pt x="356" y="336"/>
                      <a:pt x="356" y="336"/>
                    </a:cubicBezTo>
                    <a:cubicBezTo>
                      <a:pt x="367" y="344"/>
                      <a:pt x="380" y="350"/>
                      <a:pt x="395" y="350"/>
                    </a:cubicBezTo>
                    <a:cubicBezTo>
                      <a:pt x="395" y="350"/>
                      <a:pt x="395" y="350"/>
                      <a:pt x="395" y="350"/>
                    </a:cubicBezTo>
                    <a:cubicBezTo>
                      <a:pt x="428" y="350"/>
                      <a:pt x="455" y="323"/>
                      <a:pt x="455" y="289"/>
                    </a:cubicBezTo>
                    <a:cubicBezTo>
                      <a:pt x="455" y="289"/>
                      <a:pt x="455" y="289"/>
                      <a:pt x="455" y="289"/>
                    </a:cubicBezTo>
                    <a:cubicBezTo>
                      <a:pt x="455" y="289"/>
                      <a:pt x="455" y="289"/>
                      <a:pt x="455" y="288"/>
                    </a:cubicBezTo>
                    <a:cubicBezTo>
                      <a:pt x="455" y="288"/>
                      <a:pt x="455" y="288"/>
                      <a:pt x="455" y="288"/>
                    </a:cubicBezTo>
                    <a:cubicBezTo>
                      <a:pt x="455" y="284"/>
                      <a:pt x="458" y="281"/>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4"/>
                      <a:pt x="453" y="171"/>
                      <a:pt x="453" y="169"/>
                    </a:cubicBezTo>
                    <a:cubicBezTo>
                      <a:pt x="453" y="169"/>
                      <a:pt x="453" y="169"/>
                      <a:pt x="453" y="169"/>
                    </a:cubicBezTo>
                    <a:cubicBezTo>
                      <a:pt x="454" y="166"/>
                      <a:pt x="454" y="162"/>
                      <a:pt x="454" y="158"/>
                    </a:cubicBezTo>
                    <a:cubicBezTo>
                      <a:pt x="454" y="158"/>
                      <a:pt x="454" y="158"/>
                      <a:pt x="454" y="158"/>
                    </a:cubicBezTo>
                    <a:cubicBezTo>
                      <a:pt x="454" y="144"/>
                      <a:pt x="450" y="130"/>
                      <a:pt x="442" y="119"/>
                    </a:cubicBezTo>
                    <a:cubicBezTo>
                      <a:pt x="442" y="119"/>
                      <a:pt x="442" y="119"/>
                      <a:pt x="442" y="119"/>
                    </a:cubicBezTo>
                    <a:cubicBezTo>
                      <a:pt x="439" y="115"/>
                      <a:pt x="440" y="110"/>
                      <a:pt x="444" y="108"/>
                    </a:cubicBezTo>
                    <a:cubicBezTo>
                      <a:pt x="444" y="108"/>
                      <a:pt x="444" y="108"/>
                      <a:pt x="444" y="108"/>
                    </a:cubicBezTo>
                    <a:cubicBezTo>
                      <a:pt x="448" y="105"/>
                      <a:pt x="453" y="106"/>
                      <a:pt x="455" y="110"/>
                    </a:cubicBezTo>
                    <a:cubicBezTo>
                      <a:pt x="455" y="110"/>
                      <a:pt x="455" y="110"/>
                      <a:pt x="455" y="110"/>
                    </a:cubicBezTo>
                    <a:cubicBezTo>
                      <a:pt x="464" y="124"/>
                      <a:pt x="470" y="140"/>
                      <a:pt x="470" y="158"/>
                    </a:cubicBezTo>
                    <a:cubicBezTo>
                      <a:pt x="470" y="158"/>
                      <a:pt x="470" y="158"/>
                      <a:pt x="470" y="158"/>
                    </a:cubicBezTo>
                    <a:cubicBezTo>
                      <a:pt x="470" y="160"/>
                      <a:pt x="470" y="162"/>
                      <a:pt x="470" y="164"/>
                    </a:cubicBezTo>
                    <a:cubicBezTo>
                      <a:pt x="470" y="164"/>
                      <a:pt x="470" y="164"/>
                      <a:pt x="470" y="164"/>
                    </a:cubicBezTo>
                    <a:cubicBezTo>
                      <a:pt x="500" y="171"/>
                      <a:pt x="522" y="197"/>
                      <a:pt x="522" y="229"/>
                    </a:cubicBezTo>
                    <a:cubicBezTo>
                      <a:pt x="522" y="229"/>
                      <a:pt x="522" y="229"/>
                      <a:pt x="522" y="229"/>
                    </a:cubicBezTo>
                    <a:cubicBezTo>
                      <a:pt x="522" y="261"/>
                      <a:pt x="500" y="287"/>
                      <a:pt x="471" y="295"/>
                    </a:cubicBezTo>
                    <a:cubicBezTo>
                      <a:pt x="471" y="295"/>
                      <a:pt x="471" y="295"/>
                      <a:pt x="471" y="295"/>
                    </a:cubicBezTo>
                    <a:cubicBezTo>
                      <a:pt x="468" y="334"/>
                      <a:pt x="435" y="366"/>
                      <a:pt x="395" y="366"/>
                    </a:cubicBezTo>
                    <a:cubicBezTo>
                      <a:pt x="395" y="366"/>
                      <a:pt x="395" y="366"/>
                      <a:pt x="395" y="366"/>
                    </a:cubicBezTo>
                    <a:cubicBezTo>
                      <a:pt x="379" y="366"/>
                      <a:pt x="365" y="361"/>
                      <a:pt x="353" y="353"/>
                    </a:cubicBezTo>
                    <a:cubicBezTo>
                      <a:pt x="353" y="353"/>
                      <a:pt x="353" y="353"/>
                      <a:pt x="353" y="353"/>
                    </a:cubicBezTo>
                    <a:cubicBezTo>
                      <a:pt x="338" y="373"/>
                      <a:pt x="315" y="385"/>
                      <a:pt x="289" y="385"/>
                    </a:cubicBezTo>
                    <a:cubicBezTo>
                      <a:pt x="289" y="385"/>
                      <a:pt x="289" y="385"/>
                      <a:pt x="289" y="385"/>
                    </a:cubicBezTo>
                    <a:cubicBezTo>
                      <a:pt x="272" y="385"/>
                      <a:pt x="257" y="381"/>
                      <a:pt x="245" y="372"/>
                    </a:cubicBezTo>
                    <a:cubicBezTo>
                      <a:pt x="245" y="372"/>
                      <a:pt x="245" y="372"/>
                      <a:pt x="245" y="372"/>
                    </a:cubicBezTo>
                    <a:cubicBezTo>
                      <a:pt x="230" y="389"/>
                      <a:pt x="208" y="399"/>
                      <a:pt x="184" y="399"/>
                    </a:cubicBezTo>
                    <a:cubicBezTo>
                      <a:pt x="184" y="399"/>
                      <a:pt x="184" y="399"/>
                      <a:pt x="184" y="399"/>
                    </a:cubicBezTo>
                    <a:cubicBezTo>
                      <a:pt x="152" y="399"/>
                      <a:pt x="125" y="381"/>
                      <a:pt x="111"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sp>
            <p:nvSpPr>
              <p:cNvPr id="44" name="Freeform 3" descr="bpct-blend4"/>
              <p:cNvSpPr>
                <a:spLocks noChangeAspect="1" noEditPoints="1"/>
              </p:cNvSpPr>
              <p:nvPr/>
            </p:nvSpPr>
            <p:spPr bwMode="auto">
              <a:xfrm>
                <a:off x="4061159" y="3507130"/>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sp>
            <p:nvSpPr>
              <p:cNvPr id="45" name="Freeform 3" descr="bpct-blend4"/>
              <p:cNvSpPr>
                <a:spLocks noChangeAspect="1" noEditPoints="1"/>
              </p:cNvSpPr>
              <p:nvPr/>
            </p:nvSpPr>
            <p:spPr bwMode="auto">
              <a:xfrm>
                <a:off x="3856451" y="351343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sp>
            <p:nvSpPr>
              <p:cNvPr id="46" name="Freeform 3" descr="bpct-blend4"/>
              <p:cNvSpPr>
                <a:spLocks noChangeAspect="1" noEditPoints="1"/>
              </p:cNvSpPr>
              <p:nvPr/>
            </p:nvSpPr>
            <p:spPr bwMode="auto">
              <a:xfrm>
                <a:off x="3645435" y="351343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grpSp>
        <p:sp>
          <p:nvSpPr>
            <p:cNvPr id="41" name="Freeform 3" descr="bpct-blend4"/>
            <p:cNvSpPr>
              <a:spLocks noChangeAspect="1" noEditPoints="1"/>
            </p:cNvSpPr>
            <p:nvPr/>
          </p:nvSpPr>
          <p:spPr bwMode="auto">
            <a:xfrm>
              <a:off x="3948437" y="337276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sp>
          <p:nvSpPr>
            <p:cNvPr id="42" name="Freeform 3" descr="bpct-blend4"/>
            <p:cNvSpPr>
              <a:spLocks noChangeAspect="1" noEditPoints="1"/>
            </p:cNvSpPr>
            <p:nvPr/>
          </p:nvSpPr>
          <p:spPr bwMode="auto">
            <a:xfrm>
              <a:off x="3743729" y="3379072"/>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b="1" dirty="0">
                <a:solidFill>
                  <a:srgbClr val="58585A"/>
                </a:solidFill>
              </a:endParaRPr>
            </a:p>
          </p:txBody>
        </p:sp>
      </p:grpSp>
      <p:sp>
        <p:nvSpPr>
          <p:cNvPr id="47" name="Freeform 3"/>
          <p:cNvSpPr>
            <a:spLocks noChangeAspect="1" noEditPoints="1"/>
          </p:cNvSpPr>
          <p:nvPr/>
        </p:nvSpPr>
        <p:spPr bwMode="auto">
          <a:xfrm>
            <a:off x="3245117" y="1831515"/>
            <a:ext cx="830261" cy="504520"/>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8F3F7B"/>
          </a:solidFill>
          <a:ln>
            <a:noFill/>
          </a:ln>
        </p:spPr>
        <p:txBody>
          <a:bodyPr/>
          <a:lstStyle/>
          <a:p>
            <a:pPr algn="ctr"/>
            <a:endParaRPr lang="sv-SE" b="1" dirty="0">
              <a:solidFill>
                <a:srgbClr val="58585A"/>
              </a:solidFill>
            </a:endParaRPr>
          </a:p>
        </p:txBody>
      </p:sp>
      <p:sp>
        <p:nvSpPr>
          <p:cNvPr id="48" name="Freeform 3"/>
          <p:cNvSpPr>
            <a:spLocks noChangeAspect="1" noEditPoints="1"/>
          </p:cNvSpPr>
          <p:nvPr/>
        </p:nvSpPr>
        <p:spPr bwMode="auto">
          <a:xfrm>
            <a:off x="4188092" y="1858152"/>
            <a:ext cx="534987" cy="465183"/>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solidFill>
            <a:srgbClr val="8F3F7B"/>
          </a:solidFill>
          <a:ln>
            <a:noFill/>
          </a:ln>
        </p:spPr>
        <p:txBody>
          <a:bodyPr/>
          <a:lstStyle/>
          <a:p>
            <a:pPr algn="ctr"/>
            <a:endParaRPr lang="sv-SE" b="1" dirty="0">
              <a:solidFill>
                <a:srgbClr val="58585A"/>
              </a:solidFill>
            </a:endParaRPr>
          </a:p>
        </p:txBody>
      </p:sp>
      <p:cxnSp>
        <p:nvCxnSpPr>
          <p:cNvPr id="49" name="Rak 89"/>
          <p:cNvCxnSpPr/>
          <p:nvPr/>
        </p:nvCxnSpPr>
        <p:spPr bwMode="auto">
          <a:xfrm>
            <a:off x="1804141" y="1692466"/>
            <a:ext cx="0" cy="8086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50" name="Rak 16"/>
          <p:cNvCxnSpPr/>
          <p:nvPr/>
        </p:nvCxnSpPr>
        <p:spPr bwMode="auto">
          <a:xfrm>
            <a:off x="747979" y="2653534"/>
            <a:ext cx="4127500" cy="0"/>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51" name="Rak 101"/>
          <p:cNvCxnSpPr/>
          <p:nvPr/>
        </p:nvCxnSpPr>
        <p:spPr bwMode="auto">
          <a:xfrm>
            <a:off x="2832841" y="2797366"/>
            <a:ext cx="0" cy="8213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52" name="Rak 102"/>
          <p:cNvCxnSpPr/>
          <p:nvPr/>
        </p:nvCxnSpPr>
        <p:spPr bwMode="auto">
          <a:xfrm>
            <a:off x="1829541" y="2797366"/>
            <a:ext cx="0" cy="6689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53" name="Rectangle 98"/>
          <p:cNvSpPr/>
          <p:nvPr/>
        </p:nvSpPr>
        <p:spPr>
          <a:xfrm>
            <a:off x="616466" y="3515350"/>
            <a:ext cx="1025733" cy="400110"/>
          </a:xfrm>
          <a:prstGeom prst="rect">
            <a:avLst/>
          </a:prstGeom>
        </p:spPr>
        <p:txBody>
          <a:bodyPr wrap="square">
            <a:spAutoFit/>
          </a:bodyPr>
          <a:lstStyle/>
          <a:p>
            <a:pPr algn="ctr"/>
            <a:r>
              <a:rPr lang="en-US" sz="1000" b="1" dirty="0">
                <a:solidFill>
                  <a:srgbClr val="58585A">
                    <a:lumMod val="75000"/>
                  </a:srgbClr>
                </a:solidFill>
              </a:rPr>
              <a:t>SMART METER</a:t>
            </a:r>
          </a:p>
        </p:txBody>
      </p:sp>
      <p:sp>
        <p:nvSpPr>
          <p:cNvPr id="54" name="Freeform 6"/>
          <p:cNvSpPr>
            <a:spLocks noChangeAspect="1" noEditPoints="1"/>
          </p:cNvSpPr>
          <p:nvPr/>
        </p:nvSpPr>
        <p:spPr bwMode="auto">
          <a:xfrm>
            <a:off x="848112" y="2882811"/>
            <a:ext cx="606616" cy="6072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8F3F7B"/>
          </a:solidFill>
          <a:ln>
            <a:noFill/>
          </a:ln>
        </p:spPr>
        <p:txBody>
          <a:bodyPr/>
          <a:lstStyle/>
          <a:p>
            <a:endParaRPr lang="sv-SE" dirty="0">
              <a:solidFill>
                <a:srgbClr val="58585A"/>
              </a:solidFill>
            </a:endParaRPr>
          </a:p>
        </p:txBody>
      </p:sp>
      <p:sp>
        <p:nvSpPr>
          <p:cNvPr id="55" name="TextBox 54"/>
          <p:cNvSpPr txBox="1"/>
          <p:nvPr/>
        </p:nvSpPr>
        <p:spPr>
          <a:xfrm>
            <a:off x="289871" y="5597978"/>
            <a:ext cx="1233030" cy="1015663"/>
          </a:xfrm>
          <a:prstGeom prst="rect">
            <a:avLst/>
          </a:prstGeom>
          <a:noFill/>
        </p:spPr>
        <p:txBody>
          <a:bodyPr wrap="none" rtlCol="0">
            <a:spAutoFit/>
          </a:bodyPr>
          <a:lstStyle/>
          <a:p>
            <a:r>
              <a:rPr lang="en-US" sz="6000" dirty="0">
                <a:solidFill>
                  <a:srgbClr val="FFFFFF"/>
                </a:solidFill>
                <a:latin typeface="Ericsson Capital TT"/>
              </a:rPr>
              <a:t>4G</a:t>
            </a:r>
          </a:p>
        </p:txBody>
      </p:sp>
      <p:sp>
        <p:nvSpPr>
          <p:cNvPr id="56" name="TextBox 55"/>
          <p:cNvSpPr txBox="1"/>
          <p:nvPr/>
        </p:nvSpPr>
        <p:spPr>
          <a:xfrm>
            <a:off x="10694462" y="5583690"/>
            <a:ext cx="1186543" cy="1015663"/>
          </a:xfrm>
          <a:prstGeom prst="rect">
            <a:avLst/>
          </a:prstGeom>
          <a:noFill/>
        </p:spPr>
        <p:txBody>
          <a:bodyPr wrap="none" rtlCol="0">
            <a:spAutoFit/>
          </a:bodyPr>
          <a:lstStyle/>
          <a:p>
            <a:r>
              <a:rPr lang="en-US" sz="6000" dirty="0">
                <a:solidFill>
                  <a:srgbClr val="FFFFFF"/>
                </a:solidFill>
                <a:latin typeface="Ericsson Capital TT"/>
              </a:rPr>
              <a:t>5G</a:t>
            </a:r>
          </a:p>
        </p:txBody>
      </p:sp>
      <p:sp>
        <p:nvSpPr>
          <p:cNvPr id="57" name="Rektangel med rundade hörn 2"/>
          <p:cNvSpPr/>
          <p:nvPr/>
        </p:nvSpPr>
        <p:spPr bwMode="auto">
          <a:xfrm>
            <a:off x="3722651" y="4031400"/>
            <a:ext cx="4719636" cy="2603860"/>
          </a:xfrm>
          <a:prstGeom prst="roundRect">
            <a:avLst>
              <a:gd name="adj" fmla="val 2170"/>
            </a:avLst>
          </a:prstGeom>
          <a:solidFill>
            <a:schemeClr val="bg1">
              <a:alpha val="7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sv-SE" b="1" dirty="0">
              <a:solidFill>
                <a:srgbClr val="58585A"/>
              </a:solidFill>
            </a:endParaRPr>
          </a:p>
        </p:txBody>
      </p:sp>
      <p:sp>
        <p:nvSpPr>
          <p:cNvPr id="58" name="Rounded Rectangle 142"/>
          <p:cNvSpPr/>
          <p:nvPr/>
        </p:nvSpPr>
        <p:spPr bwMode="auto">
          <a:xfrm>
            <a:off x="4674787" y="4022819"/>
            <a:ext cx="3018918" cy="357187"/>
          </a:xfrm>
          <a:prstGeom prst="roundRect">
            <a:avLst/>
          </a:prstGeom>
          <a:noFill/>
          <a:ln w="12700" cap="flat" cmpd="sng" algn="ctr">
            <a:noFill/>
            <a:prstDash val="solid"/>
            <a:round/>
            <a:headEnd type="none" w="med" len="med"/>
            <a:tailEnd type="none" w="med" len="med"/>
          </a:ln>
          <a:effectLst/>
        </p:spPr>
        <p:txBody>
          <a:bodyPr wrap="none" lIns="0" tIns="0" rIns="0" bIns="0" anchor="ctr" anchorCtr="1"/>
          <a:lstStyle/>
          <a:p>
            <a:pPr algn="ctr">
              <a:defRPr/>
            </a:pPr>
            <a:r>
              <a:rPr lang="en-US" sz="2400" b="1" dirty="0">
                <a:solidFill>
                  <a:srgbClr val="00A9D4"/>
                </a:solidFill>
                <a:latin typeface="+mn-lt"/>
                <a:ea typeface="Ericsson Capital" charset="0"/>
                <a:cs typeface="Ericsson Capital" charset="0"/>
              </a:rPr>
              <a:t>Enhanced Broadband</a:t>
            </a:r>
          </a:p>
        </p:txBody>
      </p:sp>
      <p:sp>
        <p:nvSpPr>
          <p:cNvPr id="59" name="Freeform 6"/>
          <p:cNvSpPr>
            <a:spLocks noChangeAspect="1" noEditPoints="1"/>
          </p:cNvSpPr>
          <p:nvPr/>
        </p:nvSpPr>
        <p:spPr bwMode="auto">
          <a:xfrm>
            <a:off x="4277858" y="4505191"/>
            <a:ext cx="375993" cy="598424"/>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0394BD"/>
          </a:solidFill>
          <a:ln>
            <a:noFill/>
          </a:ln>
          <a:extLst/>
        </p:spPr>
        <p:txBody>
          <a:bodyPr/>
          <a:lstStyle/>
          <a:p>
            <a:endParaRPr lang="en-GB" dirty="0">
              <a:solidFill>
                <a:srgbClr val="58585A"/>
              </a:solidFill>
            </a:endParaRPr>
          </a:p>
        </p:txBody>
      </p:sp>
      <p:sp>
        <p:nvSpPr>
          <p:cNvPr id="60" name="Freeform 6"/>
          <p:cNvSpPr>
            <a:spLocks noChangeAspect="1" noEditPoints="1"/>
          </p:cNvSpPr>
          <p:nvPr/>
        </p:nvSpPr>
        <p:spPr bwMode="auto">
          <a:xfrm>
            <a:off x="6060601" y="4505191"/>
            <a:ext cx="865057" cy="567055"/>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0394BD"/>
          </a:solidFill>
          <a:ln>
            <a:noFill/>
          </a:ln>
          <a:extLst/>
        </p:spPr>
        <p:txBody>
          <a:bodyPr/>
          <a:lstStyle/>
          <a:p>
            <a:endParaRPr lang="en-GB" dirty="0">
              <a:solidFill>
                <a:srgbClr val="58585A"/>
              </a:solidFill>
            </a:endParaRPr>
          </a:p>
        </p:txBody>
      </p:sp>
      <p:sp>
        <p:nvSpPr>
          <p:cNvPr id="61" name="Rectangle 60"/>
          <p:cNvSpPr/>
          <p:nvPr/>
        </p:nvSpPr>
        <p:spPr>
          <a:xfrm>
            <a:off x="3756517" y="5106129"/>
            <a:ext cx="1495633" cy="246221"/>
          </a:xfrm>
          <a:prstGeom prst="rect">
            <a:avLst/>
          </a:prstGeom>
        </p:spPr>
        <p:txBody>
          <a:bodyPr wrap="square">
            <a:spAutoFit/>
          </a:bodyPr>
          <a:lstStyle/>
          <a:p>
            <a:pPr algn="ctr"/>
            <a:r>
              <a:rPr lang="en-US" sz="1000" b="1" dirty="0">
                <a:solidFill>
                  <a:srgbClr val="58585A">
                    <a:lumMod val="75000"/>
                  </a:srgbClr>
                </a:solidFill>
              </a:rPr>
              <a:t>Smartphones</a:t>
            </a:r>
          </a:p>
        </p:txBody>
      </p:sp>
      <p:sp>
        <p:nvSpPr>
          <p:cNvPr id="62" name="Rectangle 61"/>
          <p:cNvSpPr/>
          <p:nvPr/>
        </p:nvSpPr>
        <p:spPr>
          <a:xfrm>
            <a:off x="5506514" y="6353408"/>
            <a:ext cx="2418757" cy="261610"/>
          </a:xfrm>
          <a:prstGeom prst="rect">
            <a:avLst/>
          </a:prstGeom>
        </p:spPr>
        <p:txBody>
          <a:bodyPr wrap="none">
            <a:spAutoFit/>
          </a:bodyPr>
          <a:lstStyle/>
          <a:p>
            <a:pPr algn="ctr"/>
            <a:r>
              <a:rPr lang="en-US" sz="1100" b="1" dirty="0">
                <a:solidFill>
                  <a:srgbClr val="58585A">
                    <a:lumMod val="75000"/>
                  </a:srgbClr>
                </a:solidFill>
                <a:ea typeface="MS PGothic" pitchFamily="34" charset="-128"/>
              </a:rPr>
              <a:t>4k/8k UHD, Broadcasting, VR/AR, </a:t>
            </a:r>
            <a:endParaRPr lang="en-US" sz="1100" b="1" dirty="0">
              <a:solidFill>
                <a:srgbClr val="58585A">
                  <a:lumMod val="75000"/>
                </a:srgbClr>
              </a:solidFill>
            </a:endParaRPr>
          </a:p>
        </p:txBody>
      </p:sp>
      <p:sp>
        <p:nvSpPr>
          <p:cNvPr id="63" name="Rectangle 62"/>
          <p:cNvSpPr/>
          <p:nvPr/>
        </p:nvSpPr>
        <p:spPr>
          <a:xfrm>
            <a:off x="5081120" y="5109233"/>
            <a:ext cx="3520440" cy="246221"/>
          </a:xfrm>
          <a:prstGeom prst="rect">
            <a:avLst/>
          </a:prstGeom>
        </p:spPr>
        <p:txBody>
          <a:bodyPr wrap="square">
            <a:spAutoFit/>
          </a:bodyPr>
          <a:lstStyle/>
          <a:p>
            <a:pPr algn="ctr"/>
            <a:r>
              <a:rPr lang="en-US" sz="1000" b="1" dirty="0">
                <a:solidFill>
                  <a:srgbClr val="58585A">
                    <a:lumMod val="75000"/>
                  </a:srgbClr>
                </a:solidFill>
              </a:rPr>
              <a:t>Home, Enterprise, Venues, Mobile/Wireless/Fixed</a:t>
            </a:r>
          </a:p>
        </p:txBody>
      </p:sp>
      <p:cxnSp>
        <p:nvCxnSpPr>
          <p:cNvPr id="64" name="Rak 89"/>
          <p:cNvCxnSpPr/>
          <p:nvPr/>
        </p:nvCxnSpPr>
        <p:spPr bwMode="auto">
          <a:xfrm>
            <a:off x="5149222" y="4451586"/>
            <a:ext cx="0" cy="8086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65" name="Rak 16"/>
          <p:cNvCxnSpPr/>
          <p:nvPr/>
        </p:nvCxnSpPr>
        <p:spPr bwMode="auto">
          <a:xfrm>
            <a:off x="4093060" y="5412654"/>
            <a:ext cx="4127500" cy="0"/>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66" name="Rak 102"/>
          <p:cNvCxnSpPr/>
          <p:nvPr/>
        </p:nvCxnSpPr>
        <p:spPr bwMode="auto">
          <a:xfrm>
            <a:off x="5174622" y="5556486"/>
            <a:ext cx="0" cy="66896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67" name="Rectangle 98"/>
          <p:cNvSpPr/>
          <p:nvPr/>
        </p:nvSpPr>
        <p:spPr>
          <a:xfrm>
            <a:off x="3803115" y="6228342"/>
            <a:ext cx="1184166" cy="400110"/>
          </a:xfrm>
          <a:prstGeom prst="rect">
            <a:avLst/>
          </a:prstGeom>
        </p:spPr>
        <p:txBody>
          <a:bodyPr wrap="square">
            <a:spAutoFit/>
          </a:bodyPr>
          <a:lstStyle/>
          <a:p>
            <a:pPr algn="ctr"/>
            <a:r>
              <a:rPr lang="en-US" sz="1000" b="1" dirty="0">
                <a:solidFill>
                  <a:srgbClr val="58585A">
                    <a:lumMod val="75000"/>
                  </a:srgbClr>
                </a:solidFill>
              </a:rPr>
              <a:t>Non-SIM devices</a:t>
            </a:r>
          </a:p>
        </p:txBody>
      </p:sp>
      <p:sp>
        <p:nvSpPr>
          <p:cNvPr id="68" name="Freeform 3"/>
          <p:cNvSpPr>
            <a:spLocks noChangeAspect="1" noEditPoints="1"/>
          </p:cNvSpPr>
          <p:nvPr/>
        </p:nvSpPr>
        <p:spPr bwMode="auto">
          <a:xfrm>
            <a:off x="5413860" y="4478822"/>
            <a:ext cx="436599" cy="594970"/>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rgbClr val="0394BD"/>
          </a:solidFill>
          <a:ln>
            <a:noFill/>
          </a:ln>
          <a:extLst/>
        </p:spPr>
        <p:txBody>
          <a:bodyPr lIns="121917" tIns="60958" rIns="121917" bIns="60958"/>
          <a:lstStyle/>
          <a:p>
            <a:endParaRPr lang="en-US" dirty="0">
              <a:solidFill>
                <a:srgbClr val="58585A"/>
              </a:solidFill>
            </a:endParaRPr>
          </a:p>
        </p:txBody>
      </p:sp>
      <p:sp>
        <p:nvSpPr>
          <p:cNvPr id="69" name="Freeform 8"/>
          <p:cNvSpPr>
            <a:spLocks noChangeAspect="1" noEditPoints="1"/>
          </p:cNvSpPr>
          <p:nvPr/>
        </p:nvSpPr>
        <p:spPr bwMode="auto">
          <a:xfrm>
            <a:off x="7045701" y="4442177"/>
            <a:ext cx="857048" cy="595428"/>
          </a:xfrm>
          <a:custGeom>
            <a:avLst/>
            <a:gdLst>
              <a:gd name="T0" fmla="*/ 2147483647 w 464"/>
              <a:gd name="T1" fmla="*/ 2147483647 h 361"/>
              <a:gd name="T2" fmla="*/ 2147483647 w 464"/>
              <a:gd name="T3" fmla="*/ 2147483647 h 361"/>
              <a:gd name="T4" fmla="*/ 2147483647 w 464"/>
              <a:gd name="T5" fmla="*/ 2147483647 h 361"/>
              <a:gd name="T6" fmla="*/ 2147483647 w 464"/>
              <a:gd name="T7" fmla="*/ 2147483647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2147483647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2147483647 w 464"/>
              <a:gd name="T67" fmla="*/ 2147483647 h 3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361"/>
              <a:gd name="T104" fmla="*/ 464 w 464"/>
              <a:gd name="T105" fmla="*/ 361 h 3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361">
                <a:moveTo>
                  <a:pt x="400" y="194"/>
                </a:moveTo>
                <a:cubicBezTo>
                  <a:pt x="405" y="194"/>
                  <a:pt x="408" y="190"/>
                  <a:pt x="408" y="186"/>
                </a:cubicBezTo>
                <a:cubicBezTo>
                  <a:pt x="408" y="186"/>
                  <a:pt x="408" y="186"/>
                  <a:pt x="408" y="186"/>
                </a:cubicBezTo>
                <a:cubicBezTo>
                  <a:pt x="408" y="140"/>
                  <a:pt x="408" y="140"/>
                  <a:pt x="408" y="140"/>
                </a:cubicBezTo>
                <a:cubicBezTo>
                  <a:pt x="408" y="129"/>
                  <a:pt x="400" y="122"/>
                  <a:pt x="392" y="118"/>
                </a:cubicBezTo>
                <a:cubicBezTo>
                  <a:pt x="385" y="115"/>
                  <a:pt x="251" y="46"/>
                  <a:pt x="243" y="42"/>
                </a:cubicBezTo>
                <a:cubicBezTo>
                  <a:pt x="239" y="40"/>
                  <a:pt x="235" y="39"/>
                  <a:pt x="232" y="39"/>
                </a:cubicBezTo>
                <a:cubicBezTo>
                  <a:pt x="225" y="39"/>
                  <a:pt x="221" y="41"/>
                  <a:pt x="220" y="42"/>
                </a:cubicBezTo>
                <a:cubicBezTo>
                  <a:pt x="71" y="118"/>
                  <a:pt x="71" y="118"/>
                  <a:pt x="71" y="118"/>
                </a:cubicBezTo>
                <a:cubicBezTo>
                  <a:pt x="63" y="122"/>
                  <a:pt x="55" y="129"/>
                  <a:pt x="55" y="140"/>
                </a:cubicBezTo>
                <a:cubicBezTo>
                  <a:pt x="55" y="342"/>
                  <a:pt x="55" y="342"/>
                  <a:pt x="55" y="342"/>
                </a:cubicBezTo>
                <a:cubicBezTo>
                  <a:pt x="55" y="352"/>
                  <a:pt x="64" y="361"/>
                  <a:pt x="75" y="361"/>
                </a:cubicBezTo>
                <a:cubicBezTo>
                  <a:pt x="389" y="361"/>
                  <a:pt x="389" y="361"/>
                  <a:pt x="389" y="361"/>
                </a:cubicBezTo>
                <a:cubicBezTo>
                  <a:pt x="400" y="361"/>
                  <a:pt x="408" y="352"/>
                  <a:pt x="408" y="342"/>
                </a:cubicBezTo>
                <a:cubicBezTo>
                  <a:pt x="408" y="214"/>
                  <a:pt x="408" y="214"/>
                  <a:pt x="408" y="214"/>
                </a:cubicBezTo>
                <a:cubicBezTo>
                  <a:pt x="408" y="209"/>
                  <a:pt x="405" y="206"/>
                  <a:pt x="400" y="206"/>
                </a:cubicBezTo>
                <a:cubicBezTo>
                  <a:pt x="396" y="206"/>
                  <a:pt x="392" y="209"/>
                  <a:pt x="392" y="214"/>
                </a:cubicBezTo>
                <a:cubicBezTo>
                  <a:pt x="392" y="342"/>
                  <a:pt x="392" y="342"/>
                  <a:pt x="392" y="342"/>
                </a:cubicBezTo>
                <a:cubicBezTo>
                  <a:pt x="392" y="343"/>
                  <a:pt x="391" y="345"/>
                  <a:pt x="389" y="345"/>
                </a:cubicBezTo>
                <a:cubicBezTo>
                  <a:pt x="75" y="345"/>
                  <a:pt x="75" y="345"/>
                  <a:pt x="75" y="345"/>
                </a:cubicBezTo>
                <a:cubicBezTo>
                  <a:pt x="73" y="345"/>
                  <a:pt x="71" y="343"/>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7" y="56"/>
                  <a:pt x="227" y="56"/>
                  <a:pt x="227" y="56"/>
                </a:cubicBezTo>
                <a:cubicBezTo>
                  <a:pt x="227" y="56"/>
                  <a:pt x="227" y="56"/>
                  <a:pt x="227" y="56"/>
                </a:cubicBezTo>
                <a:cubicBezTo>
                  <a:pt x="228" y="56"/>
                  <a:pt x="230" y="55"/>
                  <a:pt x="232" y="55"/>
                </a:cubicBezTo>
                <a:cubicBezTo>
                  <a:pt x="233" y="55"/>
                  <a:pt x="235" y="55"/>
                  <a:pt x="236" y="56"/>
                </a:cubicBezTo>
                <a:cubicBezTo>
                  <a:pt x="240" y="58"/>
                  <a:pt x="277" y="77"/>
                  <a:pt x="314" y="96"/>
                </a:cubicBezTo>
                <a:cubicBezTo>
                  <a:pt x="350" y="115"/>
                  <a:pt x="385" y="133"/>
                  <a:pt x="385" y="133"/>
                </a:cubicBezTo>
                <a:cubicBezTo>
                  <a:pt x="386" y="133"/>
                  <a:pt x="386" y="133"/>
                  <a:pt x="386" y="133"/>
                </a:cubicBezTo>
                <a:cubicBezTo>
                  <a:pt x="390" y="135"/>
                  <a:pt x="393" y="138"/>
                  <a:pt x="392" y="140"/>
                </a:cubicBezTo>
                <a:cubicBezTo>
                  <a:pt x="392" y="186"/>
                  <a:pt x="392" y="186"/>
                  <a:pt x="392" y="186"/>
                </a:cubicBezTo>
                <a:cubicBezTo>
                  <a:pt x="392" y="190"/>
                  <a:pt x="396" y="194"/>
                  <a:pt x="400" y="194"/>
                </a:cubicBezTo>
                <a:close/>
                <a:moveTo>
                  <a:pt x="458" y="114"/>
                </a:moveTo>
                <a:cubicBezTo>
                  <a:pt x="458" y="114"/>
                  <a:pt x="437" y="103"/>
                  <a:pt x="408" y="88"/>
                </a:cubicBezTo>
                <a:cubicBezTo>
                  <a:pt x="408" y="80"/>
                  <a:pt x="408" y="52"/>
                  <a:pt x="408" y="52"/>
                </a:cubicBezTo>
                <a:cubicBezTo>
                  <a:pt x="408" y="41"/>
                  <a:pt x="400" y="32"/>
                  <a:pt x="389" y="32"/>
                </a:cubicBezTo>
                <a:cubicBezTo>
                  <a:pt x="357" y="32"/>
                  <a:pt x="357" y="32"/>
                  <a:pt x="357" y="32"/>
                </a:cubicBezTo>
                <a:cubicBezTo>
                  <a:pt x="347" y="32"/>
                  <a:pt x="338" y="41"/>
                  <a:pt x="338" y="51"/>
                </a:cubicBezTo>
                <a:cubicBezTo>
                  <a:pt x="292" y="28"/>
                  <a:pt x="249" y="6"/>
                  <a:pt x="245" y="3"/>
                </a:cubicBezTo>
                <a:cubicBezTo>
                  <a:pt x="241" y="1"/>
                  <a:pt x="236" y="0"/>
                  <a:pt x="232" y="0"/>
                </a:cubicBezTo>
                <a:cubicBezTo>
                  <a:pt x="224" y="0"/>
                  <a:pt x="219" y="3"/>
                  <a:pt x="219" y="3"/>
                </a:cubicBezTo>
                <a:cubicBezTo>
                  <a:pt x="6" y="114"/>
                  <a:pt x="6" y="114"/>
                  <a:pt x="6" y="114"/>
                </a:cubicBezTo>
                <a:cubicBezTo>
                  <a:pt x="2" y="116"/>
                  <a:pt x="0" y="121"/>
                  <a:pt x="2" y="125"/>
                </a:cubicBezTo>
                <a:cubicBezTo>
                  <a:pt x="4" y="129"/>
                  <a:pt x="9" y="130"/>
                  <a:pt x="13" y="128"/>
                </a:cubicBezTo>
                <a:cubicBezTo>
                  <a:pt x="226" y="18"/>
                  <a:pt x="226" y="18"/>
                  <a:pt x="226" y="18"/>
                </a:cubicBezTo>
                <a:cubicBezTo>
                  <a:pt x="226" y="18"/>
                  <a:pt x="226" y="18"/>
                  <a:pt x="226" y="18"/>
                </a:cubicBezTo>
                <a:cubicBezTo>
                  <a:pt x="226" y="18"/>
                  <a:pt x="226" y="18"/>
                  <a:pt x="226" y="18"/>
                </a:cubicBezTo>
                <a:cubicBezTo>
                  <a:pt x="226" y="17"/>
                  <a:pt x="229" y="16"/>
                  <a:pt x="232" y="16"/>
                </a:cubicBezTo>
                <a:cubicBezTo>
                  <a:pt x="234" y="16"/>
                  <a:pt x="236" y="17"/>
                  <a:pt x="238" y="18"/>
                </a:cubicBezTo>
                <a:cubicBezTo>
                  <a:pt x="242" y="20"/>
                  <a:pt x="291" y="45"/>
                  <a:pt x="340" y="71"/>
                </a:cubicBezTo>
                <a:cubicBezTo>
                  <a:pt x="341" y="71"/>
                  <a:pt x="343" y="72"/>
                  <a:pt x="345" y="72"/>
                </a:cubicBezTo>
                <a:cubicBezTo>
                  <a:pt x="346" y="72"/>
                  <a:pt x="349" y="71"/>
                  <a:pt x="351" y="69"/>
                </a:cubicBezTo>
                <a:cubicBezTo>
                  <a:pt x="353"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52"/>
                  <a:pt x="392" y="61"/>
                  <a:pt x="392" y="70"/>
                </a:cubicBezTo>
                <a:cubicBezTo>
                  <a:pt x="392" y="79"/>
                  <a:pt x="392" y="89"/>
                  <a:pt x="392" y="90"/>
                </a:cubicBezTo>
                <a:cubicBezTo>
                  <a:pt x="392" y="93"/>
                  <a:pt x="393" y="96"/>
                  <a:pt x="395" y="98"/>
                </a:cubicBezTo>
                <a:cubicBezTo>
                  <a:pt x="396" y="100"/>
                  <a:pt x="398" y="101"/>
                  <a:pt x="399" y="101"/>
                </a:cubicBezTo>
                <a:cubicBezTo>
                  <a:pt x="429" y="117"/>
                  <a:pt x="451" y="128"/>
                  <a:pt x="451" y="128"/>
                </a:cubicBezTo>
                <a:cubicBezTo>
                  <a:pt x="452" y="129"/>
                  <a:pt x="453" y="129"/>
                  <a:pt x="455" y="129"/>
                </a:cubicBezTo>
                <a:cubicBezTo>
                  <a:pt x="458" y="129"/>
                  <a:pt x="460" y="127"/>
                  <a:pt x="462" y="125"/>
                </a:cubicBezTo>
                <a:cubicBezTo>
                  <a:pt x="464" y="121"/>
                  <a:pt x="462" y="116"/>
                  <a:pt x="458" y="114"/>
                </a:cubicBezTo>
                <a:close/>
              </a:path>
            </a:pathLst>
          </a:custGeom>
          <a:solidFill>
            <a:srgbClr val="0394BD"/>
          </a:solidFill>
          <a:ln>
            <a:noFill/>
          </a:ln>
          <a:extLst/>
        </p:spPr>
        <p:txBody>
          <a:bodyPr/>
          <a:lstStyle/>
          <a:p>
            <a:endParaRPr lang="en-US" dirty="0">
              <a:solidFill>
                <a:srgbClr val="58585A"/>
              </a:solidFill>
            </a:endParaRPr>
          </a:p>
        </p:txBody>
      </p:sp>
      <p:sp>
        <p:nvSpPr>
          <p:cNvPr id="70" name="Freeform 6"/>
          <p:cNvSpPr>
            <a:spLocks noChangeAspect="1" noEditPoints="1"/>
          </p:cNvSpPr>
          <p:nvPr/>
        </p:nvSpPr>
        <p:spPr bwMode="auto">
          <a:xfrm>
            <a:off x="5728563" y="5556486"/>
            <a:ext cx="664075" cy="636905"/>
          </a:xfrm>
          <a:custGeom>
            <a:avLst/>
            <a:gdLst>
              <a:gd name="T0" fmla="*/ 2147483647 w 300"/>
              <a:gd name="T1" fmla="*/ 2147483647 h 288"/>
              <a:gd name="T2" fmla="*/ 2147483647 w 300"/>
              <a:gd name="T3" fmla="*/ 2147483647 h 288"/>
              <a:gd name="T4" fmla="*/ 2147483647 w 300"/>
              <a:gd name="T5" fmla="*/ 0 h 288"/>
              <a:gd name="T6" fmla="*/ 2147483647 w 300"/>
              <a:gd name="T7" fmla="*/ 2147483647 h 288"/>
              <a:gd name="T8" fmla="*/ 2147483647 w 300"/>
              <a:gd name="T9" fmla="*/ 2147483647 h 288"/>
              <a:gd name="T10" fmla="*/ 2147483647 w 300"/>
              <a:gd name="T11" fmla="*/ 2147483647 h 288"/>
              <a:gd name="T12" fmla="*/ 2147483647 w 300"/>
              <a:gd name="T13" fmla="*/ 2147483647 h 288"/>
              <a:gd name="T14" fmla="*/ 2147483647 w 300"/>
              <a:gd name="T15" fmla="*/ 2147483647 h 288"/>
              <a:gd name="T16" fmla="*/ 2147483647 w 300"/>
              <a:gd name="T17" fmla="*/ 2147483647 h 288"/>
              <a:gd name="T18" fmla="*/ 2147483647 w 300"/>
              <a:gd name="T19" fmla="*/ 2147483647 h 288"/>
              <a:gd name="T20" fmla="*/ 2147483647 w 300"/>
              <a:gd name="T21" fmla="*/ 2147483647 h 288"/>
              <a:gd name="T22" fmla="*/ 2147483647 w 300"/>
              <a:gd name="T23" fmla="*/ 2147483647 h 288"/>
              <a:gd name="T24" fmla="*/ 2147483647 w 300"/>
              <a:gd name="T25" fmla="*/ 2147483647 h 288"/>
              <a:gd name="T26" fmla="*/ 0 w 300"/>
              <a:gd name="T27" fmla="*/ 2147483647 h 288"/>
              <a:gd name="T28" fmla="*/ 0 w 300"/>
              <a:gd name="T29" fmla="*/ 2147483647 h 288"/>
              <a:gd name="T30" fmla="*/ 2147483647 w 300"/>
              <a:gd name="T31" fmla="*/ 2147483647 h 288"/>
              <a:gd name="T32" fmla="*/ 2147483647 w 300"/>
              <a:gd name="T33" fmla="*/ 2147483647 h 288"/>
              <a:gd name="T34" fmla="*/ 2147483647 w 300"/>
              <a:gd name="T35" fmla="*/ 2147483647 h 288"/>
              <a:gd name="T36" fmla="*/ 2147483647 w 300"/>
              <a:gd name="T37" fmla="*/ 2147483647 h 288"/>
              <a:gd name="T38" fmla="*/ 2147483647 w 300"/>
              <a:gd name="T39" fmla="*/ 2147483647 h 288"/>
              <a:gd name="T40" fmla="*/ 2147483647 w 300"/>
              <a:gd name="T41" fmla="*/ 2147483647 h 288"/>
              <a:gd name="T42" fmla="*/ 2147483647 w 300"/>
              <a:gd name="T43" fmla="*/ 2147483647 h 288"/>
              <a:gd name="T44" fmla="*/ 2147483647 w 300"/>
              <a:gd name="T45" fmla="*/ 2147483647 h 288"/>
              <a:gd name="T46" fmla="*/ 2147483647 w 300"/>
              <a:gd name="T47" fmla="*/ 2147483647 h 288"/>
              <a:gd name="T48" fmla="*/ 2147483647 w 300"/>
              <a:gd name="T49" fmla="*/ 2147483647 h 288"/>
              <a:gd name="T50" fmla="*/ 2147483647 w 300"/>
              <a:gd name="T51" fmla="*/ 2147483647 h 288"/>
              <a:gd name="T52" fmla="*/ 2147483647 w 300"/>
              <a:gd name="T53" fmla="*/ 2147483647 h 288"/>
              <a:gd name="T54" fmla="*/ 2147483647 w 300"/>
              <a:gd name="T55" fmla="*/ 2147483647 h 288"/>
              <a:gd name="T56" fmla="*/ 2147483647 w 300"/>
              <a:gd name="T57" fmla="*/ 2147483647 h 288"/>
              <a:gd name="T58" fmla="*/ 2147483647 w 300"/>
              <a:gd name="T59" fmla="*/ 2147483647 h 288"/>
              <a:gd name="T60" fmla="*/ 2147483647 w 300"/>
              <a:gd name="T61" fmla="*/ 2147483647 h 288"/>
              <a:gd name="T62" fmla="*/ 2147483647 w 300"/>
              <a:gd name="T63" fmla="*/ 2147483647 h 288"/>
              <a:gd name="T64" fmla="*/ 2147483647 w 300"/>
              <a:gd name="T65" fmla="*/ 2147483647 h 288"/>
              <a:gd name="T66" fmla="*/ 2147483647 w 300"/>
              <a:gd name="T67" fmla="*/ 2147483647 h 288"/>
              <a:gd name="T68" fmla="*/ 2147483647 w 300"/>
              <a:gd name="T69" fmla="*/ 2147483647 h 288"/>
              <a:gd name="T70" fmla="*/ 2147483647 w 300"/>
              <a:gd name="T71" fmla="*/ 2147483647 h 288"/>
              <a:gd name="T72" fmla="*/ 2147483647 w 300"/>
              <a:gd name="T73" fmla="*/ 2147483647 h 288"/>
              <a:gd name="T74" fmla="*/ 2147483647 w 300"/>
              <a:gd name="T75" fmla="*/ 2147483647 h 288"/>
              <a:gd name="T76" fmla="*/ 2147483647 w 300"/>
              <a:gd name="T77" fmla="*/ 2147483647 h 288"/>
              <a:gd name="T78" fmla="*/ 0 w 300"/>
              <a:gd name="T79" fmla="*/ 2147483647 h 288"/>
              <a:gd name="T80" fmla="*/ 0 w 300"/>
              <a:gd name="T81" fmla="*/ 2147483647 h 288"/>
              <a:gd name="T82" fmla="*/ 2147483647 w 300"/>
              <a:gd name="T83" fmla="*/ 2147483647 h 288"/>
              <a:gd name="T84" fmla="*/ 2147483647 w 300"/>
              <a:gd name="T85" fmla="*/ 2147483647 h 288"/>
              <a:gd name="T86" fmla="*/ 2147483647 w 300"/>
              <a:gd name="T87" fmla="*/ 2147483647 h 288"/>
              <a:gd name="T88" fmla="*/ 2147483647 w 300"/>
              <a:gd name="T89" fmla="*/ 2147483647 h 288"/>
              <a:gd name="T90" fmla="*/ 2147483647 w 300"/>
              <a:gd name="T91" fmla="*/ 2147483647 h 288"/>
              <a:gd name="T92" fmla="*/ 2147483647 w 300"/>
              <a:gd name="T93" fmla="*/ 2147483647 h 288"/>
              <a:gd name="T94" fmla="*/ 2147483647 w 300"/>
              <a:gd name="T95" fmla="*/ 2147483647 h 288"/>
              <a:gd name="T96" fmla="*/ 2147483647 w 300"/>
              <a:gd name="T97" fmla="*/ 2147483647 h 288"/>
              <a:gd name="T98" fmla="*/ 2147483647 w 300"/>
              <a:gd name="T99" fmla="*/ 2147483647 h 288"/>
              <a:gd name="T100" fmla="*/ 2147483647 w 300"/>
              <a:gd name="T101" fmla="*/ 2147483647 h 288"/>
              <a:gd name="T102" fmla="*/ 2147483647 w 300"/>
              <a:gd name="T103" fmla="*/ 2147483647 h 288"/>
              <a:gd name="T104" fmla="*/ 2147483647 w 300"/>
              <a:gd name="T105" fmla="*/ 0 h 288"/>
              <a:gd name="T106" fmla="*/ 2147483647 w 300"/>
              <a:gd name="T107" fmla="*/ 2147483647 h 288"/>
              <a:gd name="T108" fmla="*/ 2147483647 w 300"/>
              <a:gd name="T109" fmla="*/ 2147483647 h 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0" h="288">
                <a:moveTo>
                  <a:pt x="171" y="83"/>
                </a:moveTo>
                <a:cubicBezTo>
                  <a:pt x="194" y="83"/>
                  <a:pt x="213" y="64"/>
                  <a:pt x="213" y="41"/>
                </a:cubicBezTo>
                <a:cubicBezTo>
                  <a:pt x="213" y="19"/>
                  <a:pt x="194" y="0"/>
                  <a:pt x="171" y="0"/>
                </a:cubicBezTo>
                <a:cubicBezTo>
                  <a:pt x="149" y="0"/>
                  <a:pt x="130" y="19"/>
                  <a:pt x="130" y="41"/>
                </a:cubicBezTo>
                <a:cubicBezTo>
                  <a:pt x="130" y="64"/>
                  <a:pt x="149" y="83"/>
                  <a:pt x="171" y="83"/>
                </a:cubicBezTo>
                <a:close/>
                <a:moveTo>
                  <a:pt x="300" y="142"/>
                </a:moveTo>
                <a:cubicBezTo>
                  <a:pt x="300" y="137"/>
                  <a:pt x="299" y="132"/>
                  <a:pt x="296" y="128"/>
                </a:cubicBezTo>
                <a:cubicBezTo>
                  <a:pt x="294" y="124"/>
                  <a:pt x="289" y="122"/>
                  <a:pt x="284" y="122"/>
                </a:cubicBezTo>
                <a:cubicBezTo>
                  <a:pt x="279" y="122"/>
                  <a:pt x="275" y="124"/>
                  <a:pt x="271" y="127"/>
                </a:cubicBezTo>
                <a:cubicBezTo>
                  <a:pt x="271" y="127"/>
                  <a:pt x="247" y="146"/>
                  <a:pt x="229" y="161"/>
                </a:cubicBezTo>
                <a:cubicBezTo>
                  <a:pt x="229" y="139"/>
                  <a:pt x="229" y="139"/>
                  <a:pt x="229" y="139"/>
                </a:cubicBezTo>
                <a:cubicBezTo>
                  <a:pt x="229" y="116"/>
                  <a:pt x="210" y="97"/>
                  <a:pt x="187" y="97"/>
                </a:cubicBezTo>
                <a:cubicBezTo>
                  <a:pt x="42" y="97"/>
                  <a:pt x="42" y="97"/>
                  <a:pt x="42" y="97"/>
                </a:cubicBezTo>
                <a:cubicBezTo>
                  <a:pt x="19" y="97"/>
                  <a:pt x="0" y="116"/>
                  <a:pt x="0" y="139"/>
                </a:cubicBezTo>
                <a:cubicBezTo>
                  <a:pt x="0" y="197"/>
                  <a:pt x="0" y="197"/>
                  <a:pt x="0" y="197"/>
                </a:cubicBezTo>
                <a:cubicBezTo>
                  <a:pt x="0" y="201"/>
                  <a:pt x="4" y="205"/>
                  <a:pt x="8" y="205"/>
                </a:cubicBezTo>
                <a:cubicBezTo>
                  <a:pt x="12" y="205"/>
                  <a:pt x="16" y="201"/>
                  <a:pt x="16" y="197"/>
                </a:cubicBezTo>
                <a:cubicBezTo>
                  <a:pt x="16" y="139"/>
                  <a:pt x="16" y="139"/>
                  <a:pt x="16" y="139"/>
                </a:cubicBezTo>
                <a:cubicBezTo>
                  <a:pt x="16" y="125"/>
                  <a:pt x="28" y="113"/>
                  <a:pt x="42" y="113"/>
                </a:cubicBezTo>
                <a:cubicBezTo>
                  <a:pt x="187" y="113"/>
                  <a:pt x="187" y="113"/>
                  <a:pt x="187" y="113"/>
                </a:cubicBezTo>
                <a:cubicBezTo>
                  <a:pt x="201" y="113"/>
                  <a:pt x="213" y="125"/>
                  <a:pt x="213" y="139"/>
                </a:cubicBezTo>
                <a:cubicBezTo>
                  <a:pt x="213" y="177"/>
                  <a:pt x="213" y="177"/>
                  <a:pt x="213" y="177"/>
                </a:cubicBezTo>
                <a:cubicBezTo>
                  <a:pt x="213" y="180"/>
                  <a:pt x="215" y="183"/>
                  <a:pt x="217" y="184"/>
                </a:cubicBezTo>
                <a:cubicBezTo>
                  <a:pt x="220" y="186"/>
                  <a:pt x="223" y="185"/>
                  <a:pt x="226" y="183"/>
                </a:cubicBezTo>
                <a:cubicBezTo>
                  <a:pt x="235" y="176"/>
                  <a:pt x="280" y="140"/>
                  <a:pt x="281" y="140"/>
                </a:cubicBezTo>
                <a:cubicBezTo>
                  <a:pt x="282" y="139"/>
                  <a:pt x="283" y="138"/>
                  <a:pt x="283" y="138"/>
                </a:cubicBezTo>
                <a:cubicBezTo>
                  <a:pt x="284" y="139"/>
                  <a:pt x="284" y="140"/>
                  <a:pt x="284" y="142"/>
                </a:cubicBezTo>
                <a:cubicBezTo>
                  <a:pt x="284" y="143"/>
                  <a:pt x="284" y="250"/>
                  <a:pt x="284" y="252"/>
                </a:cubicBezTo>
                <a:cubicBezTo>
                  <a:pt x="284" y="253"/>
                  <a:pt x="284" y="255"/>
                  <a:pt x="283" y="255"/>
                </a:cubicBezTo>
                <a:cubicBezTo>
                  <a:pt x="283" y="255"/>
                  <a:pt x="282" y="255"/>
                  <a:pt x="281" y="254"/>
                </a:cubicBezTo>
                <a:cubicBezTo>
                  <a:pt x="275" y="249"/>
                  <a:pt x="244" y="224"/>
                  <a:pt x="226" y="210"/>
                </a:cubicBezTo>
                <a:cubicBezTo>
                  <a:pt x="223" y="208"/>
                  <a:pt x="220" y="208"/>
                  <a:pt x="217" y="209"/>
                </a:cubicBezTo>
                <a:cubicBezTo>
                  <a:pt x="215" y="211"/>
                  <a:pt x="213" y="213"/>
                  <a:pt x="213" y="216"/>
                </a:cubicBezTo>
                <a:cubicBezTo>
                  <a:pt x="213" y="246"/>
                  <a:pt x="213" y="246"/>
                  <a:pt x="213" y="246"/>
                </a:cubicBezTo>
                <a:cubicBezTo>
                  <a:pt x="213" y="260"/>
                  <a:pt x="201" y="272"/>
                  <a:pt x="187" y="272"/>
                </a:cubicBezTo>
                <a:cubicBezTo>
                  <a:pt x="42" y="272"/>
                  <a:pt x="42" y="272"/>
                  <a:pt x="42" y="272"/>
                </a:cubicBezTo>
                <a:cubicBezTo>
                  <a:pt x="28" y="272"/>
                  <a:pt x="16" y="260"/>
                  <a:pt x="16" y="246"/>
                </a:cubicBezTo>
                <a:cubicBezTo>
                  <a:pt x="16" y="229"/>
                  <a:pt x="16" y="229"/>
                  <a:pt x="16" y="229"/>
                </a:cubicBezTo>
                <a:cubicBezTo>
                  <a:pt x="16" y="224"/>
                  <a:pt x="12" y="221"/>
                  <a:pt x="8" y="221"/>
                </a:cubicBezTo>
                <a:cubicBezTo>
                  <a:pt x="4" y="221"/>
                  <a:pt x="0" y="224"/>
                  <a:pt x="0" y="229"/>
                </a:cubicBezTo>
                <a:cubicBezTo>
                  <a:pt x="0" y="246"/>
                  <a:pt x="0" y="246"/>
                  <a:pt x="0" y="246"/>
                </a:cubicBezTo>
                <a:cubicBezTo>
                  <a:pt x="0" y="269"/>
                  <a:pt x="19" y="288"/>
                  <a:pt x="42" y="288"/>
                </a:cubicBezTo>
                <a:cubicBezTo>
                  <a:pt x="187" y="288"/>
                  <a:pt x="187" y="288"/>
                  <a:pt x="187" y="288"/>
                </a:cubicBezTo>
                <a:cubicBezTo>
                  <a:pt x="210" y="288"/>
                  <a:pt x="229" y="269"/>
                  <a:pt x="229" y="246"/>
                </a:cubicBezTo>
                <a:cubicBezTo>
                  <a:pt x="229" y="233"/>
                  <a:pt x="229" y="233"/>
                  <a:pt x="229" y="233"/>
                </a:cubicBezTo>
                <a:cubicBezTo>
                  <a:pt x="246" y="246"/>
                  <a:pt x="266" y="262"/>
                  <a:pt x="271" y="266"/>
                </a:cubicBezTo>
                <a:cubicBezTo>
                  <a:pt x="275" y="269"/>
                  <a:pt x="279" y="271"/>
                  <a:pt x="284" y="271"/>
                </a:cubicBezTo>
                <a:cubicBezTo>
                  <a:pt x="288" y="272"/>
                  <a:pt x="293" y="269"/>
                  <a:pt x="296" y="265"/>
                </a:cubicBezTo>
                <a:cubicBezTo>
                  <a:pt x="299" y="261"/>
                  <a:pt x="300" y="257"/>
                  <a:pt x="300" y="252"/>
                </a:cubicBezTo>
                <a:cubicBezTo>
                  <a:pt x="300" y="250"/>
                  <a:pt x="300" y="143"/>
                  <a:pt x="300" y="142"/>
                </a:cubicBezTo>
                <a:close/>
                <a:moveTo>
                  <a:pt x="66" y="83"/>
                </a:moveTo>
                <a:cubicBezTo>
                  <a:pt x="89" y="83"/>
                  <a:pt x="107" y="64"/>
                  <a:pt x="107" y="41"/>
                </a:cubicBezTo>
                <a:cubicBezTo>
                  <a:pt x="107" y="19"/>
                  <a:pt x="89" y="0"/>
                  <a:pt x="66" y="0"/>
                </a:cubicBezTo>
                <a:cubicBezTo>
                  <a:pt x="43" y="0"/>
                  <a:pt x="25" y="19"/>
                  <a:pt x="25" y="41"/>
                </a:cubicBezTo>
                <a:cubicBezTo>
                  <a:pt x="25" y="64"/>
                  <a:pt x="43" y="83"/>
                  <a:pt x="66" y="83"/>
                </a:cubicBezTo>
                <a:close/>
              </a:path>
            </a:pathLst>
          </a:custGeom>
          <a:solidFill>
            <a:srgbClr val="0394BD"/>
          </a:solidFill>
          <a:ln>
            <a:noFill/>
          </a:ln>
        </p:spPr>
        <p:txBody>
          <a:bodyPr/>
          <a:lstStyle/>
          <a:p>
            <a:endParaRPr lang="en-GB" dirty="0">
              <a:solidFill>
                <a:srgbClr val="58585A"/>
              </a:solidFill>
            </a:endParaRPr>
          </a:p>
        </p:txBody>
      </p:sp>
      <p:sp>
        <p:nvSpPr>
          <p:cNvPr id="71" name="Freeform 3"/>
          <p:cNvSpPr>
            <a:spLocks noChangeAspect="1" noEditPoints="1"/>
          </p:cNvSpPr>
          <p:nvPr/>
        </p:nvSpPr>
        <p:spPr bwMode="auto">
          <a:xfrm>
            <a:off x="6903453" y="5620284"/>
            <a:ext cx="736420" cy="586454"/>
          </a:xfrm>
          <a:custGeom>
            <a:avLst/>
            <a:gdLst>
              <a:gd name="T0" fmla="*/ 2147483647 w 418"/>
              <a:gd name="T1" fmla="*/ 2147483647 h 333"/>
              <a:gd name="T2" fmla="*/ 2147483647 w 418"/>
              <a:gd name="T3" fmla="*/ 2147483647 h 333"/>
              <a:gd name="T4" fmla="*/ 2147483647 w 418"/>
              <a:gd name="T5" fmla="*/ 0 h 333"/>
              <a:gd name="T6" fmla="*/ 0 w 418"/>
              <a:gd name="T7" fmla="*/ 2147483647 h 333"/>
              <a:gd name="T8" fmla="*/ 2147483647 w 418"/>
              <a:gd name="T9" fmla="*/ 2147483647 h 333"/>
              <a:gd name="T10" fmla="*/ 2147483647 w 418"/>
              <a:gd name="T11" fmla="*/ 2147483647 h 333"/>
              <a:gd name="T12" fmla="*/ 2147483647 w 418"/>
              <a:gd name="T13" fmla="*/ 2147483647 h 333"/>
              <a:gd name="T14" fmla="*/ 2147483647 w 418"/>
              <a:gd name="T15" fmla="*/ 2147483647 h 333"/>
              <a:gd name="T16" fmla="*/ 2147483647 w 418"/>
              <a:gd name="T17" fmla="*/ 2147483647 h 333"/>
              <a:gd name="T18" fmla="*/ 2147483647 w 418"/>
              <a:gd name="T19" fmla="*/ 2147483647 h 333"/>
              <a:gd name="T20" fmla="*/ 2147483647 w 418"/>
              <a:gd name="T21" fmla="*/ 2147483647 h 333"/>
              <a:gd name="T22" fmla="*/ 2147483647 w 418"/>
              <a:gd name="T23" fmla="*/ 2147483647 h 333"/>
              <a:gd name="T24" fmla="*/ 2147483647 w 418"/>
              <a:gd name="T25" fmla="*/ 2147483647 h 333"/>
              <a:gd name="T26" fmla="*/ 2147483647 w 418"/>
              <a:gd name="T27" fmla="*/ 2147483647 h 333"/>
              <a:gd name="T28" fmla="*/ 2147483647 w 418"/>
              <a:gd name="T29" fmla="*/ 2147483647 h 333"/>
              <a:gd name="T30" fmla="*/ 2147483647 w 418"/>
              <a:gd name="T31" fmla="*/ 2147483647 h 333"/>
              <a:gd name="T32" fmla="*/ 2147483647 w 418"/>
              <a:gd name="T33" fmla="*/ 2147483647 h 333"/>
              <a:gd name="T34" fmla="*/ 2147483647 w 418"/>
              <a:gd name="T35" fmla="*/ 2147483647 h 333"/>
              <a:gd name="T36" fmla="*/ 2147483647 w 418"/>
              <a:gd name="T37" fmla="*/ 2147483647 h 333"/>
              <a:gd name="T38" fmla="*/ 2147483647 w 418"/>
              <a:gd name="T39" fmla="*/ 2147483647 h 333"/>
              <a:gd name="T40" fmla="*/ 2147483647 w 418"/>
              <a:gd name="T41" fmla="*/ 2147483647 h 333"/>
              <a:gd name="T42" fmla="*/ 2147483647 w 418"/>
              <a:gd name="T43" fmla="*/ 2147483647 h 333"/>
              <a:gd name="T44" fmla="*/ 2147483647 w 418"/>
              <a:gd name="T45" fmla="*/ 2147483647 h 333"/>
              <a:gd name="T46" fmla="*/ 2147483647 w 418"/>
              <a:gd name="T47" fmla="*/ 2147483647 h 333"/>
              <a:gd name="T48" fmla="*/ 2147483647 w 418"/>
              <a:gd name="T49" fmla="*/ 2147483647 h 333"/>
              <a:gd name="T50" fmla="*/ 2147483647 w 418"/>
              <a:gd name="T51" fmla="*/ 2147483647 h 333"/>
              <a:gd name="T52" fmla="*/ 2147483647 w 418"/>
              <a:gd name="T53" fmla="*/ 2147483647 h 333"/>
              <a:gd name="T54" fmla="*/ 2147483647 w 418"/>
              <a:gd name="T55" fmla="*/ 2147483647 h 333"/>
              <a:gd name="T56" fmla="*/ 2147483647 w 418"/>
              <a:gd name="T57" fmla="*/ 2147483647 h 333"/>
              <a:gd name="T58" fmla="*/ 2147483647 w 418"/>
              <a:gd name="T59" fmla="*/ 2147483647 h 333"/>
              <a:gd name="T60" fmla="*/ 2147483647 w 418"/>
              <a:gd name="T61" fmla="*/ 2147483647 h 333"/>
              <a:gd name="T62" fmla="*/ 2147483647 w 418"/>
              <a:gd name="T63" fmla="*/ 2147483647 h 333"/>
              <a:gd name="T64" fmla="*/ 2147483647 w 418"/>
              <a:gd name="T65" fmla="*/ 2147483647 h 333"/>
              <a:gd name="T66" fmla="*/ 2147483647 w 418"/>
              <a:gd name="T67" fmla="*/ 2147483647 h 333"/>
              <a:gd name="T68" fmla="*/ 2147483647 w 418"/>
              <a:gd name="T69" fmla="*/ 2147483647 h 333"/>
              <a:gd name="T70" fmla="*/ 2147483647 w 418"/>
              <a:gd name="T71" fmla="*/ 2147483647 h 333"/>
              <a:gd name="T72" fmla="*/ 2147483647 w 418"/>
              <a:gd name="T73" fmla="*/ 2147483647 h 333"/>
              <a:gd name="T74" fmla="*/ 2147483647 w 418"/>
              <a:gd name="T75" fmla="*/ 2147483647 h 333"/>
              <a:gd name="T76" fmla="*/ 2147483647 w 418"/>
              <a:gd name="T77" fmla="*/ 2147483647 h 333"/>
              <a:gd name="T78" fmla="*/ 2147483647 w 418"/>
              <a:gd name="T79" fmla="*/ 2147483647 h 333"/>
              <a:gd name="T80" fmla="*/ 2147483647 w 418"/>
              <a:gd name="T81" fmla="*/ 2147483647 h 333"/>
              <a:gd name="T82" fmla="*/ 2147483647 w 418"/>
              <a:gd name="T83" fmla="*/ 2147483647 h 333"/>
              <a:gd name="T84" fmla="*/ 2147483647 w 418"/>
              <a:gd name="T85" fmla="*/ 2147483647 h 333"/>
              <a:gd name="T86" fmla="*/ 2147483647 w 418"/>
              <a:gd name="T87" fmla="*/ 2147483647 h 333"/>
              <a:gd name="T88" fmla="*/ 2147483647 w 418"/>
              <a:gd name="T89" fmla="*/ 2147483647 h 333"/>
              <a:gd name="T90" fmla="*/ 2147483647 w 418"/>
              <a:gd name="T91" fmla="*/ 2147483647 h 333"/>
              <a:gd name="T92" fmla="*/ 2147483647 w 418"/>
              <a:gd name="T93" fmla="*/ 2147483647 h 333"/>
              <a:gd name="T94" fmla="*/ 2147483647 w 418"/>
              <a:gd name="T95" fmla="*/ 2147483647 h 333"/>
              <a:gd name="T96" fmla="*/ 2147483647 w 418"/>
              <a:gd name="T97" fmla="*/ 2147483647 h 333"/>
              <a:gd name="T98" fmla="*/ 2147483647 w 418"/>
              <a:gd name="T99" fmla="*/ 2147483647 h 333"/>
              <a:gd name="T100" fmla="*/ 2147483647 w 418"/>
              <a:gd name="T101" fmla="*/ 2147483647 h 333"/>
              <a:gd name="T102" fmla="*/ 2147483647 w 418"/>
              <a:gd name="T103" fmla="*/ 2147483647 h 333"/>
              <a:gd name="T104" fmla="*/ 2147483647 w 418"/>
              <a:gd name="T105" fmla="*/ 2147483647 h 333"/>
              <a:gd name="T106" fmla="*/ 2147483647 w 418"/>
              <a:gd name="T107" fmla="*/ 2147483647 h 333"/>
              <a:gd name="T108" fmla="*/ 2147483647 w 418"/>
              <a:gd name="T109" fmla="*/ 2147483647 h 333"/>
              <a:gd name="T110" fmla="*/ 2147483647 w 418"/>
              <a:gd name="T111" fmla="*/ 2147483647 h 333"/>
              <a:gd name="T112" fmla="*/ 2147483647 w 418"/>
              <a:gd name="T113" fmla="*/ 2147483647 h 333"/>
              <a:gd name="T114" fmla="*/ 2147483647 w 418"/>
              <a:gd name="T115" fmla="*/ 2147483647 h 333"/>
              <a:gd name="T116" fmla="*/ 2147483647 w 418"/>
              <a:gd name="T117" fmla="*/ 2147483647 h 333"/>
              <a:gd name="T118" fmla="*/ 2147483647 w 418"/>
              <a:gd name="T119" fmla="*/ 2147483647 h 333"/>
              <a:gd name="T120" fmla="*/ 2147483647 w 418"/>
              <a:gd name="T121" fmla="*/ 2147483647 h 333"/>
              <a:gd name="T122" fmla="*/ 2147483647 w 418"/>
              <a:gd name="T123" fmla="*/ 2147483647 h 333"/>
              <a:gd name="T124" fmla="*/ 2147483647 w 418"/>
              <a:gd name="T125" fmla="*/ 2147483647 h 33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8" h="333">
                <a:moveTo>
                  <a:pt x="402" y="94"/>
                </a:moveTo>
                <a:cubicBezTo>
                  <a:pt x="402" y="98"/>
                  <a:pt x="406" y="102"/>
                  <a:pt x="410" y="102"/>
                </a:cubicBezTo>
                <a:cubicBezTo>
                  <a:pt x="415" y="102"/>
                  <a:pt x="418" y="98"/>
                  <a:pt x="418" y="94"/>
                </a:cubicBezTo>
                <a:cubicBezTo>
                  <a:pt x="418" y="31"/>
                  <a:pt x="418" y="31"/>
                  <a:pt x="418" y="31"/>
                </a:cubicBezTo>
                <a:cubicBezTo>
                  <a:pt x="418" y="14"/>
                  <a:pt x="405" y="0"/>
                  <a:pt x="388" y="0"/>
                </a:cubicBezTo>
                <a:cubicBezTo>
                  <a:pt x="31" y="0"/>
                  <a:pt x="31" y="0"/>
                  <a:pt x="31" y="0"/>
                </a:cubicBezTo>
                <a:cubicBezTo>
                  <a:pt x="14" y="0"/>
                  <a:pt x="0" y="14"/>
                  <a:pt x="0" y="31"/>
                </a:cubicBezTo>
                <a:cubicBezTo>
                  <a:pt x="0" y="303"/>
                  <a:pt x="0" y="303"/>
                  <a:pt x="0" y="303"/>
                </a:cubicBezTo>
                <a:cubicBezTo>
                  <a:pt x="0" y="320"/>
                  <a:pt x="14" y="333"/>
                  <a:pt x="31" y="333"/>
                </a:cubicBezTo>
                <a:cubicBezTo>
                  <a:pt x="388" y="333"/>
                  <a:pt x="388" y="333"/>
                  <a:pt x="388" y="333"/>
                </a:cubicBezTo>
                <a:cubicBezTo>
                  <a:pt x="405" y="333"/>
                  <a:pt x="418" y="320"/>
                  <a:pt x="418" y="303"/>
                </a:cubicBezTo>
                <a:cubicBezTo>
                  <a:pt x="418" y="125"/>
                  <a:pt x="418" y="125"/>
                  <a:pt x="418" y="125"/>
                </a:cubicBezTo>
                <a:cubicBezTo>
                  <a:pt x="418" y="121"/>
                  <a:pt x="415" y="117"/>
                  <a:pt x="410" y="117"/>
                </a:cubicBezTo>
                <a:cubicBezTo>
                  <a:pt x="406" y="117"/>
                  <a:pt x="402" y="121"/>
                  <a:pt x="402" y="125"/>
                </a:cubicBezTo>
                <a:cubicBezTo>
                  <a:pt x="402" y="264"/>
                  <a:pt x="402" y="264"/>
                  <a:pt x="402" y="264"/>
                </a:cubicBezTo>
                <a:cubicBezTo>
                  <a:pt x="18" y="264"/>
                  <a:pt x="18" y="264"/>
                  <a:pt x="18" y="264"/>
                </a:cubicBezTo>
                <a:cubicBezTo>
                  <a:pt x="18" y="69"/>
                  <a:pt x="18" y="69"/>
                  <a:pt x="18" y="69"/>
                </a:cubicBezTo>
                <a:cubicBezTo>
                  <a:pt x="402" y="69"/>
                  <a:pt x="402" y="69"/>
                  <a:pt x="402" y="69"/>
                </a:cubicBezTo>
                <a:lnTo>
                  <a:pt x="402" y="94"/>
                </a:lnTo>
                <a:close/>
                <a:moveTo>
                  <a:pt x="353" y="292"/>
                </a:moveTo>
                <a:cubicBezTo>
                  <a:pt x="353" y="286"/>
                  <a:pt x="358" y="280"/>
                  <a:pt x="365" y="280"/>
                </a:cubicBezTo>
                <a:cubicBezTo>
                  <a:pt x="390" y="280"/>
                  <a:pt x="390" y="280"/>
                  <a:pt x="390" y="280"/>
                </a:cubicBezTo>
                <a:cubicBezTo>
                  <a:pt x="397" y="280"/>
                  <a:pt x="402" y="286"/>
                  <a:pt x="402" y="292"/>
                </a:cubicBezTo>
                <a:cubicBezTo>
                  <a:pt x="402" y="305"/>
                  <a:pt x="402" y="305"/>
                  <a:pt x="402" y="305"/>
                </a:cubicBezTo>
                <a:cubicBezTo>
                  <a:pt x="402" y="312"/>
                  <a:pt x="397" y="317"/>
                  <a:pt x="390" y="317"/>
                </a:cubicBezTo>
                <a:cubicBezTo>
                  <a:pt x="365" y="317"/>
                  <a:pt x="365" y="317"/>
                  <a:pt x="365" y="317"/>
                </a:cubicBezTo>
                <a:cubicBezTo>
                  <a:pt x="358" y="317"/>
                  <a:pt x="353" y="312"/>
                  <a:pt x="353" y="305"/>
                </a:cubicBezTo>
                <a:lnTo>
                  <a:pt x="353" y="292"/>
                </a:lnTo>
                <a:close/>
                <a:moveTo>
                  <a:pt x="286" y="292"/>
                </a:moveTo>
                <a:cubicBezTo>
                  <a:pt x="286" y="286"/>
                  <a:pt x="291" y="280"/>
                  <a:pt x="297" y="280"/>
                </a:cubicBezTo>
                <a:cubicBezTo>
                  <a:pt x="323" y="280"/>
                  <a:pt x="323" y="280"/>
                  <a:pt x="323" y="280"/>
                </a:cubicBezTo>
                <a:cubicBezTo>
                  <a:pt x="330" y="280"/>
                  <a:pt x="335" y="286"/>
                  <a:pt x="335" y="292"/>
                </a:cubicBezTo>
                <a:cubicBezTo>
                  <a:pt x="335" y="305"/>
                  <a:pt x="335" y="305"/>
                  <a:pt x="335" y="305"/>
                </a:cubicBezTo>
                <a:cubicBezTo>
                  <a:pt x="335" y="312"/>
                  <a:pt x="330" y="317"/>
                  <a:pt x="323" y="317"/>
                </a:cubicBezTo>
                <a:cubicBezTo>
                  <a:pt x="297" y="317"/>
                  <a:pt x="297" y="317"/>
                  <a:pt x="297" y="317"/>
                </a:cubicBezTo>
                <a:cubicBezTo>
                  <a:pt x="291" y="317"/>
                  <a:pt x="286" y="312"/>
                  <a:pt x="286" y="305"/>
                </a:cubicBezTo>
                <a:lnTo>
                  <a:pt x="286" y="292"/>
                </a:lnTo>
                <a:close/>
                <a:moveTo>
                  <a:pt x="218" y="292"/>
                </a:moveTo>
                <a:cubicBezTo>
                  <a:pt x="218" y="286"/>
                  <a:pt x="224" y="280"/>
                  <a:pt x="230" y="280"/>
                </a:cubicBezTo>
                <a:cubicBezTo>
                  <a:pt x="256" y="280"/>
                  <a:pt x="256" y="280"/>
                  <a:pt x="256" y="280"/>
                </a:cubicBezTo>
                <a:cubicBezTo>
                  <a:pt x="262" y="280"/>
                  <a:pt x="268" y="286"/>
                  <a:pt x="268" y="292"/>
                </a:cubicBezTo>
                <a:cubicBezTo>
                  <a:pt x="268" y="305"/>
                  <a:pt x="268" y="305"/>
                  <a:pt x="268" y="305"/>
                </a:cubicBezTo>
                <a:cubicBezTo>
                  <a:pt x="268" y="312"/>
                  <a:pt x="262" y="317"/>
                  <a:pt x="256" y="317"/>
                </a:cubicBezTo>
                <a:cubicBezTo>
                  <a:pt x="230" y="317"/>
                  <a:pt x="230" y="317"/>
                  <a:pt x="230" y="317"/>
                </a:cubicBezTo>
                <a:cubicBezTo>
                  <a:pt x="224" y="317"/>
                  <a:pt x="218" y="312"/>
                  <a:pt x="218" y="305"/>
                </a:cubicBezTo>
                <a:lnTo>
                  <a:pt x="218" y="292"/>
                </a:lnTo>
                <a:close/>
                <a:moveTo>
                  <a:pt x="151" y="292"/>
                </a:moveTo>
                <a:cubicBezTo>
                  <a:pt x="151" y="286"/>
                  <a:pt x="156" y="280"/>
                  <a:pt x="163" y="280"/>
                </a:cubicBezTo>
                <a:cubicBezTo>
                  <a:pt x="189" y="280"/>
                  <a:pt x="189" y="280"/>
                  <a:pt x="189" y="280"/>
                </a:cubicBezTo>
                <a:cubicBezTo>
                  <a:pt x="195" y="280"/>
                  <a:pt x="200" y="286"/>
                  <a:pt x="200" y="292"/>
                </a:cubicBezTo>
                <a:cubicBezTo>
                  <a:pt x="200" y="305"/>
                  <a:pt x="200" y="305"/>
                  <a:pt x="200" y="305"/>
                </a:cubicBezTo>
                <a:cubicBezTo>
                  <a:pt x="200" y="312"/>
                  <a:pt x="195" y="317"/>
                  <a:pt x="189" y="317"/>
                </a:cubicBezTo>
                <a:cubicBezTo>
                  <a:pt x="163" y="317"/>
                  <a:pt x="163" y="317"/>
                  <a:pt x="163" y="317"/>
                </a:cubicBezTo>
                <a:cubicBezTo>
                  <a:pt x="156" y="317"/>
                  <a:pt x="151" y="312"/>
                  <a:pt x="151" y="305"/>
                </a:cubicBezTo>
                <a:lnTo>
                  <a:pt x="151" y="292"/>
                </a:lnTo>
                <a:close/>
                <a:moveTo>
                  <a:pt x="84" y="292"/>
                </a:moveTo>
                <a:cubicBezTo>
                  <a:pt x="84" y="286"/>
                  <a:pt x="89" y="280"/>
                  <a:pt x="96" y="280"/>
                </a:cubicBezTo>
                <a:cubicBezTo>
                  <a:pt x="121" y="280"/>
                  <a:pt x="121" y="280"/>
                  <a:pt x="121" y="280"/>
                </a:cubicBezTo>
                <a:cubicBezTo>
                  <a:pt x="128" y="280"/>
                  <a:pt x="133" y="286"/>
                  <a:pt x="133" y="292"/>
                </a:cubicBezTo>
                <a:cubicBezTo>
                  <a:pt x="133" y="305"/>
                  <a:pt x="133" y="305"/>
                  <a:pt x="133" y="305"/>
                </a:cubicBezTo>
                <a:cubicBezTo>
                  <a:pt x="133" y="312"/>
                  <a:pt x="128" y="317"/>
                  <a:pt x="121" y="317"/>
                </a:cubicBezTo>
                <a:cubicBezTo>
                  <a:pt x="96" y="317"/>
                  <a:pt x="96" y="317"/>
                  <a:pt x="96" y="317"/>
                </a:cubicBezTo>
                <a:cubicBezTo>
                  <a:pt x="89" y="317"/>
                  <a:pt x="84" y="312"/>
                  <a:pt x="84" y="305"/>
                </a:cubicBezTo>
                <a:lnTo>
                  <a:pt x="84" y="292"/>
                </a:lnTo>
                <a:close/>
                <a:moveTo>
                  <a:pt x="28" y="280"/>
                </a:moveTo>
                <a:cubicBezTo>
                  <a:pt x="54" y="280"/>
                  <a:pt x="54" y="280"/>
                  <a:pt x="54" y="280"/>
                </a:cubicBezTo>
                <a:cubicBezTo>
                  <a:pt x="61" y="280"/>
                  <a:pt x="66" y="286"/>
                  <a:pt x="66" y="292"/>
                </a:cubicBezTo>
                <a:cubicBezTo>
                  <a:pt x="66" y="305"/>
                  <a:pt x="66" y="305"/>
                  <a:pt x="66" y="305"/>
                </a:cubicBezTo>
                <a:cubicBezTo>
                  <a:pt x="66" y="312"/>
                  <a:pt x="61" y="317"/>
                  <a:pt x="54" y="317"/>
                </a:cubicBezTo>
                <a:cubicBezTo>
                  <a:pt x="28" y="317"/>
                  <a:pt x="28" y="317"/>
                  <a:pt x="28" y="317"/>
                </a:cubicBezTo>
                <a:cubicBezTo>
                  <a:pt x="22" y="317"/>
                  <a:pt x="17" y="312"/>
                  <a:pt x="17" y="305"/>
                </a:cubicBezTo>
                <a:cubicBezTo>
                  <a:pt x="17" y="292"/>
                  <a:pt x="17" y="292"/>
                  <a:pt x="17" y="292"/>
                </a:cubicBezTo>
                <a:cubicBezTo>
                  <a:pt x="17" y="286"/>
                  <a:pt x="22" y="280"/>
                  <a:pt x="28" y="280"/>
                </a:cubicBezTo>
                <a:close/>
                <a:moveTo>
                  <a:pt x="65" y="41"/>
                </a:moveTo>
                <a:cubicBezTo>
                  <a:pt x="65" y="48"/>
                  <a:pt x="60" y="53"/>
                  <a:pt x="54" y="53"/>
                </a:cubicBezTo>
                <a:cubicBezTo>
                  <a:pt x="28" y="53"/>
                  <a:pt x="28" y="53"/>
                  <a:pt x="28" y="53"/>
                </a:cubicBezTo>
                <a:cubicBezTo>
                  <a:pt x="22" y="53"/>
                  <a:pt x="16" y="48"/>
                  <a:pt x="16" y="41"/>
                </a:cubicBezTo>
                <a:cubicBezTo>
                  <a:pt x="16" y="28"/>
                  <a:pt x="16" y="28"/>
                  <a:pt x="16" y="28"/>
                </a:cubicBezTo>
                <a:cubicBezTo>
                  <a:pt x="16" y="22"/>
                  <a:pt x="22" y="17"/>
                  <a:pt x="28" y="17"/>
                </a:cubicBezTo>
                <a:cubicBezTo>
                  <a:pt x="54" y="17"/>
                  <a:pt x="54" y="17"/>
                  <a:pt x="54" y="17"/>
                </a:cubicBezTo>
                <a:cubicBezTo>
                  <a:pt x="60" y="17"/>
                  <a:pt x="65" y="22"/>
                  <a:pt x="65" y="28"/>
                </a:cubicBezTo>
                <a:lnTo>
                  <a:pt x="65" y="41"/>
                </a:lnTo>
                <a:close/>
                <a:moveTo>
                  <a:pt x="133" y="41"/>
                </a:moveTo>
                <a:cubicBezTo>
                  <a:pt x="133" y="48"/>
                  <a:pt x="128" y="53"/>
                  <a:pt x="121" y="53"/>
                </a:cubicBezTo>
                <a:cubicBezTo>
                  <a:pt x="95" y="53"/>
                  <a:pt x="95" y="53"/>
                  <a:pt x="95" y="53"/>
                </a:cubicBezTo>
                <a:cubicBezTo>
                  <a:pt x="89" y="53"/>
                  <a:pt x="84" y="48"/>
                  <a:pt x="84" y="41"/>
                </a:cubicBezTo>
                <a:cubicBezTo>
                  <a:pt x="84" y="28"/>
                  <a:pt x="84" y="28"/>
                  <a:pt x="84" y="28"/>
                </a:cubicBezTo>
                <a:cubicBezTo>
                  <a:pt x="84" y="22"/>
                  <a:pt x="89" y="17"/>
                  <a:pt x="95" y="17"/>
                </a:cubicBezTo>
                <a:cubicBezTo>
                  <a:pt x="121" y="17"/>
                  <a:pt x="121" y="17"/>
                  <a:pt x="121" y="17"/>
                </a:cubicBezTo>
                <a:cubicBezTo>
                  <a:pt x="128" y="17"/>
                  <a:pt x="133" y="22"/>
                  <a:pt x="133" y="28"/>
                </a:cubicBezTo>
                <a:lnTo>
                  <a:pt x="133" y="41"/>
                </a:lnTo>
                <a:close/>
                <a:moveTo>
                  <a:pt x="200" y="41"/>
                </a:moveTo>
                <a:cubicBezTo>
                  <a:pt x="200" y="48"/>
                  <a:pt x="195" y="53"/>
                  <a:pt x="188" y="53"/>
                </a:cubicBezTo>
                <a:cubicBezTo>
                  <a:pt x="162" y="53"/>
                  <a:pt x="162" y="53"/>
                  <a:pt x="162" y="53"/>
                </a:cubicBezTo>
                <a:cubicBezTo>
                  <a:pt x="156" y="53"/>
                  <a:pt x="151" y="48"/>
                  <a:pt x="151" y="41"/>
                </a:cubicBezTo>
                <a:cubicBezTo>
                  <a:pt x="151" y="28"/>
                  <a:pt x="151" y="28"/>
                  <a:pt x="151" y="28"/>
                </a:cubicBezTo>
                <a:cubicBezTo>
                  <a:pt x="151" y="22"/>
                  <a:pt x="156" y="17"/>
                  <a:pt x="162" y="17"/>
                </a:cubicBezTo>
                <a:cubicBezTo>
                  <a:pt x="188" y="17"/>
                  <a:pt x="188" y="17"/>
                  <a:pt x="188" y="17"/>
                </a:cubicBezTo>
                <a:cubicBezTo>
                  <a:pt x="195" y="17"/>
                  <a:pt x="200" y="22"/>
                  <a:pt x="200" y="28"/>
                </a:cubicBezTo>
                <a:lnTo>
                  <a:pt x="200" y="41"/>
                </a:lnTo>
                <a:close/>
                <a:moveTo>
                  <a:pt x="267" y="41"/>
                </a:moveTo>
                <a:cubicBezTo>
                  <a:pt x="267" y="48"/>
                  <a:pt x="262" y="53"/>
                  <a:pt x="256" y="53"/>
                </a:cubicBezTo>
                <a:cubicBezTo>
                  <a:pt x="230" y="53"/>
                  <a:pt x="230" y="53"/>
                  <a:pt x="230" y="53"/>
                </a:cubicBezTo>
                <a:cubicBezTo>
                  <a:pt x="223" y="53"/>
                  <a:pt x="218" y="48"/>
                  <a:pt x="218" y="41"/>
                </a:cubicBezTo>
                <a:cubicBezTo>
                  <a:pt x="218" y="28"/>
                  <a:pt x="218" y="28"/>
                  <a:pt x="218" y="28"/>
                </a:cubicBezTo>
                <a:cubicBezTo>
                  <a:pt x="218" y="22"/>
                  <a:pt x="223" y="17"/>
                  <a:pt x="230" y="17"/>
                </a:cubicBezTo>
                <a:cubicBezTo>
                  <a:pt x="256" y="17"/>
                  <a:pt x="256" y="17"/>
                  <a:pt x="256" y="17"/>
                </a:cubicBezTo>
                <a:cubicBezTo>
                  <a:pt x="262" y="17"/>
                  <a:pt x="267" y="22"/>
                  <a:pt x="267" y="28"/>
                </a:cubicBezTo>
                <a:lnTo>
                  <a:pt x="267" y="41"/>
                </a:lnTo>
                <a:close/>
                <a:moveTo>
                  <a:pt x="335" y="41"/>
                </a:moveTo>
                <a:cubicBezTo>
                  <a:pt x="335" y="48"/>
                  <a:pt x="329" y="53"/>
                  <a:pt x="323" y="53"/>
                </a:cubicBezTo>
                <a:cubicBezTo>
                  <a:pt x="297" y="53"/>
                  <a:pt x="297" y="53"/>
                  <a:pt x="297" y="53"/>
                </a:cubicBezTo>
                <a:cubicBezTo>
                  <a:pt x="291" y="53"/>
                  <a:pt x="285" y="48"/>
                  <a:pt x="285" y="41"/>
                </a:cubicBezTo>
                <a:cubicBezTo>
                  <a:pt x="285" y="28"/>
                  <a:pt x="285" y="28"/>
                  <a:pt x="285" y="28"/>
                </a:cubicBezTo>
                <a:cubicBezTo>
                  <a:pt x="285" y="22"/>
                  <a:pt x="291" y="17"/>
                  <a:pt x="297" y="17"/>
                </a:cubicBezTo>
                <a:cubicBezTo>
                  <a:pt x="323" y="17"/>
                  <a:pt x="323" y="17"/>
                  <a:pt x="323" y="17"/>
                </a:cubicBezTo>
                <a:cubicBezTo>
                  <a:pt x="329" y="17"/>
                  <a:pt x="335" y="22"/>
                  <a:pt x="335" y="28"/>
                </a:cubicBezTo>
                <a:lnTo>
                  <a:pt x="335" y="41"/>
                </a:lnTo>
                <a:close/>
                <a:moveTo>
                  <a:pt x="402" y="41"/>
                </a:moveTo>
                <a:cubicBezTo>
                  <a:pt x="402" y="48"/>
                  <a:pt x="397" y="53"/>
                  <a:pt x="390" y="53"/>
                </a:cubicBezTo>
                <a:cubicBezTo>
                  <a:pt x="364" y="53"/>
                  <a:pt x="364" y="53"/>
                  <a:pt x="364" y="53"/>
                </a:cubicBezTo>
                <a:cubicBezTo>
                  <a:pt x="358" y="53"/>
                  <a:pt x="353" y="48"/>
                  <a:pt x="353" y="41"/>
                </a:cubicBezTo>
                <a:cubicBezTo>
                  <a:pt x="353" y="28"/>
                  <a:pt x="353" y="28"/>
                  <a:pt x="353" y="28"/>
                </a:cubicBezTo>
                <a:cubicBezTo>
                  <a:pt x="353" y="22"/>
                  <a:pt x="358" y="17"/>
                  <a:pt x="364" y="17"/>
                </a:cubicBezTo>
                <a:cubicBezTo>
                  <a:pt x="390" y="17"/>
                  <a:pt x="390" y="17"/>
                  <a:pt x="390" y="17"/>
                </a:cubicBezTo>
                <a:cubicBezTo>
                  <a:pt x="397" y="17"/>
                  <a:pt x="402" y="22"/>
                  <a:pt x="402" y="28"/>
                </a:cubicBezTo>
                <a:lnTo>
                  <a:pt x="402" y="41"/>
                </a:lnTo>
                <a:close/>
              </a:path>
            </a:pathLst>
          </a:custGeom>
          <a:solidFill>
            <a:srgbClr val="0394BD"/>
          </a:solidFill>
          <a:ln>
            <a:noFill/>
          </a:ln>
        </p:spPr>
        <p:txBody>
          <a:bodyPr/>
          <a:lstStyle/>
          <a:p>
            <a:endParaRPr lang="en-GB" dirty="0">
              <a:solidFill>
                <a:srgbClr val="58585A"/>
              </a:solidFill>
            </a:endParaRPr>
          </a:p>
        </p:txBody>
      </p:sp>
      <p:sp>
        <p:nvSpPr>
          <p:cNvPr id="72" name="Freeform 3"/>
          <p:cNvSpPr>
            <a:spLocks noChangeAspect="1" noEditPoints="1"/>
          </p:cNvSpPr>
          <p:nvPr/>
        </p:nvSpPr>
        <p:spPr bwMode="auto">
          <a:xfrm>
            <a:off x="4240943" y="5643640"/>
            <a:ext cx="412908" cy="596964"/>
          </a:xfrm>
          <a:custGeom>
            <a:avLst/>
            <a:gdLst>
              <a:gd name="T0" fmla="*/ 2147483647 w 324"/>
              <a:gd name="T1" fmla="*/ 2147483647 h 468"/>
              <a:gd name="T2" fmla="*/ 2147483647 w 324"/>
              <a:gd name="T3" fmla="*/ 2147483647 h 468"/>
              <a:gd name="T4" fmla="*/ 2147483647 w 324"/>
              <a:gd name="T5" fmla="*/ 2147483647 h 468"/>
              <a:gd name="T6" fmla="*/ 2147483647 w 324"/>
              <a:gd name="T7" fmla="*/ 2147483647 h 468"/>
              <a:gd name="T8" fmla="*/ 2147483647 w 324"/>
              <a:gd name="T9" fmla="*/ 2147483647 h 468"/>
              <a:gd name="T10" fmla="*/ 2147483647 w 324"/>
              <a:gd name="T11" fmla="*/ 2147483647 h 468"/>
              <a:gd name="T12" fmla="*/ 2147483647 w 324"/>
              <a:gd name="T13" fmla="*/ 2147483647 h 468"/>
              <a:gd name="T14" fmla="*/ 2147483647 w 324"/>
              <a:gd name="T15" fmla="*/ 2147483647 h 468"/>
              <a:gd name="T16" fmla="*/ 2147483647 w 324"/>
              <a:gd name="T17" fmla="*/ 2147483647 h 468"/>
              <a:gd name="T18" fmla="*/ 2147483647 w 324"/>
              <a:gd name="T19" fmla="*/ 2147483647 h 468"/>
              <a:gd name="T20" fmla="*/ 2147483647 w 324"/>
              <a:gd name="T21" fmla="*/ 2147483647 h 468"/>
              <a:gd name="T22" fmla="*/ 2147483647 w 324"/>
              <a:gd name="T23" fmla="*/ 2147483647 h 468"/>
              <a:gd name="T24" fmla="*/ 2147483647 w 324"/>
              <a:gd name="T25" fmla="*/ 2147483647 h 468"/>
              <a:gd name="T26" fmla="*/ 2147483647 w 324"/>
              <a:gd name="T27" fmla="*/ 2147483647 h 468"/>
              <a:gd name="T28" fmla="*/ 2147483647 w 324"/>
              <a:gd name="T29" fmla="*/ 2147483647 h 468"/>
              <a:gd name="T30" fmla="*/ 2147483647 w 324"/>
              <a:gd name="T31" fmla="*/ 2147483647 h 468"/>
              <a:gd name="T32" fmla="*/ 2147483647 w 324"/>
              <a:gd name="T33" fmla="*/ 2147483647 h 468"/>
              <a:gd name="T34" fmla="*/ 2147483647 w 324"/>
              <a:gd name="T35" fmla="*/ 0 h 468"/>
              <a:gd name="T36" fmla="*/ 0 w 324"/>
              <a:gd name="T37" fmla="*/ 2147483647 h 468"/>
              <a:gd name="T38" fmla="*/ 2147483647 w 324"/>
              <a:gd name="T39" fmla="*/ 2147483647 h 468"/>
              <a:gd name="T40" fmla="*/ 2147483647 w 324"/>
              <a:gd name="T41" fmla="*/ 2147483647 h 468"/>
              <a:gd name="T42" fmla="*/ 2147483647 w 324"/>
              <a:gd name="T43" fmla="*/ 2147483647 h 468"/>
              <a:gd name="T44" fmla="*/ 2147483647 w 324"/>
              <a:gd name="T45" fmla="*/ 2147483647 h 468"/>
              <a:gd name="T46" fmla="*/ 2147483647 w 324"/>
              <a:gd name="T47" fmla="*/ 2147483647 h 468"/>
              <a:gd name="T48" fmla="*/ 2147483647 w 324"/>
              <a:gd name="T49" fmla="*/ 2147483647 h 468"/>
              <a:gd name="T50" fmla="*/ 2147483647 w 324"/>
              <a:gd name="T51" fmla="*/ 2147483647 h 468"/>
              <a:gd name="T52" fmla="*/ 2147483647 w 324"/>
              <a:gd name="T53" fmla="*/ 2147483647 h 468"/>
              <a:gd name="T54" fmla="*/ 2147483647 w 324"/>
              <a:gd name="T55" fmla="*/ 2147483647 h 468"/>
              <a:gd name="T56" fmla="*/ 2147483647 w 324"/>
              <a:gd name="T57" fmla="*/ 2147483647 h 468"/>
              <a:gd name="T58" fmla="*/ 2147483647 w 324"/>
              <a:gd name="T59" fmla="*/ 2147483647 h 468"/>
              <a:gd name="T60" fmla="*/ 2147483647 w 324"/>
              <a:gd name="T61" fmla="*/ 2147483647 h 468"/>
              <a:gd name="T62" fmla="*/ 2147483647 w 324"/>
              <a:gd name="T63" fmla="*/ 2147483647 h 468"/>
              <a:gd name="T64" fmla="*/ 2147483647 w 324"/>
              <a:gd name="T65" fmla="*/ 2147483647 h 468"/>
              <a:gd name="T66" fmla="*/ 2147483647 w 324"/>
              <a:gd name="T67" fmla="*/ 2147483647 h 468"/>
              <a:gd name="T68" fmla="*/ 2147483647 w 324"/>
              <a:gd name="T69" fmla="*/ 2147483647 h 468"/>
              <a:gd name="T70" fmla="*/ 2147483647 w 324"/>
              <a:gd name="T71" fmla="*/ 2147483647 h 468"/>
              <a:gd name="T72" fmla="*/ 2147483647 w 324"/>
              <a:gd name="T73" fmla="*/ 2147483647 h 468"/>
              <a:gd name="T74" fmla="*/ 2147483647 w 324"/>
              <a:gd name="T75" fmla="*/ 2147483647 h 468"/>
              <a:gd name="T76" fmla="*/ 2147483647 w 324"/>
              <a:gd name="T77" fmla="*/ 2147483647 h 468"/>
              <a:gd name="T78" fmla="*/ 2147483647 w 324"/>
              <a:gd name="T79" fmla="*/ 2147483647 h 468"/>
              <a:gd name="T80" fmla="*/ 2147483647 w 324"/>
              <a:gd name="T81" fmla="*/ 2147483647 h 468"/>
              <a:gd name="T82" fmla="*/ 2147483647 w 324"/>
              <a:gd name="T83" fmla="*/ 2147483647 h 468"/>
              <a:gd name="T84" fmla="*/ 2147483647 w 324"/>
              <a:gd name="T85" fmla="*/ 2147483647 h 468"/>
              <a:gd name="T86" fmla="*/ 2147483647 w 324"/>
              <a:gd name="T87" fmla="*/ 2147483647 h 468"/>
              <a:gd name="T88" fmla="*/ 2147483647 w 324"/>
              <a:gd name="T89" fmla="*/ 2147483647 h 468"/>
              <a:gd name="T90" fmla="*/ 2147483647 w 324"/>
              <a:gd name="T91" fmla="*/ 2147483647 h 468"/>
              <a:gd name="T92" fmla="*/ 2147483647 w 324"/>
              <a:gd name="T93" fmla="*/ 2147483647 h 468"/>
              <a:gd name="T94" fmla="*/ 2147483647 w 324"/>
              <a:gd name="T95" fmla="*/ 2147483647 h 468"/>
              <a:gd name="T96" fmla="*/ 2147483647 w 324"/>
              <a:gd name="T97" fmla="*/ 2147483647 h 468"/>
              <a:gd name="T98" fmla="*/ 2147483647 w 324"/>
              <a:gd name="T99" fmla="*/ 2147483647 h 468"/>
              <a:gd name="T100" fmla="*/ 2147483647 w 324"/>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4" h="468">
                <a:moveTo>
                  <a:pt x="88" y="379"/>
                </a:moveTo>
                <a:cubicBezTo>
                  <a:pt x="91" y="379"/>
                  <a:pt x="92" y="377"/>
                  <a:pt x="92" y="375"/>
                </a:cubicBezTo>
                <a:cubicBezTo>
                  <a:pt x="92" y="367"/>
                  <a:pt x="92" y="367"/>
                  <a:pt x="92" y="367"/>
                </a:cubicBezTo>
                <a:cubicBezTo>
                  <a:pt x="92" y="364"/>
                  <a:pt x="91" y="362"/>
                  <a:pt x="88" y="362"/>
                </a:cubicBezTo>
                <a:cubicBezTo>
                  <a:pt x="70" y="362"/>
                  <a:pt x="70" y="362"/>
                  <a:pt x="70" y="362"/>
                </a:cubicBezTo>
                <a:cubicBezTo>
                  <a:pt x="68" y="362"/>
                  <a:pt x="66" y="364"/>
                  <a:pt x="66" y="367"/>
                </a:cubicBezTo>
                <a:cubicBezTo>
                  <a:pt x="66" y="375"/>
                  <a:pt x="66" y="375"/>
                  <a:pt x="66" y="375"/>
                </a:cubicBezTo>
                <a:cubicBezTo>
                  <a:pt x="66" y="377"/>
                  <a:pt x="68" y="379"/>
                  <a:pt x="70" y="379"/>
                </a:cubicBezTo>
                <a:lnTo>
                  <a:pt x="88" y="379"/>
                </a:lnTo>
                <a:close/>
                <a:moveTo>
                  <a:pt x="304" y="256"/>
                </a:moveTo>
                <a:cubicBezTo>
                  <a:pt x="304" y="78"/>
                  <a:pt x="304" y="78"/>
                  <a:pt x="304" y="78"/>
                </a:cubicBezTo>
                <a:cubicBezTo>
                  <a:pt x="304" y="74"/>
                  <a:pt x="300" y="70"/>
                  <a:pt x="296" y="70"/>
                </a:cubicBezTo>
                <a:cubicBezTo>
                  <a:pt x="292" y="70"/>
                  <a:pt x="288" y="74"/>
                  <a:pt x="288" y="78"/>
                </a:cubicBezTo>
                <a:cubicBezTo>
                  <a:pt x="288" y="257"/>
                  <a:pt x="288" y="257"/>
                  <a:pt x="288" y="257"/>
                </a:cubicBezTo>
                <a:cubicBezTo>
                  <a:pt x="285" y="258"/>
                  <a:pt x="283" y="259"/>
                  <a:pt x="280" y="260"/>
                </a:cubicBezTo>
                <a:cubicBezTo>
                  <a:pt x="278" y="257"/>
                  <a:pt x="276" y="255"/>
                  <a:pt x="273" y="253"/>
                </a:cubicBezTo>
                <a:cubicBezTo>
                  <a:pt x="273" y="53"/>
                  <a:pt x="273" y="53"/>
                  <a:pt x="273" y="53"/>
                </a:cubicBezTo>
                <a:cubicBezTo>
                  <a:pt x="273" y="39"/>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2"/>
                  <a:pt x="114" y="375"/>
                  <a:pt x="118" y="384"/>
                </a:cubicBezTo>
                <a:cubicBezTo>
                  <a:pt x="119" y="387"/>
                  <a:pt x="120" y="389"/>
                  <a:pt x="122" y="393"/>
                </a:cubicBezTo>
                <a:cubicBezTo>
                  <a:pt x="31" y="393"/>
                  <a:pt x="31" y="393"/>
                  <a:pt x="31" y="393"/>
                </a:cubicBezTo>
                <a:cubicBezTo>
                  <a:pt x="23" y="393"/>
                  <a:pt x="16" y="386"/>
                  <a:pt x="16" y="379"/>
                </a:cubicBezTo>
                <a:cubicBezTo>
                  <a:pt x="16" y="37"/>
                  <a:pt x="16" y="37"/>
                  <a:pt x="16" y="37"/>
                </a:cubicBezTo>
                <a:cubicBezTo>
                  <a:pt x="16" y="26"/>
                  <a:pt x="23" y="16"/>
                  <a:pt x="36" y="16"/>
                </a:cubicBezTo>
                <a:cubicBezTo>
                  <a:pt x="273" y="16"/>
                  <a:pt x="273" y="16"/>
                  <a:pt x="273" y="16"/>
                </a:cubicBezTo>
                <a:cubicBezTo>
                  <a:pt x="281" y="16"/>
                  <a:pt x="288" y="22"/>
                  <a:pt x="288" y="30"/>
                </a:cubicBezTo>
                <a:cubicBezTo>
                  <a:pt x="288" y="46"/>
                  <a:pt x="288" y="46"/>
                  <a:pt x="288" y="46"/>
                </a:cubicBezTo>
                <a:cubicBezTo>
                  <a:pt x="288" y="51"/>
                  <a:pt x="292" y="54"/>
                  <a:pt x="296" y="54"/>
                </a:cubicBezTo>
                <a:cubicBezTo>
                  <a:pt x="300" y="54"/>
                  <a:pt x="304" y="51"/>
                  <a:pt x="304" y="46"/>
                </a:cubicBezTo>
                <a:cubicBezTo>
                  <a:pt x="304" y="30"/>
                  <a:pt x="304" y="30"/>
                  <a:pt x="304" y="30"/>
                </a:cubicBezTo>
                <a:cubicBezTo>
                  <a:pt x="304" y="13"/>
                  <a:pt x="290" y="0"/>
                  <a:pt x="273" y="0"/>
                </a:cubicBezTo>
                <a:cubicBezTo>
                  <a:pt x="36" y="0"/>
                  <a:pt x="36" y="0"/>
                  <a:pt x="36" y="0"/>
                </a:cubicBezTo>
                <a:cubicBezTo>
                  <a:pt x="16" y="0"/>
                  <a:pt x="0" y="16"/>
                  <a:pt x="0" y="37"/>
                </a:cubicBezTo>
                <a:cubicBezTo>
                  <a:pt x="0" y="379"/>
                  <a:pt x="0" y="379"/>
                  <a:pt x="0" y="379"/>
                </a:cubicBezTo>
                <a:cubicBezTo>
                  <a:pt x="0" y="395"/>
                  <a:pt x="14" y="409"/>
                  <a:pt x="31" y="409"/>
                </a:cubicBezTo>
                <a:cubicBezTo>
                  <a:pt x="132" y="409"/>
                  <a:pt x="132" y="409"/>
                  <a:pt x="132" y="409"/>
                </a:cubicBezTo>
                <a:cubicBezTo>
                  <a:pt x="149" y="435"/>
                  <a:pt x="182" y="468"/>
                  <a:pt x="235" y="468"/>
                </a:cubicBezTo>
                <a:cubicBezTo>
                  <a:pt x="294" y="468"/>
                  <a:pt x="324" y="426"/>
                  <a:pt x="324" y="385"/>
                </a:cubicBezTo>
                <a:cubicBezTo>
                  <a:pt x="324" y="282"/>
                  <a:pt x="324" y="282"/>
                  <a:pt x="324" y="282"/>
                </a:cubicBezTo>
                <a:cubicBezTo>
                  <a:pt x="324" y="270"/>
                  <a:pt x="316" y="259"/>
                  <a:pt x="304" y="256"/>
                </a:cubicBezTo>
                <a:close/>
                <a:moveTo>
                  <a:pt x="93" y="271"/>
                </a:moveTo>
                <a:cubicBezTo>
                  <a:pt x="94" y="280"/>
                  <a:pt x="98" y="306"/>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8"/>
                  <a:pt x="257" y="53"/>
                </a:cubicBezTo>
                <a:cubicBezTo>
                  <a:pt x="257" y="249"/>
                  <a:pt x="257" y="249"/>
                  <a:pt x="257" y="249"/>
                </a:cubicBezTo>
                <a:cubicBezTo>
                  <a:pt x="256" y="249"/>
                  <a:pt x="256" y="249"/>
                  <a:pt x="256" y="249"/>
                </a:cubicBezTo>
                <a:cubicBezTo>
                  <a:pt x="250" y="249"/>
                  <a:pt x="244" y="251"/>
                  <a:pt x="240" y="254"/>
                </a:cubicBezTo>
                <a:cubicBezTo>
                  <a:pt x="235" y="247"/>
                  <a:pt x="227" y="243"/>
                  <a:pt x="218" y="243"/>
                </a:cubicBezTo>
                <a:cubicBezTo>
                  <a:pt x="216" y="243"/>
                  <a:pt x="216" y="243"/>
                  <a:pt x="216" y="243"/>
                </a:cubicBezTo>
                <a:cubicBezTo>
                  <a:pt x="213" y="243"/>
                  <a:pt x="209" y="244"/>
                  <a:pt x="205" y="245"/>
                </a:cubicBezTo>
                <a:cubicBezTo>
                  <a:pt x="205" y="176"/>
                  <a:pt x="205" y="176"/>
                  <a:pt x="205" y="176"/>
                </a:cubicBezTo>
                <a:cubicBezTo>
                  <a:pt x="205" y="162"/>
                  <a:pt x="194" y="150"/>
                  <a:pt x="179" y="150"/>
                </a:cubicBezTo>
                <a:cubicBezTo>
                  <a:pt x="178" y="150"/>
                  <a:pt x="178" y="150"/>
                  <a:pt x="178" y="150"/>
                </a:cubicBezTo>
                <a:cubicBezTo>
                  <a:pt x="163" y="150"/>
                  <a:pt x="151" y="162"/>
                  <a:pt x="151" y="176"/>
                </a:cubicBezTo>
                <a:cubicBezTo>
                  <a:pt x="151" y="305"/>
                  <a:pt x="151" y="305"/>
                  <a:pt x="151" y="305"/>
                </a:cubicBezTo>
                <a:cubicBezTo>
                  <a:pt x="149" y="289"/>
                  <a:pt x="145" y="269"/>
                  <a:pt x="135" y="252"/>
                </a:cubicBezTo>
                <a:cubicBezTo>
                  <a:pt x="135" y="252"/>
                  <a:pt x="134" y="252"/>
                  <a:pt x="134" y="252"/>
                </a:cubicBezTo>
                <a:cubicBezTo>
                  <a:pt x="127" y="242"/>
                  <a:pt x="119" y="240"/>
                  <a:pt x="114" y="240"/>
                </a:cubicBezTo>
                <a:cubicBezTo>
                  <a:pt x="109" y="240"/>
                  <a:pt x="104" y="242"/>
                  <a:pt x="100" y="246"/>
                </a:cubicBezTo>
                <a:cubicBezTo>
                  <a:pt x="95" y="252"/>
                  <a:pt x="92" y="261"/>
                  <a:pt x="93" y="271"/>
                </a:cubicBezTo>
                <a:close/>
                <a:moveTo>
                  <a:pt x="308" y="385"/>
                </a:moveTo>
                <a:cubicBezTo>
                  <a:pt x="308" y="417"/>
                  <a:pt x="285" y="452"/>
                  <a:pt x="235" y="452"/>
                </a:cubicBezTo>
                <a:cubicBezTo>
                  <a:pt x="173" y="452"/>
                  <a:pt x="143" y="400"/>
                  <a:pt x="132" y="378"/>
                </a:cubicBezTo>
                <a:cubicBezTo>
                  <a:pt x="120" y="351"/>
                  <a:pt x="111" y="292"/>
                  <a:pt x="109" y="269"/>
                </a:cubicBezTo>
                <a:cubicBezTo>
                  <a:pt x="109" y="263"/>
                  <a:pt x="111" y="259"/>
                  <a:pt x="112" y="257"/>
                </a:cubicBezTo>
                <a:cubicBezTo>
                  <a:pt x="113" y="256"/>
                  <a:pt x="114" y="256"/>
                  <a:pt x="114" y="256"/>
                </a:cubicBezTo>
                <a:cubicBezTo>
                  <a:pt x="116" y="256"/>
                  <a:pt x="118" y="257"/>
                  <a:pt x="121" y="261"/>
                </a:cubicBezTo>
                <a:cubicBezTo>
                  <a:pt x="130" y="275"/>
                  <a:pt x="133" y="293"/>
                  <a:pt x="136" y="308"/>
                </a:cubicBezTo>
                <a:cubicBezTo>
                  <a:pt x="139" y="327"/>
                  <a:pt x="142" y="344"/>
                  <a:pt x="157" y="344"/>
                </a:cubicBezTo>
                <a:cubicBezTo>
                  <a:pt x="158" y="344"/>
                  <a:pt x="160" y="344"/>
                  <a:pt x="161" y="344"/>
                </a:cubicBezTo>
                <a:cubicBezTo>
                  <a:pt x="165" y="343"/>
                  <a:pt x="167" y="340"/>
                  <a:pt x="167" y="336"/>
                </a:cubicBezTo>
                <a:cubicBezTo>
                  <a:pt x="167" y="176"/>
                  <a:pt x="167" y="176"/>
                  <a:pt x="167" y="176"/>
                </a:cubicBezTo>
                <a:cubicBezTo>
                  <a:pt x="167" y="171"/>
                  <a:pt x="172" y="166"/>
                  <a:pt x="178" y="166"/>
                </a:cubicBezTo>
                <a:cubicBezTo>
                  <a:pt x="179" y="166"/>
                  <a:pt x="179" y="166"/>
                  <a:pt x="179" y="166"/>
                </a:cubicBezTo>
                <a:cubicBezTo>
                  <a:pt x="185" y="166"/>
                  <a:pt x="189" y="171"/>
                  <a:pt x="189" y="176"/>
                </a:cubicBezTo>
                <a:cubicBezTo>
                  <a:pt x="189" y="269"/>
                  <a:pt x="189" y="269"/>
                  <a:pt x="189" y="269"/>
                </a:cubicBezTo>
                <a:cubicBezTo>
                  <a:pt x="189" y="274"/>
                  <a:pt x="193" y="277"/>
                  <a:pt x="197" y="277"/>
                </a:cubicBezTo>
                <a:cubicBezTo>
                  <a:pt x="202" y="277"/>
                  <a:pt x="205" y="274"/>
                  <a:pt x="205" y="269"/>
                </a:cubicBezTo>
                <a:cubicBezTo>
                  <a:pt x="205" y="264"/>
                  <a:pt x="210" y="259"/>
                  <a:pt x="216" y="259"/>
                </a:cubicBezTo>
                <a:cubicBezTo>
                  <a:pt x="218" y="259"/>
                  <a:pt x="218" y="259"/>
                  <a:pt x="218" y="259"/>
                </a:cubicBezTo>
                <a:cubicBezTo>
                  <a:pt x="224" y="259"/>
                  <a:pt x="229" y="264"/>
                  <a:pt x="229" y="269"/>
                </a:cubicBezTo>
                <a:cubicBezTo>
                  <a:pt x="229" y="275"/>
                  <a:pt x="229" y="275"/>
                  <a:pt x="229" y="275"/>
                </a:cubicBezTo>
                <a:cubicBezTo>
                  <a:pt x="229" y="279"/>
                  <a:pt x="233" y="283"/>
                  <a:pt x="237" y="283"/>
                </a:cubicBezTo>
                <a:cubicBezTo>
                  <a:pt x="242" y="283"/>
                  <a:pt x="245" y="279"/>
                  <a:pt x="245" y="275"/>
                </a:cubicBezTo>
                <a:cubicBezTo>
                  <a:pt x="245" y="269"/>
                  <a:pt x="250" y="265"/>
                  <a:pt x="256" y="265"/>
                </a:cubicBezTo>
                <a:cubicBezTo>
                  <a:pt x="258" y="265"/>
                  <a:pt x="258" y="265"/>
                  <a:pt x="258" y="265"/>
                </a:cubicBezTo>
                <a:cubicBezTo>
                  <a:pt x="264" y="265"/>
                  <a:pt x="269" y="269"/>
                  <a:pt x="269" y="275"/>
                </a:cubicBezTo>
                <a:cubicBezTo>
                  <a:pt x="269" y="282"/>
                  <a:pt x="269" y="282"/>
                  <a:pt x="269" y="282"/>
                </a:cubicBezTo>
                <a:cubicBezTo>
                  <a:pt x="269" y="286"/>
                  <a:pt x="272" y="290"/>
                  <a:pt x="277" y="290"/>
                </a:cubicBezTo>
                <a:cubicBezTo>
                  <a:pt x="281" y="290"/>
                  <a:pt x="285" y="286"/>
                  <a:pt x="285" y="282"/>
                </a:cubicBezTo>
                <a:cubicBezTo>
                  <a:pt x="285" y="276"/>
                  <a:pt x="290" y="272"/>
                  <a:pt x="296" y="272"/>
                </a:cubicBezTo>
                <a:cubicBezTo>
                  <a:pt x="297" y="272"/>
                  <a:pt x="297" y="272"/>
                  <a:pt x="297" y="272"/>
                </a:cubicBezTo>
                <a:cubicBezTo>
                  <a:pt x="303" y="272"/>
                  <a:pt x="308" y="276"/>
                  <a:pt x="308" y="282"/>
                </a:cubicBezTo>
                <a:lnTo>
                  <a:pt x="308" y="385"/>
                </a:lnTo>
                <a:close/>
              </a:path>
            </a:pathLst>
          </a:custGeom>
          <a:solidFill>
            <a:srgbClr val="0394BD"/>
          </a:solidFill>
          <a:ln>
            <a:noFill/>
          </a:ln>
        </p:spPr>
        <p:txBody>
          <a:bodyPr/>
          <a:lstStyle/>
          <a:p>
            <a:endParaRPr lang="en-GB" dirty="0">
              <a:solidFill>
                <a:srgbClr val="58585A"/>
              </a:solidFill>
            </a:endParaRPr>
          </a:p>
        </p:txBody>
      </p:sp>
      <p:cxnSp>
        <p:nvCxnSpPr>
          <p:cNvPr id="73" name="Rak 16"/>
          <p:cNvCxnSpPr/>
          <p:nvPr/>
        </p:nvCxnSpPr>
        <p:spPr bwMode="auto">
          <a:xfrm flipV="1">
            <a:off x="7001646" y="2663428"/>
            <a:ext cx="2789871" cy="17678"/>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2" name="Rectangle 1"/>
          <p:cNvSpPr/>
          <p:nvPr/>
        </p:nvSpPr>
        <p:spPr bwMode="auto">
          <a:xfrm>
            <a:off x="395346" y="1334123"/>
            <a:ext cx="11371933" cy="2757237"/>
          </a:xfrm>
          <a:prstGeom prst="rect">
            <a:avLst/>
          </a:prstGeom>
          <a:noFill/>
          <a:ln w="28575" cap="flat" cmpd="sng" algn="ctr">
            <a:solidFill>
              <a:schemeClr val="accent1">
                <a:lumMod val="60000"/>
                <a:lumOff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3" name="TextBox 2"/>
          <p:cNvSpPr txBox="1"/>
          <p:nvPr/>
        </p:nvSpPr>
        <p:spPr>
          <a:xfrm>
            <a:off x="4875479" y="954575"/>
            <a:ext cx="2776722" cy="400110"/>
          </a:xfrm>
          <a:prstGeom prst="rect">
            <a:avLst/>
          </a:prstGeom>
          <a:noFill/>
        </p:spPr>
        <p:txBody>
          <a:bodyPr wrap="none" rtlCol="0">
            <a:spAutoFit/>
          </a:bodyPr>
          <a:lstStyle/>
          <a:p>
            <a:r>
              <a:rPr lang="en-US" dirty="0">
                <a:solidFill>
                  <a:schemeClr val="accent1">
                    <a:lumMod val="60000"/>
                    <a:lumOff val="40000"/>
                  </a:schemeClr>
                </a:solidFill>
              </a:rPr>
              <a:t>New Market Segments</a:t>
            </a:r>
          </a:p>
        </p:txBody>
      </p:sp>
    </p:spTree>
    <p:extLst>
      <p:ext uri="{BB962C8B-B14F-4D97-AF65-F5344CB8AC3E}">
        <p14:creationId xmlns:p14="http://schemas.microsoft.com/office/powerpoint/2010/main" val="7539000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4892" y="1622547"/>
            <a:ext cx="9225403" cy="4539677"/>
          </a:xfrm>
          <a:prstGeom prst="rect">
            <a:avLst/>
          </a:prstGeom>
        </p:spPr>
      </p:pic>
      <p:sp>
        <p:nvSpPr>
          <p:cNvPr id="2" name="Title 1"/>
          <p:cNvSpPr>
            <a:spLocks noGrp="1"/>
          </p:cNvSpPr>
          <p:nvPr>
            <p:ph type="title"/>
          </p:nvPr>
        </p:nvSpPr>
        <p:spPr>
          <a:xfrm>
            <a:off x="524935" y="186706"/>
            <a:ext cx="9992784" cy="1085371"/>
          </a:xfrm>
        </p:spPr>
        <p:txBody>
          <a:bodyPr/>
          <a:lstStyle/>
          <a:p>
            <a:r>
              <a:rPr lang="en-US" dirty="0"/>
              <a:t>3GPP 5G System</a:t>
            </a:r>
            <a:br>
              <a:rPr lang="en-US" dirty="0"/>
            </a:br>
            <a:r>
              <a:rPr lang="en-US" sz="2400" dirty="0">
                <a:latin typeface="+mn-lt"/>
              </a:rPr>
              <a:t>5G Core and 5G-RAN</a:t>
            </a:r>
            <a:r>
              <a:rPr lang="en-US" sz="2400" dirty="0"/>
              <a:t> </a:t>
            </a:r>
          </a:p>
        </p:txBody>
      </p:sp>
      <p:sp>
        <p:nvSpPr>
          <p:cNvPr id="6" name="Rectangle 1"/>
          <p:cNvSpPr>
            <a:spLocks noChangeArrowheads="1"/>
          </p:cNvSpPr>
          <p:nvPr/>
        </p:nvSpPr>
        <p:spPr bwMode="auto">
          <a:xfrm>
            <a:off x="89940" y="11992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6"/>
          <p:cNvSpPr/>
          <p:nvPr/>
        </p:nvSpPr>
        <p:spPr bwMode="auto">
          <a:xfrm>
            <a:off x="245280" y="1280668"/>
            <a:ext cx="10362379" cy="5256584"/>
          </a:xfrm>
          <a:prstGeom prst="rect">
            <a:avLst/>
          </a:prstGeom>
          <a:noFill/>
          <a:ln w="28575" cap="flat" cmpd="sng" algn="ctr">
            <a:solidFill>
              <a:schemeClr val="accent2"/>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8" name="TextBox 7"/>
          <p:cNvSpPr txBox="1"/>
          <p:nvPr/>
        </p:nvSpPr>
        <p:spPr>
          <a:xfrm>
            <a:off x="8548046" y="1019058"/>
            <a:ext cx="1249386" cy="523220"/>
          </a:xfrm>
          <a:prstGeom prst="rect">
            <a:avLst/>
          </a:prstGeom>
          <a:solidFill>
            <a:schemeClr val="bg1"/>
          </a:solidFill>
        </p:spPr>
        <p:txBody>
          <a:bodyPr wrap="square" rtlCol="0">
            <a:spAutoFit/>
          </a:bodyPr>
          <a:lstStyle/>
          <a:p>
            <a:r>
              <a:rPr lang="en-US" sz="2800" dirty="0">
                <a:solidFill>
                  <a:schemeClr val="accent2"/>
                </a:solidFill>
              </a:rPr>
              <a:t> 5GS</a:t>
            </a:r>
          </a:p>
        </p:txBody>
      </p:sp>
      <p:sp>
        <p:nvSpPr>
          <p:cNvPr id="9" name="Rectangle 8"/>
          <p:cNvSpPr/>
          <p:nvPr/>
        </p:nvSpPr>
        <p:spPr bwMode="auto">
          <a:xfrm>
            <a:off x="884420" y="1725651"/>
            <a:ext cx="8505876" cy="2543349"/>
          </a:xfrm>
          <a:prstGeom prst="rect">
            <a:avLst/>
          </a:prstGeom>
          <a:noFill/>
          <a:ln w="28575"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0" name="Rectangle 9"/>
          <p:cNvSpPr/>
          <p:nvPr/>
        </p:nvSpPr>
        <p:spPr bwMode="auto">
          <a:xfrm>
            <a:off x="3629656" y="4269000"/>
            <a:ext cx="1476164" cy="1931697"/>
          </a:xfrm>
          <a:prstGeom prst="rect">
            <a:avLst/>
          </a:prstGeom>
          <a:noFill/>
          <a:ln w="28575" cap="flat" cmpd="sng" algn="ctr">
            <a:solidFill>
              <a:schemeClr val="accent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11" name="Straight Connector 10"/>
          <p:cNvCxnSpPr>
            <a:cxnSpLocks/>
          </p:cNvCxnSpPr>
          <p:nvPr/>
        </p:nvCxnSpPr>
        <p:spPr bwMode="auto">
          <a:xfrm>
            <a:off x="3629656" y="4269000"/>
            <a:ext cx="1476164"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2" name="TextBox 11"/>
          <p:cNvSpPr txBox="1"/>
          <p:nvPr/>
        </p:nvSpPr>
        <p:spPr>
          <a:xfrm>
            <a:off x="7305868" y="1460688"/>
            <a:ext cx="1040312" cy="523220"/>
          </a:xfrm>
          <a:prstGeom prst="rect">
            <a:avLst/>
          </a:prstGeom>
          <a:solidFill>
            <a:schemeClr val="bg1"/>
          </a:solidFill>
        </p:spPr>
        <p:txBody>
          <a:bodyPr wrap="square" rtlCol="0">
            <a:spAutoFit/>
          </a:bodyPr>
          <a:lstStyle/>
          <a:p>
            <a:r>
              <a:rPr lang="en-US" sz="2800" dirty="0">
                <a:solidFill>
                  <a:schemeClr val="accent1"/>
                </a:solidFill>
              </a:rPr>
              <a:t>5GC</a:t>
            </a:r>
          </a:p>
        </p:txBody>
      </p:sp>
      <p:sp>
        <p:nvSpPr>
          <p:cNvPr id="13" name="Rectangle 12"/>
          <p:cNvSpPr/>
          <p:nvPr/>
        </p:nvSpPr>
        <p:spPr bwMode="auto">
          <a:xfrm>
            <a:off x="1858780" y="4881068"/>
            <a:ext cx="1302824" cy="1181711"/>
          </a:xfrm>
          <a:prstGeom prst="rect">
            <a:avLst/>
          </a:prstGeom>
          <a:noFill/>
          <a:ln w="28575" cap="flat" cmpd="sng" algn="ctr">
            <a:solidFill>
              <a:schemeClr val="tx2">
                <a:lumMod val="50000"/>
                <a:lumOff val="5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TextBox 13"/>
          <p:cNvSpPr txBox="1"/>
          <p:nvPr/>
        </p:nvSpPr>
        <p:spPr>
          <a:xfrm>
            <a:off x="1683600" y="5849110"/>
            <a:ext cx="1225976" cy="400110"/>
          </a:xfrm>
          <a:prstGeom prst="rect">
            <a:avLst/>
          </a:prstGeom>
          <a:solidFill>
            <a:schemeClr val="bg1"/>
          </a:solidFill>
        </p:spPr>
        <p:txBody>
          <a:bodyPr wrap="square" rtlCol="0">
            <a:spAutoFit/>
          </a:bodyPr>
          <a:lstStyle/>
          <a:p>
            <a:r>
              <a:rPr lang="en-US" dirty="0">
                <a:solidFill>
                  <a:schemeClr val="tx2">
                    <a:lumMod val="50000"/>
                    <a:lumOff val="50000"/>
                  </a:schemeClr>
                </a:solidFill>
              </a:rPr>
              <a:t>5G-RAN</a:t>
            </a:r>
          </a:p>
        </p:txBody>
      </p:sp>
      <p:pic>
        <p:nvPicPr>
          <p:cNvPr id="15" name="Picture 14"/>
          <p:cNvPicPr>
            <a:picLocks noChangeAspect="1"/>
          </p:cNvPicPr>
          <p:nvPr/>
        </p:nvPicPr>
        <p:blipFill>
          <a:blip r:embed="rId4"/>
          <a:stretch>
            <a:fillRect/>
          </a:stretch>
        </p:blipFill>
        <p:spPr>
          <a:xfrm>
            <a:off x="10455825" y="4883164"/>
            <a:ext cx="1704975" cy="1076325"/>
          </a:xfrm>
          <a:prstGeom prst="rect">
            <a:avLst/>
          </a:prstGeom>
        </p:spPr>
      </p:pic>
      <p:sp>
        <p:nvSpPr>
          <p:cNvPr id="16" name="Rectangle 15"/>
          <p:cNvSpPr/>
          <p:nvPr/>
        </p:nvSpPr>
        <p:spPr bwMode="auto">
          <a:xfrm>
            <a:off x="5625959" y="4953076"/>
            <a:ext cx="1784117" cy="1004317"/>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17" name="Straight Connector 16"/>
          <p:cNvCxnSpPr>
            <a:cxnSpLocks/>
          </p:cNvCxnSpPr>
          <p:nvPr/>
        </p:nvCxnSpPr>
        <p:spPr bwMode="auto">
          <a:xfrm>
            <a:off x="5426469" y="5439272"/>
            <a:ext cx="5395374"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42830700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475161" cy="1085371"/>
          </a:xfrm>
        </p:spPr>
        <p:txBody>
          <a:bodyPr>
            <a:normAutofit/>
          </a:bodyPr>
          <a:lstStyle/>
          <a:p>
            <a:r>
              <a:rPr lang="en-US" dirty="0"/>
              <a:t>5G CORE architecture</a:t>
            </a:r>
            <a:br>
              <a:rPr lang="en-US" sz="4900" dirty="0"/>
            </a:br>
            <a:r>
              <a:rPr lang="en-US" sz="2400" dirty="0">
                <a:latin typeface="+mn-lt"/>
              </a:rPr>
              <a:t>Service based Representation</a:t>
            </a:r>
          </a:p>
        </p:txBody>
      </p:sp>
      <p:sp>
        <p:nvSpPr>
          <p:cNvPr id="127" name="Freeform 4"/>
          <p:cNvSpPr>
            <a:spLocks noChangeAspect="1" noEditPoints="1"/>
          </p:cNvSpPr>
          <p:nvPr/>
        </p:nvSpPr>
        <p:spPr bwMode="auto">
          <a:xfrm>
            <a:off x="774970" y="5393574"/>
            <a:ext cx="506412" cy="693737"/>
          </a:xfrm>
          <a:custGeom>
            <a:avLst/>
            <a:gdLst>
              <a:gd name="T0" fmla="*/ 2147483646 w 241"/>
              <a:gd name="T1" fmla="*/ 2147483646 h 383"/>
              <a:gd name="T2" fmla="*/ 2147483646 w 241"/>
              <a:gd name="T3" fmla="*/ 2147483646 h 383"/>
              <a:gd name="T4" fmla="*/ 2147483646 w 241"/>
              <a:gd name="T5" fmla="*/ 2147483646 h 383"/>
              <a:gd name="T6" fmla="*/ 2147483646 w 241"/>
              <a:gd name="T7" fmla="*/ 2147483646 h 383"/>
              <a:gd name="T8" fmla="*/ 2147483646 w 241"/>
              <a:gd name="T9" fmla="*/ 2147483646 h 383"/>
              <a:gd name="T10" fmla="*/ 2147483646 w 241"/>
              <a:gd name="T11" fmla="*/ 2147483646 h 383"/>
              <a:gd name="T12" fmla="*/ 2147483646 w 241"/>
              <a:gd name="T13" fmla="*/ 2147483646 h 383"/>
              <a:gd name="T14" fmla="*/ 2147483646 w 241"/>
              <a:gd name="T15" fmla="*/ 2147483646 h 383"/>
              <a:gd name="T16" fmla="*/ 2147483646 w 241"/>
              <a:gd name="T17" fmla="*/ 0 h 383"/>
              <a:gd name="T18" fmla="*/ 2147483646 w 241"/>
              <a:gd name="T19" fmla="*/ 0 h 383"/>
              <a:gd name="T20" fmla="*/ 0 w 241"/>
              <a:gd name="T21" fmla="*/ 2147483646 h 383"/>
              <a:gd name="T22" fmla="*/ 0 w 241"/>
              <a:gd name="T23" fmla="*/ 2147483646 h 383"/>
              <a:gd name="T24" fmla="*/ 2147483646 w 241"/>
              <a:gd name="T25" fmla="*/ 2147483646 h 383"/>
              <a:gd name="T26" fmla="*/ 2147483646 w 241"/>
              <a:gd name="T27" fmla="*/ 2147483646 h 383"/>
              <a:gd name="T28" fmla="*/ 2147483646 w 241"/>
              <a:gd name="T29" fmla="*/ 2147483646 h 383"/>
              <a:gd name="T30" fmla="*/ 2147483646 w 241"/>
              <a:gd name="T31" fmla="*/ 2147483646 h 383"/>
              <a:gd name="T32" fmla="*/ 2147483646 w 241"/>
              <a:gd name="T33" fmla="*/ 2147483646 h 383"/>
              <a:gd name="T34" fmla="*/ 2147483646 w 241"/>
              <a:gd name="T35" fmla="*/ 2147483646 h 383"/>
              <a:gd name="T36" fmla="*/ 2147483646 w 241"/>
              <a:gd name="T37" fmla="*/ 2147483646 h 383"/>
              <a:gd name="T38" fmla="*/ 2147483646 w 241"/>
              <a:gd name="T39" fmla="*/ 2147483646 h 383"/>
              <a:gd name="T40" fmla="*/ 2147483646 w 241"/>
              <a:gd name="T41" fmla="*/ 2147483646 h 383"/>
              <a:gd name="T42" fmla="*/ 2147483646 w 241"/>
              <a:gd name="T43" fmla="*/ 2147483646 h 383"/>
              <a:gd name="T44" fmla="*/ 2147483646 w 241"/>
              <a:gd name="T45" fmla="*/ 2147483646 h 383"/>
              <a:gd name="T46" fmla="*/ 2147483646 w 241"/>
              <a:gd name="T47" fmla="*/ 2147483646 h 383"/>
              <a:gd name="T48" fmla="*/ 2147483646 w 241"/>
              <a:gd name="T49" fmla="*/ 2147483646 h 383"/>
              <a:gd name="T50" fmla="*/ 2147483646 w 241"/>
              <a:gd name="T51" fmla="*/ 2147483646 h 383"/>
              <a:gd name="T52" fmla="*/ 2147483646 w 241"/>
              <a:gd name="T53" fmla="*/ 2147483646 h 383"/>
              <a:gd name="T54" fmla="*/ 2147483646 w 241"/>
              <a:gd name="T55" fmla="*/ 2147483646 h 383"/>
              <a:gd name="T56" fmla="*/ 2147483646 w 241"/>
              <a:gd name="T57" fmla="*/ 2147483646 h 383"/>
              <a:gd name="T58" fmla="*/ 2147483646 w 241"/>
              <a:gd name="T59" fmla="*/ 2147483646 h 383"/>
              <a:gd name="T60" fmla="*/ 2147483646 w 241"/>
              <a:gd name="T61" fmla="*/ 2147483646 h 383"/>
              <a:gd name="T62" fmla="*/ 2147483646 w 241"/>
              <a:gd name="T63" fmla="*/ 2147483646 h 383"/>
              <a:gd name="T64" fmla="*/ 2147483646 w 241"/>
              <a:gd name="T65" fmla="*/ 2147483646 h 383"/>
              <a:gd name="T66" fmla="*/ 2147483646 w 241"/>
              <a:gd name="T67" fmla="*/ 2147483646 h 383"/>
              <a:gd name="T68" fmla="*/ 2147483646 w 241"/>
              <a:gd name="T69" fmla="*/ 2147483646 h 383"/>
              <a:gd name="T70" fmla="*/ 2147483646 w 241"/>
              <a:gd name="T71" fmla="*/ 2147483646 h 383"/>
              <a:gd name="T72" fmla="*/ 2147483646 w 241"/>
              <a:gd name="T73" fmla="*/ 2147483646 h 383"/>
              <a:gd name="T74" fmla="*/ 2147483646 w 241"/>
              <a:gd name="T75" fmla="*/ 2147483646 h 383"/>
              <a:gd name="T76" fmla="*/ 2147483646 w 241"/>
              <a:gd name="T77" fmla="*/ 2147483646 h 383"/>
              <a:gd name="T78" fmla="*/ 2147483646 w 241"/>
              <a:gd name="T79" fmla="*/ 2147483646 h 383"/>
              <a:gd name="T80" fmla="*/ 2147483646 w 241"/>
              <a:gd name="T81" fmla="*/ 2147483646 h 383"/>
              <a:gd name="T82" fmla="*/ 2147483646 w 241"/>
              <a:gd name="T83" fmla="*/ 2147483646 h 383"/>
              <a:gd name="T84" fmla="*/ 2147483646 w 241"/>
              <a:gd name="T85" fmla="*/ 2147483646 h 383"/>
              <a:gd name="T86" fmla="*/ 2147483646 w 241"/>
              <a:gd name="T87" fmla="*/ 2147483646 h 383"/>
              <a:gd name="T88" fmla="*/ 2147483646 w 241"/>
              <a:gd name="T89" fmla="*/ 2147483646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8" name="Freeform 88"/>
          <p:cNvSpPr>
            <a:spLocks/>
          </p:cNvSpPr>
          <p:nvPr/>
        </p:nvSpPr>
        <p:spPr bwMode="auto">
          <a:xfrm rot="2583056" flipH="1">
            <a:off x="1489345" y="5572961"/>
            <a:ext cx="930275" cy="639763"/>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dirty="0"/>
          </a:p>
        </p:txBody>
      </p:sp>
      <p:sp>
        <p:nvSpPr>
          <p:cNvPr id="129" name="Text Box 144"/>
          <p:cNvSpPr txBox="1">
            <a:spLocks noChangeAspect="1" noChangeArrowheads="1"/>
          </p:cNvSpPr>
          <p:nvPr/>
        </p:nvSpPr>
        <p:spPr bwMode="auto">
          <a:xfrm>
            <a:off x="532082" y="6058736"/>
            <a:ext cx="9921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600"/>
              <a:t>NG UE</a:t>
            </a:r>
          </a:p>
        </p:txBody>
      </p:sp>
      <p:sp>
        <p:nvSpPr>
          <p:cNvPr id="130" name="Text Box 144"/>
          <p:cNvSpPr txBox="1">
            <a:spLocks noChangeAspect="1" noChangeArrowheads="1"/>
          </p:cNvSpPr>
          <p:nvPr/>
        </p:nvSpPr>
        <p:spPr bwMode="auto">
          <a:xfrm>
            <a:off x="3853132" y="5371074"/>
            <a:ext cx="992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a:t>N2</a:t>
            </a:r>
          </a:p>
        </p:txBody>
      </p:sp>
      <p:sp>
        <p:nvSpPr>
          <p:cNvPr id="131" name="Text Box 144"/>
          <p:cNvSpPr txBox="1">
            <a:spLocks noChangeAspect="1" noChangeArrowheads="1"/>
          </p:cNvSpPr>
          <p:nvPr/>
        </p:nvSpPr>
        <p:spPr bwMode="auto">
          <a:xfrm>
            <a:off x="3886470" y="6014286"/>
            <a:ext cx="992187"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a:t>N3</a:t>
            </a:r>
          </a:p>
        </p:txBody>
      </p:sp>
      <p:sp>
        <p:nvSpPr>
          <p:cNvPr id="132" name="Text Box 144"/>
          <p:cNvSpPr txBox="1">
            <a:spLocks noChangeAspect="1" noChangeArrowheads="1"/>
          </p:cNvSpPr>
          <p:nvPr/>
        </p:nvSpPr>
        <p:spPr bwMode="auto">
          <a:xfrm>
            <a:off x="8237807" y="5999999"/>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a:t>N6</a:t>
            </a:r>
          </a:p>
        </p:txBody>
      </p:sp>
      <p:sp>
        <p:nvSpPr>
          <p:cNvPr id="137" name="Text Box 144"/>
          <p:cNvSpPr txBox="1">
            <a:spLocks noChangeAspect="1" noChangeArrowheads="1"/>
          </p:cNvSpPr>
          <p:nvPr/>
        </p:nvSpPr>
        <p:spPr bwMode="auto">
          <a:xfrm>
            <a:off x="7344514" y="5509125"/>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a:t>N4</a:t>
            </a:r>
          </a:p>
        </p:txBody>
      </p:sp>
      <p:grpSp>
        <p:nvGrpSpPr>
          <p:cNvPr id="144" name="Group 88"/>
          <p:cNvGrpSpPr>
            <a:grpSpLocks/>
          </p:cNvGrpSpPr>
          <p:nvPr/>
        </p:nvGrpSpPr>
        <p:grpSpPr bwMode="auto">
          <a:xfrm>
            <a:off x="2880072" y="5717410"/>
            <a:ext cx="652292" cy="855675"/>
            <a:chOff x="936376" y="2900085"/>
            <a:chExt cx="864096" cy="1240668"/>
          </a:xfrm>
        </p:grpSpPr>
        <p:sp>
          <p:nvSpPr>
            <p:cNvPr id="145"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000">
                <a:solidFill>
                  <a:srgbClr val="58585A"/>
                </a:solidFill>
              </a:endParaRPr>
            </a:p>
          </p:txBody>
        </p:sp>
        <p:sp>
          <p:nvSpPr>
            <p:cNvPr id="148"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000">
                <a:solidFill>
                  <a:srgbClr val="58585A"/>
                </a:solidFill>
              </a:endParaRPr>
            </a:p>
          </p:txBody>
        </p:sp>
        <p:sp>
          <p:nvSpPr>
            <p:cNvPr id="150"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a:ea typeface="Segoe UI" panose="020B0502040204020203" pitchFamily="34" charset="0"/>
                  <a:cs typeface="Arial" panose="020B0604020202020204" pitchFamily="34" charset="0"/>
                </a:rPr>
                <a:t>5G RAN</a:t>
              </a:r>
            </a:p>
          </p:txBody>
        </p:sp>
        <p:sp>
          <p:nvSpPr>
            <p:cNvPr id="151"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000">
                <a:solidFill>
                  <a:srgbClr val="58585A"/>
                </a:solidFill>
              </a:endParaRPr>
            </a:p>
          </p:txBody>
        </p:sp>
        <p:sp>
          <p:nvSpPr>
            <p:cNvPr id="152" name="Freeform 11"/>
            <p:cNvSpPr>
              <a:spLocks noChangeAspect="1" noEditPoints="1"/>
            </p:cNvSpPr>
            <p:nvPr/>
          </p:nvSpPr>
          <p:spPr bwMode="auto">
            <a:xfrm>
              <a:off x="936376" y="2900085"/>
              <a:ext cx="864096" cy="1240668"/>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2147483646 w 410"/>
                <a:gd name="T75" fmla="*/ 2147483646 h 589"/>
                <a:gd name="T76" fmla="*/ 2147483646 w 410"/>
                <a:gd name="T77" fmla="*/ 2147483646 h 589"/>
                <a:gd name="T78" fmla="*/ 2147483646 w 410"/>
                <a:gd name="T79" fmla="*/ 2147483646 h 589"/>
                <a:gd name="T80" fmla="*/ 2147483646 w 410"/>
                <a:gd name="T81" fmla="*/ 2147483646 h 589"/>
                <a:gd name="T82" fmla="*/ 2147483646 w 410"/>
                <a:gd name="T83" fmla="*/ 2147483646 h 589"/>
                <a:gd name="T84" fmla="*/ 2147483646 w 410"/>
                <a:gd name="T85" fmla="*/ 2147483646 h 589"/>
                <a:gd name="T86" fmla="*/ 2147483646 w 410"/>
                <a:gd name="T87" fmla="*/ 2147483646 h 589"/>
                <a:gd name="T88" fmla="*/ 2147483646 w 410"/>
                <a:gd name="T89" fmla="*/ 2147483646 h 589"/>
                <a:gd name="T90" fmla="*/ 2147483646 w 410"/>
                <a:gd name="T91" fmla="*/ 2147483646 h 589"/>
                <a:gd name="T92" fmla="*/ 2147483646 w 410"/>
                <a:gd name="T93" fmla="*/ 2147483646 h 589"/>
                <a:gd name="T94" fmla="*/ 2147483646 w 410"/>
                <a:gd name="T95" fmla="*/ 2147483646 h 589"/>
                <a:gd name="T96" fmla="*/ 2147483646 w 410"/>
                <a:gd name="T97" fmla="*/ 2147483646 h 589"/>
                <a:gd name="T98" fmla="*/ 2147483646 w 410"/>
                <a:gd name="T99" fmla="*/ 2147483646 h 589"/>
                <a:gd name="T100" fmla="*/ 2147483646 w 410"/>
                <a:gd name="T101" fmla="*/ 2147483646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153" name="Line 30"/>
          <p:cNvSpPr>
            <a:spLocks noChangeShapeType="1"/>
          </p:cNvSpPr>
          <p:nvPr/>
        </p:nvSpPr>
        <p:spPr bwMode="auto">
          <a:xfrm>
            <a:off x="3528031" y="6238124"/>
            <a:ext cx="6356753"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grpSp>
        <p:nvGrpSpPr>
          <p:cNvPr id="154" name="Group 98"/>
          <p:cNvGrpSpPr>
            <a:grpSpLocks/>
          </p:cNvGrpSpPr>
          <p:nvPr/>
        </p:nvGrpSpPr>
        <p:grpSpPr bwMode="auto">
          <a:xfrm>
            <a:off x="7688532" y="5739106"/>
            <a:ext cx="662379" cy="872079"/>
            <a:chOff x="5979156" y="5040856"/>
            <a:chExt cx="1101600" cy="1587600"/>
          </a:xfrm>
        </p:grpSpPr>
        <p:cxnSp>
          <p:nvCxnSpPr>
            <p:cNvPr id="155" name="Straight Connector 154"/>
            <p:cNvCxnSpPr/>
            <p:nvPr/>
          </p:nvCxnSpPr>
          <p:spPr bwMode="auto">
            <a:xfrm flipV="1">
              <a:off x="6195156" y="5424140"/>
              <a:ext cx="0" cy="161383"/>
            </a:xfrm>
            <a:prstGeom prst="line">
              <a:avLst/>
            </a:prstGeom>
            <a:noFill/>
            <a:ln w="9525">
              <a:solidFill>
                <a:schemeClr val="accent4">
                  <a:lumMod val="50000"/>
                </a:schemeClr>
              </a:solidFill>
              <a:prstDash val="dash"/>
              <a:round/>
              <a:headEnd/>
              <a:tailEnd/>
            </a:ln>
          </p:spPr>
        </p:cxnSp>
        <p:sp>
          <p:nvSpPr>
            <p:cNvPr id="156"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57"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58"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a:t>UPF</a:t>
              </a:r>
            </a:p>
          </p:txBody>
        </p:sp>
        <p:sp>
          <p:nvSpPr>
            <p:cNvPr id="159"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60" name="Freeform 11"/>
            <p:cNvSpPr>
              <a:spLocks noChangeAspect="1" noEditPoints="1"/>
            </p:cNvSpPr>
            <p:nvPr/>
          </p:nvSpPr>
          <p:spPr bwMode="auto">
            <a:xfrm>
              <a:off x="5979156" y="5040856"/>
              <a:ext cx="1101600" cy="1584547"/>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2147483646 w 410"/>
                <a:gd name="T75" fmla="*/ 2147483646 h 589"/>
                <a:gd name="T76" fmla="*/ 2147483646 w 410"/>
                <a:gd name="T77" fmla="*/ 2147483646 h 589"/>
                <a:gd name="T78" fmla="*/ 2147483646 w 410"/>
                <a:gd name="T79" fmla="*/ 2147483646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61" name="Group 108"/>
          <p:cNvGrpSpPr>
            <a:grpSpLocks/>
          </p:cNvGrpSpPr>
          <p:nvPr/>
        </p:nvGrpSpPr>
        <p:grpSpPr bwMode="auto">
          <a:xfrm>
            <a:off x="7705996" y="3834562"/>
            <a:ext cx="717402" cy="920561"/>
            <a:chOff x="4338871" y="2725624"/>
            <a:chExt cx="1199053" cy="1626215"/>
          </a:xfrm>
        </p:grpSpPr>
        <p:sp>
          <p:nvSpPr>
            <p:cNvPr id="16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6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6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6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a:t>SMF</a:t>
              </a:r>
            </a:p>
          </p:txBody>
        </p:sp>
        <p:sp>
          <p:nvSpPr>
            <p:cNvPr id="16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67" name="Freeform 11"/>
            <p:cNvSpPr>
              <a:spLocks noChangeAspect="1" noEditPoints="1"/>
            </p:cNvSpPr>
            <p:nvPr/>
          </p:nvSpPr>
          <p:spPr bwMode="auto">
            <a:xfrm>
              <a:off x="4338871" y="2725624"/>
              <a:ext cx="1101600" cy="1584547"/>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2147483646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0 h 589"/>
                <a:gd name="T26" fmla="*/ 0 w 410"/>
                <a:gd name="T27" fmla="*/ 2147483646 h 589"/>
                <a:gd name="T28" fmla="*/ 0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nvGrpSpPr>
          <p:cNvPr id="168" name="Group 124"/>
          <p:cNvGrpSpPr>
            <a:grpSpLocks/>
          </p:cNvGrpSpPr>
          <p:nvPr/>
        </p:nvGrpSpPr>
        <p:grpSpPr bwMode="auto">
          <a:xfrm>
            <a:off x="4812749" y="3767079"/>
            <a:ext cx="685125" cy="957893"/>
            <a:chOff x="2530204" y="1718022"/>
            <a:chExt cx="1186277" cy="1647323"/>
          </a:xfrm>
        </p:grpSpPr>
        <p:sp>
          <p:nvSpPr>
            <p:cNvPr id="169"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7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7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172" name="Group 274"/>
            <p:cNvGrpSpPr>
              <a:grpSpLocks noChangeAspect="1"/>
            </p:cNvGrpSpPr>
            <p:nvPr/>
          </p:nvGrpSpPr>
          <p:grpSpPr bwMode="auto">
            <a:xfrm>
              <a:off x="2590950" y="1853233"/>
              <a:ext cx="1125531" cy="1512112"/>
              <a:chOff x="3147" y="3024"/>
              <a:chExt cx="257" cy="366"/>
            </a:xfrm>
          </p:grpSpPr>
          <p:grpSp>
            <p:nvGrpSpPr>
              <p:cNvPr id="173" name="Group 7"/>
              <p:cNvGrpSpPr>
                <a:grpSpLocks noChangeAspect="1"/>
              </p:cNvGrpSpPr>
              <p:nvPr/>
            </p:nvGrpSpPr>
            <p:grpSpPr bwMode="auto">
              <a:xfrm>
                <a:off x="3147" y="3024"/>
                <a:ext cx="257" cy="366"/>
                <a:chOff x="2283" y="1698"/>
                <a:chExt cx="983" cy="1402"/>
              </a:xfrm>
            </p:grpSpPr>
            <p:pic>
              <p:nvPicPr>
                <p:cNvPr id="175"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17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a:t>AUSF</a:t>
                </a:r>
              </a:p>
            </p:txBody>
          </p:sp>
        </p:grpSp>
      </p:grpSp>
      <p:cxnSp>
        <p:nvCxnSpPr>
          <p:cNvPr id="177" name="Straight Connector 133"/>
          <p:cNvCxnSpPr>
            <a:cxnSpLocks/>
            <a:stCxn id="184" idx="2"/>
            <a:endCxn id="148" idx="6"/>
          </p:cNvCxnSpPr>
          <p:nvPr/>
        </p:nvCxnSpPr>
        <p:spPr bwMode="auto">
          <a:xfrm flipH="1">
            <a:off x="3521582" y="4712261"/>
            <a:ext cx="3065215" cy="1308749"/>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78" name="Text Box 144"/>
          <p:cNvSpPr txBox="1">
            <a:spLocks noChangeAspect="1" noChangeArrowheads="1"/>
          </p:cNvSpPr>
          <p:nvPr/>
        </p:nvSpPr>
        <p:spPr bwMode="auto">
          <a:xfrm>
            <a:off x="2702915" y="5024575"/>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a:t>N1</a:t>
            </a:r>
          </a:p>
        </p:txBody>
      </p:sp>
      <p:cxnSp>
        <p:nvCxnSpPr>
          <p:cNvPr id="179" name="Straight Connector 135"/>
          <p:cNvCxnSpPr>
            <a:cxnSpLocks/>
            <a:stCxn id="165" idx="2"/>
            <a:endCxn id="157" idx="0"/>
          </p:cNvCxnSpPr>
          <p:nvPr/>
        </p:nvCxnSpPr>
        <p:spPr bwMode="auto">
          <a:xfrm flipH="1">
            <a:off x="8018810" y="4712524"/>
            <a:ext cx="14918" cy="1038322"/>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80" name="Group 159"/>
          <p:cNvGrpSpPr>
            <a:grpSpLocks/>
          </p:cNvGrpSpPr>
          <p:nvPr/>
        </p:nvGrpSpPr>
        <p:grpSpPr bwMode="auto">
          <a:xfrm>
            <a:off x="6259782" y="3861559"/>
            <a:ext cx="715834" cy="891978"/>
            <a:chOff x="4338871" y="2725624"/>
            <a:chExt cx="1199053" cy="1626215"/>
          </a:xfrm>
        </p:grpSpPr>
        <p:sp>
          <p:nvSpPr>
            <p:cNvPr id="18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8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8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8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a:t>AMF</a:t>
              </a:r>
            </a:p>
          </p:txBody>
        </p:sp>
        <p:sp>
          <p:nvSpPr>
            <p:cNvPr id="18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86" name="Freeform 11"/>
            <p:cNvSpPr>
              <a:spLocks noChangeAspect="1" noEditPoints="1"/>
            </p:cNvSpPr>
            <p:nvPr/>
          </p:nvSpPr>
          <p:spPr bwMode="auto">
            <a:xfrm>
              <a:off x="4338871" y="2725624"/>
              <a:ext cx="1101600" cy="1584547"/>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2147483646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0 h 589"/>
                <a:gd name="T26" fmla="*/ 0 w 410"/>
                <a:gd name="T27" fmla="*/ 2147483646 h 589"/>
                <a:gd name="T28" fmla="*/ 0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cxnSp>
        <p:nvCxnSpPr>
          <p:cNvPr id="187" name="Straight Connector 186"/>
          <p:cNvCxnSpPr>
            <a:cxnSpLocks/>
          </p:cNvCxnSpPr>
          <p:nvPr/>
        </p:nvCxnSpPr>
        <p:spPr bwMode="auto">
          <a:xfrm>
            <a:off x="9384557" y="1287282"/>
            <a:ext cx="0" cy="5457254"/>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188" name="Group 115"/>
          <p:cNvGrpSpPr>
            <a:grpSpLocks/>
          </p:cNvGrpSpPr>
          <p:nvPr/>
        </p:nvGrpSpPr>
        <p:grpSpPr bwMode="auto">
          <a:xfrm>
            <a:off x="9765070" y="1897774"/>
            <a:ext cx="705076" cy="971315"/>
            <a:chOff x="2530204" y="1718022"/>
            <a:chExt cx="1186277" cy="1647323"/>
          </a:xfrm>
        </p:grpSpPr>
        <p:sp>
          <p:nvSpPr>
            <p:cNvPr id="189"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9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9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192" name="Group 274"/>
            <p:cNvGrpSpPr>
              <a:grpSpLocks noChangeAspect="1"/>
            </p:cNvGrpSpPr>
            <p:nvPr/>
          </p:nvGrpSpPr>
          <p:grpSpPr bwMode="auto">
            <a:xfrm>
              <a:off x="2590950" y="1853233"/>
              <a:ext cx="1125531" cy="1512112"/>
              <a:chOff x="3147" y="3024"/>
              <a:chExt cx="257" cy="366"/>
            </a:xfrm>
          </p:grpSpPr>
          <p:grpSp>
            <p:nvGrpSpPr>
              <p:cNvPr id="193" name="Group 7"/>
              <p:cNvGrpSpPr>
                <a:grpSpLocks noChangeAspect="1"/>
              </p:cNvGrpSpPr>
              <p:nvPr/>
            </p:nvGrpSpPr>
            <p:grpSpPr bwMode="auto">
              <a:xfrm>
                <a:off x="3147" y="3024"/>
                <a:ext cx="257" cy="366"/>
                <a:chOff x="2283" y="1698"/>
                <a:chExt cx="983" cy="1402"/>
              </a:xfrm>
            </p:grpSpPr>
            <p:pic>
              <p:nvPicPr>
                <p:cNvPr id="195"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6"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19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AF</a:t>
                </a:r>
              </a:p>
            </p:txBody>
          </p:sp>
        </p:grpSp>
      </p:grpSp>
      <p:grpSp>
        <p:nvGrpSpPr>
          <p:cNvPr id="197" name="Group 115"/>
          <p:cNvGrpSpPr>
            <a:grpSpLocks/>
          </p:cNvGrpSpPr>
          <p:nvPr/>
        </p:nvGrpSpPr>
        <p:grpSpPr bwMode="auto">
          <a:xfrm>
            <a:off x="6673658" y="1903560"/>
            <a:ext cx="705076" cy="971315"/>
            <a:chOff x="2530204" y="1718022"/>
            <a:chExt cx="1186277" cy="1647323"/>
          </a:xfrm>
        </p:grpSpPr>
        <p:sp>
          <p:nvSpPr>
            <p:cNvPr id="198"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199"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200" name="Group 274"/>
            <p:cNvGrpSpPr>
              <a:grpSpLocks noChangeAspect="1"/>
            </p:cNvGrpSpPr>
            <p:nvPr/>
          </p:nvGrpSpPr>
          <p:grpSpPr bwMode="auto">
            <a:xfrm>
              <a:off x="2590950" y="1853233"/>
              <a:ext cx="1125531" cy="1512112"/>
              <a:chOff x="3147" y="3024"/>
              <a:chExt cx="257" cy="366"/>
            </a:xfrm>
          </p:grpSpPr>
          <p:grpSp>
            <p:nvGrpSpPr>
              <p:cNvPr id="201" name="Group 7"/>
              <p:cNvGrpSpPr>
                <a:grpSpLocks noChangeAspect="1"/>
              </p:cNvGrpSpPr>
              <p:nvPr/>
            </p:nvGrpSpPr>
            <p:grpSpPr bwMode="auto">
              <a:xfrm>
                <a:off x="3147" y="3024"/>
                <a:ext cx="257" cy="366"/>
                <a:chOff x="2283" y="1698"/>
                <a:chExt cx="983" cy="1402"/>
              </a:xfrm>
            </p:grpSpPr>
            <p:pic>
              <p:nvPicPr>
                <p:cNvPr id="203"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202"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a:t>PCF</a:t>
                </a:r>
              </a:p>
            </p:txBody>
          </p:sp>
        </p:grpSp>
      </p:grpSp>
      <p:grpSp>
        <p:nvGrpSpPr>
          <p:cNvPr id="205" name="Group 138"/>
          <p:cNvGrpSpPr>
            <a:grpSpLocks/>
          </p:cNvGrpSpPr>
          <p:nvPr/>
        </p:nvGrpSpPr>
        <p:grpSpPr bwMode="auto">
          <a:xfrm>
            <a:off x="5749461" y="1952360"/>
            <a:ext cx="696978" cy="915120"/>
            <a:chOff x="2551447" y="1853233"/>
            <a:chExt cx="1165034" cy="1512112"/>
          </a:xfrm>
        </p:grpSpPr>
        <p:sp>
          <p:nvSpPr>
            <p:cNvPr id="206"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207" name="Group 274"/>
            <p:cNvGrpSpPr>
              <a:grpSpLocks noChangeAspect="1"/>
            </p:cNvGrpSpPr>
            <p:nvPr/>
          </p:nvGrpSpPr>
          <p:grpSpPr bwMode="auto">
            <a:xfrm>
              <a:off x="2590950" y="1853233"/>
              <a:ext cx="1125531" cy="1512112"/>
              <a:chOff x="3147" y="3024"/>
              <a:chExt cx="257" cy="366"/>
            </a:xfrm>
          </p:grpSpPr>
          <p:grpSp>
            <p:nvGrpSpPr>
              <p:cNvPr id="208" name="Group 7"/>
              <p:cNvGrpSpPr>
                <a:grpSpLocks noChangeAspect="1"/>
              </p:cNvGrpSpPr>
              <p:nvPr/>
            </p:nvGrpSpPr>
            <p:grpSpPr bwMode="auto">
              <a:xfrm>
                <a:off x="3147" y="3024"/>
                <a:ext cx="257" cy="366"/>
                <a:chOff x="2283" y="1698"/>
                <a:chExt cx="983" cy="1402"/>
              </a:xfrm>
            </p:grpSpPr>
            <p:pic>
              <p:nvPicPr>
                <p:cNvPr id="210"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209"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a:t>UDM</a:t>
                </a:r>
              </a:p>
            </p:txBody>
          </p:sp>
        </p:grpSp>
      </p:grpSp>
      <p:grpSp>
        <p:nvGrpSpPr>
          <p:cNvPr id="212" name="Group 115"/>
          <p:cNvGrpSpPr>
            <a:grpSpLocks/>
          </p:cNvGrpSpPr>
          <p:nvPr/>
        </p:nvGrpSpPr>
        <p:grpSpPr bwMode="auto">
          <a:xfrm>
            <a:off x="7641335" y="1901615"/>
            <a:ext cx="705076" cy="971315"/>
            <a:chOff x="2530204" y="1718022"/>
            <a:chExt cx="1186277" cy="1647323"/>
          </a:xfrm>
        </p:grpSpPr>
        <p:sp>
          <p:nvSpPr>
            <p:cNvPr id="21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1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1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216" name="Group 274"/>
            <p:cNvGrpSpPr>
              <a:grpSpLocks noChangeAspect="1"/>
            </p:cNvGrpSpPr>
            <p:nvPr/>
          </p:nvGrpSpPr>
          <p:grpSpPr bwMode="auto">
            <a:xfrm>
              <a:off x="2590950" y="1853233"/>
              <a:ext cx="1125531" cy="1512112"/>
              <a:chOff x="3147" y="3024"/>
              <a:chExt cx="257" cy="366"/>
            </a:xfrm>
          </p:grpSpPr>
          <p:grpSp>
            <p:nvGrpSpPr>
              <p:cNvPr id="217" name="Group 7"/>
              <p:cNvGrpSpPr>
                <a:grpSpLocks noChangeAspect="1"/>
              </p:cNvGrpSpPr>
              <p:nvPr/>
            </p:nvGrpSpPr>
            <p:grpSpPr bwMode="auto">
              <a:xfrm>
                <a:off x="3147" y="3024"/>
                <a:ext cx="257" cy="366"/>
                <a:chOff x="2283" y="1698"/>
                <a:chExt cx="983" cy="1402"/>
              </a:xfrm>
            </p:grpSpPr>
            <p:pic>
              <p:nvPicPr>
                <p:cNvPr id="219"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21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NEF</a:t>
                </a:r>
              </a:p>
            </p:txBody>
          </p:sp>
        </p:grpSp>
      </p:grpSp>
      <p:sp>
        <p:nvSpPr>
          <p:cNvPr id="221" name="Text Box 144"/>
          <p:cNvSpPr txBox="1">
            <a:spLocks noChangeAspect="1" noChangeArrowheads="1"/>
          </p:cNvSpPr>
          <p:nvPr/>
        </p:nvSpPr>
        <p:spPr bwMode="auto">
          <a:xfrm>
            <a:off x="6488617" y="3661989"/>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amf</a:t>
            </a:r>
            <a:endParaRPr lang="en-US" altLang="en-US" sz="1400" dirty="0">
              <a:solidFill>
                <a:srgbClr val="FF0000"/>
              </a:solidFill>
            </a:endParaRPr>
          </a:p>
        </p:txBody>
      </p:sp>
      <p:sp>
        <p:nvSpPr>
          <p:cNvPr id="222" name="Text Box 144"/>
          <p:cNvSpPr txBox="1">
            <a:spLocks noChangeAspect="1" noChangeArrowheads="1"/>
          </p:cNvSpPr>
          <p:nvPr/>
        </p:nvSpPr>
        <p:spPr bwMode="auto">
          <a:xfrm>
            <a:off x="5074299" y="365663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ausf</a:t>
            </a:r>
            <a:endParaRPr lang="en-US" altLang="en-US" sz="1400" dirty="0">
              <a:solidFill>
                <a:srgbClr val="FF0000"/>
              </a:solidFill>
            </a:endParaRPr>
          </a:p>
        </p:txBody>
      </p:sp>
      <p:sp>
        <p:nvSpPr>
          <p:cNvPr id="223" name="Text Box 144"/>
          <p:cNvSpPr txBox="1">
            <a:spLocks noChangeAspect="1" noChangeArrowheads="1"/>
          </p:cNvSpPr>
          <p:nvPr/>
        </p:nvSpPr>
        <p:spPr bwMode="auto">
          <a:xfrm>
            <a:off x="6908367" y="2943333"/>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pcf</a:t>
            </a:r>
            <a:endParaRPr lang="en-US" altLang="en-US" sz="1400" dirty="0">
              <a:solidFill>
                <a:srgbClr val="FF0000"/>
              </a:solidFill>
            </a:endParaRPr>
          </a:p>
        </p:txBody>
      </p:sp>
      <p:sp>
        <p:nvSpPr>
          <p:cNvPr id="224" name="Text Box 144"/>
          <p:cNvSpPr txBox="1">
            <a:spLocks noChangeAspect="1" noChangeArrowheads="1"/>
          </p:cNvSpPr>
          <p:nvPr/>
        </p:nvSpPr>
        <p:spPr bwMode="auto">
          <a:xfrm>
            <a:off x="6003126" y="293526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udm</a:t>
            </a:r>
            <a:endParaRPr lang="en-US" altLang="en-US" sz="1400" dirty="0">
              <a:solidFill>
                <a:srgbClr val="FF0000"/>
              </a:solidFill>
            </a:endParaRPr>
          </a:p>
        </p:txBody>
      </p:sp>
      <p:sp>
        <p:nvSpPr>
          <p:cNvPr id="225" name="Text Box 144"/>
          <p:cNvSpPr txBox="1">
            <a:spLocks noChangeAspect="1" noChangeArrowheads="1"/>
          </p:cNvSpPr>
          <p:nvPr/>
        </p:nvSpPr>
        <p:spPr bwMode="auto">
          <a:xfrm>
            <a:off x="8013920" y="3651262"/>
            <a:ext cx="741516"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smf</a:t>
            </a:r>
            <a:endParaRPr lang="en-US" altLang="en-US" sz="1400" dirty="0">
              <a:solidFill>
                <a:srgbClr val="FF0000"/>
              </a:solidFill>
            </a:endParaRPr>
          </a:p>
        </p:txBody>
      </p:sp>
      <p:sp>
        <p:nvSpPr>
          <p:cNvPr id="226" name="Text Box 144"/>
          <p:cNvSpPr txBox="1">
            <a:spLocks noChangeAspect="1" noChangeArrowheads="1"/>
          </p:cNvSpPr>
          <p:nvPr/>
        </p:nvSpPr>
        <p:spPr bwMode="auto">
          <a:xfrm>
            <a:off x="9982684" y="2897162"/>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af</a:t>
            </a:r>
            <a:endParaRPr lang="en-US" altLang="en-US" sz="1400" dirty="0">
              <a:solidFill>
                <a:srgbClr val="FF0000"/>
              </a:solidFill>
            </a:endParaRPr>
          </a:p>
        </p:txBody>
      </p:sp>
      <p:grpSp>
        <p:nvGrpSpPr>
          <p:cNvPr id="227" name="Group 74"/>
          <p:cNvGrpSpPr>
            <a:grpSpLocks/>
          </p:cNvGrpSpPr>
          <p:nvPr/>
        </p:nvGrpSpPr>
        <p:grpSpPr bwMode="auto">
          <a:xfrm>
            <a:off x="9760101" y="5059775"/>
            <a:ext cx="2249488" cy="1719263"/>
            <a:chOff x="9344462" y="5130211"/>
            <a:chExt cx="2250397" cy="1719278"/>
          </a:xfrm>
        </p:grpSpPr>
        <p:sp>
          <p:nvSpPr>
            <p:cNvPr id="228" name="Freeform 34"/>
            <p:cNvSpPr>
              <a:spLocks noChangeAspect="1"/>
            </p:cNvSpPr>
            <p:nvPr/>
          </p:nvSpPr>
          <p:spPr bwMode="auto">
            <a:xfrm>
              <a:off x="9344462" y="5130211"/>
              <a:ext cx="2250397" cy="1719278"/>
            </a:xfrm>
            <a:custGeom>
              <a:avLst/>
              <a:gdLst>
                <a:gd name="T0" fmla="*/ 2147483646 w 522"/>
                <a:gd name="T1" fmla="*/ 2147483646 h 399"/>
                <a:gd name="T2" fmla="*/ 2147483646 w 522"/>
                <a:gd name="T3" fmla="*/ 2147483646 h 399"/>
                <a:gd name="T4" fmla="*/ 0 w 522"/>
                <a:gd name="T5" fmla="*/ 2147483646 h 399"/>
                <a:gd name="T6" fmla="*/ 2147483646 w 522"/>
                <a:gd name="T7" fmla="*/ 2147483646 h 399"/>
                <a:gd name="T8" fmla="*/ 2147483646 w 522"/>
                <a:gd name="T9" fmla="*/ 2147483646 h 399"/>
                <a:gd name="T10" fmla="*/ 2147483646 w 522"/>
                <a:gd name="T11" fmla="*/ 0 h 399"/>
                <a:gd name="T12" fmla="*/ 2147483646 w 522"/>
                <a:gd name="T13" fmla="*/ 2147483646 h 399"/>
                <a:gd name="T14" fmla="*/ 2147483646 w 522"/>
                <a:gd name="T15" fmla="*/ 2147483646 h 399"/>
                <a:gd name="T16" fmla="*/ 2147483646 w 522"/>
                <a:gd name="T17" fmla="*/ 2147483646 h 399"/>
                <a:gd name="T18" fmla="*/ 2147483646 w 522"/>
                <a:gd name="T19" fmla="*/ 2147483646 h 399"/>
                <a:gd name="T20" fmla="*/ 2147483646 w 522"/>
                <a:gd name="T21" fmla="*/ 2147483646 h 399"/>
                <a:gd name="T22" fmla="*/ 2147483646 w 522"/>
                <a:gd name="T23" fmla="*/ 2147483646 h 399"/>
                <a:gd name="T24" fmla="*/ 2147483646 w 522"/>
                <a:gd name="T25" fmla="*/ 2147483646 h 399"/>
                <a:gd name="T26" fmla="*/ 2147483646 w 522"/>
                <a:gd name="T27" fmla="*/ 2147483646 h 399"/>
                <a:gd name="T28" fmla="*/ 2147483646 w 522"/>
                <a:gd name="T29" fmla="*/ 2147483646 h 399"/>
                <a:gd name="T30" fmla="*/ 2147483646 w 522"/>
                <a:gd name="T31" fmla="*/ 2147483646 h 399"/>
                <a:gd name="T32" fmla="*/ 2147483646 w 522"/>
                <a:gd name="T33" fmla="*/ 2147483646 h 399"/>
                <a:gd name="T34" fmla="*/ 2147483646 w 522"/>
                <a:gd name="T35" fmla="*/ 2147483646 h 399"/>
                <a:gd name="T36" fmla="*/ 2147483646 w 522"/>
                <a:gd name="T37" fmla="*/ 2147483646 h 399"/>
                <a:gd name="T38" fmla="*/ 2147483646 w 522"/>
                <a:gd name="T39" fmla="*/ 2147483646 h 399"/>
                <a:gd name="T40" fmla="*/ 2147483646 w 522"/>
                <a:gd name="T41" fmla="*/ 2147483646 h 399"/>
                <a:gd name="T42" fmla="*/ 2147483646 w 522"/>
                <a:gd name="T43" fmla="*/ 2147483646 h 399"/>
                <a:gd name="T44" fmla="*/ 2147483646 w 522"/>
                <a:gd name="T45" fmla="*/ 2147483646 h 399"/>
                <a:gd name="T46" fmla="*/ 2147483646 w 522"/>
                <a:gd name="T47" fmla="*/ 2147483646 h 399"/>
                <a:gd name="T48" fmla="*/ 2147483646 w 522"/>
                <a:gd name="T49" fmla="*/ 2147483646 h 399"/>
                <a:gd name="T50" fmla="*/ 2147483646 w 522"/>
                <a:gd name="T51" fmla="*/ 2147483646 h 399"/>
                <a:gd name="T52" fmla="*/ 2147483646 w 522"/>
                <a:gd name="T53" fmla="*/ 2147483646 h 399"/>
                <a:gd name="T54" fmla="*/ 2147483646 w 522"/>
                <a:gd name="T55" fmla="*/ 2147483646 h 399"/>
                <a:gd name="T56" fmla="*/ 2147483646 w 522"/>
                <a:gd name="T57" fmla="*/ 2147483646 h 399"/>
                <a:gd name="T58" fmla="*/ 2147483646 w 522"/>
                <a:gd name="T59" fmla="*/ 2147483646 h 399"/>
                <a:gd name="T60" fmla="*/ 2147483646 w 522"/>
                <a:gd name="T61" fmla="*/ 2147483646 h 399"/>
                <a:gd name="T62" fmla="*/ 2147483646 w 522"/>
                <a:gd name="T63" fmla="*/ 2147483646 h 399"/>
                <a:gd name="T64" fmla="*/ 2147483646 w 522"/>
                <a:gd name="T65" fmla="*/ 2147483646 h 399"/>
                <a:gd name="T66" fmla="*/ 2147483646 w 522"/>
                <a:gd name="T67" fmla="*/ 2147483646 h 399"/>
                <a:gd name="T68" fmla="*/ 2147483646 w 522"/>
                <a:gd name="T69" fmla="*/ 2147483646 h 399"/>
                <a:gd name="T70" fmla="*/ 2147483646 w 522"/>
                <a:gd name="T71" fmla="*/ 2147483646 h 399"/>
                <a:gd name="T72" fmla="*/ 2147483646 w 522"/>
                <a:gd name="T73" fmla="*/ 2147483646 h 399"/>
                <a:gd name="T74" fmla="*/ 2147483646 w 522"/>
                <a:gd name="T75" fmla="*/ 2147483646 h 399"/>
                <a:gd name="T76" fmla="*/ 2147483646 w 522"/>
                <a:gd name="T77" fmla="*/ 2147483646 h 399"/>
                <a:gd name="T78" fmla="*/ 2147483646 w 522"/>
                <a:gd name="T79" fmla="*/ 2147483646 h 399"/>
                <a:gd name="T80" fmla="*/ 2147483646 w 522"/>
                <a:gd name="T81" fmla="*/ 2147483646 h 399"/>
                <a:gd name="T82" fmla="*/ 2147483646 w 522"/>
                <a:gd name="T83" fmla="*/ 2147483646 h 399"/>
                <a:gd name="T84" fmla="*/ 2147483646 w 522"/>
                <a:gd name="T85" fmla="*/ 2147483646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229"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r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800"/>
                <a:t>Data Network </a:t>
              </a:r>
              <a:endParaRPr lang="en-US" altLang="en-US" sz="2000"/>
            </a:p>
            <a:p>
              <a:pPr algn="ctr" eaLnBrk="1" hangingPunct="1">
                <a:lnSpc>
                  <a:spcPct val="80000"/>
                </a:lnSpc>
                <a:spcBef>
                  <a:spcPct val="0"/>
                </a:spcBef>
                <a:buClrTx/>
                <a:buFontTx/>
                <a:buNone/>
              </a:pPr>
              <a:r>
                <a:rPr lang="en-US" altLang="en-US" sz="1400"/>
                <a:t>(e.g. operator </a:t>
              </a:r>
            </a:p>
            <a:p>
              <a:pPr algn="ctr" eaLnBrk="1" hangingPunct="1">
                <a:lnSpc>
                  <a:spcPct val="80000"/>
                </a:lnSpc>
                <a:spcBef>
                  <a:spcPct val="0"/>
                </a:spcBef>
                <a:buClrTx/>
                <a:buFontTx/>
                <a:buNone/>
              </a:pPr>
              <a:r>
                <a:rPr lang="en-US" altLang="en-US" sz="1400"/>
                <a:t>or Internet)</a:t>
              </a:r>
            </a:p>
          </p:txBody>
        </p:sp>
      </p:grpSp>
      <p:grpSp>
        <p:nvGrpSpPr>
          <p:cNvPr id="230" name="Group 138"/>
          <p:cNvGrpSpPr>
            <a:grpSpLocks/>
          </p:cNvGrpSpPr>
          <p:nvPr/>
        </p:nvGrpSpPr>
        <p:grpSpPr bwMode="auto">
          <a:xfrm>
            <a:off x="4831245" y="1886310"/>
            <a:ext cx="709686" cy="996949"/>
            <a:chOff x="2530204" y="1718022"/>
            <a:chExt cx="1186277" cy="1647323"/>
          </a:xfrm>
        </p:grpSpPr>
        <p:sp>
          <p:nvSpPr>
            <p:cNvPr id="231"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32"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33"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234" name="Group 274"/>
            <p:cNvGrpSpPr>
              <a:grpSpLocks noChangeAspect="1"/>
            </p:cNvGrpSpPr>
            <p:nvPr/>
          </p:nvGrpSpPr>
          <p:grpSpPr bwMode="auto">
            <a:xfrm>
              <a:off x="2590950" y="1853233"/>
              <a:ext cx="1125531" cy="1512112"/>
              <a:chOff x="3147" y="3024"/>
              <a:chExt cx="257" cy="366"/>
            </a:xfrm>
          </p:grpSpPr>
          <p:grpSp>
            <p:nvGrpSpPr>
              <p:cNvPr id="235" name="Group 7"/>
              <p:cNvGrpSpPr>
                <a:grpSpLocks noChangeAspect="1"/>
              </p:cNvGrpSpPr>
              <p:nvPr/>
            </p:nvGrpSpPr>
            <p:grpSpPr bwMode="auto">
              <a:xfrm>
                <a:off x="3147" y="3024"/>
                <a:ext cx="257" cy="366"/>
                <a:chOff x="2283" y="1698"/>
                <a:chExt cx="983" cy="1402"/>
              </a:xfrm>
            </p:grpSpPr>
            <p:pic>
              <p:nvPicPr>
                <p:cNvPr id="237"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8"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236"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NRF</a:t>
                </a:r>
              </a:p>
            </p:txBody>
          </p:sp>
        </p:grpSp>
      </p:grpSp>
      <p:sp>
        <p:nvSpPr>
          <p:cNvPr id="239" name="Text Box 144"/>
          <p:cNvSpPr txBox="1">
            <a:spLocks noChangeAspect="1" noChangeArrowheads="1"/>
          </p:cNvSpPr>
          <p:nvPr/>
        </p:nvSpPr>
        <p:spPr bwMode="auto">
          <a:xfrm>
            <a:off x="4973002" y="2919430"/>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nrf</a:t>
            </a:r>
            <a:endParaRPr lang="en-US" altLang="en-US" sz="1400" dirty="0">
              <a:solidFill>
                <a:srgbClr val="FF0000"/>
              </a:solidFill>
            </a:endParaRPr>
          </a:p>
        </p:txBody>
      </p:sp>
      <p:sp>
        <p:nvSpPr>
          <p:cNvPr id="240" name="Content Placeholder 3"/>
          <p:cNvSpPr txBox="1">
            <a:spLocks/>
          </p:cNvSpPr>
          <p:nvPr/>
        </p:nvSpPr>
        <p:spPr>
          <a:xfrm>
            <a:off x="426457" y="1590610"/>
            <a:ext cx="4198189" cy="2625006"/>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1800" kern="0" dirty="0"/>
              <a:t>Network Functions within the 5GC Control Plane (CP) use Service-Based Interfaces (SBI) for their interactions:</a:t>
            </a:r>
          </a:p>
        </p:txBody>
      </p:sp>
      <p:grpSp>
        <p:nvGrpSpPr>
          <p:cNvPr id="241" name="Group 240"/>
          <p:cNvGrpSpPr/>
          <p:nvPr/>
        </p:nvGrpSpPr>
        <p:grpSpPr>
          <a:xfrm>
            <a:off x="5088902" y="2848624"/>
            <a:ext cx="145622" cy="276936"/>
            <a:chOff x="7323671" y="1568309"/>
            <a:chExt cx="145622" cy="276936"/>
          </a:xfrm>
        </p:grpSpPr>
        <p:cxnSp>
          <p:nvCxnSpPr>
            <p:cNvPr id="242" name="Straight Connector 241"/>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43" name="Oval 242"/>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44" name="Group 243"/>
          <p:cNvGrpSpPr/>
          <p:nvPr/>
        </p:nvGrpSpPr>
        <p:grpSpPr>
          <a:xfrm>
            <a:off x="7953951" y="2846484"/>
            <a:ext cx="145622" cy="276936"/>
            <a:chOff x="7323671" y="1568309"/>
            <a:chExt cx="145622" cy="276936"/>
          </a:xfrm>
        </p:grpSpPr>
        <p:cxnSp>
          <p:nvCxnSpPr>
            <p:cNvPr id="245" name="Straight Connector 244"/>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46" name="Oval 245"/>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47" name="Group 246"/>
          <p:cNvGrpSpPr/>
          <p:nvPr/>
        </p:nvGrpSpPr>
        <p:grpSpPr>
          <a:xfrm>
            <a:off x="5090761" y="3572327"/>
            <a:ext cx="145622" cy="280111"/>
            <a:chOff x="7128406" y="1476204"/>
            <a:chExt cx="145622" cy="280111"/>
          </a:xfrm>
        </p:grpSpPr>
        <p:cxnSp>
          <p:nvCxnSpPr>
            <p:cNvPr id="248" name="Straight Connector 247"/>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49" name="Oval 248"/>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
        <p:nvSpPr>
          <p:cNvPr id="250" name="Text Box 144"/>
          <p:cNvSpPr txBox="1">
            <a:spLocks noChangeAspect="1" noChangeArrowheads="1"/>
          </p:cNvSpPr>
          <p:nvPr/>
        </p:nvSpPr>
        <p:spPr bwMode="auto">
          <a:xfrm>
            <a:off x="7843536" y="2914978"/>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nef</a:t>
            </a:r>
            <a:endParaRPr lang="en-US" altLang="en-US" sz="1400" dirty="0">
              <a:solidFill>
                <a:srgbClr val="FF0000"/>
              </a:solidFill>
            </a:endParaRPr>
          </a:p>
        </p:txBody>
      </p:sp>
      <p:grpSp>
        <p:nvGrpSpPr>
          <p:cNvPr id="251" name="Group 250"/>
          <p:cNvGrpSpPr/>
          <p:nvPr/>
        </p:nvGrpSpPr>
        <p:grpSpPr>
          <a:xfrm>
            <a:off x="6510952" y="3587646"/>
            <a:ext cx="145622" cy="280111"/>
            <a:chOff x="7128406" y="1476204"/>
            <a:chExt cx="145622" cy="280111"/>
          </a:xfrm>
        </p:grpSpPr>
        <p:cxnSp>
          <p:nvCxnSpPr>
            <p:cNvPr id="252" name="Straight Connector 251"/>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53" name="Oval 252"/>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54" name="Group 253"/>
          <p:cNvGrpSpPr/>
          <p:nvPr/>
        </p:nvGrpSpPr>
        <p:grpSpPr>
          <a:xfrm>
            <a:off x="7953458" y="3559536"/>
            <a:ext cx="145622" cy="280111"/>
            <a:chOff x="7128406" y="1476204"/>
            <a:chExt cx="145622" cy="280111"/>
          </a:xfrm>
        </p:grpSpPr>
        <p:cxnSp>
          <p:nvCxnSpPr>
            <p:cNvPr id="255" name="Straight Connector 254"/>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56" name="Oval 255"/>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57" name="Group 256"/>
          <p:cNvGrpSpPr/>
          <p:nvPr/>
        </p:nvGrpSpPr>
        <p:grpSpPr>
          <a:xfrm rot="16200000" flipH="1" flipV="1">
            <a:off x="2117311" y="2487934"/>
            <a:ext cx="145622" cy="280111"/>
            <a:chOff x="7128406" y="1476204"/>
            <a:chExt cx="145622" cy="280111"/>
          </a:xfrm>
        </p:grpSpPr>
        <p:cxnSp>
          <p:nvCxnSpPr>
            <p:cNvPr id="258" name="Straight Connector 257"/>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59" name="Oval 258"/>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cxnSp>
        <p:nvCxnSpPr>
          <p:cNvPr id="260" name="Straight Connector 133"/>
          <p:cNvCxnSpPr>
            <a:cxnSpLocks/>
            <a:stCxn id="184" idx="2"/>
          </p:cNvCxnSpPr>
          <p:nvPr/>
        </p:nvCxnSpPr>
        <p:spPr bwMode="auto">
          <a:xfrm flipH="1">
            <a:off x="1505179" y="4712261"/>
            <a:ext cx="5081618" cy="849331"/>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grpSp>
        <p:nvGrpSpPr>
          <p:cNvPr id="261" name="Group 260"/>
          <p:cNvGrpSpPr/>
          <p:nvPr/>
        </p:nvGrpSpPr>
        <p:grpSpPr>
          <a:xfrm>
            <a:off x="6052080" y="2848624"/>
            <a:ext cx="145622" cy="276936"/>
            <a:chOff x="7323671" y="1568309"/>
            <a:chExt cx="145622" cy="276936"/>
          </a:xfrm>
        </p:grpSpPr>
        <p:cxnSp>
          <p:nvCxnSpPr>
            <p:cNvPr id="262" name="Straight Connector 261"/>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63" name="Oval 262"/>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64" name="Group 263"/>
          <p:cNvGrpSpPr/>
          <p:nvPr/>
        </p:nvGrpSpPr>
        <p:grpSpPr>
          <a:xfrm>
            <a:off x="6996249" y="2848624"/>
            <a:ext cx="145622" cy="276936"/>
            <a:chOff x="7323671" y="1568309"/>
            <a:chExt cx="145622" cy="276936"/>
          </a:xfrm>
        </p:grpSpPr>
        <p:cxnSp>
          <p:nvCxnSpPr>
            <p:cNvPr id="265" name="Straight Connector 264"/>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66" name="Oval 265"/>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grpSp>
        <p:nvGrpSpPr>
          <p:cNvPr id="267" name="Group 266"/>
          <p:cNvGrpSpPr/>
          <p:nvPr/>
        </p:nvGrpSpPr>
        <p:grpSpPr>
          <a:xfrm>
            <a:off x="10084563" y="2839341"/>
            <a:ext cx="145622" cy="276936"/>
            <a:chOff x="7323671" y="1568309"/>
            <a:chExt cx="145622" cy="276936"/>
          </a:xfrm>
        </p:grpSpPr>
        <p:cxnSp>
          <p:nvCxnSpPr>
            <p:cNvPr id="268" name="Straight Connector 267"/>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69" name="Oval 268"/>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cxnSp>
        <p:nvCxnSpPr>
          <p:cNvPr id="270" name="Straight Connector 269"/>
          <p:cNvCxnSpPr/>
          <p:nvPr/>
        </p:nvCxnSpPr>
        <p:spPr bwMode="auto">
          <a:xfrm>
            <a:off x="4253322" y="3375249"/>
            <a:ext cx="5906865" cy="5722"/>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1" name="Straight Connector 270"/>
          <p:cNvCxnSpPr>
            <a:stCxn id="243" idx="4"/>
            <a:endCxn id="249" idx="0"/>
          </p:cNvCxnSpPr>
          <p:nvPr/>
        </p:nvCxnSpPr>
        <p:spPr bwMode="auto">
          <a:xfrm>
            <a:off x="5161713" y="3125560"/>
            <a:ext cx="1859" cy="44676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2" name="Straight Connector 271"/>
          <p:cNvCxnSpPr>
            <a:stCxn id="263" idx="4"/>
          </p:cNvCxnSpPr>
          <p:nvPr/>
        </p:nvCxnSpPr>
        <p:spPr bwMode="auto">
          <a:xfrm flipH="1">
            <a:off x="6121778" y="3125560"/>
            <a:ext cx="3113" cy="255411"/>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3" name="Straight Connector 272"/>
          <p:cNvCxnSpPr>
            <a:stCxn id="266" idx="4"/>
          </p:cNvCxnSpPr>
          <p:nvPr/>
        </p:nvCxnSpPr>
        <p:spPr bwMode="auto">
          <a:xfrm>
            <a:off x="7069060" y="3125560"/>
            <a:ext cx="1" cy="261266"/>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4" name="Straight Connector 273"/>
          <p:cNvCxnSpPr>
            <a:endCxn id="253" idx="0"/>
          </p:cNvCxnSpPr>
          <p:nvPr/>
        </p:nvCxnSpPr>
        <p:spPr bwMode="auto">
          <a:xfrm>
            <a:off x="6581140" y="3380971"/>
            <a:ext cx="2623" cy="206675"/>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5" name="Straight Connector 274"/>
          <p:cNvCxnSpPr>
            <a:endCxn id="256" idx="0"/>
          </p:cNvCxnSpPr>
          <p:nvPr/>
        </p:nvCxnSpPr>
        <p:spPr bwMode="auto">
          <a:xfrm>
            <a:off x="8023646" y="3380971"/>
            <a:ext cx="2623" cy="178565"/>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6" name="Straight Connector 275"/>
          <p:cNvCxnSpPr>
            <a:stCxn id="246" idx="4"/>
          </p:cNvCxnSpPr>
          <p:nvPr/>
        </p:nvCxnSpPr>
        <p:spPr bwMode="auto">
          <a:xfrm>
            <a:off x="8026762" y="3123420"/>
            <a:ext cx="2813" cy="260336"/>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277" name="Straight Connector 276"/>
          <p:cNvCxnSpPr>
            <a:stCxn id="269" idx="4"/>
          </p:cNvCxnSpPr>
          <p:nvPr/>
        </p:nvCxnSpPr>
        <p:spPr bwMode="auto">
          <a:xfrm>
            <a:off x="10157374" y="3116277"/>
            <a:ext cx="2813" cy="262449"/>
          </a:xfrm>
          <a:prstGeom prst="line">
            <a:avLst/>
          </a:prstGeom>
          <a:solidFill>
            <a:schemeClr val="accent1"/>
          </a:solidFill>
          <a:ln w="12700" cap="flat" cmpd="sng" algn="ctr">
            <a:solidFill>
              <a:srgbClr val="FF0000"/>
            </a:solidFill>
            <a:prstDash val="solid"/>
            <a:round/>
            <a:headEnd type="none" w="med" len="med"/>
            <a:tailEnd type="none" w="med" len="med"/>
          </a:ln>
          <a:effectLst/>
        </p:spPr>
      </p:cxnSp>
      <p:sp>
        <p:nvSpPr>
          <p:cNvPr id="278" name="TextBox 277"/>
          <p:cNvSpPr txBox="1"/>
          <p:nvPr/>
        </p:nvSpPr>
        <p:spPr>
          <a:xfrm>
            <a:off x="135738" y="3055256"/>
            <a:ext cx="3895190" cy="1785104"/>
          </a:xfrm>
          <a:prstGeom prst="rect">
            <a:avLst/>
          </a:prstGeom>
          <a:noFill/>
        </p:spPr>
        <p:txBody>
          <a:bodyPr wrap="square" rtlCol="0">
            <a:spAutoFit/>
          </a:bodyPr>
          <a:lstStyle/>
          <a:p>
            <a:pPr hangingPunct="0">
              <a:spcBef>
                <a:spcPts val="0"/>
              </a:spcBef>
              <a:tabLst>
                <a:tab pos="536575" algn="l"/>
              </a:tabLst>
            </a:pPr>
            <a:r>
              <a:rPr lang="en-US" sz="1100" dirty="0"/>
              <a:t>AF	Application Function</a:t>
            </a:r>
          </a:p>
          <a:p>
            <a:pPr hangingPunct="0">
              <a:spcBef>
                <a:spcPts val="0"/>
              </a:spcBef>
              <a:tabLst>
                <a:tab pos="536575" algn="l"/>
              </a:tabLst>
            </a:pPr>
            <a:r>
              <a:rPr lang="en-US" sz="1100" dirty="0"/>
              <a:t>AMF	Access and Mobility Management Function</a:t>
            </a:r>
          </a:p>
          <a:p>
            <a:pPr lvl="0">
              <a:spcBef>
                <a:spcPts val="0"/>
              </a:spcBef>
              <a:tabLst>
                <a:tab pos="536575" algn="l"/>
              </a:tabLst>
            </a:pPr>
            <a:r>
              <a:rPr lang="en-US" sz="1100" dirty="0"/>
              <a:t>AUSF	Authentication Server Function </a:t>
            </a:r>
          </a:p>
          <a:p>
            <a:pPr lvl="0">
              <a:spcBef>
                <a:spcPts val="0"/>
              </a:spcBef>
              <a:tabLst>
                <a:tab pos="536575" algn="l"/>
              </a:tabLst>
            </a:pPr>
            <a:r>
              <a:rPr lang="en-US" sz="1100" dirty="0"/>
              <a:t>NEF	Network Exposure Function</a:t>
            </a:r>
          </a:p>
          <a:p>
            <a:pPr lvl="0">
              <a:spcBef>
                <a:spcPts val="0"/>
              </a:spcBef>
              <a:tabLst>
                <a:tab pos="536575" algn="l"/>
              </a:tabLst>
            </a:pPr>
            <a:r>
              <a:rPr lang="en-US" sz="1100" dirty="0"/>
              <a:t>NRF	Network Repository Function</a:t>
            </a:r>
            <a:br>
              <a:rPr lang="en-US" sz="1100" dirty="0"/>
            </a:br>
            <a:r>
              <a:rPr lang="en-US" sz="1100" dirty="0"/>
              <a:t>NSSF	Network Slice Selection Function</a:t>
            </a:r>
          </a:p>
          <a:p>
            <a:pPr lvl="0">
              <a:spcBef>
                <a:spcPts val="0"/>
              </a:spcBef>
              <a:tabLst>
                <a:tab pos="536575" algn="l"/>
              </a:tabLst>
            </a:pPr>
            <a:r>
              <a:rPr lang="en-US" sz="1100" dirty="0"/>
              <a:t>PCF	Policy Control Function</a:t>
            </a:r>
          </a:p>
          <a:p>
            <a:pPr hangingPunct="0">
              <a:spcBef>
                <a:spcPts val="0"/>
              </a:spcBef>
              <a:tabLst>
                <a:tab pos="536575" algn="l"/>
              </a:tabLst>
            </a:pPr>
            <a:r>
              <a:rPr lang="en-US" sz="1100" dirty="0"/>
              <a:t>SMF	Session Management Function</a:t>
            </a:r>
          </a:p>
          <a:p>
            <a:pPr>
              <a:spcBef>
                <a:spcPts val="0"/>
              </a:spcBef>
              <a:tabLst>
                <a:tab pos="536575" algn="l"/>
              </a:tabLst>
            </a:pPr>
            <a:r>
              <a:rPr lang="en-US" sz="1100" dirty="0"/>
              <a:t>UDM	Unified Data Management </a:t>
            </a:r>
          </a:p>
          <a:p>
            <a:pPr lvl="0">
              <a:spcBef>
                <a:spcPts val="0"/>
              </a:spcBef>
              <a:tabLst>
                <a:tab pos="536575" algn="l"/>
              </a:tabLst>
            </a:pPr>
            <a:r>
              <a:rPr lang="en-US" sz="1100" dirty="0"/>
              <a:t>UPF	User Plane Function</a:t>
            </a:r>
          </a:p>
        </p:txBody>
      </p:sp>
      <p:grpSp>
        <p:nvGrpSpPr>
          <p:cNvPr id="279" name="Group 124"/>
          <p:cNvGrpSpPr>
            <a:grpSpLocks/>
          </p:cNvGrpSpPr>
          <p:nvPr/>
        </p:nvGrpSpPr>
        <p:grpSpPr bwMode="auto">
          <a:xfrm>
            <a:off x="3886470" y="3766854"/>
            <a:ext cx="685125" cy="957893"/>
            <a:chOff x="2530204" y="1718022"/>
            <a:chExt cx="1186277" cy="1647323"/>
          </a:xfrm>
        </p:grpSpPr>
        <p:sp>
          <p:nvSpPr>
            <p:cNvPr id="28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8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28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283" name="Group 274"/>
            <p:cNvGrpSpPr>
              <a:grpSpLocks noChangeAspect="1"/>
            </p:cNvGrpSpPr>
            <p:nvPr/>
          </p:nvGrpSpPr>
          <p:grpSpPr bwMode="auto">
            <a:xfrm>
              <a:off x="2590950" y="1853233"/>
              <a:ext cx="1125531" cy="1512112"/>
              <a:chOff x="3147" y="3024"/>
              <a:chExt cx="257" cy="366"/>
            </a:xfrm>
          </p:grpSpPr>
          <p:grpSp>
            <p:nvGrpSpPr>
              <p:cNvPr id="284" name="Group 7"/>
              <p:cNvGrpSpPr>
                <a:grpSpLocks noChangeAspect="1"/>
              </p:cNvGrpSpPr>
              <p:nvPr/>
            </p:nvGrpSpPr>
            <p:grpSpPr bwMode="auto">
              <a:xfrm>
                <a:off x="3147" y="3024"/>
                <a:ext cx="257" cy="366"/>
                <a:chOff x="2283" y="1698"/>
                <a:chExt cx="983" cy="1402"/>
              </a:xfrm>
            </p:grpSpPr>
            <p:pic>
              <p:nvPicPr>
                <p:cNvPr id="28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28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NSSF</a:t>
                </a:r>
              </a:p>
            </p:txBody>
          </p:sp>
        </p:grpSp>
      </p:grpSp>
      <p:sp>
        <p:nvSpPr>
          <p:cNvPr id="291" name="Text Box 144"/>
          <p:cNvSpPr txBox="1">
            <a:spLocks noChangeAspect="1" noChangeArrowheads="1"/>
          </p:cNvSpPr>
          <p:nvPr/>
        </p:nvSpPr>
        <p:spPr bwMode="auto">
          <a:xfrm>
            <a:off x="4162400" y="3674127"/>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nssf</a:t>
            </a:r>
            <a:endParaRPr lang="en-US" altLang="en-US" sz="1400" dirty="0">
              <a:solidFill>
                <a:srgbClr val="FF0000"/>
              </a:solidFill>
            </a:endParaRPr>
          </a:p>
        </p:txBody>
      </p:sp>
      <p:grpSp>
        <p:nvGrpSpPr>
          <p:cNvPr id="292" name="Group 291"/>
          <p:cNvGrpSpPr/>
          <p:nvPr/>
        </p:nvGrpSpPr>
        <p:grpSpPr>
          <a:xfrm>
            <a:off x="4178862" y="3589817"/>
            <a:ext cx="145622" cy="280111"/>
            <a:chOff x="7128406" y="1476204"/>
            <a:chExt cx="145622" cy="280111"/>
          </a:xfrm>
        </p:grpSpPr>
        <p:cxnSp>
          <p:nvCxnSpPr>
            <p:cNvPr id="293" name="Straight Connector 292"/>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94" name="Oval 293"/>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cxnSp>
        <p:nvCxnSpPr>
          <p:cNvPr id="295" name="Straight Connector 294"/>
          <p:cNvCxnSpPr/>
          <p:nvPr/>
        </p:nvCxnSpPr>
        <p:spPr bwMode="auto">
          <a:xfrm>
            <a:off x="4249814" y="3375249"/>
            <a:ext cx="1859" cy="252188"/>
          </a:xfrm>
          <a:prstGeom prst="line">
            <a:avLst/>
          </a:prstGeom>
          <a:solidFill>
            <a:schemeClr val="accent1"/>
          </a:solidFill>
          <a:ln w="12700"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1627782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fade">
                                      <p:cBhvr>
                                        <p:cTn id="7" dur="500"/>
                                        <p:tgtEl>
                                          <p:spTgt spid="270"/>
                                        </p:tgtEl>
                                      </p:cBhvr>
                                    </p:animEffect>
                                  </p:childTnLst>
                                </p:cTn>
                              </p:par>
                              <p:par>
                                <p:cTn id="8" presetID="10" presetClass="entr" presetSubtype="0" fill="hold" nodeType="withEffect">
                                  <p:stCondLst>
                                    <p:cond delay="0"/>
                                  </p:stCondLst>
                                  <p:childTnLst>
                                    <p:set>
                                      <p:cBhvr>
                                        <p:cTn id="9" dur="1" fill="hold">
                                          <p:stCondLst>
                                            <p:cond delay="0"/>
                                          </p:stCondLst>
                                        </p:cTn>
                                        <p:tgtEl>
                                          <p:spTgt spid="271"/>
                                        </p:tgtEl>
                                        <p:attrNameLst>
                                          <p:attrName>style.visibility</p:attrName>
                                        </p:attrNameLst>
                                      </p:cBhvr>
                                      <p:to>
                                        <p:strVal val="visible"/>
                                      </p:to>
                                    </p:set>
                                    <p:animEffect transition="in" filter="fade">
                                      <p:cBhvr>
                                        <p:cTn id="10" dur="500"/>
                                        <p:tgtEl>
                                          <p:spTgt spid="271"/>
                                        </p:tgtEl>
                                      </p:cBhvr>
                                    </p:animEffect>
                                  </p:childTnLst>
                                </p:cTn>
                              </p:par>
                              <p:par>
                                <p:cTn id="11" presetID="10" presetClass="entr" presetSubtype="0" fill="hold" nodeType="withEffect">
                                  <p:stCondLst>
                                    <p:cond delay="0"/>
                                  </p:stCondLst>
                                  <p:childTnLst>
                                    <p:set>
                                      <p:cBhvr>
                                        <p:cTn id="12" dur="1" fill="hold">
                                          <p:stCondLst>
                                            <p:cond delay="0"/>
                                          </p:stCondLst>
                                        </p:cTn>
                                        <p:tgtEl>
                                          <p:spTgt spid="272"/>
                                        </p:tgtEl>
                                        <p:attrNameLst>
                                          <p:attrName>style.visibility</p:attrName>
                                        </p:attrNameLst>
                                      </p:cBhvr>
                                      <p:to>
                                        <p:strVal val="visible"/>
                                      </p:to>
                                    </p:set>
                                    <p:animEffect transition="in" filter="fade">
                                      <p:cBhvr>
                                        <p:cTn id="13" dur="500"/>
                                        <p:tgtEl>
                                          <p:spTgt spid="272"/>
                                        </p:tgtEl>
                                      </p:cBhvr>
                                    </p:animEffect>
                                  </p:childTnLst>
                                </p:cTn>
                              </p:par>
                              <p:par>
                                <p:cTn id="14" presetID="10" presetClass="entr" presetSubtype="0" fill="hold" nodeType="withEffect">
                                  <p:stCondLst>
                                    <p:cond delay="0"/>
                                  </p:stCondLst>
                                  <p:childTnLst>
                                    <p:set>
                                      <p:cBhvr>
                                        <p:cTn id="15" dur="1" fill="hold">
                                          <p:stCondLst>
                                            <p:cond delay="0"/>
                                          </p:stCondLst>
                                        </p:cTn>
                                        <p:tgtEl>
                                          <p:spTgt spid="273"/>
                                        </p:tgtEl>
                                        <p:attrNameLst>
                                          <p:attrName>style.visibility</p:attrName>
                                        </p:attrNameLst>
                                      </p:cBhvr>
                                      <p:to>
                                        <p:strVal val="visible"/>
                                      </p:to>
                                    </p:set>
                                    <p:animEffect transition="in" filter="fade">
                                      <p:cBhvr>
                                        <p:cTn id="16" dur="500"/>
                                        <p:tgtEl>
                                          <p:spTgt spid="273"/>
                                        </p:tgtEl>
                                      </p:cBhvr>
                                    </p:animEffect>
                                  </p:childTnLst>
                                </p:cTn>
                              </p:par>
                              <p:par>
                                <p:cTn id="17" presetID="10" presetClass="entr" presetSubtype="0" fill="hold" nodeType="withEffect">
                                  <p:stCondLst>
                                    <p:cond delay="0"/>
                                  </p:stCondLst>
                                  <p:childTnLst>
                                    <p:set>
                                      <p:cBhvr>
                                        <p:cTn id="18" dur="1" fill="hold">
                                          <p:stCondLst>
                                            <p:cond delay="0"/>
                                          </p:stCondLst>
                                        </p:cTn>
                                        <p:tgtEl>
                                          <p:spTgt spid="274"/>
                                        </p:tgtEl>
                                        <p:attrNameLst>
                                          <p:attrName>style.visibility</p:attrName>
                                        </p:attrNameLst>
                                      </p:cBhvr>
                                      <p:to>
                                        <p:strVal val="visible"/>
                                      </p:to>
                                    </p:set>
                                    <p:animEffect transition="in" filter="fade">
                                      <p:cBhvr>
                                        <p:cTn id="19" dur="500"/>
                                        <p:tgtEl>
                                          <p:spTgt spid="274"/>
                                        </p:tgtEl>
                                      </p:cBhvr>
                                    </p:animEffect>
                                  </p:childTnLst>
                                </p:cTn>
                              </p:par>
                              <p:par>
                                <p:cTn id="20" presetID="10" presetClass="entr" presetSubtype="0" fill="hold" nodeType="withEffect">
                                  <p:stCondLst>
                                    <p:cond delay="0"/>
                                  </p:stCondLst>
                                  <p:childTnLst>
                                    <p:set>
                                      <p:cBhvr>
                                        <p:cTn id="21" dur="1" fill="hold">
                                          <p:stCondLst>
                                            <p:cond delay="0"/>
                                          </p:stCondLst>
                                        </p:cTn>
                                        <p:tgtEl>
                                          <p:spTgt spid="275"/>
                                        </p:tgtEl>
                                        <p:attrNameLst>
                                          <p:attrName>style.visibility</p:attrName>
                                        </p:attrNameLst>
                                      </p:cBhvr>
                                      <p:to>
                                        <p:strVal val="visible"/>
                                      </p:to>
                                    </p:set>
                                    <p:animEffect transition="in" filter="fade">
                                      <p:cBhvr>
                                        <p:cTn id="22" dur="500"/>
                                        <p:tgtEl>
                                          <p:spTgt spid="275"/>
                                        </p:tgtEl>
                                      </p:cBhvr>
                                    </p:animEffect>
                                  </p:childTnLst>
                                </p:cTn>
                              </p:par>
                              <p:par>
                                <p:cTn id="23" presetID="10" presetClass="entr" presetSubtype="0" fill="hold" nodeType="withEffect">
                                  <p:stCondLst>
                                    <p:cond delay="0"/>
                                  </p:stCondLst>
                                  <p:childTnLst>
                                    <p:set>
                                      <p:cBhvr>
                                        <p:cTn id="24" dur="1" fill="hold">
                                          <p:stCondLst>
                                            <p:cond delay="0"/>
                                          </p:stCondLst>
                                        </p:cTn>
                                        <p:tgtEl>
                                          <p:spTgt spid="276"/>
                                        </p:tgtEl>
                                        <p:attrNameLst>
                                          <p:attrName>style.visibility</p:attrName>
                                        </p:attrNameLst>
                                      </p:cBhvr>
                                      <p:to>
                                        <p:strVal val="visible"/>
                                      </p:to>
                                    </p:set>
                                    <p:animEffect transition="in" filter="fade">
                                      <p:cBhvr>
                                        <p:cTn id="25" dur="500"/>
                                        <p:tgtEl>
                                          <p:spTgt spid="276"/>
                                        </p:tgtEl>
                                      </p:cBhvr>
                                    </p:animEffect>
                                  </p:childTnLst>
                                </p:cTn>
                              </p:par>
                              <p:par>
                                <p:cTn id="26" presetID="10" presetClass="entr" presetSubtype="0" fill="hold" nodeType="withEffect">
                                  <p:stCondLst>
                                    <p:cond delay="0"/>
                                  </p:stCondLst>
                                  <p:childTnLst>
                                    <p:set>
                                      <p:cBhvr>
                                        <p:cTn id="27" dur="1" fill="hold">
                                          <p:stCondLst>
                                            <p:cond delay="0"/>
                                          </p:stCondLst>
                                        </p:cTn>
                                        <p:tgtEl>
                                          <p:spTgt spid="277"/>
                                        </p:tgtEl>
                                        <p:attrNameLst>
                                          <p:attrName>style.visibility</p:attrName>
                                        </p:attrNameLst>
                                      </p:cBhvr>
                                      <p:to>
                                        <p:strVal val="visible"/>
                                      </p:to>
                                    </p:set>
                                    <p:animEffect transition="in" filter="fade">
                                      <p:cBhvr>
                                        <p:cTn id="28" dur="500"/>
                                        <p:tgtEl>
                                          <p:spTgt spid="277"/>
                                        </p:tgtEl>
                                      </p:cBhvr>
                                    </p:animEffect>
                                  </p:childTnLst>
                                </p:cTn>
                              </p:par>
                              <p:par>
                                <p:cTn id="29" presetID="10" presetClass="entr" presetSubtype="0" fill="hold" nodeType="withEffect">
                                  <p:stCondLst>
                                    <p:cond delay="0"/>
                                  </p:stCondLst>
                                  <p:childTnLst>
                                    <p:set>
                                      <p:cBhvr>
                                        <p:cTn id="30" dur="1" fill="hold">
                                          <p:stCondLst>
                                            <p:cond delay="0"/>
                                          </p:stCondLst>
                                        </p:cTn>
                                        <p:tgtEl>
                                          <p:spTgt spid="295"/>
                                        </p:tgtEl>
                                        <p:attrNameLst>
                                          <p:attrName>style.visibility</p:attrName>
                                        </p:attrNameLst>
                                      </p:cBhvr>
                                      <p:to>
                                        <p:strVal val="visible"/>
                                      </p:to>
                                    </p:set>
                                    <p:animEffect transition="in" filter="fade">
                                      <p:cBhvr>
                                        <p:cTn id="31" dur="500"/>
                                        <p:tgtEl>
                                          <p:spTgt spid="2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67" y="239714"/>
            <a:ext cx="10548564" cy="1085371"/>
          </a:xfrm>
        </p:spPr>
        <p:txBody>
          <a:bodyPr>
            <a:normAutofit/>
          </a:bodyPr>
          <a:lstStyle/>
          <a:p>
            <a:r>
              <a:rPr lang="en-US" dirty="0"/>
              <a:t>5G CORE architecture</a:t>
            </a:r>
            <a:br>
              <a:rPr lang="en-US" sz="4900" dirty="0"/>
            </a:br>
            <a:r>
              <a:rPr lang="en-US" sz="2400" dirty="0">
                <a:latin typeface="+mn-lt"/>
              </a:rPr>
              <a:t>Reference Point Representation</a:t>
            </a:r>
          </a:p>
        </p:txBody>
      </p:sp>
      <p:grpSp>
        <p:nvGrpSpPr>
          <p:cNvPr id="4" name="Group 3"/>
          <p:cNvGrpSpPr/>
          <p:nvPr/>
        </p:nvGrpSpPr>
        <p:grpSpPr>
          <a:xfrm>
            <a:off x="9354059" y="4900926"/>
            <a:ext cx="2250397" cy="1719278"/>
            <a:chOff x="9315422" y="5130211"/>
            <a:chExt cx="2250397" cy="1719278"/>
          </a:xfrm>
        </p:grpSpPr>
        <p:sp>
          <p:nvSpPr>
            <p:cNvPr id="5"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6"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800" dirty="0">
                  <a:ea typeface="MS PGothic" pitchFamily="34" charset="-128"/>
                </a:rPr>
                <a:t>Data Network </a:t>
              </a:r>
              <a:endParaRPr lang="en-US" altLang="en-US" sz="2000" dirty="0">
                <a:ea typeface="MS PGothic" pitchFamily="34" charset="-128"/>
              </a:endParaRPr>
            </a:p>
            <a:p>
              <a:pPr algn="ctr" eaLnBrk="1" hangingPunct="1">
                <a:lnSpc>
                  <a:spcPct val="80000"/>
                </a:lnSpc>
                <a:spcBef>
                  <a:spcPct val="0"/>
                </a:spcBef>
                <a:buClrTx/>
                <a:buFontTx/>
                <a:buNone/>
              </a:pPr>
              <a:r>
                <a:rPr lang="en-US" altLang="en-US" sz="1400" dirty="0">
                  <a:ea typeface="MS PGothic" pitchFamily="34" charset="-128"/>
                </a:rPr>
                <a:t>(e.g. operator </a:t>
              </a:r>
            </a:p>
            <a:p>
              <a:pPr algn="ctr" eaLnBrk="1" hangingPunct="1">
                <a:lnSpc>
                  <a:spcPct val="80000"/>
                </a:lnSpc>
                <a:spcBef>
                  <a:spcPct val="0"/>
                </a:spcBef>
                <a:buClrTx/>
                <a:buFontTx/>
                <a:buNone/>
              </a:pPr>
              <a:r>
                <a:rPr lang="en-US" altLang="en-US" sz="1400" dirty="0">
                  <a:ea typeface="MS PGothic" pitchFamily="34" charset="-128"/>
                </a:rPr>
                <a:t>or Internet)</a:t>
              </a:r>
            </a:p>
          </p:txBody>
        </p:sp>
      </p:grpSp>
      <p:cxnSp>
        <p:nvCxnSpPr>
          <p:cNvPr id="7" name="Elbow Connector 59"/>
          <p:cNvCxnSpPr>
            <a:cxnSpLocks/>
            <a:endCxn id="76" idx="2"/>
          </p:cNvCxnSpPr>
          <p:nvPr/>
        </p:nvCxnSpPr>
        <p:spPr bwMode="auto">
          <a:xfrm flipV="1">
            <a:off x="955975" y="352451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8" name="Freeform 4"/>
          <p:cNvSpPr>
            <a:spLocks noChangeAspect="1" noEditPoints="1"/>
          </p:cNvSpPr>
          <p:nvPr/>
        </p:nvSpPr>
        <p:spPr bwMode="auto">
          <a:xfrm>
            <a:off x="696863" y="498617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88"/>
          <p:cNvSpPr>
            <a:spLocks/>
          </p:cNvSpPr>
          <p:nvPr/>
        </p:nvSpPr>
        <p:spPr bwMode="auto">
          <a:xfrm rot="2583056" flipH="1">
            <a:off x="1412059" y="516553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dirty="0">
              <a:cs typeface="+mn-cs"/>
            </a:endParaRPr>
          </a:p>
        </p:txBody>
      </p:sp>
      <p:sp>
        <p:nvSpPr>
          <p:cNvPr id="10" name="Text Box 144"/>
          <p:cNvSpPr txBox="1">
            <a:spLocks noChangeAspect="1" noChangeArrowheads="1"/>
          </p:cNvSpPr>
          <p:nvPr/>
        </p:nvSpPr>
        <p:spPr bwMode="auto">
          <a:xfrm>
            <a:off x="453894" y="565117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NG UE</a:t>
            </a:r>
          </a:p>
        </p:txBody>
      </p:sp>
      <p:sp>
        <p:nvSpPr>
          <p:cNvPr id="11" name="Text Box 144"/>
          <p:cNvSpPr txBox="1">
            <a:spLocks noChangeAspect="1" noChangeArrowheads="1"/>
          </p:cNvSpPr>
          <p:nvPr/>
        </p:nvSpPr>
        <p:spPr bwMode="auto">
          <a:xfrm>
            <a:off x="4004010" y="454989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sp>
        <p:nvSpPr>
          <p:cNvPr id="12" name="Text Box 144"/>
          <p:cNvSpPr txBox="1">
            <a:spLocks noChangeAspect="1" noChangeArrowheads="1"/>
          </p:cNvSpPr>
          <p:nvPr/>
        </p:nvSpPr>
        <p:spPr bwMode="auto">
          <a:xfrm>
            <a:off x="5022480" y="563758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sp>
        <p:nvSpPr>
          <p:cNvPr id="13" name="Text Box 144"/>
          <p:cNvSpPr txBox="1">
            <a:spLocks noChangeAspect="1" noChangeArrowheads="1"/>
          </p:cNvSpPr>
          <p:nvPr/>
        </p:nvSpPr>
        <p:spPr bwMode="auto">
          <a:xfrm>
            <a:off x="8188449" y="563969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6</a:t>
            </a:r>
          </a:p>
        </p:txBody>
      </p:sp>
      <p:sp>
        <p:nvSpPr>
          <p:cNvPr id="14" name="Text Box 144"/>
          <p:cNvSpPr txBox="1">
            <a:spLocks noChangeAspect="1" noChangeArrowheads="1"/>
          </p:cNvSpPr>
          <p:nvPr/>
        </p:nvSpPr>
        <p:spPr bwMode="auto">
          <a:xfrm>
            <a:off x="7405616" y="274582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7</a:t>
            </a:r>
          </a:p>
        </p:txBody>
      </p:sp>
      <p:sp>
        <p:nvSpPr>
          <p:cNvPr id="15" name="Text Box 144"/>
          <p:cNvSpPr txBox="1">
            <a:spLocks noChangeAspect="1" noChangeArrowheads="1"/>
          </p:cNvSpPr>
          <p:nvPr/>
        </p:nvSpPr>
        <p:spPr bwMode="auto">
          <a:xfrm>
            <a:off x="8303280" y="274807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5</a:t>
            </a:r>
          </a:p>
        </p:txBody>
      </p:sp>
      <p:sp>
        <p:nvSpPr>
          <p:cNvPr id="16" name="Text Box 144"/>
          <p:cNvSpPr txBox="1">
            <a:spLocks noChangeAspect="1" noChangeArrowheads="1"/>
          </p:cNvSpPr>
          <p:nvPr/>
        </p:nvSpPr>
        <p:spPr bwMode="auto">
          <a:xfrm>
            <a:off x="7174663" y="468190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grpSp>
        <p:nvGrpSpPr>
          <p:cNvPr id="17" name="Group 16"/>
          <p:cNvGrpSpPr/>
          <p:nvPr/>
        </p:nvGrpSpPr>
        <p:grpSpPr>
          <a:xfrm>
            <a:off x="2780030" y="4934476"/>
            <a:ext cx="886830" cy="1230796"/>
            <a:chOff x="936376" y="2900085"/>
            <a:chExt cx="864096" cy="1240668"/>
          </a:xfrm>
        </p:grpSpPr>
        <p:sp>
          <p:nvSpPr>
            <p:cNvPr id="18"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9"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ea typeface="Segoe UI" panose="020B0502040204020203" pitchFamily="34" charset="0"/>
                  <a:cs typeface="Arial" panose="020B0604020202020204" pitchFamily="34" charset="0"/>
                </a:rPr>
                <a:t>5G RAN</a:t>
              </a:r>
            </a:p>
          </p:txBody>
        </p:sp>
        <p:sp>
          <p:nvSpPr>
            <p:cNvPr id="21"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2"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a:solidFill>
                  <a:srgbClr val="58585A"/>
                </a:solidFill>
              </a:endParaRPr>
            </a:p>
          </p:txBody>
        </p:sp>
      </p:grpSp>
      <p:sp>
        <p:nvSpPr>
          <p:cNvPr id="23" name="Line 30"/>
          <p:cNvSpPr>
            <a:spLocks noChangeShapeType="1"/>
          </p:cNvSpPr>
          <p:nvPr/>
        </p:nvSpPr>
        <p:spPr bwMode="auto">
          <a:xfrm>
            <a:off x="3670915" y="5830687"/>
            <a:ext cx="5705219"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grpSp>
        <p:nvGrpSpPr>
          <p:cNvPr id="24" name="Group 23"/>
          <p:cNvGrpSpPr/>
          <p:nvPr/>
        </p:nvGrpSpPr>
        <p:grpSpPr>
          <a:xfrm>
            <a:off x="7068292" y="4955384"/>
            <a:ext cx="889582" cy="1249115"/>
            <a:chOff x="5979156" y="5040856"/>
            <a:chExt cx="1101600" cy="1587600"/>
          </a:xfrm>
        </p:grpSpPr>
        <p:cxnSp>
          <p:nvCxnSpPr>
            <p:cNvPr id="25" name="Straight Connector 24"/>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26"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7"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8"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29"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0"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grpSp>
        <p:nvGrpSpPr>
          <p:cNvPr id="31" name="Group 30"/>
          <p:cNvGrpSpPr/>
          <p:nvPr/>
        </p:nvGrpSpPr>
        <p:grpSpPr>
          <a:xfrm>
            <a:off x="7085193" y="3084556"/>
            <a:ext cx="948900" cy="1274363"/>
            <a:chOff x="4338871" y="2725624"/>
            <a:chExt cx="1199053" cy="1626215"/>
          </a:xfrm>
        </p:grpSpPr>
        <p:sp>
          <p:nvSpPr>
            <p:cNvPr id="3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3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grpSp>
        <p:nvGrpSpPr>
          <p:cNvPr id="38" name="Group 37"/>
          <p:cNvGrpSpPr/>
          <p:nvPr/>
        </p:nvGrpSpPr>
        <p:grpSpPr>
          <a:xfrm>
            <a:off x="7843880" y="1290725"/>
            <a:ext cx="920586" cy="1329413"/>
            <a:chOff x="2530204" y="1718022"/>
            <a:chExt cx="1186277" cy="1647323"/>
          </a:xfrm>
        </p:grpSpPr>
        <p:sp>
          <p:nvSpPr>
            <p:cNvPr id="39"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4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4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42" name="Group 274"/>
            <p:cNvGrpSpPr>
              <a:grpSpLocks noChangeAspect="1"/>
            </p:cNvGrpSpPr>
            <p:nvPr/>
          </p:nvGrpSpPr>
          <p:grpSpPr bwMode="auto">
            <a:xfrm>
              <a:off x="2590950" y="1853233"/>
              <a:ext cx="1125531" cy="1512112"/>
              <a:chOff x="3147" y="3024"/>
              <a:chExt cx="257" cy="366"/>
            </a:xfrm>
          </p:grpSpPr>
          <p:grpSp>
            <p:nvGrpSpPr>
              <p:cNvPr id="43" name="Group 7"/>
              <p:cNvGrpSpPr>
                <a:grpSpLocks noChangeAspect="1"/>
              </p:cNvGrpSpPr>
              <p:nvPr/>
            </p:nvGrpSpPr>
            <p:grpSpPr bwMode="auto">
              <a:xfrm>
                <a:off x="3147" y="3024"/>
                <a:ext cx="257" cy="366"/>
                <a:chOff x="2283" y="1698"/>
                <a:chExt cx="983" cy="1402"/>
              </a:xfrm>
            </p:grpSpPr>
            <p:pic>
              <p:nvPicPr>
                <p:cNvPr id="45"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4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cxnSp>
        <p:nvCxnSpPr>
          <p:cNvPr id="47" name="Straight Connector 46"/>
          <p:cNvCxnSpPr>
            <a:cxnSpLocks/>
            <a:stCxn id="77" idx="1"/>
            <a:endCxn id="19" idx="6"/>
          </p:cNvCxnSpPr>
          <p:nvPr/>
        </p:nvCxnSpPr>
        <p:spPr bwMode="auto">
          <a:xfrm flipH="1">
            <a:off x="3652201" y="402933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48" name="Text Box 144"/>
          <p:cNvSpPr txBox="1">
            <a:spLocks noChangeAspect="1" noChangeArrowheads="1"/>
          </p:cNvSpPr>
          <p:nvPr/>
        </p:nvSpPr>
        <p:spPr bwMode="auto">
          <a:xfrm>
            <a:off x="661985" y="336303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cxnSp>
        <p:nvCxnSpPr>
          <p:cNvPr id="49" name="Straight Connector 48"/>
          <p:cNvCxnSpPr>
            <a:cxnSpLocks/>
            <a:stCxn id="35" idx="2"/>
            <a:endCxn id="27" idx="0"/>
          </p:cNvCxnSpPr>
          <p:nvPr/>
        </p:nvCxnSpPr>
        <p:spPr bwMode="auto">
          <a:xfrm flipH="1">
            <a:off x="7511859" y="429994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50" name="Straight Connector 49"/>
          <p:cNvCxnSpPr>
            <a:cxnSpLocks/>
            <a:stCxn id="35" idx="1"/>
            <a:endCxn id="77" idx="3"/>
          </p:cNvCxnSpPr>
          <p:nvPr/>
        </p:nvCxnSpPr>
        <p:spPr bwMode="auto">
          <a:xfrm flipH="1" flipV="1">
            <a:off x="6369288" y="402933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51" name="Text Box 144"/>
          <p:cNvSpPr txBox="1">
            <a:spLocks noChangeAspect="1" noChangeArrowheads="1"/>
          </p:cNvSpPr>
          <p:nvPr/>
        </p:nvSpPr>
        <p:spPr bwMode="auto">
          <a:xfrm>
            <a:off x="6273554" y="387300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1</a:t>
            </a:r>
          </a:p>
        </p:txBody>
      </p:sp>
      <p:grpSp>
        <p:nvGrpSpPr>
          <p:cNvPr id="52" name="Group 51"/>
          <p:cNvGrpSpPr/>
          <p:nvPr/>
        </p:nvGrpSpPr>
        <p:grpSpPr>
          <a:xfrm>
            <a:off x="6293596" y="1303232"/>
            <a:ext cx="920586" cy="1329413"/>
            <a:chOff x="2530204" y="1718022"/>
            <a:chExt cx="1186277" cy="1647323"/>
          </a:xfrm>
        </p:grpSpPr>
        <p:sp>
          <p:nvSpPr>
            <p:cNvPr id="5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5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5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56" name="Group 274"/>
            <p:cNvGrpSpPr>
              <a:grpSpLocks noChangeAspect="1"/>
            </p:cNvGrpSpPr>
            <p:nvPr/>
          </p:nvGrpSpPr>
          <p:grpSpPr bwMode="auto">
            <a:xfrm>
              <a:off x="2590950" y="1853233"/>
              <a:ext cx="1125531" cy="1512112"/>
              <a:chOff x="3147" y="3024"/>
              <a:chExt cx="257" cy="366"/>
            </a:xfrm>
          </p:grpSpPr>
          <p:grpSp>
            <p:nvGrpSpPr>
              <p:cNvPr id="57" name="Group 7"/>
              <p:cNvGrpSpPr>
                <a:grpSpLocks noChangeAspect="1"/>
              </p:cNvGrpSpPr>
              <p:nvPr/>
            </p:nvGrpSpPr>
            <p:grpSpPr bwMode="auto">
              <a:xfrm>
                <a:off x="3147" y="3024"/>
                <a:ext cx="257" cy="366"/>
                <a:chOff x="2283" y="1698"/>
                <a:chExt cx="983" cy="1402"/>
              </a:xfrm>
            </p:grpSpPr>
            <p:pic>
              <p:nvPicPr>
                <p:cNvPr id="59"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5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UDM</a:t>
                </a:r>
                <a:endParaRPr lang="en-US" altLang="en-US" sz="1400" dirty="0">
                  <a:ea typeface="MS PGothic" charset="-128"/>
                </a:endParaRPr>
              </a:p>
            </p:txBody>
          </p:sp>
        </p:grpSp>
      </p:grpSp>
      <p:cxnSp>
        <p:nvCxnSpPr>
          <p:cNvPr id="61" name="Straight Connector 60"/>
          <p:cNvCxnSpPr>
            <a:cxnSpLocks/>
            <a:stCxn id="59" idx="2"/>
            <a:endCxn id="76" idx="7"/>
          </p:cNvCxnSpPr>
          <p:nvPr/>
        </p:nvCxnSpPr>
        <p:spPr bwMode="auto">
          <a:xfrm flipH="1">
            <a:off x="6276709" y="263264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2" name="Straight Connector 61"/>
          <p:cNvCxnSpPr>
            <a:cxnSpLocks/>
            <a:endCxn id="76" idx="1"/>
          </p:cNvCxnSpPr>
          <p:nvPr/>
        </p:nvCxnSpPr>
        <p:spPr bwMode="auto">
          <a:xfrm>
            <a:off x="5247805" y="262408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3" name="Straight Connector 62"/>
          <p:cNvCxnSpPr>
            <a:cxnSpLocks/>
            <a:endCxn id="58" idx="1"/>
          </p:cNvCxnSpPr>
          <p:nvPr/>
        </p:nvCxnSpPr>
        <p:spPr bwMode="auto">
          <a:xfrm>
            <a:off x="5626751" y="228733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64" name="Text Box 144"/>
          <p:cNvSpPr txBox="1">
            <a:spLocks noChangeAspect="1" noChangeArrowheads="1"/>
          </p:cNvSpPr>
          <p:nvPr/>
        </p:nvSpPr>
        <p:spPr bwMode="auto">
          <a:xfrm>
            <a:off x="5499690" y="206265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3</a:t>
            </a:r>
          </a:p>
        </p:txBody>
      </p:sp>
      <p:sp>
        <p:nvSpPr>
          <p:cNvPr id="65" name="Text Box 144"/>
          <p:cNvSpPr txBox="1">
            <a:spLocks noChangeAspect="1" noChangeArrowheads="1"/>
          </p:cNvSpPr>
          <p:nvPr/>
        </p:nvSpPr>
        <p:spPr bwMode="auto">
          <a:xfrm>
            <a:off x="5858084" y="275544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8</a:t>
            </a:r>
          </a:p>
        </p:txBody>
      </p:sp>
      <p:sp>
        <p:nvSpPr>
          <p:cNvPr id="66" name="Text Box 144"/>
          <p:cNvSpPr txBox="1">
            <a:spLocks noChangeAspect="1" noChangeArrowheads="1"/>
          </p:cNvSpPr>
          <p:nvPr/>
        </p:nvSpPr>
        <p:spPr bwMode="auto">
          <a:xfrm>
            <a:off x="4601255" y="276195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2</a:t>
            </a:r>
          </a:p>
        </p:txBody>
      </p:sp>
      <p:sp>
        <p:nvSpPr>
          <p:cNvPr id="67" name="Text Box 144"/>
          <p:cNvSpPr txBox="1">
            <a:spLocks noChangeAspect="1" noChangeArrowheads="1"/>
          </p:cNvSpPr>
          <p:nvPr/>
        </p:nvSpPr>
        <p:spPr bwMode="auto">
          <a:xfrm>
            <a:off x="6750514" y="2740441"/>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0</a:t>
            </a:r>
          </a:p>
        </p:txBody>
      </p:sp>
      <p:cxnSp>
        <p:nvCxnSpPr>
          <p:cNvPr id="68" name="Straight Connector 67"/>
          <p:cNvCxnSpPr>
            <a:cxnSpLocks/>
            <a:stCxn id="34" idx="1"/>
            <a:endCxn id="59" idx="2"/>
          </p:cNvCxnSpPr>
          <p:nvPr/>
        </p:nvCxnSpPr>
        <p:spPr bwMode="auto">
          <a:xfrm flipH="1" flipV="1">
            <a:off x="6777460" y="263264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9" name="Straight Connector 68"/>
          <p:cNvCxnSpPr>
            <a:cxnSpLocks/>
            <a:stCxn id="45" idx="2"/>
            <a:endCxn id="34" idx="7"/>
          </p:cNvCxnSpPr>
          <p:nvPr/>
        </p:nvCxnSpPr>
        <p:spPr bwMode="auto">
          <a:xfrm flipH="1">
            <a:off x="7818762" y="262013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70" name="Straight Connector 69"/>
          <p:cNvCxnSpPr>
            <a:cxnSpLocks/>
            <a:stCxn id="45" idx="2"/>
          </p:cNvCxnSpPr>
          <p:nvPr/>
        </p:nvCxnSpPr>
        <p:spPr bwMode="auto">
          <a:xfrm>
            <a:off x="8327744" y="262013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71" name="Straight Connector 95"/>
          <p:cNvCxnSpPr>
            <a:cxnSpLocks/>
            <a:stCxn id="45" idx="2"/>
            <a:endCxn id="77" idx="2"/>
          </p:cNvCxnSpPr>
          <p:nvPr/>
        </p:nvCxnSpPr>
        <p:spPr bwMode="auto">
          <a:xfrm rot="5400000">
            <a:off x="6313012" y="228375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cxnSp>
        <p:nvCxnSpPr>
          <p:cNvPr id="72" name="Straight Connector 95"/>
          <p:cNvCxnSpPr>
            <a:cxnSpLocks/>
            <a:stCxn id="76" idx="3"/>
            <a:endCxn id="77" idx="1"/>
          </p:cNvCxnSpPr>
          <p:nvPr/>
        </p:nvCxnSpPr>
        <p:spPr bwMode="auto">
          <a:xfrm rot="5400000">
            <a:off x="5529192" y="387957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73" name="Group 72"/>
          <p:cNvGrpSpPr/>
          <p:nvPr/>
        </p:nvGrpSpPr>
        <p:grpSpPr>
          <a:xfrm>
            <a:off x="5543140" y="3083094"/>
            <a:ext cx="948900" cy="1274363"/>
            <a:chOff x="4338871" y="2725624"/>
            <a:chExt cx="1199053" cy="1626215"/>
          </a:xfrm>
        </p:grpSpPr>
        <p:sp>
          <p:nvSpPr>
            <p:cNvPr id="7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7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
        <p:nvSpPr>
          <p:cNvPr id="80" name="Text Box 144"/>
          <p:cNvSpPr txBox="1">
            <a:spLocks noChangeAspect="1" noChangeArrowheads="1"/>
          </p:cNvSpPr>
          <p:nvPr/>
        </p:nvSpPr>
        <p:spPr bwMode="auto">
          <a:xfrm>
            <a:off x="4655018" y="366705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4</a:t>
            </a:r>
          </a:p>
        </p:txBody>
      </p:sp>
      <p:sp>
        <p:nvSpPr>
          <p:cNvPr id="81" name="Text Box 144"/>
          <p:cNvSpPr txBox="1">
            <a:spLocks noChangeAspect="1" noChangeArrowheads="1"/>
          </p:cNvSpPr>
          <p:nvPr/>
        </p:nvSpPr>
        <p:spPr bwMode="auto">
          <a:xfrm>
            <a:off x="6273554" y="437754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5</a:t>
            </a:r>
          </a:p>
        </p:txBody>
      </p:sp>
      <p:grpSp>
        <p:nvGrpSpPr>
          <p:cNvPr id="89" name="Group 88"/>
          <p:cNvGrpSpPr/>
          <p:nvPr/>
        </p:nvGrpSpPr>
        <p:grpSpPr>
          <a:xfrm>
            <a:off x="4707138" y="1303232"/>
            <a:ext cx="920586" cy="1329413"/>
            <a:chOff x="2530204" y="1718022"/>
            <a:chExt cx="1186277" cy="1647323"/>
          </a:xfrm>
        </p:grpSpPr>
        <p:sp>
          <p:nvSpPr>
            <p:cNvPr id="9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9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9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93" name="Group 274"/>
            <p:cNvGrpSpPr>
              <a:grpSpLocks noChangeAspect="1"/>
            </p:cNvGrpSpPr>
            <p:nvPr/>
          </p:nvGrpSpPr>
          <p:grpSpPr bwMode="auto">
            <a:xfrm>
              <a:off x="2590950" y="1853233"/>
              <a:ext cx="1125531" cy="1512112"/>
              <a:chOff x="3147" y="3024"/>
              <a:chExt cx="257" cy="366"/>
            </a:xfrm>
          </p:grpSpPr>
          <p:grpSp>
            <p:nvGrpSpPr>
              <p:cNvPr id="94" name="Group 7"/>
              <p:cNvGrpSpPr>
                <a:grpSpLocks noChangeAspect="1"/>
              </p:cNvGrpSpPr>
              <p:nvPr/>
            </p:nvGrpSpPr>
            <p:grpSpPr bwMode="auto">
              <a:xfrm>
                <a:off x="3147" y="3024"/>
                <a:ext cx="257" cy="366"/>
                <a:chOff x="2283" y="1698"/>
                <a:chExt cx="983" cy="1402"/>
              </a:xfrm>
            </p:grpSpPr>
            <p:pic>
              <p:nvPicPr>
                <p:cNvPr id="9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9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AUSF</a:t>
                </a:r>
                <a:endParaRPr lang="en-US" altLang="en-US" sz="1400" dirty="0">
                  <a:ea typeface="MS PGothic" charset="-128"/>
                </a:endParaRPr>
              </a:p>
            </p:txBody>
          </p:sp>
        </p:grpSp>
      </p:grpSp>
      <p:grpSp>
        <p:nvGrpSpPr>
          <p:cNvPr id="98" name="Group 97"/>
          <p:cNvGrpSpPr/>
          <p:nvPr/>
        </p:nvGrpSpPr>
        <p:grpSpPr>
          <a:xfrm>
            <a:off x="3435473" y="1303232"/>
            <a:ext cx="920586" cy="1329413"/>
            <a:chOff x="2530204" y="1718022"/>
            <a:chExt cx="1186277" cy="1647323"/>
          </a:xfrm>
        </p:grpSpPr>
        <p:sp>
          <p:nvSpPr>
            <p:cNvPr id="99"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0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0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02" name="Group 274"/>
            <p:cNvGrpSpPr>
              <a:grpSpLocks noChangeAspect="1"/>
            </p:cNvGrpSpPr>
            <p:nvPr/>
          </p:nvGrpSpPr>
          <p:grpSpPr bwMode="auto">
            <a:xfrm>
              <a:off x="2590950" y="1853233"/>
              <a:ext cx="1125531" cy="1512112"/>
              <a:chOff x="3147" y="3024"/>
              <a:chExt cx="257" cy="366"/>
            </a:xfrm>
          </p:grpSpPr>
          <p:grpSp>
            <p:nvGrpSpPr>
              <p:cNvPr id="103" name="Group 7"/>
              <p:cNvGrpSpPr>
                <a:grpSpLocks noChangeAspect="1"/>
              </p:cNvGrpSpPr>
              <p:nvPr/>
            </p:nvGrpSpPr>
            <p:grpSpPr bwMode="auto">
              <a:xfrm>
                <a:off x="3147" y="3024"/>
                <a:ext cx="257" cy="366"/>
                <a:chOff x="2283" y="1698"/>
                <a:chExt cx="983" cy="1402"/>
              </a:xfrm>
            </p:grpSpPr>
            <p:pic>
              <p:nvPicPr>
                <p:cNvPr id="105"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0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NSSF</a:t>
                </a:r>
                <a:endParaRPr lang="en-US" altLang="en-US" sz="1400" dirty="0">
                  <a:ea typeface="MS PGothic" charset="-128"/>
                </a:endParaRPr>
              </a:p>
            </p:txBody>
          </p:sp>
        </p:grpSp>
      </p:grpSp>
      <p:cxnSp>
        <p:nvCxnSpPr>
          <p:cNvPr id="107" name="Straight Connector 106"/>
          <p:cNvCxnSpPr>
            <a:cxnSpLocks/>
            <a:endCxn id="79" idx="23"/>
          </p:cNvCxnSpPr>
          <p:nvPr/>
        </p:nvCxnSpPr>
        <p:spPr bwMode="auto">
          <a:xfrm>
            <a:off x="4004010" y="2615786"/>
            <a:ext cx="1634813" cy="71607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10" name="Text Box 144"/>
          <p:cNvSpPr txBox="1">
            <a:spLocks noChangeAspect="1" noChangeArrowheads="1"/>
          </p:cNvSpPr>
          <p:nvPr/>
        </p:nvSpPr>
        <p:spPr bwMode="auto">
          <a:xfrm>
            <a:off x="3689352" y="286938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2</a:t>
            </a:r>
          </a:p>
        </p:txBody>
      </p:sp>
    </p:spTree>
    <p:extLst>
      <p:ext uri="{BB962C8B-B14F-4D97-AF65-F5344CB8AC3E}">
        <p14:creationId xmlns:p14="http://schemas.microsoft.com/office/powerpoint/2010/main" val="25021866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9814663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643" y="193230"/>
            <a:ext cx="10548564" cy="1085371"/>
          </a:xfrm>
        </p:spPr>
        <p:txBody>
          <a:bodyPr>
            <a:normAutofit/>
          </a:bodyPr>
          <a:lstStyle/>
          <a:p>
            <a:r>
              <a:rPr lang="en-US" dirty="0"/>
              <a:t>5G CORE architecture</a:t>
            </a:r>
            <a:br>
              <a:rPr lang="en-US" sz="4900" dirty="0"/>
            </a:br>
            <a:r>
              <a:rPr lang="en-US" sz="2400" dirty="0">
                <a:latin typeface="+mn-lt"/>
                <a:cs typeface="Times New Roman" panose="02020603050405020304" pitchFamily="18" charset="0"/>
              </a:rPr>
              <a:t>Reference Point Representation for Non-3GPP Access</a:t>
            </a:r>
          </a:p>
        </p:txBody>
      </p:sp>
      <p:grpSp>
        <p:nvGrpSpPr>
          <p:cNvPr id="4" name="Group 3"/>
          <p:cNvGrpSpPr/>
          <p:nvPr/>
        </p:nvGrpSpPr>
        <p:grpSpPr>
          <a:xfrm>
            <a:off x="9354059" y="3401913"/>
            <a:ext cx="2398230" cy="1449347"/>
            <a:chOff x="9315422" y="5130211"/>
            <a:chExt cx="2250397" cy="1719278"/>
          </a:xfrm>
        </p:grpSpPr>
        <p:sp>
          <p:nvSpPr>
            <p:cNvPr id="5"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6" name="Text Box 35"/>
            <p:cNvSpPr txBox="1">
              <a:spLocks noChangeAspect="1" noChangeArrowheads="1"/>
            </p:cNvSpPr>
            <p:nvPr/>
          </p:nvSpPr>
          <p:spPr bwMode="auto">
            <a:xfrm>
              <a:off x="9508328" y="5735555"/>
              <a:ext cx="1808286" cy="65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800" dirty="0">
                  <a:ea typeface="MS PGothic" pitchFamily="34" charset="-128"/>
                </a:rPr>
                <a:t>Data Network </a:t>
              </a:r>
              <a:endParaRPr lang="en-US" altLang="en-US" sz="2000" dirty="0">
                <a:ea typeface="MS PGothic" pitchFamily="34" charset="-128"/>
              </a:endParaRPr>
            </a:p>
            <a:p>
              <a:pPr algn="ctr" eaLnBrk="1" hangingPunct="1">
                <a:lnSpc>
                  <a:spcPct val="80000"/>
                </a:lnSpc>
                <a:spcBef>
                  <a:spcPct val="0"/>
                </a:spcBef>
                <a:buClrTx/>
                <a:buFontTx/>
                <a:buNone/>
              </a:pPr>
              <a:r>
                <a:rPr lang="en-US" altLang="en-US" sz="1400" dirty="0">
                  <a:ea typeface="MS PGothic" pitchFamily="34" charset="-128"/>
                </a:rPr>
                <a:t>(e.g. operator </a:t>
              </a:r>
            </a:p>
            <a:p>
              <a:pPr algn="ctr" eaLnBrk="1" hangingPunct="1">
                <a:lnSpc>
                  <a:spcPct val="80000"/>
                </a:lnSpc>
                <a:spcBef>
                  <a:spcPct val="0"/>
                </a:spcBef>
                <a:buClrTx/>
                <a:buFontTx/>
                <a:buNone/>
              </a:pPr>
              <a:r>
                <a:rPr lang="en-US" altLang="en-US" sz="1400" dirty="0">
                  <a:ea typeface="MS PGothic" pitchFamily="34" charset="-128"/>
                </a:rPr>
                <a:t>or Internet)</a:t>
              </a:r>
            </a:p>
          </p:txBody>
        </p:sp>
      </p:grpSp>
      <p:sp>
        <p:nvSpPr>
          <p:cNvPr id="8" name="Freeform 4"/>
          <p:cNvSpPr>
            <a:spLocks noChangeAspect="1" noEditPoints="1"/>
          </p:cNvSpPr>
          <p:nvPr/>
        </p:nvSpPr>
        <p:spPr bwMode="auto">
          <a:xfrm>
            <a:off x="2075957" y="5555793"/>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Text Box 144"/>
          <p:cNvSpPr txBox="1">
            <a:spLocks noChangeAspect="1" noChangeArrowheads="1"/>
          </p:cNvSpPr>
          <p:nvPr/>
        </p:nvSpPr>
        <p:spPr bwMode="auto">
          <a:xfrm>
            <a:off x="1817997" y="608588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600" dirty="0"/>
              <a:t>NG UE</a:t>
            </a:r>
          </a:p>
        </p:txBody>
      </p:sp>
      <p:sp>
        <p:nvSpPr>
          <p:cNvPr id="11" name="Text Box 144"/>
          <p:cNvSpPr txBox="1">
            <a:spLocks noChangeAspect="1" noChangeArrowheads="1"/>
          </p:cNvSpPr>
          <p:nvPr/>
        </p:nvSpPr>
        <p:spPr bwMode="auto">
          <a:xfrm>
            <a:off x="4456164" y="303604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sp>
        <p:nvSpPr>
          <p:cNvPr id="12" name="Text Box 144"/>
          <p:cNvSpPr txBox="1">
            <a:spLocks noChangeAspect="1" noChangeArrowheads="1"/>
          </p:cNvSpPr>
          <p:nvPr/>
        </p:nvSpPr>
        <p:spPr bwMode="auto">
          <a:xfrm>
            <a:off x="5281736" y="393465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sp>
        <p:nvSpPr>
          <p:cNvPr id="13" name="Text Box 144"/>
          <p:cNvSpPr txBox="1">
            <a:spLocks noChangeAspect="1" noChangeArrowheads="1"/>
          </p:cNvSpPr>
          <p:nvPr/>
        </p:nvSpPr>
        <p:spPr bwMode="auto">
          <a:xfrm>
            <a:off x="7933615" y="391740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6</a:t>
            </a:r>
          </a:p>
        </p:txBody>
      </p:sp>
      <p:sp>
        <p:nvSpPr>
          <p:cNvPr id="16" name="Text Box 144"/>
          <p:cNvSpPr txBox="1">
            <a:spLocks noChangeAspect="1" noChangeArrowheads="1"/>
          </p:cNvSpPr>
          <p:nvPr/>
        </p:nvSpPr>
        <p:spPr bwMode="auto">
          <a:xfrm>
            <a:off x="6605033" y="306297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grpSp>
        <p:nvGrpSpPr>
          <p:cNvPr id="17" name="Group 16"/>
          <p:cNvGrpSpPr/>
          <p:nvPr/>
        </p:nvGrpSpPr>
        <p:grpSpPr>
          <a:xfrm>
            <a:off x="1210920" y="1584081"/>
            <a:ext cx="886830" cy="1230796"/>
            <a:chOff x="936376" y="2900085"/>
            <a:chExt cx="864096" cy="1240668"/>
          </a:xfrm>
        </p:grpSpPr>
        <p:sp>
          <p:nvSpPr>
            <p:cNvPr id="18"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19"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ea typeface="Segoe UI" panose="020B0502040204020203" pitchFamily="34" charset="0"/>
                  <a:cs typeface="Arial" panose="020B0604020202020204" pitchFamily="34" charset="0"/>
                </a:rPr>
                <a:t>5G RAN</a:t>
              </a:r>
            </a:p>
          </p:txBody>
        </p:sp>
        <p:sp>
          <p:nvSpPr>
            <p:cNvPr id="21"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2"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a:solidFill>
                  <a:srgbClr val="58585A"/>
                </a:solidFill>
              </a:endParaRPr>
            </a:p>
          </p:txBody>
        </p:sp>
      </p:grpSp>
      <p:grpSp>
        <p:nvGrpSpPr>
          <p:cNvPr id="24" name="Group 23"/>
          <p:cNvGrpSpPr/>
          <p:nvPr/>
        </p:nvGrpSpPr>
        <p:grpSpPr>
          <a:xfrm>
            <a:off x="6438702" y="3486351"/>
            <a:ext cx="889582" cy="1249115"/>
            <a:chOff x="5979156" y="5040856"/>
            <a:chExt cx="1101600" cy="1587600"/>
          </a:xfrm>
        </p:grpSpPr>
        <p:cxnSp>
          <p:nvCxnSpPr>
            <p:cNvPr id="25" name="Straight Connector 24"/>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26"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7"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8"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29"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0"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grpSp>
        <p:nvGrpSpPr>
          <p:cNvPr id="31" name="Group 30"/>
          <p:cNvGrpSpPr/>
          <p:nvPr/>
        </p:nvGrpSpPr>
        <p:grpSpPr>
          <a:xfrm>
            <a:off x="6455603" y="1584081"/>
            <a:ext cx="948900" cy="1274363"/>
            <a:chOff x="4338871" y="2725624"/>
            <a:chExt cx="1199053" cy="1626215"/>
          </a:xfrm>
        </p:grpSpPr>
        <p:sp>
          <p:nvSpPr>
            <p:cNvPr id="3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3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
        <p:nvSpPr>
          <p:cNvPr id="48" name="Text Box 144"/>
          <p:cNvSpPr txBox="1">
            <a:spLocks noChangeAspect="1" noChangeArrowheads="1"/>
          </p:cNvSpPr>
          <p:nvPr/>
        </p:nvSpPr>
        <p:spPr bwMode="auto">
          <a:xfrm>
            <a:off x="5346862" y="202832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1</a:t>
            </a:r>
          </a:p>
        </p:txBody>
      </p:sp>
      <p:cxnSp>
        <p:nvCxnSpPr>
          <p:cNvPr id="49" name="Straight Connector 48"/>
          <p:cNvCxnSpPr>
            <a:cxnSpLocks/>
            <a:stCxn id="35" idx="2"/>
            <a:endCxn id="27" idx="0"/>
          </p:cNvCxnSpPr>
          <p:nvPr/>
        </p:nvCxnSpPr>
        <p:spPr bwMode="auto">
          <a:xfrm flipH="1">
            <a:off x="6882269" y="2799473"/>
            <a:ext cx="6822" cy="703693"/>
          </a:xfrm>
          <a:prstGeom prst="line">
            <a:avLst/>
          </a:prstGeom>
          <a:solidFill>
            <a:schemeClr val="accent1"/>
          </a:solidFill>
          <a:ln w="19050" cap="flat" cmpd="sng" algn="ctr">
            <a:solidFill>
              <a:schemeClr val="tx1"/>
            </a:solidFill>
            <a:prstDash val="dash"/>
            <a:round/>
            <a:headEnd type="none" w="med" len="med"/>
            <a:tailEnd type="none" w="med" len="med"/>
          </a:ln>
          <a:effectLst/>
        </p:spPr>
      </p:cxnSp>
      <p:grpSp>
        <p:nvGrpSpPr>
          <p:cNvPr id="73" name="Group 72"/>
          <p:cNvGrpSpPr/>
          <p:nvPr/>
        </p:nvGrpSpPr>
        <p:grpSpPr>
          <a:xfrm>
            <a:off x="4315211" y="1584081"/>
            <a:ext cx="948900" cy="1274363"/>
            <a:chOff x="4338871" y="2725624"/>
            <a:chExt cx="1199053" cy="1626215"/>
          </a:xfrm>
        </p:grpSpPr>
        <p:sp>
          <p:nvSpPr>
            <p:cNvPr id="74"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5"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6"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7"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7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grpSp>
        <p:nvGrpSpPr>
          <p:cNvPr id="92" name="Group 91"/>
          <p:cNvGrpSpPr/>
          <p:nvPr/>
        </p:nvGrpSpPr>
        <p:grpSpPr>
          <a:xfrm>
            <a:off x="3719143" y="5405893"/>
            <a:ext cx="2127645" cy="1321448"/>
            <a:chOff x="9315422" y="5130211"/>
            <a:chExt cx="2250397" cy="1719278"/>
          </a:xfrm>
        </p:grpSpPr>
        <p:sp>
          <p:nvSpPr>
            <p:cNvPr id="93"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94" name="Text Box 35"/>
            <p:cNvSpPr txBox="1">
              <a:spLocks noChangeAspect="1" noChangeArrowheads="1"/>
            </p:cNvSpPr>
            <p:nvPr/>
          </p:nvSpPr>
          <p:spPr bwMode="auto">
            <a:xfrm>
              <a:off x="9508328" y="5821733"/>
              <a:ext cx="1808286" cy="4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dirty="0">
                  <a:ea typeface="MS PGothic" pitchFamily="34" charset="-128"/>
                </a:rPr>
                <a:t>Untrusted Non-</a:t>
              </a:r>
              <a:br>
                <a:rPr lang="en-US" altLang="en-US" sz="1600" dirty="0">
                  <a:ea typeface="MS PGothic" pitchFamily="34" charset="-128"/>
                </a:rPr>
              </a:br>
              <a:r>
                <a:rPr lang="en-US" altLang="en-US" sz="1600" dirty="0">
                  <a:ea typeface="MS PGothic" pitchFamily="34" charset="-128"/>
                </a:rPr>
                <a:t>3GPP Access</a:t>
              </a:r>
            </a:p>
          </p:txBody>
        </p:sp>
      </p:grpSp>
      <p:cxnSp>
        <p:nvCxnSpPr>
          <p:cNvPr id="95" name="Straight Connector 94"/>
          <p:cNvCxnSpPr>
            <a:cxnSpLocks/>
          </p:cNvCxnSpPr>
          <p:nvPr/>
        </p:nvCxnSpPr>
        <p:spPr bwMode="auto">
          <a:xfrm flipH="1">
            <a:off x="257253" y="5211023"/>
            <a:ext cx="11405096" cy="0"/>
          </a:xfrm>
          <a:prstGeom prst="line">
            <a:avLst/>
          </a:prstGeom>
          <a:solidFill>
            <a:schemeClr val="accent1"/>
          </a:solidFill>
          <a:ln w="38100" cap="flat" cmpd="sng" algn="ctr">
            <a:solidFill>
              <a:srgbClr val="FF0000"/>
            </a:solidFill>
            <a:prstDash val="dash"/>
            <a:round/>
            <a:headEnd type="none" w="med" len="med"/>
            <a:tailEnd type="none" w="med" len="med"/>
          </a:ln>
          <a:effectLst/>
        </p:spPr>
      </p:cxnSp>
      <p:cxnSp>
        <p:nvCxnSpPr>
          <p:cNvPr id="105" name="Straight Connector 104"/>
          <p:cNvCxnSpPr>
            <a:cxnSpLocks/>
            <a:stCxn id="29" idx="1"/>
          </p:cNvCxnSpPr>
          <p:nvPr/>
        </p:nvCxnSpPr>
        <p:spPr bwMode="auto">
          <a:xfrm flipH="1" flipV="1">
            <a:off x="5157618" y="4108403"/>
            <a:ext cx="1281084" cy="2506"/>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09" name="Straight Connector 108"/>
          <p:cNvCxnSpPr>
            <a:cxnSpLocks/>
            <a:stCxn id="101" idx="0"/>
            <a:endCxn id="78" idx="2"/>
          </p:cNvCxnSpPr>
          <p:nvPr/>
        </p:nvCxnSpPr>
        <p:spPr bwMode="auto">
          <a:xfrm flipV="1">
            <a:off x="4749900" y="2828184"/>
            <a:ext cx="1200" cy="67491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14" name="Straight Connector 113"/>
          <p:cNvCxnSpPr>
            <a:cxnSpLocks/>
            <a:stCxn id="36" idx="1"/>
            <a:endCxn id="78" idx="3"/>
          </p:cNvCxnSpPr>
          <p:nvPr/>
        </p:nvCxnSpPr>
        <p:spPr bwMode="auto">
          <a:xfrm flipH="1">
            <a:off x="5186989" y="2206133"/>
            <a:ext cx="1268614"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15" name="Straight Connector 114"/>
          <p:cNvCxnSpPr>
            <a:cxnSpLocks/>
          </p:cNvCxnSpPr>
          <p:nvPr/>
        </p:nvCxnSpPr>
        <p:spPr bwMode="auto">
          <a:xfrm flipH="1" flipV="1">
            <a:off x="7328285" y="4107206"/>
            <a:ext cx="2025774" cy="3703"/>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19" name="TextBox 118"/>
          <p:cNvSpPr txBox="1"/>
          <p:nvPr/>
        </p:nvSpPr>
        <p:spPr>
          <a:xfrm>
            <a:off x="340923" y="4641149"/>
            <a:ext cx="1083951" cy="400110"/>
          </a:xfrm>
          <a:prstGeom prst="rect">
            <a:avLst/>
          </a:prstGeom>
          <a:noFill/>
        </p:spPr>
        <p:txBody>
          <a:bodyPr wrap="none" rtlCol="0">
            <a:spAutoFit/>
          </a:bodyPr>
          <a:lstStyle/>
          <a:p>
            <a:r>
              <a:rPr lang="en-US" dirty="0">
                <a:solidFill>
                  <a:schemeClr val="tx1">
                    <a:lumMod val="50000"/>
                  </a:schemeClr>
                </a:solidFill>
              </a:rPr>
              <a:t>HPLMN</a:t>
            </a:r>
          </a:p>
        </p:txBody>
      </p:sp>
      <p:sp>
        <p:nvSpPr>
          <p:cNvPr id="120" name="TextBox 119"/>
          <p:cNvSpPr txBox="1"/>
          <p:nvPr/>
        </p:nvSpPr>
        <p:spPr>
          <a:xfrm>
            <a:off x="340923" y="5377999"/>
            <a:ext cx="1425390" cy="707886"/>
          </a:xfrm>
          <a:prstGeom prst="rect">
            <a:avLst/>
          </a:prstGeom>
          <a:noFill/>
        </p:spPr>
        <p:txBody>
          <a:bodyPr wrap="none" rtlCol="0">
            <a:spAutoFit/>
          </a:bodyPr>
          <a:lstStyle/>
          <a:p>
            <a:r>
              <a:rPr lang="en-US" dirty="0">
                <a:solidFill>
                  <a:schemeClr val="tx1">
                    <a:lumMod val="50000"/>
                  </a:schemeClr>
                </a:solidFill>
              </a:rPr>
              <a:t>Non-3GPP</a:t>
            </a:r>
            <a:br>
              <a:rPr lang="en-US" dirty="0">
                <a:solidFill>
                  <a:schemeClr val="tx1">
                    <a:lumMod val="50000"/>
                  </a:schemeClr>
                </a:solidFill>
              </a:rPr>
            </a:br>
            <a:r>
              <a:rPr lang="en-US" dirty="0">
                <a:solidFill>
                  <a:schemeClr val="tx1">
                    <a:lumMod val="50000"/>
                  </a:schemeClr>
                </a:solidFill>
              </a:rPr>
              <a:t>Network</a:t>
            </a:r>
          </a:p>
        </p:txBody>
      </p:sp>
      <p:cxnSp>
        <p:nvCxnSpPr>
          <p:cNvPr id="128" name="Straight Connector 127"/>
          <p:cNvCxnSpPr>
            <a:cxnSpLocks/>
            <a:stCxn id="21" idx="3"/>
            <a:endCxn id="78" idx="1"/>
          </p:cNvCxnSpPr>
          <p:nvPr/>
        </p:nvCxnSpPr>
        <p:spPr bwMode="auto">
          <a:xfrm>
            <a:off x="2097750" y="2199479"/>
            <a:ext cx="2217461" cy="6654"/>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33" name="Text Box 144"/>
          <p:cNvSpPr txBox="1">
            <a:spLocks noChangeAspect="1" noChangeArrowheads="1"/>
          </p:cNvSpPr>
          <p:nvPr/>
        </p:nvSpPr>
        <p:spPr bwMode="auto">
          <a:xfrm>
            <a:off x="2719803" y="2034204"/>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cxnSp>
        <p:nvCxnSpPr>
          <p:cNvPr id="134" name="Straight Connector 133"/>
          <p:cNvCxnSpPr>
            <a:cxnSpLocks/>
          </p:cNvCxnSpPr>
          <p:nvPr/>
        </p:nvCxnSpPr>
        <p:spPr bwMode="auto">
          <a:xfrm flipV="1">
            <a:off x="5012299" y="4721902"/>
            <a:ext cx="24396" cy="732731"/>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38" name="Text Box 144"/>
          <p:cNvSpPr txBox="1">
            <a:spLocks noChangeAspect="1" noChangeArrowheads="1"/>
          </p:cNvSpPr>
          <p:nvPr/>
        </p:nvSpPr>
        <p:spPr bwMode="auto">
          <a:xfrm>
            <a:off x="4712586" y="491730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Y2</a:t>
            </a:r>
          </a:p>
        </p:txBody>
      </p:sp>
      <p:sp>
        <p:nvSpPr>
          <p:cNvPr id="157" name="Freeform: Shape 156"/>
          <p:cNvSpPr/>
          <p:nvPr/>
        </p:nvSpPr>
        <p:spPr bwMode="auto">
          <a:xfrm>
            <a:off x="1467706" y="2341894"/>
            <a:ext cx="2873342" cy="3234447"/>
          </a:xfrm>
          <a:custGeom>
            <a:avLst/>
            <a:gdLst>
              <a:gd name="connsiteX0" fmla="*/ 870761 w 2744531"/>
              <a:gd name="connsiteY0" fmla="*/ 3234447 h 3234447"/>
              <a:gd name="connsiteX1" fmla="*/ 91272 w 2744531"/>
              <a:gd name="connsiteY1" fmla="*/ 371326 h 3234447"/>
              <a:gd name="connsiteX2" fmla="*/ 2744531 w 2744531"/>
              <a:gd name="connsiteY2" fmla="*/ 56532 h 3234447"/>
            </a:gdLst>
            <a:ahLst/>
            <a:cxnLst>
              <a:cxn ang="0">
                <a:pos x="connsiteX0" y="connsiteY0"/>
              </a:cxn>
              <a:cxn ang="0">
                <a:pos x="connsiteX1" y="connsiteY1"/>
              </a:cxn>
              <a:cxn ang="0">
                <a:pos x="connsiteX2" y="connsiteY2"/>
              </a:cxn>
            </a:cxnLst>
            <a:rect l="l" t="t" r="r" b="b"/>
            <a:pathLst>
              <a:path w="2744531" h="3234447">
                <a:moveTo>
                  <a:pt x="870761" y="3234447"/>
                </a:moveTo>
                <a:cubicBezTo>
                  <a:pt x="324869" y="2067712"/>
                  <a:pt x="-221023" y="900978"/>
                  <a:pt x="91272" y="371326"/>
                </a:cubicBezTo>
                <a:cubicBezTo>
                  <a:pt x="403567" y="-158327"/>
                  <a:pt x="2422243" y="24053"/>
                  <a:pt x="2744531" y="56532"/>
                </a:cubicBezTo>
              </a:path>
            </a:pathLst>
          </a:custGeom>
          <a:noFill/>
          <a:ln w="1905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58" name="Text Box 144"/>
          <p:cNvSpPr txBox="1">
            <a:spLocks noChangeAspect="1" noChangeArrowheads="1"/>
          </p:cNvSpPr>
          <p:nvPr/>
        </p:nvSpPr>
        <p:spPr bwMode="auto">
          <a:xfrm>
            <a:off x="1200687" y="3275796"/>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cxnSp>
        <p:nvCxnSpPr>
          <p:cNvPr id="160" name="Straight Connector 159"/>
          <p:cNvCxnSpPr>
            <a:cxnSpLocks/>
          </p:cNvCxnSpPr>
          <p:nvPr/>
        </p:nvCxnSpPr>
        <p:spPr bwMode="auto">
          <a:xfrm>
            <a:off x="2582370" y="6066617"/>
            <a:ext cx="1136773" cy="19268"/>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64" name="Text Box 144"/>
          <p:cNvSpPr txBox="1">
            <a:spLocks noChangeAspect="1" noChangeArrowheads="1"/>
          </p:cNvSpPr>
          <p:nvPr/>
        </p:nvSpPr>
        <p:spPr bwMode="auto">
          <a:xfrm>
            <a:off x="2726793" y="6145231"/>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Y1</a:t>
            </a:r>
          </a:p>
        </p:txBody>
      </p:sp>
      <p:grpSp>
        <p:nvGrpSpPr>
          <p:cNvPr id="98" name="Group 97"/>
          <p:cNvGrpSpPr/>
          <p:nvPr/>
        </p:nvGrpSpPr>
        <p:grpSpPr>
          <a:xfrm>
            <a:off x="4315211" y="3486351"/>
            <a:ext cx="948900" cy="1274363"/>
            <a:chOff x="4338871" y="2725624"/>
            <a:chExt cx="1199053" cy="1626215"/>
          </a:xfrm>
        </p:grpSpPr>
        <p:sp>
          <p:nvSpPr>
            <p:cNvPr id="9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IWF</a:t>
              </a:r>
            </a:p>
          </p:txBody>
        </p:sp>
        <p:sp>
          <p:nvSpPr>
            <p:cNvPr id="10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cxnSp>
        <p:nvCxnSpPr>
          <p:cNvPr id="166" name="Straight Connector 165"/>
          <p:cNvCxnSpPr/>
          <p:nvPr/>
        </p:nvCxnSpPr>
        <p:spPr bwMode="auto">
          <a:xfrm>
            <a:off x="4441174" y="2800675"/>
            <a:ext cx="0" cy="2287167"/>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69" name="Freeform: Shape 168"/>
          <p:cNvSpPr/>
          <p:nvPr/>
        </p:nvSpPr>
        <p:spPr bwMode="auto">
          <a:xfrm>
            <a:off x="2548328" y="5006715"/>
            <a:ext cx="1903751" cy="870926"/>
          </a:xfrm>
          <a:custGeom>
            <a:avLst/>
            <a:gdLst>
              <a:gd name="connsiteX0" fmla="*/ 0 w 1903751"/>
              <a:gd name="connsiteY0" fmla="*/ 794478 h 870926"/>
              <a:gd name="connsiteX1" fmla="*/ 1573967 w 1903751"/>
              <a:gd name="connsiteY1" fmla="*/ 794478 h 870926"/>
              <a:gd name="connsiteX2" fmla="*/ 1903751 w 1903751"/>
              <a:gd name="connsiteY2" fmla="*/ 0 h 870926"/>
            </a:gdLst>
            <a:ahLst/>
            <a:cxnLst>
              <a:cxn ang="0">
                <a:pos x="connsiteX0" y="connsiteY0"/>
              </a:cxn>
              <a:cxn ang="0">
                <a:pos x="connsiteX1" y="connsiteY1"/>
              </a:cxn>
              <a:cxn ang="0">
                <a:pos x="connsiteX2" y="connsiteY2"/>
              </a:cxn>
            </a:cxnLst>
            <a:rect l="l" t="t" r="r" b="b"/>
            <a:pathLst>
              <a:path w="1903751" h="870926">
                <a:moveTo>
                  <a:pt x="0" y="794478"/>
                </a:moveTo>
                <a:cubicBezTo>
                  <a:pt x="628337" y="860684"/>
                  <a:pt x="1256675" y="926891"/>
                  <a:pt x="1573967" y="794478"/>
                </a:cubicBezTo>
                <a:cubicBezTo>
                  <a:pt x="1891259" y="662065"/>
                  <a:pt x="1858781" y="302301"/>
                  <a:pt x="1903751" y="0"/>
                </a:cubicBezTo>
              </a:path>
            </a:pathLst>
          </a:custGeom>
          <a:noFill/>
          <a:ln w="1905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70" name="Text Box 144"/>
          <p:cNvSpPr txBox="1">
            <a:spLocks noChangeAspect="1" noChangeArrowheads="1"/>
          </p:cNvSpPr>
          <p:nvPr/>
        </p:nvSpPr>
        <p:spPr bwMode="auto">
          <a:xfrm>
            <a:off x="3781491" y="4927209"/>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sp>
        <p:nvSpPr>
          <p:cNvPr id="173" name="Freeform: Shape 172"/>
          <p:cNvSpPr/>
          <p:nvPr/>
        </p:nvSpPr>
        <p:spPr bwMode="auto">
          <a:xfrm>
            <a:off x="2548328" y="4736891"/>
            <a:ext cx="2128603" cy="1230490"/>
          </a:xfrm>
          <a:custGeom>
            <a:avLst/>
            <a:gdLst>
              <a:gd name="connsiteX0" fmla="*/ 0 w 2128603"/>
              <a:gd name="connsiteY0" fmla="*/ 1274164 h 1328852"/>
              <a:gd name="connsiteX1" fmla="*/ 1394085 w 2128603"/>
              <a:gd name="connsiteY1" fmla="*/ 1304145 h 1328852"/>
              <a:gd name="connsiteX2" fmla="*/ 1963711 w 2128603"/>
              <a:gd name="connsiteY2" fmla="*/ 959371 h 1328852"/>
              <a:gd name="connsiteX3" fmla="*/ 2128603 w 2128603"/>
              <a:gd name="connsiteY3" fmla="*/ 0 h 1328852"/>
            </a:gdLst>
            <a:ahLst/>
            <a:cxnLst>
              <a:cxn ang="0">
                <a:pos x="connsiteX0" y="connsiteY0"/>
              </a:cxn>
              <a:cxn ang="0">
                <a:pos x="connsiteX1" y="connsiteY1"/>
              </a:cxn>
              <a:cxn ang="0">
                <a:pos x="connsiteX2" y="connsiteY2"/>
              </a:cxn>
              <a:cxn ang="0">
                <a:pos x="connsiteX3" y="connsiteY3"/>
              </a:cxn>
            </a:cxnLst>
            <a:rect l="l" t="t" r="r" b="b"/>
            <a:pathLst>
              <a:path w="2128603" h="1328852">
                <a:moveTo>
                  <a:pt x="0" y="1274164"/>
                </a:moveTo>
                <a:cubicBezTo>
                  <a:pt x="533400" y="1315387"/>
                  <a:pt x="1066800" y="1356610"/>
                  <a:pt x="1394085" y="1304145"/>
                </a:cubicBezTo>
                <a:cubicBezTo>
                  <a:pt x="1721370" y="1251680"/>
                  <a:pt x="1841291" y="1176728"/>
                  <a:pt x="1963711" y="959371"/>
                </a:cubicBezTo>
                <a:cubicBezTo>
                  <a:pt x="2086131" y="742014"/>
                  <a:pt x="2116111" y="172387"/>
                  <a:pt x="2128603" y="0"/>
                </a:cubicBezTo>
              </a:path>
            </a:pathLst>
          </a:custGeom>
          <a:noFill/>
          <a:ln w="1905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74" name="Text Box 144"/>
          <p:cNvSpPr txBox="1">
            <a:spLocks noChangeAspect="1" noChangeArrowheads="1"/>
          </p:cNvSpPr>
          <p:nvPr/>
        </p:nvSpPr>
        <p:spPr bwMode="auto">
          <a:xfrm>
            <a:off x="4226755" y="491407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err="1"/>
              <a:t>NWu</a:t>
            </a:r>
            <a:endParaRPr lang="en-US" altLang="en-US" sz="1400" dirty="0"/>
          </a:p>
        </p:txBody>
      </p:sp>
      <p:cxnSp>
        <p:nvCxnSpPr>
          <p:cNvPr id="176" name="Straight Connector 175"/>
          <p:cNvCxnSpPr>
            <a:cxnSpLocks/>
            <a:stCxn id="29" idx="1"/>
          </p:cNvCxnSpPr>
          <p:nvPr/>
        </p:nvCxnSpPr>
        <p:spPr bwMode="auto">
          <a:xfrm flipH="1" flipV="1">
            <a:off x="2083091" y="2312140"/>
            <a:ext cx="4355611" cy="179876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78" name="Text Box 144"/>
          <p:cNvSpPr txBox="1">
            <a:spLocks noChangeAspect="1" noChangeArrowheads="1"/>
          </p:cNvSpPr>
          <p:nvPr/>
        </p:nvSpPr>
        <p:spPr bwMode="auto">
          <a:xfrm>
            <a:off x="2361159" y="2752943"/>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spTree>
    <p:extLst>
      <p:ext uri="{BB962C8B-B14F-4D97-AF65-F5344CB8AC3E}">
        <p14:creationId xmlns:p14="http://schemas.microsoft.com/office/powerpoint/2010/main" val="14926378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points specific For non-3gpp access</a:t>
            </a:r>
          </a:p>
        </p:txBody>
      </p:sp>
      <p:sp>
        <p:nvSpPr>
          <p:cNvPr id="3" name="Text Placeholder 2"/>
          <p:cNvSpPr>
            <a:spLocks noGrp="1"/>
          </p:cNvSpPr>
          <p:nvPr>
            <p:ph type="body" idx="1"/>
          </p:nvPr>
        </p:nvSpPr>
        <p:spPr/>
        <p:txBody>
          <a:bodyPr/>
          <a:lstStyle/>
          <a:p>
            <a:r>
              <a:rPr lang="en-US" dirty="0"/>
              <a:t>Y1</a:t>
            </a:r>
          </a:p>
          <a:p>
            <a:pPr lvl="1"/>
            <a:r>
              <a:rPr lang="en-US" dirty="0"/>
              <a:t>Reference point between the UE and the non-3GPP access (e.g. WLAN). This depends on the non-3GPP access technology and is outside the scope of 3GPP.</a:t>
            </a:r>
          </a:p>
          <a:p>
            <a:r>
              <a:rPr lang="en-US" dirty="0"/>
              <a:t>Y2</a:t>
            </a:r>
          </a:p>
          <a:p>
            <a:pPr lvl="1"/>
            <a:r>
              <a:rPr lang="en-US" dirty="0"/>
              <a:t>Reference point between the untrusted non-3GPP access and the N3IWF for the transport of </a:t>
            </a:r>
            <a:r>
              <a:rPr lang="en-US" dirty="0" err="1"/>
              <a:t>NWu</a:t>
            </a:r>
            <a:r>
              <a:rPr lang="en-US" dirty="0"/>
              <a:t> traffic.</a:t>
            </a:r>
          </a:p>
          <a:p>
            <a:r>
              <a:rPr lang="en-US" dirty="0" err="1"/>
              <a:t>NWu</a:t>
            </a:r>
            <a:endParaRPr lang="en-US" dirty="0"/>
          </a:p>
          <a:p>
            <a:pPr lvl="1"/>
            <a:r>
              <a:rPr lang="en-US" dirty="0"/>
              <a:t>Reference point between the UE and N3IWF for establishing secure tunnel(s) between the UE and N3IWF so that control-plane and user-plane exchanged between the UE and the 5G Core Network is transferred securely over untrusted non-3GPP access.</a:t>
            </a:r>
          </a:p>
          <a:p>
            <a:pPr lvl="1"/>
            <a:endParaRPr lang="en-US" dirty="0"/>
          </a:p>
        </p:txBody>
      </p:sp>
    </p:spTree>
    <p:extLst>
      <p:ext uri="{BB962C8B-B14F-4D97-AF65-F5344CB8AC3E}">
        <p14:creationId xmlns:p14="http://schemas.microsoft.com/office/powerpoint/2010/main" val="34019728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Core compared to EPC</a:t>
            </a:r>
          </a:p>
        </p:txBody>
      </p:sp>
      <p:sp>
        <p:nvSpPr>
          <p:cNvPr id="4" name="Down Arrow 46"/>
          <p:cNvSpPr/>
          <p:nvPr/>
        </p:nvSpPr>
        <p:spPr bwMode="auto">
          <a:xfrm>
            <a:off x="1729221" y="3259827"/>
            <a:ext cx="325315" cy="325317"/>
          </a:xfrm>
          <a:prstGeom prst="downArrow">
            <a:avLst/>
          </a:prstGeom>
          <a:solidFill>
            <a:srgbClr val="00B0F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 name="Group 4"/>
          <p:cNvGrpSpPr/>
          <p:nvPr/>
        </p:nvGrpSpPr>
        <p:grpSpPr>
          <a:xfrm>
            <a:off x="175846" y="1115244"/>
            <a:ext cx="3523853" cy="2224454"/>
            <a:chOff x="175846" y="1115244"/>
            <a:chExt cx="3523853" cy="2224454"/>
          </a:xfrm>
        </p:grpSpPr>
        <p:sp>
          <p:nvSpPr>
            <p:cNvPr id="6" name="TextBox 5"/>
            <p:cNvSpPr txBox="1"/>
            <p:nvPr/>
          </p:nvSpPr>
          <p:spPr>
            <a:xfrm>
              <a:off x="196358" y="1847936"/>
              <a:ext cx="798617"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MME</a:t>
              </a:r>
            </a:p>
          </p:txBody>
        </p:sp>
        <p:cxnSp>
          <p:nvCxnSpPr>
            <p:cNvPr id="7" name="Straight Connector 6"/>
            <p:cNvCxnSpPr/>
            <p:nvPr/>
          </p:nvCxnSpPr>
          <p:spPr bwMode="auto">
            <a:xfrm>
              <a:off x="293076" y="2094124"/>
              <a:ext cx="1617611"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8" name="TextBox 7"/>
            <p:cNvSpPr txBox="1"/>
            <p:nvPr/>
          </p:nvSpPr>
          <p:spPr>
            <a:xfrm>
              <a:off x="383921" y="2876647"/>
              <a:ext cx="532518"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U</a:t>
              </a:r>
            </a:p>
          </p:txBody>
        </p:sp>
        <p:cxnSp>
          <p:nvCxnSpPr>
            <p:cNvPr id="9" name="Straight Connector 8"/>
            <p:cNvCxnSpPr/>
            <p:nvPr/>
          </p:nvCxnSpPr>
          <p:spPr bwMode="auto">
            <a:xfrm>
              <a:off x="402542" y="3163871"/>
              <a:ext cx="2847989" cy="0"/>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sp>
          <p:nvSpPr>
            <p:cNvPr id="10" name="TextBox 9"/>
            <p:cNvSpPr txBox="1"/>
            <p:nvPr/>
          </p:nvSpPr>
          <p:spPr>
            <a:xfrm>
              <a:off x="1960669" y="2876647"/>
              <a:ext cx="372218"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5</a:t>
              </a:r>
            </a:p>
          </p:txBody>
        </p:sp>
        <p:cxnSp>
          <p:nvCxnSpPr>
            <p:cNvPr id="11" name="Straight Connector 10"/>
            <p:cNvCxnSpPr>
              <a:endCxn id="30" idx="0"/>
            </p:cNvCxnSpPr>
            <p:nvPr/>
          </p:nvCxnSpPr>
          <p:spPr bwMode="auto">
            <a:xfrm flipH="1">
              <a:off x="1226699" y="2205490"/>
              <a:ext cx="4224" cy="3191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TextBox 11"/>
            <p:cNvSpPr txBox="1"/>
            <p:nvPr/>
          </p:nvSpPr>
          <p:spPr>
            <a:xfrm>
              <a:off x="1339344" y="2313926"/>
              <a:ext cx="447558"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1</a:t>
              </a:r>
            </a:p>
          </p:txBody>
        </p:sp>
        <p:grpSp>
          <p:nvGrpSpPr>
            <p:cNvPr id="13" name="Group 45"/>
            <p:cNvGrpSpPr>
              <a:grpSpLocks noChangeAspect="1"/>
            </p:cNvGrpSpPr>
            <p:nvPr/>
          </p:nvGrpSpPr>
          <p:grpSpPr bwMode="auto">
            <a:xfrm>
              <a:off x="1906520" y="1418587"/>
              <a:ext cx="570459" cy="778557"/>
              <a:chOff x="1057" y="1587"/>
              <a:chExt cx="363" cy="520"/>
            </a:xfrm>
          </p:grpSpPr>
          <p:sp>
            <p:nvSpPr>
              <p:cNvPr id="42"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43"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44"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dirty="0">
                    <a:solidFill>
                      <a:srgbClr val="00A9D4"/>
                    </a:solidFill>
                    <a:latin typeface="+mn-lt"/>
                    <a:ea typeface="Segoe UI" panose="020B0502040204020203" pitchFamily="34" charset="0"/>
                    <a:cs typeface="Segoe UI" panose="020B0502040204020203" pitchFamily="34" charset="0"/>
                  </a:rPr>
                  <a:t>HSS</a:t>
                </a:r>
              </a:p>
            </p:txBody>
          </p:sp>
          <p:sp>
            <p:nvSpPr>
              <p:cNvPr id="4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46"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14" name="Group 557"/>
            <p:cNvGrpSpPr>
              <a:grpSpLocks noChangeAspect="1"/>
            </p:cNvGrpSpPr>
            <p:nvPr/>
          </p:nvGrpSpPr>
          <p:grpSpPr bwMode="auto">
            <a:xfrm>
              <a:off x="2724537" y="1412728"/>
              <a:ext cx="822380" cy="823379"/>
              <a:chOff x="3368" y="1858"/>
              <a:chExt cx="505" cy="536"/>
            </a:xfrm>
          </p:grpSpPr>
          <p:sp>
            <p:nvSpPr>
              <p:cNvPr id="39" name="Text Box 240"/>
              <p:cNvSpPr txBox="1">
                <a:spLocks noChangeAspect="1" noChangeArrowheads="1"/>
              </p:cNvSpPr>
              <p:nvPr/>
            </p:nvSpPr>
            <p:spPr bwMode="auto">
              <a:xfrm>
                <a:off x="3385" y="2158"/>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PCRF</a:t>
                </a:r>
              </a:p>
            </p:txBody>
          </p:sp>
          <p:sp>
            <p:nvSpPr>
              <p:cNvPr id="4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41" name="Freeform 11"/>
              <p:cNvSpPr>
                <a:spLocks noChangeAspect="1" noEditPoints="1"/>
              </p:cNvSpPr>
              <p:nvPr/>
            </p:nvSpPr>
            <p:spPr bwMode="auto">
              <a:xfrm>
                <a:off x="3368" y="1875"/>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cxnSp>
          <p:nvCxnSpPr>
            <p:cNvPr id="15" name="Straight Connector 14"/>
            <p:cNvCxnSpPr>
              <a:stCxn id="39" idx="2"/>
              <a:endCxn id="35" idx="7"/>
            </p:cNvCxnSpPr>
            <p:nvPr/>
          </p:nvCxnSpPr>
          <p:spPr bwMode="auto">
            <a:xfrm flipH="1">
              <a:off x="2820133" y="2219208"/>
              <a:ext cx="198341" cy="384469"/>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6" name="TextBox 15"/>
            <p:cNvSpPr txBox="1"/>
            <p:nvPr/>
          </p:nvSpPr>
          <p:spPr>
            <a:xfrm>
              <a:off x="2881007" y="2325612"/>
              <a:ext cx="389850" cy="276999"/>
            </a:xfrm>
            <a:prstGeom prst="rect">
              <a:avLst/>
            </a:prstGeom>
            <a:noFill/>
          </p:spPr>
          <p:txBody>
            <a:bodyPr wrap="none" rtlCol="0">
              <a:spAutoFit/>
            </a:bodyPr>
            <a:lstStyle/>
            <a:p>
              <a:r>
                <a:rPr lang="en-US" sz="1200" dirty="0" err="1">
                  <a:latin typeface="+mn-lt"/>
                  <a:ea typeface="Segoe UI" panose="020B0502040204020203" pitchFamily="34" charset="0"/>
                  <a:cs typeface="Segoe UI" panose="020B0502040204020203" pitchFamily="34" charset="0"/>
                </a:rPr>
                <a:t>Gx</a:t>
              </a:r>
              <a:endParaRPr lang="en-US" sz="1200" dirty="0">
                <a:latin typeface="+mn-lt"/>
                <a:ea typeface="Segoe UI" panose="020B0502040204020203" pitchFamily="34" charset="0"/>
                <a:cs typeface="Segoe UI" panose="020B0502040204020203" pitchFamily="34" charset="0"/>
              </a:endParaRPr>
            </a:p>
          </p:txBody>
        </p:sp>
        <p:sp>
          <p:nvSpPr>
            <p:cNvPr id="17" name="TextBox 16"/>
            <p:cNvSpPr txBox="1"/>
            <p:nvPr/>
          </p:nvSpPr>
          <p:spPr>
            <a:xfrm>
              <a:off x="1526914" y="1806896"/>
              <a:ext cx="457176"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6a</a:t>
              </a:r>
            </a:p>
          </p:txBody>
        </p:sp>
        <p:grpSp>
          <p:nvGrpSpPr>
            <p:cNvPr id="18" name="Group 261"/>
            <p:cNvGrpSpPr>
              <a:grpSpLocks noChangeAspect="1"/>
            </p:cNvGrpSpPr>
            <p:nvPr/>
          </p:nvGrpSpPr>
          <p:grpSpPr bwMode="auto">
            <a:xfrm>
              <a:off x="2322900" y="2513998"/>
              <a:ext cx="590916" cy="790546"/>
              <a:chOff x="239" y="1832"/>
              <a:chExt cx="363" cy="520"/>
            </a:xfrm>
          </p:grpSpPr>
          <p:sp>
            <p:nvSpPr>
              <p:cNvPr id="34"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5"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6"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dirty="0">
                    <a:solidFill>
                      <a:srgbClr val="8F3F7B"/>
                    </a:solidFill>
                    <a:latin typeface="+mn-lt"/>
                    <a:ea typeface="Segoe UI" panose="020B0502040204020203" pitchFamily="34" charset="0"/>
                    <a:cs typeface="Segoe UI" panose="020B0502040204020203" pitchFamily="34" charset="0"/>
                  </a:rPr>
                  <a:t>PGW</a:t>
                </a:r>
              </a:p>
            </p:txBody>
          </p:sp>
          <p:sp>
            <p:nvSpPr>
              <p:cNvPr id="37"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8"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19" name="Group 261"/>
            <p:cNvGrpSpPr>
              <a:grpSpLocks noChangeAspect="1"/>
            </p:cNvGrpSpPr>
            <p:nvPr/>
          </p:nvGrpSpPr>
          <p:grpSpPr bwMode="auto">
            <a:xfrm>
              <a:off x="932055" y="2513998"/>
              <a:ext cx="590916" cy="790546"/>
              <a:chOff x="239" y="1832"/>
              <a:chExt cx="363" cy="520"/>
            </a:xfrm>
          </p:grpSpPr>
          <p:sp>
            <p:nvSpPr>
              <p:cNvPr id="29" name="AutoShape 172"/>
              <p:cNvSpPr>
                <a:spLocks noChangeAspect="1" noChangeArrowheads="1"/>
              </p:cNvSpPr>
              <p:nvPr/>
            </p:nvSpPr>
            <p:spPr bwMode="auto">
              <a:xfrm>
                <a:off x="246" y="1980"/>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0" name="Oval 173"/>
              <p:cNvSpPr>
                <a:spLocks noChangeAspect="1" noChangeArrowheads="1"/>
              </p:cNvSpPr>
              <p:nvPr/>
            </p:nvSpPr>
            <p:spPr bwMode="auto">
              <a:xfrm>
                <a:off x="244" y="1839"/>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1" name="Text Box 174"/>
              <p:cNvSpPr txBox="1">
                <a:spLocks noChangeAspect="1" noChangeArrowheads="1"/>
              </p:cNvSpPr>
              <p:nvPr/>
            </p:nvSpPr>
            <p:spPr bwMode="auto">
              <a:xfrm>
                <a:off x="256" y="2115"/>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dirty="0">
                    <a:solidFill>
                      <a:srgbClr val="8F3F7B"/>
                    </a:solidFill>
                    <a:latin typeface="+mn-lt"/>
                    <a:ea typeface="Segoe UI" panose="020B0502040204020203" pitchFamily="34" charset="0"/>
                    <a:cs typeface="Segoe UI" panose="020B0502040204020203" pitchFamily="34" charset="0"/>
                  </a:rPr>
                  <a:t>SGW</a:t>
                </a:r>
              </a:p>
            </p:txBody>
          </p:sp>
          <p:sp>
            <p:nvSpPr>
              <p:cNvPr id="32" name="Rectangle 175"/>
              <p:cNvSpPr>
                <a:spLocks noChangeAspect="1" noChangeArrowheads="1"/>
              </p:cNvSpPr>
              <p:nvPr/>
            </p:nvSpPr>
            <p:spPr bwMode="auto">
              <a:xfrm>
                <a:off x="239" y="1832"/>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33" name="Freeform 10"/>
              <p:cNvSpPr>
                <a:spLocks noChangeAspect="1" noEditPoints="1"/>
              </p:cNvSpPr>
              <p:nvPr/>
            </p:nvSpPr>
            <p:spPr bwMode="auto">
              <a:xfrm>
                <a:off x="239" y="1832"/>
                <a:ext cx="363" cy="520"/>
              </a:xfrm>
              <a:custGeom>
                <a:avLst/>
                <a:gdLst>
                  <a:gd name="T0" fmla="*/ 43623 w 410"/>
                  <a:gd name="T1" fmla="*/ 23652 h 589"/>
                  <a:gd name="T2" fmla="*/ 40965 w 410"/>
                  <a:gd name="T3" fmla="*/ 57182 h 589"/>
                  <a:gd name="T4" fmla="*/ 1772 w 410"/>
                  <a:gd name="T5" fmla="*/ 54787 h 589"/>
                  <a:gd name="T6" fmla="*/ 22698 w 410"/>
                  <a:gd name="T7" fmla="*/ 1597 h 589"/>
                  <a:gd name="T8" fmla="*/ 44507 w 410"/>
                  <a:gd name="T9" fmla="*/ 21256 h 589"/>
                  <a:gd name="T10" fmla="*/ 45394 w 410"/>
                  <a:gd name="T11" fmla="*/ 20458 h 589"/>
                  <a:gd name="T12" fmla="*/ 0 w 410"/>
                  <a:gd name="T13" fmla="*/ 20458 h 589"/>
                  <a:gd name="T14" fmla="*/ 4539 w 410"/>
                  <a:gd name="T15" fmla="*/ 58779 h 589"/>
                  <a:gd name="T16" fmla="*/ 45394 w 410"/>
                  <a:gd name="T17" fmla="*/ 54787 h 589"/>
                  <a:gd name="T18" fmla="*/ 44507 w 410"/>
                  <a:gd name="T19" fmla="*/ 22853 h 589"/>
                  <a:gd name="T20" fmla="*/ 16608 w 410"/>
                  <a:gd name="T21" fmla="*/ 14371 h 589"/>
                  <a:gd name="T22" fmla="*/ 15833 w 410"/>
                  <a:gd name="T23" fmla="*/ 13073 h 589"/>
                  <a:gd name="T24" fmla="*/ 22698 w 410"/>
                  <a:gd name="T25" fmla="*/ 4591 h 589"/>
                  <a:gd name="T26" fmla="*/ 23472 w 410"/>
                  <a:gd name="T27" fmla="*/ 4890 h 589"/>
                  <a:gd name="T28" fmla="*/ 29673 w 410"/>
                  <a:gd name="T29" fmla="*/ 13871 h 589"/>
                  <a:gd name="T30" fmla="*/ 18268 w 410"/>
                  <a:gd name="T31" fmla="*/ 12773 h 589"/>
                  <a:gd name="T32" fmla="*/ 22698 w 410"/>
                  <a:gd name="T33" fmla="*/ 6786 h 589"/>
                  <a:gd name="T34" fmla="*/ 6199 w 410"/>
                  <a:gd name="T35" fmla="*/ 15669 h 589"/>
                  <a:gd name="T36" fmla="*/ 10851 w 410"/>
                  <a:gd name="T37" fmla="*/ 12574 h 589"/>
                  <a:gd name="T38" fmla="*/ 8968 w 410"/>
                  <a:gd name="T39" fmla="*/ 15468 h 589"/>
                  <a:gd name="T40" fmla="*/ 29893 w 410"/>
                  <a:gd name="T41" fmla="*/ 16267 h 589"/>
                  <a:gd name="T42" fmla="*/ 9078 w 410"/>
                  <a:gd name="T43" fmla="*/ 17065 h 589"/>
                  <a:gd name="T44" fmla="*/ 10851 w 410"/>
                  <a:gd name="T45" fmla="*/ 19859 h 589"/>
                  <a:gd name="T46" fmla="*/ 9632 w 410"/>
                  <a:gd name="T47" fmla="*/ 19859 h 589"/>
                  <a:gd name="T48" fmla="*/ 6199 w 410"/>
                  <a:gd name="T49" fmla="*/ 15669 h 589"/>
                  <a:gd name="T50" fmla="*/ 35872 w 410"/>
                  <a:gd name="T51" fmla="*/ 24150 h 589"/>
                  <a:gd name="T52" fmla="*/ 34653 w 410"/>
                  <a:gd name="T53" fmla="*/ 23053 h 589"/>
                  <a:gd name="T54" fmla="*/ 16497 w 410"/>
                  <a:gd name="T55" fmla="*/ 21355 h 589"/>
                  <a:gd name="T56" fmla="*/ 16497 w 410"/>
                  <a:gd name="T57" fmla="*/ 19759 h 589"/>
                  <a:gd name="T58" fmla="*/ 34653 w 410"/>
                  <a:gd name="T59" fmla="*/ 18063 h 589"/>
                  <a:gd name="T60" fmla="*/ 35207 w 410"/>
                  <a:gd name="T61" fmla="*/ 16666 h 589"/>
                  <a:gd name="T62" fmla="*/ 39192 w 410"/>
                  <a:gd name="T63" fmla="*/ 19959 h 589"/>
                  <a:gd name="T64" fmla="*/ 6199 w 410"/>
                  <a:gd name="T65" fmla="*/ 24350 h 589"/>
                  <a:gd name="T66" fmla="*/ 10851 w 410"/>
                  <a:gd name="T67" fmla="*/ 21256 h 589"/>
                  <a:gd name="T68" fmla="*/ 8968 w 410"/>
                  <a:gd name="T69" fmla="*/ 24150 h 589"/>
                  <a:gd name="T70" fmla="*/ 29893 w 410"/>
                  <a:gd name="T71" fmla="*/ 24949 h 589"/>
                  <a:gd name="T72" fmla="*/ 9078 w 410"/>
                  <a:gd name="T73" fmla="*/ 25747 h 589"/>
                  <a:gd name="T74" fmla="*/ 10851 w 410"/>
                  <a:gd name="T75" fmla="*/ 28541 h 589"/>
                  <a:gd name="T76" fmla="*/ 9632 w 410"/>
                  <a:gd name="T77" fmla="*/ 28541 h 589"/>
                  <a:gd name="T78" fmla="*/ 6199 w 410"/>
                  <a:gd name="T79" fmla="*/ 24350 h 589"/>
                  <a:gd name="T80" fmla="*/ 35872 w 410"/>
                  <a:gd name="T81" fmla="*/ 32832 h 589"/>
                  <a:gd name="T82" fmla="*/ 34653 w 410"/>
                  <a:gd name="T83" fmla="*/ 31734 h 589"/>
                  <a:gd name="T84" fmla="*/ 16497 w 410"/>
                  <a:gd name="T85" fmla="*/ 30038 h 589"/>
                  <a:gd name="T86" fmla="*/ 16497 w 410"/>
                  <a:gd name="T87" fmla="*/ 28441 h 589"/>
                  <a:gd name="T88" fmla="*/ 34653 w 410"/>
                  <a:gd name="T89" fmla="*/ 26744 h 589"/>
                  <a:gd name="T90" fmla="*/ 35207 w 410"/>
                  <a:gd name="T91" fmla="*/ 25348 h 589"/>
                  <a:gd name="T92" fmla="*/ 39192 w 410"/>
                  <a:gd name="T93" fmla="*/ 28641 h 5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0"/>
                  <a:gd name="T142" fmla="*/ 0 h 589"/>
                  <a:gd name="T143" fmla="*/ 410 w 410"/>
                  <a:gd name="T144" fmla="*/ 589 h 58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0" h="589">
                    <a:moveTo>
                      <a:pt x="402" y="229"/>
                    </a:moveTo>
                    <a:cubicBezTo>
                      <a:pt x="397" y="229"/>
                      <a:pt x="394" y="233"/>
                      <a:pt x="394" y="237"/>
                    </a:cubicBezTo>
                    <a:cubicBezTo>
                      <a:pt x="394" y="549"/>
                      <a:pt x="394" y="549"/>
                      <a:pt x="394" y="549"/>
                    </a:cubicBezTo>
                    <a:cubicBezTo>
                      <a:pt x="394" y="562"/>
                      <a:pt x="383" y="573"/>
                      <a:pt x="370" y="573"/>
                    </a:cubicBezTo>
                    <a:cubicBezTo>
                      <a:pt x="41" y="573"/>
                      <a:pt x="41" y="573"/>
                      <a:pt x="41"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61" y="144"/>
                    </a:moveTo>
                    <a:cubicBezTo>
                      <a:pt x="150" y="144"/>
                      <a:pt x="150" y="144"/>
                      <a:pt x="150" y="144"/>
                    </a:cubicBezTo>
                    <a:cubicBezTo>
                      <a:pt x="147" y="144"/>
                      <a:pt x="144" y="142"/>
                      <a:pt x="143" y="139"/>
                    </a:cubicBezTo>
                    <a:cubicBezTo>
                      <a:pt x="142" y="137"/>
                      <a:pt x="142" y="134"/>
                      <a:pt x="143" y="131"/>
                    </a:cubicBezTo>
                    <a:cubicBezTo>
                      <a:pt x="199" y="49"/>
                      <a:pt x="199" y="49"/>
                      <a:pt x="199" y="49"/>
                    </a:cubicBezTo>
                    <a:cubicBezTo>
                      <a:pt x="200" y="47"/>
                      <a:pt x="202" y="46"/>
                      <a:pt x="205" y="46"/>
                    </a:cubicBezTo>
                    <a:cubicBezTo>
                      <a:pt x="205" y="46"/>
                      <a:pt x="205" y="46"/>
                      <a:pt x="205" y="46"/>
                    </a:cubicBezTo>
                    <a:cubicBezTo>
                      <a:pt x="208" y="46"/>
                      <a:pt x="210" y="47"/>
                      <a:pt x="212" y="49"/>
                    </a:cubicBezTo>
                    <a:cubicBezTo>
                      <a:pt x="268" y="131"/>
                      <a:pt x="268" y="131"/>
                      <a:pt x="268" y="131"/>
                    </a:cubicBezTo>
                    <a:cubicBezTo>
                      <a:pt x="269" y="134"/>
                      <a:pt x="269" y="137"/>
                      <a:pt x="268" y="139"/>
                    </a:cubicBezTo>
                    <a:cubicBezTo>
                      <a:pt x="267" y="142"/>
                      <a:pt x="264" y="144"/>
                      <a:pt x="261" y="144"/>
                    </a:cubicBezTo>
                    <a:moveTo>
                      <a:pt x="165" y="128"/>
                    </a:moveTo>
                    <a:cubicBezTo>
                      <a:pt x="246" y="128"/>
                      <a:pt x="246" y="128"/>
                      <a:pt x="246" y="128"/>
                    </a:cubicBezTo>
                    <a:cubicBezTo>
                      <a:pt x="205" y="68"/>
                      <a:pt x="205" y="68"/>
                      <a:pt x="205" y="68"/>
                    </a:cubicBezTo>
                    <a:lnTo>
                      <a:pt x="165" y="128"/>
                    </a:lnTo>
                    <a:close/>
                    <a:moveTo>
                      <a:pt x="56" y="157"/>
                    </a:moveTo>
                    <a:cubicBezTo>
                      <a:pt x="87" y="126"/>
                      <a:pt x="87" y="126"/>
                      <a:pt x="87" y="126"/>
                    </a:cubicBezTo>
                    <a:cubicBezTo>
                      <a:pt x="90" y="123"/>
                      <a:pt x="95" y="123"/>
                      <a:pt x="98" y="126"/>
                    </a:cubicBezTo>
                    <a:cubicBezTo>
                      <a:pt x="102" y="129"/>
                      <a:pt x="102" y="134"/>
                      <a:pt x="98" y="137"/>
                    </a:cubicBezTo>
                    <a:cubicBezTo>
                      <a:pt x="81" y="155"/>
                      <a:pt x="81" y="155"/>
                      <a:pt x="81" y="155"/>
                    </a:cubicBezTo>
                    <a:cubicBezTo>
                      <a:pt x="262" y="155"/>
                      <a:pt x="262" y="155"/>
                      <a:pt x="262" y="155"/>
                    </a:cubicBezTo>
                    <a:cubicBezTo>
                      <a:pt x="267" y="155"/>
                      <a:pt x="270" y="158"/>
                      <a:pt x="270" y="163"/>
                    </a:cubicBezTo>
                    <a:cubicBezTo>
                      <a:pt x="270" y="167"/>
                      <a:pt x="267" y="171"/>
                      <a:pt x="262" y="171"/>
                    </a:cubicBezTo>
                    <a:cubicBezTo>
                      <a:pt x="82" y="171"/>
                      <a:pt x="82" y="171"/>
                      <a:pt x="82" y="171"/>
                    </a:cubicBezTo>
                    <a:cubicBezTo>
                      <a:pt x="98" y="188"/>
                      <a:pt x="98" y="188"/>
                      <a:pt x="98" y="188"/>
                    </a:cubicBezTo>
                    <a:cubicBezTo>
                      <a:pt x="102" y="191"/>
                      <a:pt x="102" y="196"/>
                      <a:pt x="98" y="199"/>
                    </a:cubicBezTo>
                    <a:cubicBezTo>
                      <a:pt x="97" y="200"/>
                      <a:pt x="95" y="201"/>
                      <a:pt x="93" y="201"/>
                    </a:cubicBezTo>
                    <a:cubicBezTo>
                      <a:pt x="91" y="201"/>
                      <a:pt x="89" y="200"/>
                      <a:pt x="87" y="199"/>
                    </a:cubicBezTo>
                    <a:cubicBezTo>
                      <a:pt x="56" y="168"/>
                      <a:pt x="56" y="168"/>
                      <a:pt x="56" y="168"/>
                    </a:cubicBezTo>
                    <a:cubicBezTo>
                      <a:pt x="53" y="165"/>
                      <a:pt x="53" y="160"/>
                      <a:pt x="56" y="157"/>
                    </a:cubicBezTo>
                    <a:moveTo>
                      <a:pt x="354" y="212"/>
                    </a:moveTo>
                    <a:cubicBezTo>
                      <a:pt x="324" y="242"/>
                      <a:pt x="324" y="242"/>
                      <a:pt x="324" y="242"/>
                    </a:cubicBezTo>
                    <a:cubicBezTo>
                      <a:pt x="321" y="245"/>
                      <a:pt x="316" y="245"/>
                      <a:pt x="313" y="242"/>
                    </a:cubicBezTo>
                    <a:cubicBezTo>
                      <a:pt x="309" y="239"/>
                      <a:pt x="309" y="234"/>
                      <a:pt x="313" y="231"/>
                    </a:cubicBezTo>
                    <a:cubicBezTo>
                      <a:pt x="330" y="214"/>
                      <a:pt x="330" y="214"/>
                      <a:pt x="330" y="214"/>
                    </a:cubicBezTo>
                    <a:cubicBezTo>
                      <a:pt x="149" y="214"/>
                      <a:pt x="149" y="214"/>
                      <a:pt x="149" y="214"/>
                    </a:cubicBezTo>
                    <a:cubicBezTo>
                      <a:pt x="144" y="214"/>
                      <a:pt x="141" y="210"/>
                      <a:pt x="141" y="206"/>
                    </a:cubicBezTo>
                    <a:cubicBezTo>
                      <a:pt x="141" y="201"/>
                      <a:pt x="144" y="198"/>
                      <a:pt x="149" y="198"/>
                    </a:cubicBezTo>
                    <a:cubicBezTo>
                      <a:pt x="329" y="198"/>
                      <a:pt x="329" y="198"/>
                      <a:pt x="329" y="198"/>
                    </a:cubicBezTo>
                    <a:cubicBezTo>
                      <a:pt x="313" y="181"/>
                      <a:pt x="313" y="181"/>
                      <a:pt x="313" y="181"/>
                    </a:cubicBezTo>
                    <a:cubicBezTo>
                      <a:pt x="309" y="178"/>
                      <a:pt x="309" y="173"/>
                      <a:pt x="313" y="170"/>
                    </a:cubicBezTo>
                    <a:cubicBezTo>
                      <a:pt x="314" y="168"/>
                      <a:pt x="316" y="167"/>
                      <a:pt x="318" y="167"/>
                    </a:cubicBezTo>
                    <a:cubicBezTo>
                      <a:pt x="320" y="167"/>
                      <a:pt x="322" y="168"/>
                      <a:pt x="324" y="170"/>
                    </a:cubicBezTo>
                    <a:cubicBezTo>
                      <a:pt x="354" y="200"/>
                      <a:pt x="354" y="200"/>
                      <a:pt x="354" y="200"/>
                    </a:cubicBezTo>
                    <a:cubicBezTo>
                      <a:pt x="358" y="203"/>
                      <a:pt x="358" y="208"/>
                      <a:pt x="354" y="212"/>
                    </a:cubicBezTo>
                    <a:moveTo>
                      <a:pt x="56" y="244"/>
                    </a:moveTo>
                    <a:cubicBezTo>
                      <a:pt x="87" y="213"/>
                      <a:pt x="87" y="213"/>
                      <a:pt x="87" y="213"/>
                    </a:cubicBezTo>
                    <a:cubicBezTo>
                      <a:pt x="90" y="210"/>
                      <a:pt x="95" y="210"/>
                      <a:pt x="98" y="213"/>
                    </a:cubicBezTo>
                    <a:cubicBezTo>
                      <a:pt x="102" y="216"/>
                      <a:pt x="102" y="221"/>
                      <a:pt x="98" y="224"/>
                    </a:cubicBezTo>
                    <a:cubicBezTo>
                      <a:pt x="81" y="242"/>
                      <a:pt x="81" y="242"/>
                      <a:pt x="81" y="242"/>
                    </a:cubicBezTo>
                    <a:cubicBezTo>
                      <a:pt x="262" y="242"/>
                      <a:pt x="262" y="242"/>
                      <a:pt x="262" y="242"/>
                    </a:cubicBezTo>
                    <a:cubicBezTo>
                      <a:pt x="267" y="242"/>
                      <a:pt x="270" y="245"/>
                      <a:pt x="270" y="250"/>
                    </a:cubicBezTo>
                    <a:cubicBezTo>
                      <a:pt x="270" y="254"/>
                      <a:pt x="267" y="258"/>
                      <a:pt x="262" y="258"/>
                    </a:cubicBezTo>
                    <a:cubicBezTo>
                      <a:pt x="82" y="258"/>
                      <a:pt x="82" y="258"/>
                      <a:pt x="82" y="258"/>
                    </a:cubicBezTo>
                    <a:cubicBezTo>
                      <a:pt x="98" y="274"/>
                      <a:pt x="98" y="274"/>
                      <a:pt x="98" y="274"/>
                    </a:cubicBezTo>
                    <a:cubicBezTo>
                      <a:pt x="102" y="278"/>
                      <a:pt x="102" y="283"/>
                      <a:pt x="98" y="286"/>
                    </a:cubicBezTo>
                    <a:cubicBezTo>
                      <a:pt x="97" y="287"/>
                      <a:pt x="95" y="288"/>
                      <a:pt x="93" y="288"/>
                    </a:cubicBezTo>
                    <a:cubicBezTo>
                      <a:pt x="91" y="288"/>
                      <a:pt x="89" y="287"/>
                      <a:pt x="87" y="286"/>
                    </a:cubicBezTo>
                    <a:cubicBezTo>
                      <a:pt x="56" y="255"/>
                      <a:pt x="56" y="255"/>
                      <a:pt x="56" y="255"/>
                    </a:cubicBezTo>
                    <a:cubicBezTo>
                      <a:pt x="53" y="252"/>
                      <a:pt x="53" y="247"/>
                      <a:pt x="56" y="244"/>
                    </a:cubicBezTo>
                    <a:moveTo>
                      <a:pt x="354" y="298"/>
                    </a:moveTo>
                    <a:cubicBezTo>
                      <a:pt x="324" y="329"/>
                      <a:pt x="324" y="329"/>
                      <a:pt x="324" y="329"/>
                    </a:cubicBezTo>
                    <a:cubicBezTo>
                      <a:pt x="321" y="332"/>
                      <a:pt x="316" y="332"/>
                      <a:pt x="313" y="329"/>
                    </a:cubicBezTo>
                    <a:cubicBezTo>
                      <a:pt x="309" y="326"/>
                      <a:pt x="309" y="321"/>
                      <a:pt x="313" y="318"/>
                    </a:cubicBezTo>
                    <a:cubicBezTo>
                      <a:pt x="330" y="301"/>
                      <a:pt x="330" y="301"/>
                      <a:pt x="330" y="301"/>
                    </a:cubicBezTo>
                    <a:cubicBezTo>
                      <a:pt x="149" y="301"/>
                      <a:pt x="149" y="301"/>
                      <a:pt x="149" y="301"/>
                    </a:cubicBezTo>
                    <a:cubicBezTo>
                      <a:pt x="144" y="301"/>
                      <a:pt x="141" y="297"/>
                      <a:pt x="141" y="293"/>
                    </a:cubicBezTo>
                    <a:cubicBezTo>
                      <a:pt x="141" y="288"/>
                      <a:pt x="144" y="285"/>
                      <a:pt x="149" y="285"/>
                    </a:cubicBezTo>
                    <a:cubicBezTo>
                      <a:pt x="329" y="285"/>
                      <a:pt x="329" y="285"/>
                      <a:pt x="329" y="285"/>
                    </a:cubicBezTo>
                    <a:cubicBezTo>
                      <a:pt x="313" y="268"/>
                      <a:pt x="313" y="268"/>
                      <a:pt x="313" y="268"/>
                    </a:cubicBezTo>
                    <a:cubicBezTo>
                      <a:pt x="309" y="265"/>
                      <a:pt x="309" y="260"/>
                      <a:pt x="313" y="256"/>
                    </a:cubicBezTo>
                    <a:cubicBezTo>
                      <a:pt x="314" y="255"/>
                      <a:pt x="316" y="254"/>
                      <a:pt x="318" y="254"/>
                    </a:cubicBezTo>
                    <a:cubicBezTo>
                      <a:pt x="320" y="254"/>
                      <a:pt x="322" y="255"/>
                      <a:pt x="324" y="256"/>
                    </a:cubicBezTo>
                    <a:cubicBezTo>
                      <a:pt x="354" y="287"/>
                      <a:pt x="354" y="287"/>
                      <a:pt x="354" y="287"/>
                    </a:cubicBezTo>
                    <a:cubicBezTo>
                      <a:pt x="358" y="290"/>
                      <a:pt x="358" y="295"/>
                      <a:pt x="354" y="298"/>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20" name="TextBox 19"/>
            <p:cNvSpPr txBox="1"/>
            <p:nvPr/>
          </p:nvSpPr>
          <p:spPr>
            <a:xfrm>
              <a:off x="1274885" y="1115244"/>
              <a:ext cx="1398716" cy="400110"/>
            </a:xfrm>
            <a:prstGeom prst="rect">
              <a:avLst/>
            </a:prstGeom>
            <a:noFill/>
          </p:spPr>
          <p:txBody>
            <a:bodyPr wrap="none" rtlCol="0">
              <a:spAutoFit/>
            </a:bodyPr>
            <a:lstStyle/>
            <a:p>
              <a:r>
                <a:rPr lang="en-US" b="1" dirty="0">
                  <a:latin typeface="Segoe UI" panose="020B0502040204020203" pitchFamily="34" charset="0"/>
                  <a:ea typeface="Segoe UI" panose="020B0502040204020203" pitchFamily="34" charset="0"/>
                  <a:cs typeface="Segoe UI" panose="020B0502040204020203" pitchFamily="34" charset="0"/>
                </a:rPr>
                <a:t>EPC today</a:t>
              </a:r>
            </a:p>
          </p:txBody>
        </p:sp>
        <p:sp>
          <p:nvSpPr>
            <p:cNvPr id="21" name="Rounded Rectangle 43"/>
            <p:cNvSpPr/>
            <p:nvPr/>
          </p:nvSpPr>
          <p:spPr bwMode="auto">
            <a:xfrm>
              <a:off x="175846" y="1159204"/>
              <a:ext cx="3523853" cy="2180494"/>
            </a:xfrm>
            <a:prstGeom prst="roundRect">
              <a:avLst/>
            </a:prstGeom>
            <a:noFill/>
            <a:ln w="3175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22" name="Group 557"/>
            <p:cNvGrpSpPr>
              <a:grpSpLocks noChangeAspect="1"/>
            </p:cNvGrpSpPr>
            <p:nvPr/>
          </p:nvGrpSpPr>
          <p:grpSpPr bwMode="auto">
            <a:xfrm>
              <a:off x="918947" y="1418587"/>
              <a:ext cx="591143" cy="798800"/>
              <a:chOff x="3510" y="1858"/>
              <a:chExt cx="363" cy="520"/>
            </a:xfrm>
          </p:grpSpPr>
          <p:sp>
            <p:nvSpPr>
              <p:cNvPr id="24"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25"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26"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MME</a:t>
                </a:r>
              </a:p>
            </p:txBody>
          </p:sp>
          <p:sp>
            <p:nvSpPr>
              <p:cNvPr id="27"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28"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23" name="TextBox 22"/>
            <p:cNvSpPr txBox="1"/>
            <p:nvPr/>
          </p:nvSpPr>
          <p:spPr>
            <a:xfrm>
              <a:off x="2914508" y="2883071"/>
              <a:ext cx="450764" cy="276999"/>
            </a:xfrm>
            <a:prstGeom prst="rect">
              <a:avLst/>
            </a:prstGeom>
            <a:noFill/>
          </p:spPr>
          <p:txBody>
            <a:bodyPr wrap="none" rtlCol="0">
              <a:spAutoFit/>
            </a:bodyPr>
            <a:lstStyle/>
            <a:p>
              <a:r>
                <a:rPr lang="en-US" sz="1200" dirty="0" err="1">
                  <a:latin typeface="+mn-lt"/>
                  <a:ea typeface="Segoe UI" panose="020B0502040204020203" pitchFamily="34" charset="0"/>
                  <a:cs typeface="Segoe UI" panose="020B0502040204020203" pitchFamily="34" charset="0"/>
                </a:rPr>
                <a:t>SGi</a:t>
              </a:r>
              <a:endParaRPr lang="en-US" sz="1200" dirty="0">
                <a:latin typeface="+mn-lt"/>
                <a:ea typeface="Segoe UI" panose="020B0502040204020203" pitchFamily="34" charset="0"/>
                <a:cs typeface="Segoe UI" panose="020B0502040204020203" pitchFamily="34" charset="0"/>
              </a:endParaRPr>
            </a:p>
          </p:txBody>
        </p:sp>
      </p:grpSp>
      <p:grpSp>
        <p:nvGrpSpPr>
          <p:cNvPr id="47" name="Group 46"/>
          <p:cNvGrpSpPr/>
          <p:nvPr/>
        </p:nvGrpSpPr>
        <p:grpSpPr>
          <a:xfrm>
            <a:off x="155329" y="3519869"/>
            <a:ext cx="3544370" cy="3030399"/>
            <a:chOff x="155329" y="3519869"/>
            <a:chExt cx="3544370" cy="3030399"/>
          </a:xfrm>
        </p:grpSpPr>
        <p:cxnSp>
          <p:nvCxnSpPr>
            <p:cNvPr id="48" name="Straight Connector 47"/>
            <p:cNvCxnSpPr/>
            <p:nvPr/>
          </p:nvCxnSpPr>
          <p:spPr bwMode="auto">
            <a:xfrm>
              <a:off x="440749" y="6394945"/>
              <a:ext cx="2934450" cy="0"/>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49" name="Straight Connector 48"/>
            <p:cNvCxnSpPr/>
            <p:nvPr/>
          </p:nvCxnSpPr>
          <p:spPr bwMode="auto">
            <a:xfrm>
              <a:off x="278423" y="4516333"/>
              <a:ext cx="1639087"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50" name="Group 557"/>
            <p:cNvGrpSpPr>
              <a:grpSpLocks noChangeAspect="1"/>
            </p:cNvGrpSpPr>
            <p:nvPr/>
          </p:nvGrpSpPr>
          <p:grpSpPr bwMode="auto">
            <a:xfrm>
              <a:off x="913086" y="3840796"/>
              <a:ext cx="591143" cy="798800"/>
              <a:chOff x="3510" y="1858"/>
              <a:chExt cx="363" cy="520"/>
            </a:xfrm>
          </p:grpSpPr>
          <p:sp>
            <p:nvSpPr>
              <p:cNvPr id="98"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99"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00"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MME</a:t>
                </a:r>
              </a:p>
            </p:txBody>
          </p:sp>
          <p:sp>
            <p:nvSpPr>
              <p:cNvPr id="101"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02"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51" name="TextBox 50"/>
            <p:cNvSpPr txBox="1"/>
            <p:nvPr/>
          </p:nvSpPr>
          <p:spPr>
            <a:xfrm>
              <a:off x="155329" y="4270145"/>
              <a:ext cx="798617"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MME</a:t>
              </a:r>
            </a:p>
          </p:txBody>
        </p:sp>
        <p:sp>
          <p:nvSpPr>
            <p:cNvPr id="52" name="TextBox 51"/>
            <p:cNvSpPr txBox="1"/>
            <p:nvPr/>
          </p:nvSpPr>
          <p:spPr>
            <a:xfrm>
              <a:off x="378060" y="6107720"/>
              <a:ext cx="532518"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U</a:t>
              </a:r>
            </a:p>
          </p:txBody>
        </p:sp>
        <p:cxnSp>
          <p:nvCxnSpPr>
            <p:cNvPr id="53" name="Straight Connector 52"/>
            <p:cNvCxnSpPr/>
            <p:nvPr/>
          </p:nvCxnSpPr>
          <p:spPr bwMode="auto">
            <a:xfrm flipH="1">
              <a:off x="1220838" y="4627699"/>
              <a:ext cx="4224" cy="3191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54" name="TextBox 53"/>
            <p:cNvSpPr txBox="1"/>
            <p:nvPr/>
          </p:nvSpPr>
          <p:spPr>
            <a:xfrm>
              <a:off x="1333483" y="4595463"/>
              <a:ext cx="447558"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11</a:t>
              </a:r>
            </a:p>
          </p:txBody>
        </p:sp>
        <p:grpSp>
          <p:nvGrpSpPr>
            <p:cNvPr id="55" name="Group 45"/>
            <p:cNvGrpSpPr>
              <a:grpSpLocks noChangeAspect="1"/>
            </p:cNvGrpSpPr>
            <p:nvPr/>
          </p:nvGrpSpPr>
          <p:grpSpPr bwMode="auto">
            <a:xfrm>
              <a:off x="1900659" y="3840796"/>
              <a:ext cx="570459" cy="778557"/>
              <a:chOff x="1057" y="1587"/>
              <a:chExt cx="363" cy="520"/>
            </a:xfrm>
          </p:grpSpPr>
          <p:sp>
            <p:nvSpPr>
              <p:cNvPr id="93"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94"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95"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dirty="0">
                    <a:solidFill>
                      <a:srgbClr val="00A9D4"/>
                    </a:solidFill>
                    <a:latin typeface="+mn-lt"/>
                    <a:ea typeface="Segoe UI" panose="020B0502040204020203" pitchFamily="34" charset="0"/>
                    <a:cs typeface="Segoe UI" panose="020B0502040204020203" pitchFamily="34" charset="0"/>
                  </a:rPr>
                  <a:t>HSS</a:t>
                </a:r>
              </a:p>
            </p:txBody>
          </p:sp>
          <p:sp>
            <p:nvSpPr>
              <p:cNvPr id="96"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97"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56" name="Group 557"/>
            <p:cNvGrpSpPr>
              <a:grpSpLocks noChangeAspect="1"/>
            </p:cNvGrpSpPr>
            <p:nvPr/>
          </p:nvGrpSpPr>
          <p:grpSpPr bwMode="auto">
            <a:xfrm>
              <a:off x="2651675" y="3834935"/>
              <a:ext cx="876118" cy="798800"/>
              <a:chOff x="3335" y="1858"/>
              <a:chExt cx="538" cy="520"/>
            </a:xfrm>
          </p:grpSpPr>
          <p:sp>
            <p:nvSpPr>
              <p:cNvPr id="88"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9"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90" name="Text Box 240"/>
              <p:cNvSpPr txBox="1">
                <a:spLocks noChangeAspect="1" noChangeArrowheads="1"/>
              </p:cNvSpPr>
              <p:nvPr/>
            </p:nvSpPr>
            <p:spPr bwMode="auto">
              <a:xfrm>
                <a:off x="3345"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PCRF</a:t>
                </a:r>
              </a:p>
            </p:txBody>
          </p:sp>
          <p:sp>
            <p:nvSpPr>
              <p:cNvPr id="91"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92" name="Freeform 11"/>
              <p:cNvSpPr>
                <a:spLocks noChangeAspect="1" noEditPoints="1"/>
              </p:cNvSpPr>
              <p:nvPr/>
            </p:nvSpPr>
            <p:spPr bwMode="auto">
              <a:xfrm>
                <a:off x="3335"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cxnSp>
          <p:nvCxnSpPr>
            <p:cNvPr id="57" name="Straight Connector 56"/>
            <p:cNvCxnSpPr>
              <a:stCxn id="90" idx="2"/>
              <a:endCxn id="79" idx="7"/>
            </p:cNvCxnSpPr>
            <p:nvPr/>
          </p:nvCxnSpPr>
          <p:spPr bwMode="auto">
            <a:xfrm flipH="1">
              <a:off x="2764784" y="4615302"/>
              <a:ext cx="169431" cy="223118"/>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58" name="TextBox 57"/>
            <p:cNvSpPr txBox="1"/>
            <p:nvPr/>
          </p:nvSpPr>
          <p:spPr>
            <a:xfrm>
              <a:off x="2812594" y="4658746"/>
              <a:ext cx="389850" cy="276999"/>
            </a:xfrm>
            <a:prstGeom prst="rect">
              <a:avLst/>
            </a:prstGeom>
            <a:noFill/>
          </p:spPr>
          <p:txBody>
            <a:bodyPr wrap="none" rtlCol="0">
              <a:spAutoFit/>
            </a:bodyPr>
            <a:lstStyle/>
            <a:p>
              <a:r>
                <a:rPr lang="en-US" sz="1200" dirty="0" err="1">
                  <a:latin typeface="+mn-lt"/>
                  <a:ea typeface="Segoe UI" panose="020B0502040204020203" pitchFamily="34" charset="0"/>
                  <a:cs typeface="Segoe UI" panose="020B0502040204020203" pitchFamily="34" charset="0"/>
                </a:rPr>
                <a:t>Gx</a:t>
              </a:r>
              <a:endParaRPr lang="en-US" sz="1200" dirty="0">
                <a:latin typeface="+mn-lt"/>
                <a:ea typeface="Segoe UI" panose="020B0502040204020203" pitchFamily="34" charset="0"/>
                <a:cs typeface="Segoe UI" panose="020B0502040204020203" pitchFamily="34" charset="0"/>
              </a:endParaRPr>
            </a:p>
          </p:txBody>
        </p:sp>
        <p:sp>
          <p:nvSpPr>
            <p:cNvPr id="59" name="TextBox 58"/>
            <p:cNvSpPr txBox="1"/>
            <p:nvPr/>
          </p:nvSpPr>
          <p:spPr>
            <a:xfrm>
              <a:off x="1521053" y="4229105"/>
              <a:ext cx="457176" cy="276999"/>
            </a:xfrm>
            <a:prstGeom prst="rect">
              <a:avLst/>
            </a:prstGeom>
            <a:noFill/>
          </p:spPr>
          <p:txBody>
            <a:bodyPr wrap="none" rtlCol="0">
              <a:spAutoFit/>
            </a:bodyPr>
            <a:lstStyle/>
            <a:p>
              <a:r>
                <a:rPr lang="en-US" sz="1200" dirty="0">
                  <a:latin typeface="+mn-lt"/>
                  <a:ea typeface="Segoe UI" panose="020B0502040204020203" pitchFamily="34" charset="0"/>
                  <a:cs typeface="Segoe UI" panose="020B0502040204020203" pitchFamily="34" charset="0"/>
                </a:rPr>
                <a:t>S6a</a:t>
              </a:r>
            </a:p>
          </p:txBody>
        </p:sp>
        <p:sp>
          <p:nvSpPr>
            <p:cNvPr id="60" name="TextBox 59"/>
            <p:cNvSpPr txBox="1"/>
            <p:nvPr/>
          </p:nvSpPr>
          <p:spPr>
            <a:xfrm>
              <a:off x="2895942" y="6107720"/>
              <a:ext cx="450764" cy="276999"/>
            </a:xfrm>
            <a:prstGeom prst="rect">
              <a:avLst/>
            </a:prstGeom>
            <a:noFill/>
          </p:spPr>
          <p:txBody>
            <a:bodyPr wrap="none" rtlCol="0">
              <a:spAutoFit/>
            </a:bodyPr>
            <a:lstStyle/>
            <a:p>
              <a:r>
                <a:rPr lang="en-US" sz="1200" dirty="0" err="1">
                  <a:latin typeface="+mn-lt"/>
                  <a:ea typeface="Segoe UI" panose="020B0502040204020203" pitchFamily="34" charset="0"/>
                  <a:cs typeface="Segoe UI" panose="020B0502040204020203" pitchFamily="34" charset="0"/>
                </a:rPr>
                <a:t>SGi</a:t>
              </a:r>
              <a:endParaRPr lang="en-US" sz="1200" dirty="0">
                <a:latin typeface="+mn-lt"/>
                <a:ea typeface="Segoe UI" panose="020B0502040204020203" pitchFamily="34" charset="0"/>
                <a:cs typeface="Segoe UI" panose="020B0502040204020203" pitchFamily="34" charset="0"/>
              </a:endParaRPr>
            </a:p>
          </p:txBody>
        </p:sp>
        <p:sp>
          <p:nvSpPr>
            <p:cNvPr id="61" name="TextBox 60"/>
            <p:cNvSpPr txBox="1"/>
            <p:nvPr/>
          </p:nvSpPr>
          <p:spPr>
            <a:xfrm>
              <a:off x="1261403" y="3519869"/>
              <a:ext cx="1527021" cy="400110"/>
            </a:xfrm>
            <a:prstGeom prst="rect">
              <a:avLst/>
            </a:prstGeom>
            <a:noFill/>
          </p:spPr>
          <p:txBody>
            <a:bodyPr wrap="none" rtlCol="0">
              <a:spAutoFit/>
            </a:bodyPr>
            <a:lstStyle/>
            <a:p>
              <a:r>
                <a:rPr lang="en-US" b="1" dirty="0">
                  <a:latin typeface="Segoe UI" panose="020B0502040204020203" pitchFamily="34" charset="0"/>
                  <a:ea typeface="Segoe UI" panose="020B0502040204020203" pitchFamily="34" charset="0"/>
                  <a:cs typeface="Segoe UI" panose="020B0502040204020203" pitchFamily="34" charset="0"/>
                </a:rPr>
                <a:t>After CUPS</a:t>
              </a:r>
            </a:p>
          </p:txBody>
        </p:sp>
        <p:sp>
          <p:nvSpPr>
            <p:cNvPr id="62" name="Rounded Rectangle 255"/>
            <p:cNvSpPr/>
            <p:nvPr/>
          </p:nvSpPr>
          <p:spPr bwMode="auto">
            <a:xfrm>
              <a:off x="169986" y="3581411"/>
              <a:ext cx="3529713" cy="2968857"/>
            </a:xfrm>
            <a:prstGeom prst="roundRect">
              <a:avLst/>
            </a:prstGeom>
            <a:noFill/>
            <a:ln w="31750" cap="flat" cmpd="sng" algn="ctr">
              <a:solidFill>
                <a:srgbClr val="00B0F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63" name="Group 557"/>
            <p:cNvGrpSpPr>
              <a:grpSpLocks noChangeAspect="1"/>
            </p:cNvGrpSpPr>
            <p:nvPr/>
          </p:nvGrpSpPr>
          <p:grpSpPr bwMode="auto">
            <a:xfrm>
              <a:off x="924809" y="4749337"/>
              <a:ext cx="591143" cy="798800"/>
              <a:chOff x="3510" y="1858"/>
              <a:chExt cx="363" cy="520"/>
            </a:xfrm>
          </p:grpSpPr>
          <p:sp>
            <p:nvSpPr>
              <p:cNvPr id="8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SGW</a:t>
                </a:r>
                <a:br>
                  <a:rPr lang="en-US" altLang="en-US" sz="1400" dirty="0">
                    <a:solidFill>
                      <a:srgbClr val="8F3F7B"/>
                    </a:solidFill>
                    <a:latin typeface="+mn-lt"/>
                    <a:ea typeface="Segoe UI" panose="020B0502040204020203" pitchFamily="34" charset="0"/>
                    <a:cs typeface="Segoe UI" panose="020B0502040204020203" pitchFamily="34" charset="0"/>
                  </a:rPr>
                </a:br>
                <a:r>
                  <a:rPr lang="en-US" altLang="en-US" sz="1400" dirty="0">
                    <a:solidFill>
                      <a:srgbClr val="8F3F7B"/>
                    </a:solidFill>
                    <a:latin typeface="+mn-lt"/>
                    <a:ea typeface="Segoe UI" panose="020B0502040204020203" pitchFamily="34" charset="0"/>
                    <a:cs typeface="Segoe UI" panose="020B0502040204020203" pitchFamily="34" charset="0"/>
                  </a:rPr>
                  <a:t>CP</a:t>
                </a:r>
              </a:p>
            </p:txBody>
          </p:sp>
          <p:sp>
            <p:nvSpPr>
              <p:cNvPr id="8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64" name="Group 557"/>
            <p:cNvGrpSpPr>
              <a:grpSpLocks noChangeAspect="1"/>
            </p:cNvGrpSpPr>
            <p:nvPr/>
          </p:nvGrpSpPr>
          <p:grpSpPr bwMode="auto">
            <a:xfrm>
              <a:off x="2267360" y="4747805"/>
              <a:ext cx="591143" cy="798800"/>
              <a:chOff x="3510" y="1858"/>
              <a:chExt cx="363" cy="520"/>
            </a:xfrm>
          </p:grpSpPr>
          <p:sp>
            <p:nvSpPr>
              <p:cNvPr id="78"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79"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0"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dirty="0">
                    <a:solidFill>
                      <a:srgbClr val="8F3F7B"/>
                    </a:solidFill>
                    <a:latin typeface="+mn-lt"/>
                    <a:ea typeface="Segoe UI" panose="020B0502040204020203" pitchFamily="34" charset="0"/>
                    <a:cs typeface="Segoe UI" panose="020B0502040204020203" pitchFamily="34" charset="0"/>
                  </a:rPr>
                  <a:t>PGW</a:t>
                </a:r>
                <a:br>
                  <a:rPr lang="en-US" altLang="en-US" sz="1400" dirty="0">
                    <a:solidFill>
                      <a:srgbClr val="8F3F7B"/>
                    </a:solidFill>
                    <a:latin typeface="+mn-lt"/>
                    <a:ea typeface="Segoe UI" panose="020B0502040204020203" pitchFamily="34" charset="0"/>
                    <a:cs typeface="Segoe UI" panose="020B0502040204020203" pitchFamily="34" charset="0"/>
                  </a:rPr>
                </a:br>
                <a:r>
                  <a:rPr lang="en-US" altLang="en-US" sz="1400" dirty="0">
                    <a:solidFill>
                      <a:srgbClr val="8F3F7B"/>
                    </a:solidFill>
                    <a:latin typeface="+mn-lt"/>
                    <a:ea typeface="Segoe UI" panose="020B0502040204020203" pitchFamily="34" charset="0"/>
                    <a:cs typeface="Segoe UI" panose="020B0502040204020203" pitchFamily="34" charset="0"/>
                  </a:rPr>
                  <a:t>CP</a:t>
                </a:r>
              </a:p>
            </p:txBody>
          </p:sp>
          <p:sp>
            <p:nvSpPr>
              <p:cNvPr id="81"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82"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65" name="Group 211"/>
            <p:cNvGrpSpPr>
              <a:grpSpLocks noChangeAspect="1"/>
            </p:cNvGrpSpPr>
            <p:nvPr/>
          </p:nvGrpSpPr>
          <p:grpSpPr bwMode="auto">
            <a:xfrm>
              <a:off x="904550" y="5681765"/>
              <a:ext cx="599219" cy="854082"/>
              <a:chOff x="3569" y="3512"/>
              <a:chExt cx="257" cy="366"/>
            </a:xfrm>
          </p:grpSpPr>
          <p:grpSp>
            <p:nvGrpSpPr>
              <p:cNvPr id="74" name="Group 7"/>
              <p:cNvGrpSpPr>
                <a:grpSpLocks noChangeAspect="1"/>
              </p:cNvGrpSpPr>
              <p:nvPr/>
            </p:nvGrpSpPr>
            <p:grpSpPr bwMode="auto">
              <a:xfrm>
                <a:off x="3569" y="3512"/>
                <a:ext cx="257" cy="366"/>
                <a:chOff x="2245" y="1698"/>
                <a:chExt cx="983" cy="1402"/>
              </a:xfrm>
            </p:grpSpPr>
            <p:pic>
              <p:nvPicPr>
                <p:cNvPr id="76"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5" y="1698"/>
                  <a:ext cx="983" cy="14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7" name="Freeform 11"/>
                <p:cNvSpPr>
                  <a:spLocks noChangeAspect="1" noEditPoints="1"/>
                </p:cNvSpPr>
                <p:nvPr/>
              </p:nvSpPr>
              <p:spPr bwMode="auto">
                <a:xfrm>
                  <a:off x="2252"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7A1D93"/>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a:p>
              </p:txBody>
            </p:sp>
          </p:grpSp>
          <p:sp>
            <p:nvSpPr>
              <p:cNvPr id="75" name="Text Box 215"/>
              <p:cNvSpPr txBox="1">
                <a:spLocks noChangeAspect="1" noChangeArrowheads="1"/>
              </p:cNvSpPr>
              <p:nvPr/>
            </p:nvSpPr>
            <p:spPr bwMode="auto">
              <a:xfrm>
                <a:off x="3583" y="3732"/>
                <a:ext cx="226"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r>
                  <a:rPr lang="en-US" sz="1400" dirty="0">
                    <a:solidFill>
                      <a:srgbClr val="7A1D93"/>
                    </a:solidFill>
                    <a:latin typeface="+mn-lt"/>
                    <a:ea typeface="Segoe UI" panose="020B0502040204020203" pitchFamily="34" charset="0"/>
                    <a:cs typeface="Segoe UI" panose="020B0502040204020203" pitchFamily="34" charset="0"/>
                  </a:rPr>
                  <a:t>SGW</a:t>
                </a:r>
                <a:br>
                  <a:rPr lang="en-US" sz="1400" dirty="0">
                    <a:solidFill>
                      <a:srgbClr val="7A1D93"/>
                    </a:solidFill>
                    <a:latin typeface="+mn-lt"/>
                    <a:ea typeface="Segoe UI" panose="020B0502040204020203" pitchFamily="34" charset="0"/>
                    <a:cs typeface="Segoe UI" panose="020B0502040204020203" pitchFamily="34" charset="0"/>
                  </a:rPr>
                </a:br>
                <a:r>
                  <a:rPr lang="en-US" sz="1400" dirty="0">
                    <a:solidFill>
                      <a:srgbClr val="7A1D93"/>
                    </a:solidFill>
                    <a:latin typeface="+mn-lt"/>
                    <a:ea typeface="Segoe UI" panose="020B0502040204020203" pitchFamily="34" charset="0"/>
                    <a:cs typeface="Segoe UI" panose="020B0502040204020203" pitchFamily="34" charset="0"/>
                  </a:rPr>
                  <a:t>UP</a:t>
                </a:r>
              </a:p>
            </p:txBody>
          </p:sp>
        </p:grpSp>
        <p:grpSp>
          <p:nvGrpSpPr>
            <p:cNvPr id="66" name="Group 211"/>
            <p:cNvGrpSpPr>
              <a:grpSpLocks noChangeAspect="1"/>
            </p:cNvGrpSpPr>
            <p:nvPr/>
          </p:nvGrpSpPr>
          <p:grpSpPr bwMode="auto">
            <a:xfrm>
              <a:off x="2260353" y="5672939"/>
              <a:ext cx="599219" cy="854082"/>
              <a:chOff x="3569" y="3512"/>
              <a:chExt cx="257" cy="366"/>
            </a:xfrm>
          </p:grpSpPr>
          <p:grpSp>
            <p:nvGrpSpPr>
              <p:cNvPr id="70" name="Group 7"/>
              <p:cNvGrpSpPr>
                <a:grpSpLocks noChangeAspect="1"/>
              </p:cNvGrpSpPr>
              <p:nvPr/>
            </p:nvGrpSpPr>
            <p:grpSpPr bwMode="auto">
              <a:xfrm>
                <a:off x="3569" y="3512"/>
                <a:ext cx="257" cy="366"/>
                <a:chOff x="2245" y="1698"/>
                <a:chExt cx="983" cy="1402"/>
              </a:xfrm>
            </p:grpSpPr>
            <p:pic>
              <p:nvPicPr>
                <p:cNvPr id="72"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5" y="1698"/>
                  <a:ext cx="983" cy="14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3" name="Freeform 11"/>
                <p:cNvSpPr>
                  <a:spLocks noChangeAspect="1" noEditPoints="1"/>
                </p:cNvSpPr>
                <p:nvPr/>
              </p:nvSpPr>
              <p:spPr bwMode="auto">
                <a:xfrm>
                  <a:off x="2252"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7A1D93"/>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a:p>
              </p:txBody>
            </p:sp>
          </p:grpSp>
          <p:sp>
            <p:nvSpPr>
              <p:cNvPr id="71" name="Text Box 215"/>
              <p:cNvSpPr txBox="1">
                <a:spLocks noChangeAspect="1" noChangeArrowheads="1"/>
              </p:cNvSpPr>
              <p:nvPr/>
            </p:nvSpPr>
            <p:spPr bwMode="auto">
              <a:xfrm>
                <a:off x="3583" y="3719"/>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r>
                  <a:rPr lang="en-US" sz="1400" dirty="0">
                    <a:solidFill>
                      <a:srgbClr val="7A1D93"/>
                    </a:solidFill>
                    <a:latin typeface="+mn-lt"/>
                    <a:ea typeface="Segoe UI" panose="020B0502040204020203" pitchFamily="34" charset="0"/>
                    <a:cs typeface="Segoe UI" panose="020B0502040204020203" pitchFamily="34" charset="0"/>
                  </a:rPr>
                  <a:t>PGW</a:t>
                </a:r>
                <a:br>
                  <a:rPr lang="en-US" sz="1400" dirty="0">
                    <a:solidFill>
                      <a:srgbClr val="7A1D93"/>
                    </a:solidFill>
                    <a:latin typeface="+mn-lt"/>
                    <a:ea typeface="Segoe UI" panose="020B0502040204020203" pitchFamily="34" charset="0"/>
                    <a:cs typeface="Segoe UI" panose="020B0502040204020203" pitchFamily="34" charset="0"/>
                  </a:rPr>
                </a:br>
                <a:r>
                  <a:rPr lang="en-US" sz="1400" dirty="0">
                    <a:solidFill>
                      <a:srgbClr val="7A1D93"/>
                    </a:solidFill>
                    <a:latin typeface="+mn-lt"/>
                    <a:ea typeface="Segoe UI" panose="020B0502040204020203" pitchFamily="34" charset="0"/>
                    <a:cs typeface="Segoe UI" panose="020B0502040204020203" pitchFamily="34" charset="0"/>
                  </a:rPr>
                  <a:t>UP</a:t>
                </a:r>
              </a:p>
            </p:txBody>
          </p:sp>
        </p:grpSp>
        <p:cxnSp>
          <p:nvCxnSpPr>
            <p:cNvPr id="67" name="Straight Connector 66"/>
            <p:cNvCxnSpPr>
              <a:stCxn id="85" idx="3"/>
              <a:endCxn id="80" idx="1"/>
            </p:cNvCxnSpPr>
            <p:nvPr/>
          </p:nvCxnSpPr>
          <p:spPr bwMode="auto">
            <a:xfrm flipV="1">
              <a:off x="1485010" y="5355355"/>
              <a:ext cx="810034" cy="153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8" name="Straight Connector 67"/>
            <p:cNvCxnSpPr>
              <a:stCxn id="80" idx="2"/>
              <a:endCxn id="72" idx="0"/>
            </p:cNvCxnSpPr>
            <p:nvPr/>
          </p:nvCxnSpPr>
          <p:spPr bwMode="auto">
            <a:xfrm flipH="1">
              <a:off x="2559963" y="5528172"/>
              <a:ext cx="1340" cy="14476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69" name="Straight Connector 68"/>
            <p:cNvCxnSpPr/>
            <p:nvPr/>
          </p:nvCxnSpPr>
          <p:spPr bwMode="auto">
            <a:xfrm>
              <a:off x="1207477" y="5542084"/>
              <a:ext cx="0" cy="1318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grpSp>
        <p:nvGrpSpPr>
          <p:cNvPr id="103" name="Group 102"/>
          <p:cNvGrpSpPr/>
          <p:nvPr/>
        </p:nvGrpSpPr>
        <p:grpSpPr>
          <a:xfrm>
            <a:off x="3795221" y="4130418"/>
            <a:ext cx="2902880" cy="1246572"/>
            <a:chOff x="3795221" y="4130418"/>
            <a:chExt cx="2902880" cy="1246572"/>
          </a:xfrm>
        </p:grpSpPr>
        <p:sp>
          <p:nvSpPr>
            <p:cNvPr id="104" name="Down Arrow 283"/>
            <p:cNvSpPr/>
            <p:nvPr/>
          </p:nvSpPr>
          <p:spPr bwMode="auto">
            <a:xfrm rot="14655149">
              <a:off x="5455308" y="3779040"/>
              <a:ext cx="891416" cy="1594171"/>
            </a:xfrm>
            <a:prstGeom prst="downArrow">
              <a:avLst/>
            </a:prstGeom>
            <a:solidFill>
              <a:srgbClr val="FFFF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05" name="Rounded Rectangle 284"/>
            <p:cNvSpPr/>
            <p:nvPr/>
          </p:nvSpPr>
          <p:spPr bwMode="auto">
            <a:xfrm>
              <a:off x="3795221" y="4333734"/>
              <a:ext cx="2407273" cy="1043256"/>
            </a:xfrm>
            <a:prstGeom prst="roundRect">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000" b="1" i="0" u="none" strike="noStrike" cap="none" normalizeH="0" baseline="0" dirty="0">
                  <a:ln>
                    <a:noFill/>
                  </a:ln>
                  <a:effectLst/>
                  <a:latin typeface="Segoe UI" panose="020B0502040204020203" pitchFamily="34" charset="0"/>
                  <a:ea typeface="Segoe UI" panose="020B0502040204020203" pitchFamily="34" charset="0"/>
                  <a:cs typeface="Segoe UI" panose="020B0502040204020203" pitchFamily="34" charset="0"/>
                </a:rPr>
                <a:t>Mapping the EPC functions to new 5G</a:t>
              </a:r>
              <a:r>
                <a:rPr kumimoji="0" lang="en-US" sz="2000" b="1" i="0" u="none" strike="noStrike" cap="none" normalizeH="0" dirty="0">
                  <a:ln>
                    <a:noFill/>
                  </a:ln>
                  <a:effectLst/>
                  <a:latin typeface="Segoe UI" panose="020B0502040204020203" pitchFamily="34" charset="0"/>
                  <a:ea typeface="Segoe UI" panose="020B0502040204020203" pitchFamily="34" charset="0"/>
                  <a:cs typeface="Segoe UI" panose="020B0502040204020203" pitchFamily="34" charset="0"/>
                </a:rPr>
                <a:t> CN functions</a:t>
              </a:r>
              <a:endParaRPr kumimoji="0" lang="en-US" sz="2000" b="1" i="0" u="none" strike="noStrike" cap="none" normalizeH="0" baseline="0" dirty="0">
                <a:ln>
                  <a:noFill/>
                </a:ln>
                <a:effectLst/>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6" name="Group 105"/>
          <p:cNvGrpSpPr/>
          <p:nvPr/>
        </p:nvGrpSpPr>
        <p:grpSpPr>
          <a:xfrm>
            <a:off x="6192878" y="1455615"/>
            <a:ext cx="4667109" cy="4913774"/>
            <a:chOff x="6192878" y="1455615"/>
            <a:chExt cx="4667109" cy="4913774"/>
          </a:xfrm>
        </p:grpSpPr>
        <p:sp>
          <p:nvSpPr>
            <p:cNvPr id="107" name="Text Box 144"/>
            <p:cNvSpPr txBox="1">
              <a:spLocks noChangeAspect="1" noChangeArrowheads="1"/>
            </p:cNvSpPr>
            <p:nvPr/>
          </p:nvSpPr>
          <p:spPr bwMode="auto">
            <a:xfrm>
              <a:off x="7287844" y="5786180"/>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3</a:t>
              </a:r>
            </a:p>
          </p:txBody>
        </p:sp>
        <p:sp>
          <p:nvSpPr>
            <p:cNvPr id="108" name="Text Box 144"/>
            <p:cNvSpPr txBox="1">
              <a:spLocks noChangeAspect="1" noChangeArrowheads="1"/>
            </p:cNvSpPr>
            <p:nvPr/>
          </p:nvSpPr>
          <p:spPr bwMode="auto">
            <a:xfrm>
              <a:off x="9867637" y="5788370"/>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6</a:t>
              </a:r>
            </a:p>
          </p:txBody>
        </p:sp>
        <p:sp>
          <p:nvSpPr>
            <p:cNvPr id="109" name="Line 30"/>
            <p:cNvSpPr>
              <a:spLocks noChangeShapeType="1"/>
            </p:cNvSpPr>
            <p:nvPr/>
          </p:nvSpPr>
          <p:spPr bwMode="auto">
            <a:xfrm flipV="1">
              <a:off x="7455585" y="6025495"/>
              <a:ext cx="3194486"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sp>
          <p:nvSpPr>
            <p:cNvPr id="110" name="Text Box 144"/>
            <p:cNvSpPr txBox="1">
              <a:spLocks noChangeAspect="1" noChangeArrowheads="1"/>
            </p:cNvSpPr>
            <p:nvPr/>
          </p:nvSpPr>
          <p:spPr bwMode="auto">
            <a:xfrm>
              <a:off x="9108047" y="2886096"/>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7</a:t>
              </a:r>
            </a:p>
          </p:txBody>
        </p:sp>
        <p:sp>
          <p:nvSpPr>
            <p:cNvPr id="111" name="Text Box 144"/>
            <p:cNvSpPr txBox="1">
              <a:spLocks noChangeAspect="1" noChangeArrowheads="1"/>
            </p:cNvSpPr>
            <p:nvPr/>
          </p:nvSpPr>
          <p:spPr bwMode="auto">
            <a:xfrm>
              <a:off x="9033344" y="4887191"/>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4</a:t>
              </a:r>
            </a:p>
          </p:txBody>
        </p:sp>
        <p:grpSp>
          <p:nvGrpSpPr>
            <p:cNvPr id="112" name="Group 111"/>
            <p:cNvGrpSpPr/>
            <p:nvPr/>
          </p:nvGrpSpPr>
          <p:grpSpPr>
            <a:xfrm>
              <a:off x="8770723" y="5120274"/>
              <a:ext cx="889582" cy="1249115"/>
              <a:chOff x="5979156" y="5040856"/>
              <a:chExt cx="1101600" cy="1587600"/>
            </a:xfrm>
          </p:grpSpPr>
          <p:cxnSp>
            <p:nvCxnSpPr>
              <p:cNvPr id="168" name="Straight Connector 167"/>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169"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70"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71"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172"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73"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grpSp>
          <p:nvGrpSpPr>
            <p:cNvPr id="113" name="Group 112"/>
            <p:cNvGrpSpPr/>
            <p:nvPr/>
          </p:nvGrpSpPr>
          <p:grpSpPr>
            <a:xfrm>
              <a:off x="8787624" y="3249446"/>
              <a:ext cx="948900" cy="1274363"/>
              <a:chOff x="4338871" y="2725624"/>
              <a:chExt cx="1199053" cy="1626215"/>
            </a:xfrm>
          </p:grpSpPr>
          <p:sp>
            <p:nvSpPr>
              <p:cNvPr id="16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16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grpSp>
          <p:nvGrpSpPr>
            <p:cNvPr id="114" name="Group 113"/>
            <p:cNvGrpSpPr/>
            <p:nvPr/>
          </p:nvGrpSpPr>
          <p:grpSpPr>
            <a:xfrm>
              <a:off x="9546311" y="1455615"/>
              <a:ext cx="920586" cy="1329413"/>
              <a:chOff x="2530204" y="1718022"/>
              <a:chExt cx="1186277" cy="1647323"/>
            </a:xfrm>
          </p:grpSpPr>
          <p:sp>
            <p:nvSpPr>
              <p:cNvPr id="154"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55"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56"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57" name="Group 274"/>
              <p:cNvGrpSpPr>
                <a:grpSpLocks noChangeAspect="1"/>
              </p:cNvGrpSpPr>
              <p:nvPr/>
            </p:nvGrpSpPr>
            <p:grpSpPr bwMode="auto">
              <a:xfrm>
                <a:off x="2590950" y="1853233"/>
                <a:ext cx="1125531" cy="1512112"/>
                <a:chOff x="3147" y="3024"/>
                <a:chExt cx="257" cy="366"/>
              </a:xfrm>
            </p:grpSpPr>
            <p:grpSp>
              <p:nvGrpSpPr>
                <p:cNvPr id="158" name="Group 7"/>
                <p:cNvGrpSpPr>
                  <a:grpSpLocks noChangeAspect="1"/>
                </p:cNvGrpSpPr>
                <p:nvPr/>
              </p:nvGrpSpPr>
              <p:grpSpPr bwMode="auto">
                <a:xfrm>
                  <a:off x="3147" y="3024"/>
                  <a:ext cx="257" cy="366"/>
                  <a:chOff x="2283" y="1698"/>
                  <a:chExt cx="983" cy="1402"/>
                </a:xfrm>
              </p:grpSpPr>
              <p:pic>
                <p:nvPicPr>
                  <p:cNvPr id="160"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59"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grpSp>
          <p:nvGrpSpPr>
            <p:cNvPr id="115" name="Group 114"/>
            <p:cNvGrpSpPr/>
            <p:nvPr/>
          </p:nvGrpSpPr>
          <p:grpSpPr>
            <a:xfrm>
              <a:off x="6466372" y="1459564"/>
              <a:ext cx="920586" cy="1329413"/>
              <a:chOff x="2530204" y="1718022"/>
              <a:chExt cx="1186277" cy="1647323"/>
            </a:xfrm>
          </p:grpSpPr>
          <p:sp>
            <p:nvSpPr>
              <p:cNvPr id="146"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7"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8"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49" name="Group 274"/>
              <p:cNvGrpSpPr>
                <a:grpSpLocks noChangeAspect="1"/>
              </p:cNvGrpSpPr>
              <p:nvPr/>
            </p:nvGrpSpPr>
            <p:grpSpPr bwMode="auto">
              <a:xfrm>
                <a:off x="2590950" y="1853233"/>
                <a:ext cx="1125531" cy="1512112"/>
                <a:chOff x="3147" y="3024"/>
                <a:chExt cx="257" cy="366"/>
              </a:xfrm>
            </p:grpSpPr>
            <p:grpSp>
              <p:nvGrpSpPr>
                <p:cNvPr id="150" name="Group 7"/>
                <p:cNvGrpSpPr>
                  <a:grpSpLocks noChangeAspect="1"/>
                </p:cNvGrpSpPr>
                <p:nvPr/>
              </p:nvGrpSpPr>
              <p:grpSpPr bwMode="auto">
                <a:xfrm>
                  <a:off x="3147" y="3024"/>
                  <a:ext cx="257" cy="366"/>
                  <a:chOff x="2283" y="1698"/>
                  <a:chExt cx="983" cy="1402"/>
                </a:xfrm>
              </p:grpSpPr>
              <p:pic>
                <p:nvPicPr>
                  <p:cNvPr id="152"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51"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AUSF</a:t>
                  </a:r>
                  <a:endParaRPr lang="en-US" altLang="en-US" sz="1400" dirty="0">
                    <a:ea typeface="MS PGothic" charset="-128"/>
                  </a:endParaRPr>
                </a:p>
              </p:txBody>
            </p:sp>
          </p:grpSp>
        </p:grpSp>
        <p:cxnSp>
          <p:nvCxnSpPr>
            <p:cNvPr id="116" name="Straight Connector 115"/>
            <p:cNvCxnSpPr>
              <a:cxnSpLocks/>
              <a:stCxn id="165" idx="2"/>
              <a:endCxn id="170" idx="0"/>
            </p:cNvCxnSpPr>
            <p:nvPr/>
          </p:nvCxnSpPr>
          <p:spPr bwMode="auto">
            <a:xfrm flipH="1">
              <a:off x="9214290" y="446483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17" name="Straight Connector 116"/>
            <p:cNvCxnSpPr>
              <a:cxnSpLocks/>
              <a:stCxn id="165" idx="1"/>
              <a:endCxn id="135" idx="3"/>
            </p:cNvCxnSpPr>
            <p:nvPr/>
          </p:nvCxnSpPr>
          <p:spPr bwMode="auto">
            <a:xfrm flipH="1" flipV="1">
              <a:off x="8071719" y="419422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18" name="Text Box 144"/>
            <p:cNvSpPr txBox="1">
              <a:spLocks noChangeAspect="1" noChangeArrowheads="1"/>
            </p:cNvSpPr>
            <p:nvPr/>
          </p:nvSpPr>
          <p:spPr bwMode="auto">
            <a:xfrm>
              <a:off x="7958056" y="3966014"/>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G11</a:t>
              </a:r>
            </a:p>
          </p:txBody>
        </p:sp>
        <p:grpSp>
          <p:nvGrpSpPr>
            <p:cNvPr id="119" name="Group 118"/>
            <p:cNvGrpSpPr/>
            <p:nvPr/>
          </p:nvGrpSpPr>
          <p:grpSpPr>
            <a:xfrm>
              <a:off x="7996027" y="1468122"/>
              <a:ext cx="920586" cy="1329413"/>
              <a:chOff x="2530204" y="1718022"/>
              <a:chExt cx="1186277" cy="1647323"/>
            </a:xfrm>
          </p:grpSpPr>
          <p:sp>
            <p:nvSpPr>
              <p:cNvPr id="138"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39"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0"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41" name="Group 274"/>
              <p:cNvGrpSpPr>
                <a:grpSpLocks noChangeAspect="1"/>
              </p:cNvGrpSpPr>
              <p:nvPr/>
            </p:nvGrpSpPr>
            <p:grpSpPr bwMode="auto">
              <a:xfrm>
                <a:off x="2590950" y="1853233"/>
                <a:ext cx="1125531" cy="1512112"/>
                <a:chOff x="3147" y="3024"/>
                <a:chExt cx="257" cy="366"/>
              </a:xfrm>
            </p:grpSpPr>
            <p:grpSp>
              <p:nvGrpSpPr>
                <p:cNvPr id="142" name="Group 7"/>
                <p:cNvGrpSpPr>
                  <a:grpSpLocks noChangeAspect="1"/>
                </p:cNvGrpSpPr>
                <p:nvPr/>
              </p:nvGrpSpPr>
              <p:grpSpPr bwMode="auto">
                <a:xfrm>
                  <a:off x="3147" y="3024"/>
                  <a:ext cx="257" cy="366"/>
                  <a:chOff x="2283" y="1698"/>
                  <a:chExt cx="983" cy="1402"/>
                </a:xfrm>
              </p:grpSpPr>
              <p:pic>
                <p:nvPicPr>
                  <p:cNvPr id="144"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43"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UDM</a:t>
                  </a:r>
                  <a:endParaRPr lang="en-US" altLang="en-US" sz="1400" dirty="0">
                    <a:ea typeface="MS PGothic" charset="-128"/>
                  </a:endParaRPr>
                </a:p>
              </p:txBody>
            </p:sp>
          </p:grpSp>
        </p:grpSp>
        <p:cxnSp>
          <p:nvCxnSpPr>
            <p:cNvPr id="120" name="Straight Connector 119"/>
            <p:cNvCxnSpPr>
              <a:cxnSpLocks/>
              <a:stCxn id="144" idx="2"/>
              <a:endCxn id="134" idx="7"/>
            </p:cNvCxnSpPr>
            <p:nvPr/>
          </p:nvCxnSpPr>
          <p:spPr bwMode="auto">
            <a:xfrm flipH="1">
              <a:off x="7979140" y="279753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1" name="Straight Connector 120"/>
            <p:cNvCxnSpPr>
              <a:cxnSpLocks/>
              <a:stCxn id="152" idx="2"/>
              <a:endCxn id="134" idx="1"/>
            </p:cNvCxnSpPr>
            <p:nvPr/>
          </p:nvCxnSpPr>
          <p:spPr bwMode="auto">
            <a:xfrm>
              <a:off x="6950236" y="278897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2" name="Straight Connector 121"/>
            <p:cNvCxnSpPr>
              <a:cxnSpLocks/>
              <a:stCxn id="151" idx="3"/>
              <a:endCxn id="143" idx="1"/>
            </p:cNvCxnSpPr>
            <p:nvPr/>
          </p:nvCxnSpPr>
          <p:spPr bwMode="auto">
            <a:xfrm>
              <a:off x="7329182" y="245222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123" name="Text Box 144"/>
            <p:cNvSpPr txBox="1">
              <a:spLocks noChangeAspect="1" noChangeArrowheads="1"/>
            </p:cNvSpPr>
            <p:nvPr/>
          </p:nvSpPr>
          <p:spPr bwMode="auto">
            <a:xfrm>
              <a:off x="7220050" y="2238780"/>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3</a:t>
              </a:r>
            </a:p>
          </p:txBody>
        </p:sp>
        <p:sp>
          <p:nvSpPr>
            <p:cNvPr id="124" name="Text Box 144"/>
            <p:cNvSpPr txBox="1">
              <a:spLocks noChangeAspect="1" noChangeArrowheads="1"/>
            </p:cNvSpPr>
            <p:nvPr/>
          </p:nvSpPr>
          <p:spPr bwMode="auto">
            <a:xfrm>
              <a:off x="7621174" y="288070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8</a:t>
              </a:r>
            </a:p>
          </p:txBody>
        </p:sp>
        <p:sp>
          <p:nvSpPr>
            <p:cNvPr id="125" name="Text Box 144"/>
            <p:cNvSpPr txBox="1">
              <a:spLocks noChangeAspect="1" noChangeArrowheads="1"/>
            </p:cNvSpPr>
            <p:nvPr/>
          </p:nvSpPr>
          <p:spPr bwMode="auto">
            <a:xfrm>
              <a:off x="6192878" y="2905157"/>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2</a:t>
              </a:r>
            </a:p>
          </p:txBody>
        </p:sp>
        <p:sp>
          <p:nvSpPr>
            <p:cNvPr id="126" name="Text Box 144"/>
            <p:cNvSpPr txBox="1">
              <a:spLocks noChangeAspect="1" noChangeArrowheads="1"/>
            </p:cNvSpPr>
            <p:nvPr/>
          </p:nvSpPr>
          <p:spPr bwMode="auto">
            <a:xfrm>
              <a:off x="8488803" y="2880709"/>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0</a:t>
              </a:r>
            </a:p>
          </p:txBody>
        </p:sp>
        <p:cxnSp>
          <p:nvCxnSpPr>
            <p:cNvPr id="127" name="Straight Connector 126"/>
            <p:cNvCxnSpPr>
              <a:cxnSpLocks/>
              <a:stCxn id="164" idx="1"/>
              <a:endCxn id="144" idx="2"/>
            </p:cNvCxnSpPr>
            <p:nvPr/>
          </p:nvCxnSpPr>
          <p:spPr bwMode="auto">
            <a:xfrm flipH="1" flipV="1">
              <a:off x="8479891" y="279753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8" name="Straight Connector 127"/>
            <p:cNvCxnSpPr>
              <a:cxnSpLocks/>
              <a:stCxn id="160" idx="2"/>
              <a:endCxn id="164" idx="7"/>
            </p:cNvCxnSpPr>
            <p:nvPr/>
          </p:nvCxnSpPr>
          <p:spPr bwMode="auto">
            <a:xfrm flipH="1">
              <a:off x="9521193" y="278502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129" name="Straight Connector 95"/>
            <p:cNvCxnSpPr>
              <a:cxnSpLocks/>
              <a:stCxn id="160" idx="2"/>
              <a:endCxn id="135" idx="2"/>
            </p:cNvCxnSpPr>
            <p:nvPr/>
          </p:nvCxnSpPr>
          <p:spPr bwMode="auto">
            <a:xfrm rot="5400000">
              <a:off x="8015443" y="244864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grpSp>
          <p:nvGrpSpPr>
            <p:cNvPr id="130" name="Group 129"/>
            <p:cNvGrpSpPr/>
            <p:nvPr/>
          </p:nvGrpSpPr>
          <p:grpSpPr>
            <a:xfrm>
              <a:off x="7245571" y="3247984"/>
              <a:ext cx="948900" cy="1274363"/>
              <a:chOff x="4338871" y="2725624"/>
              <a:chExt cx="1199053" cy="1626215"/>
            </a:xfrm>
          </p:grpSpPr>
          <p:sp>
            <p:nvSpPr>
              <p:cNvPr id="132"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33"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34"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3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136"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37"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
          <p:nvSpPr>
            <p:cNvPr id="131" name="Text Box 144"/>
            <p:cNvSpPr txBox="1">
              <a:spLocks noChangeAspect="1" noChangeArrowheads="1"/>
            </p:cNvSpPr>
            <p:nvPr/>
          </p:nvSpPr>
          <p:spPr bwMode="auto">
            <a:xfrm>
              <a:off x="7975985" y="4464021"/>
              <a:ext cx="99235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800" dirty="0"/>
                <a:t>N15</a:t>
              </a:r>
            </a:p>
          </p:txBody>
        </p:sp>
      </p:grpSp>
      <p:grpSp>
        <p:nvGrpSpPr>
          <p:cNvPr id="174" name="Group 173"/>
          <p:cNvGrpSpPr/>
          <p:nvPr/>
        </p:nvGrpSpPr>
        <p:grpSpPr>
          <a:xfrm>
            <a:off x="6501434" y="3230164"/>
            <a:ext cx="2172776" cy="1478083"/>
            <a:chOff x="11642376" y="2677242"/>
            <a:chExt cx="2172776" cy="1478083"/>
          </a:xfrm>
        </p:grpSpPr>
        <p:sp>
          <p:nvSpPr>
            <p:cNvPr id="175" name="Rounded Rectangle 303"/>
            <p:cNvSpPr/>
            <p:nvPr/>
          </p:nvSpPr>
          <p:spPr bwMode="auto">
            <a:xfrm>
              <a:off x="11642376" y="2677242"/>
              <a:ext cx="2172776" cy="977450"/>
            </a:xfrm>
            <a:prstGeom prst="roundRect">
              <a:avLst/>
            </a:prstGeom>
            <a:solidFill>
              <a:srgbClr val="00B0F0"/>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800" b="1" dirty="0">
                  <a:solidFill>
                    <a:schemeClr val="bg1"/>
                  </a:solidFill>
                  <a:latin typeface="Segoe UI" panose="020B0502040204020203" pitchFamily="34" charset="0"/>
                  <a:ea typeface="Segoe UI" panose="020B0502040204020203" pitchFamily="34" charset="0"/>
                  <a:cs typeface="Segoe UI" panose="020B0502040204020203" pitchFamily="34" charset="0"/>
                </a:rPr>
                <a:t>Access &amp; Mobility management Function (AMF)</a:t>
              </a:r>
            </a:p>
          </p:txBody>
        </p:sp>
        <p:grpSp>
          <p:nvGrpSpPr>
            <p:cNvPr id="176" name="Group 557"/>
            <p:cNvGrpSpPr>
              <a:grpSpLocks noChangeAspect="1"/>
            </p:cNvGrpSpPr>
            <p:nvPr/>
          </p:nvGrpSpPr>
          <p:grpSpPr bwMode="auto">
            <a:xfrm>
              <a:off x="12582084" y="3564809"/>
              <a:ext cx="437005" cy="590516"/>
              <a:chOff x="3510" y="1858"/>
              <a:chExt cx="363" cy="520"/>
            </a:xfrm>
          </p:grpSpPr>
          <p:sp>
            <p:nvSpPr>
              <p:cNvPr id="17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17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17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MME</a:t>
                </a:r>
              </a:p>
            </p:txBody>
          </p:sp>
          <p:sp>
            <p:nvSpPr>
              <p:cNvPr id="18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18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50">
                  <a:solidFill>
                    <a:srgbClr val="58585A"/>
                  </a:solidFill>
                </a:endParaRPr>
              </a:p>
            </p:txBody>
          </p:sp>
        </p:grpSp>
      </p:grpSp>
      <p:grpSp>
        <p:nvGrpSpPr>
          <p:cNvPr id="182" name="Group 181"/>
          <p:cNvGrpSpPr/>
          <p:nvPr/>
        </p:nvGrpSpPr>
        <p:grpSpPr>
          <a:xfrm>
            <a:off x="7951760" y="5418409"/>
            <a:ext cx="2289874" cy="1287965"/>
            <a:chOff x="8823813" y="4563791"/>
            <a:chExt cx="2289874" cy="1287965"/>
          </a:xfrm>
        </p:grpSpPr>
        <p:sp>
          <p:nvSpPr>
            <p:cNvPr id="183" name="Rounded Rectangle 310"/>
            <p:cNvSpPr/>
            <p:nvPr/>
          </p:nvSpPr>
          <p:spPr bwMode="auto">
            <a:xfrm>
              <a:off x="8823813" y="4563791"/>
              <a:ext cx="2289874" cy="1074655"/>
            </a:xfrm>
            <a:prstGeom prst="roundRect">
              <a:avLst/>
            </a:prstGeom>
            <a:solidFill>
              <a:srgbClr val="00B0F0"/>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User Plane Function (UPF)</a:t>
              </a:r>
            </a:p>
          </p:txBody>
        </p:sp>
        <p:grpSp>
          <p:nvGrpSpPr>
            <p:cNvPr id="184" name="Group 183"/>
            <p:cNvGrpSpPr/>
            <p:nvPr/>
          </p:nvGrpSpPr>
          <p:grpSpPr>
            <a:xfrm>
              <a:off x="9747058" y="5293259"/>
              <a:ext cx="424166" cy="558497"/>
              <a:chOff x="10533165" y="6156750"/>
              <a:chExt cx="310944" cy="417401"/>
            </a:xfrm>
          </p:grpSpPr>
          <p:pic>
            <p:nvPicPr>
              <p:cNvPr id="190" name="Bildobjekt 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48583" y="6349468"/>
                <a:ext cx="280107" cy="20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1" name="Oval 143"/>
              <p:cNvSpPr>
                <a:spLocks noChangeAspect="1" noChangeArrowheads="1"/>
              </p:cNvSpPr>
              <p:nvPr/>
            </p:nvSpPr>
            <p:spPr bwMode="auto">
              <a:xfrm>
                <a:off x="10537448" y="6162334"/>
                <a:ext cx="301522" cy="283191"/>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92" name="Freeform 11"/>
              <p:cNvSpPr>
                <a:spLocks noChangeAspect="1" noEditPoints="1"/>
              </p:cNvSpPr>
              <p:nvPr/>
            </p:nvSpPr>
            <p:spPr bwMode="auto">
              <a:xfrm>
                <a:off x="10533165" y="6156750"/>
                <a:ext cx="310944" cy="414017"/>
              </a:xfrm>
              <a:custGeom>
                <a:avLst/>
                <a:gdLst>
                  <a:gd name="T0" fmla="*/ 10120 w 410"/>
                  <a:gd name="T1" fmla="*/ 4843 h 589"/>
                  <a:gd name="T2" fmla="*/ 9503 w 410"/>
                  <a:gd name="T3" fmla="*/ 11706 h 589"/>
                  <a:gd name="T4" fmla="*/ 410 w 410"/>
                  <a:gd name="T5" fmla="*/ 11215 h 589"/>
                  <a:gd name="T6" fmla="*/ 5265 w 410"/>
                  <a:gd name="T7" fmla="*/ 328 h 589"/>
                  <a:gd name="T8" fmla="*/ 10325 w 410"/>
                  <a:gd name="T9" fmla="*/ 4351 h 589"/>
                  <a:gd name="T10" fmla="*/ 10531 w 410"/>
                  <a:gd name="T11" fmla="*/ 4188 h 589"/>
                  <a:gd name="T12" fmla="*/ 0 w 410"/>
                  <a:gd name="T13" fmla="*/ 4188 h 589"/>
                  <a:gd name="T14" fmla="*/ 26 w 410"/>
                  <a:gd name="T15" fmla="*/ 11215 h 589"/>
                  <a:gd name="T16" fmla="*/ 9503 w 410"/>
                  <a:gd name="T17" fmla="*/ 12033 h 589"/>
                  <a:gd name="T18" fmla="*/ 10531 w 410"/>
                  <a:gd name="T19" fmla="*/ 4843 h 589"/>
                  <a:gd name="T20" fmla="*/ 8502 w 410"/>
                  <a:gd name="T21" fmla="*/ 3270 h 589"/>
                  <a:gd name="T22" fmla="*/ 7423 w 410"/>
                  <a:gd name="T23" fmla="*/ 2656 h 589"/>
                  <a:gd name="T24" fmla="*/ 7860 w 410"/>
                  <a:gd name="T25" fmla="*/ 3228 h 589"/>
                  <a:gd name="T26" fmla="*/ 3956 w 410"/>
                  <a:gd name="T27" fmla="*/ 3391 h 589"/>
                  <a:gd name="T28" fmla="*/ 7834 w 410"/>
                  <a:gd name="T29" fmla="*/ 3555 h 589"/>
                  <a:gd name="T30" fmla="*/ 7423 w 410"/>
                  <a:gd name="T31" fmla="*/ 4126 h 589"/>
                  <a:gd name="T32" fmla="*/ 7704 w 410"/>
                  <a:gd name="T33" fmla="*/ 4126 h 589"/>
                  <a:gd name="T34" fmla="*/ 8502 w 410"/>
                  <a:gd name="T35" fmla="*/ 3270 h 589"/>
                  <a:gd name="T36" fmla="*/ 2826 w 410"/>
                  <a:gd name="T37" fmla="*/ 1675 h 589"/>
                  <a:gd name="T38" fmla="*/ 3134 w 410"/>
                  <a:gd name="T39" fmla="*/ 1900 h 589"/>
                  <a:gd name="T40" fmla="*/ 6370 w 410"/>
                  <a:gd name="T41" fmla="*/ 2247 h 589"/>
                  <a:gd name="T42" fmla="*/ 6370 w 410"/>
                  <a:gd name="T43" fmla="*/ 2575 h 589"/>
                  <a:gd name="T44" fmla="*/ 3134 w 410"/>
                  <a:gd name="T45" fmla="*/ 2922 h 589"/>
                  <a:gd name="T46" fmla="*/ 2979 w 410"/>
                  <a:gd name="T47" fmla="*/ 3208 h 589"/>
                  <a:gd name="T48" fmla="*/ 2055 w 410"/>
                  <a:gd name="T49" fmla="*/ 2533 h 589"/>
                  <a:gd name="T50" fmla="*/ 8476 w 410"/>
                  <a:gd name="T51" fmla="*/ 5291 h 589"/>
                  <a:gd name="T52" fmla="*/ 7396 w 410"/>
                  <a:gd name="T53" fmla="*/ 4659 h 589"/>
                  <a:gd name="T54" fmla="*/ 7834 w 410"/>
                  <a:gd name="T55" fmla="*/ 5230 h 589"/>
                  <a:gd name="T56" fmla="*/ 3931 w 410"/>
                  <a:gd name="T57" fmla="*/ 5393 h 589"/>
                  <a:gd name="T58" fmla="*/ 7834 w 410"/>
                  <a:gd name="T59" fmla="*/ 5557 h 589"/>
                  <a:gd name="T60" fmla="*/ 7396 w 410"/>
                  <a:gd name="T61" fmla="*/ 6129 h 589"/>
                  <a:gd name="T62" fmla="*/ 7704 w 410"/>
                  <a:gd name="T63" fmla="*/ 6129 h 589"/>
                  <a:gd name="T64" fmla="*/ 8476 w 410"/>
                  <a:gd name="T65" fmla="*/ 5291 h 589"/>
                  <a:gd name="T66" fmla="*/ 2826 w 410"/>
                  <a:gd name="T67" fmla="*/ 3636 h 589"/>
                  <a:gd name="T68" fmla="*/ 3134 w 410"/>
                  <a:gd name="T69" fmla="*/ 3860 h 589"/>
                  <a:gd name="T70" fmla="*/ 6370 w 410"/>
                  <a:gd name="T71" fmla="*/ 4208 h 589"/>
                  <a:gd name="T72" fmla="*/ 6370 w 410"/>
                  <a:gd name="T73" fmla="*/ 4535 h 589"/>
                  <a:gd name="T74" fmla="*/ 3134 w 410"/>
                  <a:gd name="T75" fmla="*/ 4882 h 589"/>
                  <a:gd name="T76" fmla="*/ 2979 w 410"/>
                  <a:gd name="T77" fmla="*/ 5170 h 589"/>
                  <a:gd name="T78" fmla="*/ 2055 w 410"/>
                  <a:gd name="T79" fmla="*/ 4494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sp>
            <p:nvSpPr>
              <p:cNvPr id="193" name="Text Box 144"/>
              <p:cNvSpPr txBox="1">
                <a:spLocks noChangeAspect="1" noChangeArrowheads="1"/>
              </p:cNvSpPr>
              <p:nvPr/>
            </p:nvSpPr>
            <p:spPr bwMode="auto">
              <a:xfrm>
                <a:off x="10548583" y="6394664"/>
                <a:ext cx="280107" cy="1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SGW UP</a:t>
                </a:r>
              </a:p>
            </p:txBody>
          </p:sp>
        </p:grpSp>
        <p:grpSp>
          <p:nvGrpSpPr>
            <p:cNvPr id="185" name="Group 184"/>
            <p:cNvGrpSpPr/>
            <p:nvPr/>
          </p:nvGrpSpPr>
          <p:grpSpPr>
            <a:xfrm>
              <a:off x="9311605" y="5288581"/>
              <a:ext cx="424166" cy="558497"/>
              <a:chOff x="10533165" y="6156750"/>
              <a:chExt cx="310944" cy="417401"/>
            </a:xfrm>
          </p:grpSpPr>
          <p:pic>
            <p:nvPicPr>
              <p:cNvPr id="186" name="Bildobjekt 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48583" y="6349468"/>
                <a:ext cx="280107" cy="20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87" name="Oval 143"/>
              <p:cNvSpPr>
                <a:spLocks noChangeAspect="1" noChangeArrowheads="1"/>
              </p:cNvSpPr>
              <p:nvPr/>
            </p:nvSpPr>
            <p:spPr bwMode="auto">
              <a:xfrm>
                <a:off x="10537448" y="6162334"/>
                <a:ext cx="301522" cy="283191"/>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88" name="Freeform 11"/>
              <p:cNvSpPr>
                <a:spLocks noChangeAspect="1" noEditPoints="1"/>
              </p:cNvSpPr>
              <p:nvPr/>
            </p:nvSpPr>
            <p:spPr bwMode="auto">
              <a:xfrm>
                <a:off x="10533165" y="6156750"/>
                <a:ext cx="310944" cy="414017"/>
              </a:xfrm>
              <a:custGeom>
                <a:avLst/>
                <a:gdLst>
                  <a:gd name="T0" fmla="*/ 10120 w 410"/>
                  <a:gd name="T1" fmla="*/ 4843 h 589"/>
                  <a:gd name="T2" fmla="*/ 9503 w 410"/>
                  <a:gd name="T3" fmla="*/ 11706 h 589"/>
                  <a:gd name="T4" fmla="*/ 410 w 410"/>
                  <a:gd name="T5" fmla="*/ 11215 h 589"/>
                  <a:gd name="T6" fmla="*/ 5265 w 410"/>
                  <a:gd name="T7" fmla="*/ 328 h 589"/>
                  <a:gd name="T8" fmla="*/ 10325 w 410"/>
                  <a:gd name="T9" fmla="*/ 4351 h 589"/>
                  <a:gd name="T10" fmla="*/ 10531 w 410"/>
                  <a:gd name="T11" fmla="*/ 4188 h 589"/>
                  <a:gd name="T12" fmla="*/ 0 w 410"/>
                  <a:gd name="T13" fmla="*/ 4188 h 589"/>
                  <a:gd name="T14" fmla="*/ 26 w 410"/>
                  <a:gd name="T15" fmla="*/ 11215 h 589"/>
                  <a:gd name="T16" fmla="*/ 9503 w 410"/>
                  <a:gd name="T17" fmla="*/ 12033 h 589"/>
                  <a:gd name="T18" fmla="*/ 10531 w 410"/>
                  <a:gd name="T19" fmla="*/ 4843 h 589"/>
                  <a:gd name="T20" fmla="*/ 8502 w 410"/>
                  <a:gd name="T21" fmla="*/ 3270 h 589"/>
                  <a:gd name="T22" fmla="*/ 7423 w 410"/>
                  <a:gd name="T23" fmla="*/ 2656 h 589"/>
                  <a:gd name="T24" fmla="*/ 7860 w 410"/>
                  <a:gd name="T25" fmla="*/ 3228 h 589"/>
                  <a:gd name="T26" fmla="*/ 3956 w 410"/>
                  <a:gd name="T27" fmla="*/ 3391 h 589"/>
                  <a:gd name="T28" fmla="*/ 7834 w 410"/>
                  <a:gd name="T29" fmla="*/ 3555 h 589"/>
                  <a:gd name="T30" fmla="*/ 7423 w 410"/>
                  <a:gd name="T31" fmla="*/ 4126 h 589"/>
                  <a:gd name="T32" fmla="*/ 7704 w 410"/>
                  <a:gd name="T33" fmla="*/ 4126 h 589"/>
                  <a:gd name="T34" fmla="*/ 8502 w 410"/>
                  <a:gd name="T35" fmla="*/ 3270 h 589"/>
                  <a:gd name="T36" fmla="*/ 2826 w 410"/>
                  <a:gd name="T37" fmla="*/ 1675 h 589"/>
                  <a:gd name="T38" fmla="*/ 3134 w 410"/>
                  <a:gd name="T39" fmla="*/ 1900 h 589"/>
                  <a:gd name="T40" fmla="*/ 6370 w 410"/>
                  <a:gd name="T41" fmla="*/ 2247 h 589"/>
                  <a:gd name="T42" fmla="*/ 6370 w 410"/>
                  <a:gd name="T43" fmla="*/ 2575 h 589"/>
                  <a:gd name="T44" fmla="*/ 3134 w 410"/>
                  <a:gd name="T45" fmla="*/ 2922 h 589"/>
                  <a:gd name="T46" fmla="*/ 2979 w 410"/>
                  <a:gd name="T47" fmla="*/ 3208 h 589"/>
                  <a:gd name="T48" fmla="*/ 2055 w 410"/>
                  <a:gd name="T49" fmla="*/ 2533 h 589"/>
                  <a:gd name="T50" fmla="*/ 8476 w 410"/>
                  <a:gd name="T51" fmla="*/ 5291 h 589"/>
                  <a:gd name="T52" fmla="*/ 7396 w 410"/>
                  <a:gd name="T53" fmla="*/ 4659 h 589"/>
                  <a:gd name="T54" fmla="*/ 7834 w 410"/>
                  <a:gd name="T55" fmla="*/ 5230 h 589"/>
                  <a:gd name="T56" fmla="*/ 3931 w 410"/>
                  <a:gd name="T57" fmla="*/ 5393 h 589"/>
                  <a:gd name="T58" fmla="*/ 7834 w 410"/>
                  <a:gd name="T59" fmla="*/ 5557 h 589"/>
                  <a:gd name="T60" fmla="*/ 7396 w 410"/>
                  <a:gd name="T61" fmla="*/ 6129 h 589"/>
                  <a:gd name="T62" fmla="*/ 7704 w 410"/>
                  <a:gd name="T63" fmla="*/ 6129 h 589"/>
                  <a:gd name="T64" fmla="*/ 8476 w 410"/>
                  <a:gd name="T65" fmla="*/ 5291 h 589"/>
                  <a:gd name="T66" fmla="*/ 2826 w 410"/>
                  <a:gd name="T67" fmla="*/ 3636 h 589"/>
                  <a:gd name="T68" fmla="*/ 3134 w 410"/>
                  <a:gd name="T69" fmla="*/ 3860 h 589"/>
                  <a:gd name="T70" fmla="*/ 6370 w 410"/>
                  <a:gd name="T71" fmla="*/ 4208 h 589"/>
                  <a:gd name="T72" fmla="*/ 6370 w 410"/>
                  <a:gd name="T73" fmla="*/ 4535 h 589"/>
                  <a:gd name="T74" fmla="*/ 3134 w 410"/>
                  <a:gd name="T75" fmla="*/ 4882 h 589"/>
                  <a:gd name="T76" fmla="*/ 2979 w 410"/>
                  <a:gd name="T77" fmla="*/ 5170 h 589"/>
                  <a:gd name="T78" fmla="*/ 2055 w 410"/>
                  <a:gd name="T79" fmla="*/ 4494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sp>
            <p:nvSpPr>
              <p:cNvPr id="189" name="Text Box 144"/>
              <p:cNvSpPr txBox="1">
                <a:spLocks noChangeAspect="1" noChangeArrowheads="1"/>
              </p:cNvSpPr>
              <p:nvPr/>
            </p:nvSpPr>
            <p:spPr bwMode="auto">
              <a:xfrm>
                <a:off x="10548583" y="6394664"/>
                <a:ext cx="280107" cy="1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PGW UP</a:t>
                </a:r>
              </a:p>
            </p:txBody>
          </p:sp>
        </p:grpSp>
      </p:grpSp>
      <p:grpSp>
        <p:nvGrpSpPr>
          <p:cNvPr id="194" name="Group 193"/>
          <p:cNvGrpSpPr/>
          <p:nvPr/>
        </p:nvGrpSpPr>
        <p:grpSpPr>
          <a:xfrm>
            <a:off x="9459970" y="1336569"/>
            <a:ext cx="2153382" cy="1622246"/>
            <a:chOff x="10039894" y="1588038"/>
            <a:chExt cx="2153382" cy="1622246"/>
          </a:xfrm>
        </p:grpSpPr>
        <p:sp>
          <p:nvSpPr>
            <p:cNvPr id="195" name="Rounded Rectangle 407"/>
            <p:cNvSpPr/>
            <p:nvPr/>
          </p:nvSpPr>
          <p:spPr bwMode="auto">
            <a:xfrm>
              <a:off x="10039894" y="1588038"/>
              <a:ext cx="2153382" cy="1074655"/>
            </a:xfrm>
            <a:prstGeom prst="roundRect">
              <a:avLst/>
            </a:prstGeom>
            <a:solidFill>
              <a:srgbClr val="00B0F0"/>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b="1" dirty="0">
                  <a:solidFill>
                    <a:schemeClr val="bg1"/>
                  </a:solidFill>
                  <a:latin typeface="Segoe UI" panose="020B0502040204020203" pitchFamily="34" charset="0"/>
                  <a:ea typeface="Segoe UI" panose="020B0502040204020203" pitchFamily="34" charset="0"/>
                  <a:cs typeface="Segoe UI" panose="020B0502040204020203" pitchFamily="34" charset="0"/>
                </a:rPr>
                <a:t>Policy Control Function (PCF)</a:t>
              </a:r>
            </a:p>
          </p:txBody>
        </p:sp>
        <p:grpSp>
          <p:nvGrpSpPr>
            <p:cNvPr id="196" name="Group 557"/>
            <p:cNvGrpSpPr>
              <a:grpSpLocks noChangeAspect="1"/>
            </p:cNvGrpSpPr>
            <p:nvPr/>
          </p:nvGrpSpPr>
          <p:grpSpPr bwMode="auto">
            <a:xfrm>
              <a:off x="10880975" y="2435584"/>
              <a:ext cx="536575" cy="774700"/>
              <a:chOff x="3510" y="1858"/>
              <a:chExt cx="363" cy="520"/>
            </a:xfrm>
          </p:grpSpPr>
          <p:sp>
            <p:nvSpPr>
              <p:cNvPr id="19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19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19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dirty="0">
                    <a:solidFill>
                      <a:srgbClr val="8F3F7B"/>
                    </a:solidFill>
                    <a:ea typeface="ＭＳ Ｐゴシック" pitchFamily="34" charset="-128"/>
                  </a:rPr>
                  <a:t>PCRF</a:t>
                </a:r>
              </a:p>
            </p:txBody>
          </p:sp>
          <p:sp>
            <p:nvSpPr>
              <p:cNvPr id="20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01" name="Freeform 11"/>
              <p:cNvSpPr>
                <a:spLocks noChangeAspect="1" noEditPoints="1"/>
              </p:cNvSpPr>
              <p:nvPr/>
            </p:nvSpPr>
            <p:spPr bwMode="auto">
              <a:xfrm>
                <a:off x="3510" y="1858"/>
                <a:ext cx="363" cy="519"/>
              </a:xfrm>
              <a:custGeom>
                <a:avLst/>
                <a:gdLst>
                  <a:gd name="T0" fmla="*/ 44507 w 410"/>
                  <a:gd name="T1" fmla="*/ 21353 h 589"/>
                  <a:gd name="T2" fmla="*/ 43623 w 410"/>
                  <a:gd name="T3" fmla="*/ 22099 h 589"/>
                  <a:gd name="T4" fmla="*/ 43623 w 410"/>
                  <a:gd name="T5" fmla="*/ 51192 h 589"/>
                  <a:gd name="T6" fmla="*/ 40965 w 410"/>
                  <a:gd name="T7" fmla="*/ 53431 h 589"/>
                  <a:gd name="T8" fmla="*/ 4539 w 410"/>
                  <a:gd name="T9" fmla="*/ 53431 h 589"/>
                  <a:gd name="T10" fmla="*/ 1772 w 410"/>
                  <a:gd name="T11" fmla="*/ 51192 h 589"/>
                  <a:gd name="T12" fmla="*/ 1772 w 410"/>
                  <a:gd name="T13" fmla="*/ 19116 h 589"/>
                  <a:gd name="T14" fmla="*/ 22698 w 410"/>
                  <a:gd name="T15" fmla="*/ 1493 h 589"/>
                  <a:gd name="T16" fmla="*/ 43623 w 410"/>
                  <a:gd name="T17" fmla="*/ 19116 h 589"/>
                  <a:gd name="T18" fmla="*/ 44507 w 410"/>
                  <a:gd name="T19" fmla="*/ 19862 h 589"/>
                  <a:gd name="T20" fmla="*/ 45394 w 410"/>
                  <a:gd name="T21" fmla="*/ 19116 h 589"/>
                  <a:gd name="T22" fmla="*/ 45394 w 410"/>
                  <a:gd name="T23" fmla="*/ 19116 h 589"/>
                  <a:gd name="T24" fmla="*/ 22698 w 410"/>
                  <a:gd name="T25" fmla="*/ 0 h 589"/>
                  <a:gd name="T26" fmla="*/ 0 w 410"/>
                  <a:gd name="T27" fmla="*/ 19116 h 589"/>
                  <a:gd name="T28" fmla="*/ 0 w 410"/>
                  <a:gd name="T29" fmla="*/ 19116 h 589"/>
                  <a:gd name="T30" fmla="*/ 111 w 410"/>
                  <a:gd name="T31" fmla="*/ 51192 h 589"/>
                  <a:gd name="T32" fmla="*/ 4539 w 410"/>
                  <a:gd name="T33" fmla="*/ 54922 h 589"/>
                  <a:gd name="T34" fmla="*/ 40965 w 410"/>
                  <a:gd name="T35" fmla="*/ 54922 h 589"/>
                  <a:gd name="T36" fmla="*/ 45394 w 410"/>
                  <a:gd name="T37" fmla="*/ 51192 h 589"/>
                  <a:gd name="T38" fmla="*/ 45394 w 410"/>
                  <a:gd name="T39" fmla="*/ 22099 h 589"/>
                  <a:gd name="T40" fmla="*/ 44507 w 410"/>
                  <a:gd name="T41" fmla="*/ 21353 h 589"/>
                  <a:gd name="T42" fmla="*/ 22698 w 410"/>
                  <a:gd name="T43" fmla="*/ 4942 h 589"/>
                  <a:gd name="T44" fmla="*/ 21922 w 410"/>
                  <a:gd name="T45" fmla="*/ 5409 h 589"/>
                  <a:gd name="T46" fmla="*/ 8415 w 410"/>
                  <a:gd name="T47" fmla="*/ 27135 h 589"/>
                  <a:gd name="T48" fmla="*/ 8525 w 410"/>
                  <a:gd name="T49" fmla="*/ 27881 h 589"/>
                  <a:gd name="T50" fmla="*/ 9190 w 410"/>
                  <a:gd name="T51" fmla="*/ 28254 h 589"/>
                  <a:gd name="T52" fmla="*/ 36204 w 410"/>
                  <a:gd name="T53" fmla="*/ 28254 h 589"/>
                  <a:gd name="T54" fmla="*/ 36979 w 410"/>
                  <a:gd name="T55" fmla="*/ 27881 h 589"/>
                  <a:gd name="T56" fmla="*/ 36979 w 410"/>
                  <a:gd name="T57" fmla="*/ 27135 h 589"/>
                  <a:gd name="T58" fmla="*/ 23472 w 410"/>
                  <a:gd name="T59" fmla="*/ 5409 h 589"/>
                  <a:gd name="T60" fmla="*/ 22698 w 410"/>
                  <a:gd name="T61" fmla="*/ 4942 h 589"/>
                  <a:gd name="T62" fmla="*/ 10628 w 410"/>
                  <a:gd name="T63" fmla="*/ 26762 h 589"/>
                  <a:gd name="T64" fmla="*/ 22698 w 410"/>
                  <a:gd name="T65" fmla="*/ 7366 h 589"/>
                  <a:gd name="T66" fmla="*/ 34766 w 410"/>
                  <a:gd name="T67" fmla="*/ 26762 h 589"/>
                  <a:gd name="T68" fmla="*/ 10628 w 410"/>
                  <a:gd name="T69" fmla="*/ 26762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grpSp>
        <p:nvGrpSpPr>
          <p:cNvPr id="202" name="Group 201"/>
          <p:cNvGrpSpPr/>
          <p:nvPr/>
        </p:nvGrpSpPr>
        <p:grpSpPr>
          <a:xfrm>
            <a:off x="8867359" y="3233141"/>
            <a:ext cx="2135465" cy="1473425"/>
            <a:chOff x="11676016" y="4371806"/>
            <a:chExt cx="2135465" cy="1473425"/>
          </a:xfrm>
        </p:grpSpPr>
        <p:sp>
          <p:nvSpPr>
            <p:cNvPr id="203" name="Rounded Rectangle 303"/>
            <p:cNvSpPr/>
            <p:nvPr/>
          </p:nvSpPr>
          <p:spPr bwMode="auto">
            <a:xfrm>
              <a:off x="11676016" y="4371806"/>
              <a:ext cx="2135465" cy="977450"/>
            </a:xfrm>
            <a:prstGeom prst="roundRect">
              <a:avLst/>
            </a:prstGeom>
            <a:solidFill>
              <a:srgbClr val="00B0F0"/>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800" b="1" dirty="0">
                  <a:solidFill>
                    <a:schemeClr val="bg1"/>
                  </a:solidFill>
                  <a:latin typeface="Segoe UI" panose="020B0502040204020203" pitchFamily="34" charset="0"/>
                  <a:ea typeface="Segoe UI" panose="020B0502040204020203" pitchFamily="34" charset="0"/>
                  <a:cs typeface="Segoe UI" panose="020B0502040204020203" pitchFamily="34" charset="0"/>
                </a:rPr>
                <a:t>Session Management Function (SMF)</a:t>
              </a:r>
            </a:p>
          </p:txBody>
        </p:sp>
        <p:grpSp>
          <p:nvGrpSpPr>
            <p:cNvPr id="204" name="Group 557"/>
            <p:cNvGrpSpPr>
              <a:grpSpLocks noChangeAspect="1"/>
            </p:cNvGrpSpPr>
            <p:nvPr/>
          </p:nvGrpSpPr>
          <p:grpSpPr bwMode="auto">
            <a:xfrm>
              <a:off x="12603721" y="5243545"/>
              <a:ext cx="442195" cy="597529"/>
              <a:chOff x="3510" y="1858"/>
              <a:chExt cx="363" cy="520"/>
            </a:xfrm>
          </p:grpSpPr>
          <p:sp>
            <p:nvSpPr>
              <p:cNvPr id="21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500">
                  <a:solidFill>
                    <a:srgbClr val="58585A"/>
                  </a:solidFill>
                </a:endParaRPr>
              </a:p>
            </p:txBody>
          </p:sp>
          <p:sp>
            <p:nvSpPr>
              <p:cNvPr id="21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500">
                  <a:solidFill>
                    <a:srgbClr val="58585A"/>
                  </a:solidFill>
                </a:endParaRPr>
              </a:p>
            </p:txBody>
          </p:sp>
          <p:sp>
            <p:nvSpPr>
              <p:cNvPr id="21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SGW</a:t>
                </a:r>
                <a:br>
                  <a:rPr lang="en-US" altLang="en-US" sz="1000" dirty="0">
                    <a:solidFill>
                      <a:srgbClr val="8F3F7B"/>
                    </a:solidFill>
                    <a:latin typeface="+mn-lt"/>
                    <a:ea typeface="Segoe UI" panose="020B0502040204020203" pitchFamily="34" charset="0"/>
                    <a:cs typeface="Segoe UI" panose="020B0502040204020203" pitchFamily="34" charset="0"/>
                  </a:rPr>
                </a:br>
                <a:r>
                  <a:rPr lang="en-US" altLang="en-US" sz="1000" dirty="0">
                    <a:solidFill>
                      <a:srgbClr val="8F3F7B"/>
                    </a:solidFill>
                    <a:latin typeface="+mn-lt"/>
                    <a:ea typeface="Segoe UI" panose="020B0502040204020203" pitchFamily="34" charset="0"/>
                    <a:cs typeface="Segoe UI" panose="020B0502040204020203" pitchFamily="34" charset="0"/>
                  </a:rPr>
                  <a:t>CP</a:t>
                </a:r>
              </a:p>
            </p:txBody>
          </p:sp>
          <p:sp>
            <p:nvSpPr>
              <p:cNvPr id="22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500">
                  <a:solidFill>
                    <a:srgbClr val="58585A"/>
                  </a:solidFill>
                </a:endParaRPr>
              </a:p>
            </p:txBody>
          </p:sp>
          <p:sp>
            <p:nvSpPr>
              <p:cNvPr id="22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endParaRPr>
              </a:p>
            </p:txBody>
          </p:sp>
        </p:grpSp>
        <p:grpSp>
          <p:nvGrpSpPr>
            <p:cNvPr id="205" name="Group 557"/>
            <p:cNvGrpSpPr>
              <a:grpSpLocks noChangeAspect="1"/>
            </p:cNvGrpSpPr>
            <p:nvPr/>
          </p:nvGrpSpPr>
          <p:grpSpPr bwMode="auto">
            <a:xfrm>
              <a:off x="13066142" y="5245712"/>
              <a:ext cx="443667" cy="599519"/>
              <a:chOff x="3510" y="1858"/>
              <a:chExt cx="363" cy="520"/>
            </a:xfrm>
          </p:grpSpPr>
          <p:sp>
            <p:nvSpPr>
              <p:cNvPr id="212"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
                  <a:solidFill>
                    <a:srgbClr val="58585A"/>
                  </a:solidFill>
                </a:endParaRPr>
              </a:p>
            </p:txBody>
          </p:sp>
          <p:sp>
            <p:nvSpPr>
              <p:cNvPr id="213"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
                  <a:solidFill>
                    <a:srgbClr val="58585A"/>
                  </a:solidFill>
                </a:endParaRPr>
              </a:p>
            </p:txBody>
          </p:sp>
          <p:sp>
            <p:nvSpPr>
              <p:cNvPr id="214"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PGW</a:t>
                </a:r>
                <a:br>
                  <a:rPr lang="en-US" altLang="en-US" sz="1000" dirty="0">
                    <a:solidFill>
                      <a:srgbClr val="8F3F7B"/>
                    </a:solidFill>
                    <a:latin typeface="+mn-lt"/>
                    <a:ea typeface="Segoe UI" panose="020B0502040204020203" pitchFamily="34" charset="0"/>
                    <a:cs typeface="Segoe UI" panose="020B0502040204020203" pitchFamily="34" charset="0"/>
                  </a:rPr>
                </a:br>
                <a:r>
                  <a:rPr lang="en-US" altLang="en-US" sz="1000" dirty="0">
                    <a:solidFill>
                      <a:srgbClr val="8F3F7B"/>
                    </a:solidFill>
                    <a:latin typeface="+mn-lt"/>
                    <a:ea typeface="Segoe UI" panose="020B0502040204020203" pitchFamily="34" charset="0"/>
                    <a:cs typeface="Segoe UI" panose="020B0502040204020203" pitchFamily="34" charset="0"/>
                  </a:rPr>
                  <a:t>CP</a:t>
                </a:r>
              </a:p>
            </p:txBody>
          </p:sp>
          <p:sp>
            <p:nvSpPr>
              <p:cNvPr id="215"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
                  <a:solidFill>
                    <a:srgbClr val="58585A"/>
                  </a:solidFill>
                </a:endParaRPr>
              </a:p>
            </p:txBody>
          </p:sp>
          <p:sp>
            <p:nvSpPr>
              <p:cNvPr id="216"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900">
                  <a:solidFill>
                    <a:srgbClr val="58585A"/>
                  </a:solidFill>
                </a:endParaRPr>
              </a:p>
            </p:txBody>
          </p:sp>
        </p:grpSp>
        <p:grpSp>
          <p:nvGrpSpPr>
            <p:cNvPr id="206" name="Group 557"/>
            <p:cNvGrpSpPr>
              <a:grpSpLocks noChangeAspect="1"/>
            </p:cNvGrpSpPr>
            <p:nvPr/>
          </p:nvGrpSpPr>
          <p:grpSpPr bwMode="auto">
            <a:xfrm>
              <a:off x="12145880" y="5247263"/>
              <a:ext cx="437005" cy="590516"/>
              <a:chOff x="3510" y="1858"/>
              <a:chExt cx="363" cy="520"/>
            </a:xfrm>
          </p:grpSpPr>
          <p:sp>
            <p:nvSpPr>
              <p:cNvPr id="20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20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20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solidFill>
                      <a:srgbClr val="8F3F7B"/>
                    </a:solidFill>
                    <a:latin typeface="+mn-lt"/>
                    <a:ea typeface="Segoe UI" panose="020B0502040204020203" pitchFamily="34" charset="0"/>
                    <a:cs typeface="Segoe UI" panose="020B0502040204020203" pitchFamily="34" charset="0"/>
                  </a:rPr>
                  <a:t>MME</a:t>
                </a:r>
              </a:p>
            </p:txBody>
          </p:sp>
          <p:sp>
            <p:nvSpPr>
              <p:cNvPr id="21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300">
                  <a:solidFill>
                    <a:srgbClr val="58585A"/>
                  </a:solidFill>
                </a:endParaRPr>
              </a:p>
            </p:txBody>
          </p:sp>
          <p:sp>
            <p:nvSpPr>
              <p:cNvPr id="21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50">
                  <a:solidFill>
                    <a:srgbClr val="58585A"/>
                  </a:solidFill>
                </a:endParaRPr>
              </a:p>
            </p:txBody>
          </p:sp>
        </p:grpSp>
      </p:grpSp>
      <p:grpSp>
        <p:nvGrpSpPr>
          <p:cNvPr id="222" name="Group 221"/>
          <p:cNvGrpSpPr/>
          <p:nvPr/>
        </p:nvGrpSpPr>
        <p:grpSpPr>
          <a:xfrm>
            <a:off x="5963706" y="1340548"/>
            <a:ext cx="3032604" cy="1625952"/>
            <a:chOff x="4403821" y="1627726"/>
            <a:chExt cx="3032604" cy="1625952"/>
          </a:xfrm>
        </p:grpSpPr>
        <p:sp>
          <p:nvSpPr>
            <p:cNvPr id="223" name="Rounded Rectangle 58"/>
            <p:cNvSpPr/>
            <p:nvPr/>
          </p:nvSpPr>
          <p:spPr bwMode="auto">
            <a:xfrm>
              <a:off x="4403821" y="1627726"/>
              <a:ext cx="3032604" cy="1074655"/>
            </a:xfrm>
            <a:prstGeom prst="roundRect">
              <a:avLst/>
            </a:prstGeom>
            <a:solidFill>
              <a:srgbClr val="00B0F0"/>
            </a:solidFill>
            <a:ln w="12700" cap="flat" cmpd="sng" algn="ctr">
              <a:solidFill>
                <a:schemeClr val="tx1"/>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lgn="ctr"/>
              <a:r>
                <a:rPr lang="en-US" sz="1800" b="1" dirty="0">
                  <a:solidFill>
                    <a:schemeClr val="bg1"/>
                  </a:solidFill>
                  <a:latin typeface="Segoe UI" panose="020B0502040204020203" pitchFamily="34" charset="0"/>
                  <a:ea typeface="Segoe UI" panose="020B0502040204020203" pitchFamily="34" charset="0"/>
                  <a:cs typeface="Segoe UI" panose="020B0502040204020203" pitchFamily="34" charset="0"/>
                </a:rPr>
                <a:t>Authentication Server Function (AUSF) and User Data Management (UDM)</a:t>
              </a:r>
              <a:endParaRPr kumimoji="0" lang="en-US" sz="180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p:txBody>
        </p:sp>
        <p:grpSp>
          <p:nvGrpSpPr>
            <p:cNvPr id="224" name="Group 45"/>
            <p:cNvGrpSpPr>
              <a:grpSpLocks noChangeAspect="1"/>
            </p:cNvGrpSpPr>
            <p:nvPr/>
          </p:nvGrpSpPr>
          <p:grpSpPr bwMode="auto">
            <a:xfrm>
              <a:off x="5901016" y="2488575"/>
              <a:ext cx="534010" cy="765103"/>
              <a:chOff x="1057" y="1587"/>
              <a:chExt cx="363" cy="520"/>
            </a:xfrm>
          </p:grpSpPr>
          <p:sp>
            <p:nvSpPr>
              <p:cNvPr id="225"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26"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27"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400" dirty="0">
                    <a:solidFill>
                      <a:srgbClr val="00A9D4"/>
                    </a:solidFill>
                    <a:ea typeface="ＭＳ Ｐゴシック" pitchFamily="34" charset="-128"/>
                  </a:rPr>
                  <a:t>HSS/AAA </a:t>
                </a:r>
                <a:endParaRPr lang="en-US" altLang="en-US" sz="1200" dirty="0">
                  <a:solidFill>
                    <a:srgbClr val="00A9D4"/>
                  </a:solidFill>
                  <a:ea typeface="ＭＳ Ｐゴシック" pitchFamily="34" charset="-128"/>
                </a:endParaRPr>
              </a:p>
            </p:txBody>
          </p:sp>
          <p:sp>
            <p:nvSpPr>
              <p:cNvPr id="228"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900">
                  <a:solidFill>
                    <a:srgbClr val="58585A"/>
                  </a:solidFill>
                </a:endParaRPr>
              </a:p>
            </p:txBody>
          </p:sp>
          <p:sp>
            <p:nvSpPr>
              <p:cNvPr id="229"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grpSp>
    </p:spTree>
    <p:extLst>
      <p:ext uri="{BB962C8B-B14F-4D97-AF65-F5344CB8AC3E}">
        <p14:creationId xmlns:p14="http://schemas.microsoft.com/office/powerpoint/2010/main" val="1809040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10465902" cy="1085371"/>
          </a:xfrm>
        </p:spPr>
        <p:txBody>
          <a:bodyPr/>
          <a:lstStyle/>
          <a:p>
            <a:r>
              <a:rPr lang="en-US" dirty="0"/>
              <a:t>5G CP-UP split relation to CUPS</a:t>
            </a:r>
          </a:p>
        </p:txBody>
      </p:sp>
      <p:cxnSp>
        <p:nvCxnSpPr>
          <p:cNvPr id="132" name="Straight Connector 131"/>
          <p:cNvCxnSpPr>
            <a:cxnSpLocks/>
          </p:cNvCxnSpPr>
          <p:nvPr/>
        </p:nvCxnSpPr>
        <p:spPr bwMode="auto">
          <a:xfrm flipH="1">
            <a:off x="9323977" y="3775032"/>
            <a:ext cx="944315"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133" name="Straight Connector 132"/>
          <p:cNvCxnSpPr/>
          <p:nvPr/>
        </p:nvCxnSpPr>
        <p:spPr bwMode="auto">
          <a:xfrm flipH="1">
            <a:off x="7061723" y="3896782"/>
            <a:ext cx="2234677"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134" name="Straight Connector 133"/>
          <p:cNvCxnSpPr/>
          <p:nvPr/>
        </p:nvCxnSpPr>
        <p:spPr bwMode="auto">
          <a:xfrm flipV="1">
            <a:off x="130945" y="5173087"/>
            <a:ext cx="3933533" cy="10225"/>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135" name="Straight Connector 134"/>
          <p:cNvCxnSpPr/>
          <p:nvPr/>
        </p:nvCxnSpPr>
        <p:spPr bwMode="auto">
          <a:xfrm>
            <a:off x="133874" y="3304701"/>
            <a:ext cx="1639087"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136" name="Group 557"/>
          <p:cNvGrpSpPr>
            <a:grpSpLocks noChangeAspect="1"/>
          </p:cNvGrpSpPr>
          <p:nvPr/>
        </p:nvGrpSpPr>
        <p:grpSpPr bwMode="auto">
          <a:xfrm>
            <a:off x="768537" y="2629164"/>
            <a:ext cx="591143" cy="798800"/>
            <a:chOff x="3510" y="1858"/>
            <a:chExt cx="363" cy="520"/>
          </a:xfrm>
        </p:grpSpPr>
        <p:sp>
          <p:nvSpPr>
            <p:cNvPr id="13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3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3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MME</a:t>
              </a:r>
            </a:p>
          </p:txBody>
        </p:sp>
        <p:sp>
          <p:nvSpPr>
            <p:cNvPr id="14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4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142" name="TextBox 141"/>
          <p:cNvSpPr txBox="1"/>
          <p:nvPr/>
        </p:nvSpPr>
        <p:spPr>
          <a:xfrm>
            <a:off x="10780" y="3058513"/>
            <a:ext cx="798617"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S1-MME</a:t>
            </a:r>
          </a:p>
        </p:txBody>
      </p:sp>
      <p:sp>
        <p:nvSpPr>
          <p:cNvPr id="143" name="TextBox 142"/>
          <p:cNvSpPr txBox="1"/>
          <p:nvPr/>
        </p:nvSpPr>
        <p:spPr>
          <a:xfrm>
            <a:off x="233511" y="4896088"/>
            <a:ext cx="532518"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S1-U</a:t>
            </a:r>
          </a:p>
        </p:txBody>
      </p:sp>
      <p:cxnSp>
        <p:nvCxnSpPr>
          <p:cNvPr id="144" name="Straight Connector 143"/>
          <p:cNvCxnSpPr/>
          <p:nvPr/>
        </p:nvCxnSpPr>
        <p:spPr bwMode="auto">
          <a:xfrm flipH="1">
            <a:off x="1076289" y="3416067"/>
            <a:ext cx="4224" cy="3191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45" name="TextBox 144"/>
          <p:cNvSpPr txBox="1"/>
          <p:nvPr/>
        </p:nvSpPr>
        <p:spPr>
          <a:xfrm>
            <a:off x="1188934" y="3383831"/>
            <a:ext cx="447558"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S11</a:t>
            </a:r>
          </a:p>
        </p:txBody>
      </p:sp>
      <p:grpSp>
        <p:nvGrpSpPr>
          <p:cNvPr id="146" name="Group 45"/>
          <p:cNvGrpSpPr>
            <a:grpSpLocks noChangeAspect="1"/>
          </p:cNvGrpSpPr>
          <p:nvPr/>
        </p:nvGrpSpPr>
        <p:grpSpPr bwMode="auto">
          <a:xfrm>
            <a:off x="1756110" y="2629164"/>
            <a:ext cx="570459" cy="778557"/>
            <a:chOff x="1057" y="1587"/>
            <a:chExt cx="363" cy="520"/>
          </a:xfrm>
        </p:grpSpPr>
        <p:sp>
          <p:nvSpPr>
            <p:cNvPr id="147"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148"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149"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600" b="1" dirty="0">
                  <a:solidFill>
                    <a:srgbClr val="00A9D4"/>
                  </a:solidFill>
                  <a:latin typeface="Segoe UI" panose="020B0502040204020203" pitchFamily="34" charset="0"/>
                  <a:ea typeface="Segoe UI" panose="020B0502040204020203" pitchFamily="34" charset="0"/>
                  <a:cs typeface="Segoe UI" panose="020B0502040204020203" pitchFamily="34" charset="0"/>
                </a:rPr>
                <a:t>HSS</a:t>
              </a:r>
            </a:p>
          </p:txBody>
        </p:sp>
        <p:sp>
          <p:nvSpPr>
            <p:cNvPr id="150"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151"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152" name="Group 557"/>
          <p:cNvGrpSpPr>
            <a:grpSpLocks noChangeAspect="1"/>
          </p:cNvGrpSpPr>
          <p:nvPr/>
        </p:nvGrpSpPr>
        <p:grpSpPr bwMode="auto">
          <a:xfrm>
            <a:off x="2792182" y="2623303"/>
            <a:ext cx="591143" cy="798800"/>
            <a:chOff x="3510" y="1858"/>
            <a:chExt cx="363" cy="520"/>
          </a:xfrm>
        </p:grpSpPr>
        <p:sp>
          <p:nvSpPr>
            <p:cNvPr id="153"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54"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55"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PCRF</a:t>
              </a:r>
            </a:p>
          </p:txBody>
        </p:sp>
        <p:sp>
          <p:nvSpPr>
            <p:cNvPr id="156"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57"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cxnSp>
        <p:nvCxnSpPr>
          <p:cNvPr id="158" name="Straight Connector 157"/>
          <p:cNvCxnSpPr>
            <a:stCxn id="155" idx="2"/>
            <a:endCxn id="171" idx="7"/>
          </p:cNvCxnSpPr>
          <p:nvPr/>
        </p:nvCxnSpPr>
        <p:spPr bwMode="auto">
          <a:xfrm flipH="1">
            <a:off x="2433197" y="3403670"/>
            <a:ext cx="652928" cy="223118"/>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59" name="TextBox 158"/>
          <p:cNvSpPr txBox="1"/>
          <p:nvPr/>
        </p:nvSpPr>
        <p:spPr>
          <a:xfrm>
            <a:off x="2483708" y="3304316"/>
            <a:ext cx="378630" cy="276999"/>
          </a:xfrm>
          <a:prstGeom prst="rect">
            <a:avLst/>
          </a:prstGeom>
          <a:noFill/>
        </p:spPr>
        <p:txBody>
          <a:bodyPr wrap="none" rtlCol="0">
            <a:spAutoFit/>
          </a:bodyPr>
          <a:lstStyle/>
          <a:p>
            <a:r>
              <a:rPr lang="en-US" sz="1200" b="1" dirty="0" err="1">
                <a:latin typeface="Segoe UI" panose="020B0502040204020203" pitchFamily="34" charset="0"/>
                <a:ea typeface="Segoe UI" panose="020B0502040204020203" pitchFamily="34" charset="0"/>
                <a:cs typeface="Segoe UI" panose="020B0502040204020203" pitchFamily="34" charset="0"/>
              </a:rPr>
              <a:t>Gx</a:t>
            </a:r>
            <a:endParaRPr lang="en-US" sz="1200" b="1" dirty="0">
              <a:latin typeface="Segoe UI" panose="020B0502040204020203" pitchFamily="34" charset="0"/>
              <a:ea typeface="Segoe UI" panose="020B0502040204020203" pitchFamily="34" charset="0"/>
              <a:cs typeface="Segoe UI" panose="020B0502040204020203" pitchFamily="34" charset="0"/>
            </a:endParaRPr>
          </a:p>
        </p:txBody>
      </p:sp>
      <p:sp>
        <p:nvSpPr>
          <p:cNvPr id="160" name="TextBox 159"/>
          <p:cNvSpPr txBox="1"/>
          <p:nvPr/>
        </p:nvSpPr>
        <p:spPr>
          <a:xfrm>
            <a:off x="1376504" y="3017473"/>
            <a:ext cx="44275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S6a</a:t>
            </a:r>
          </a:p>
        </p:txBody>
      </p:sp>
      <p:sp>
        <p:nvSpPr>
          <p:cNvPr id="161" name="TextBox 160"/>
          <p:cNvSpPr txBox="1"/>
          <p:nvPr/>
        </p:nvSpPr>
        <p:spPr>
          <a:xfrm>
            <a:off x="3344510" y="4878391"/>
            <a:ext cx="423514" cy="276999"/>
          </a:xfrm>
          <a:prstGeom prst="rect">
            <a:avLst/>
          </a:prstGeom>
          <a:noFill/>
        </p:spPr>
        <p:txBody>
          <a:bodyPr wrap="none" rtlCol="0">
            <a:spAutoFit/>
          </a:bodyPr>
          <a:lstStyle/>
          <a:p>
            <a:r>
              <a:rPr lang="en-US" sz="1200" b="1" dirty="0" err="1">
                <a:latin typeface="Segoe UI" panose="020B0502040204020203" pitchFamily="34" charset="0"/>
                <a:ea typeface="Segoe UI" panose="020B0502040204020203" pitchFamily="34" charset="0"/>
                <a:cs typeface="Segoe UI" panose="020B0502040204020203" pitchFamily="34" charset="0"/>
              </a:rPr>
              <a:t>SGi</a:t>
            </a:r>
            <a:endParaRPr lang="en-US" sz="1200" b="1" dirty="0">
              <a:latin typeface="Segoe UI" panose="020B0502040204020203" pitchFamily="34" charset="0"/>
              <a:ea typeface="Segoe UI" panose="020B0502040204020203" pitchFamily="34" charset="0"/>
              <a:cs typeface="Segoe UI" panose="020B0502040204020203" pitchFamily="34" charset="0"/>
            </a:endParaRPr>
          </a:p>
        </p:txBody>
      </p:sp>
      <p:sp>
        <p:nvSpPr>
          <p:cNvPr id="162" name="TextBox 161"/>
          <p:cNvSpPr txBox="1"/>
          <p:nvPr/>
        </p:nvSpPr>
        <p:spPr>
          <a:xfrm>
            <a:off x="630533" y="1663298"/>
            <a:ext cx="2762295" cy="830997"/>
          </a:xfrm>
          <a:prstGeom prst="rect">
            <a:avLst/>
          </a:prstGeom>
          <a:noFill/>
        </p:spPr>
        <p:txBody>
          <a:bodyPr wrap="none" rtlCol="0">
            <a:spAutoFit/>
          </a:bodyPr>
          <a:lstStyle/>
          <a:p>
            <a:pPr algn="ctr"/>
            <a:r>
              <a:rPr lang="en-US" sz="2400" b="1" dirty="0">
                <a:latin typeface="Segoe UI" panose="020B0502040204020203" pitchFamily="34" charset="0"/>
                <a:ea typeface="Segoe UI" panose="020B0502040204020203" pitchFamily="34" charset="0"/>
                <a:cs typeface="Segoe UI" panose="020B0502040204020203" pitchFamily="34" charset="0"/>
              </a:rPr>
              <a:t>EPC after CUPS </a:t>
            </a:r>
            <a:br>
              <a:rPr lang="en-US" sz="2400" b="1" dirty="0">
                <a:latin typeface="Segoe UI" panose="020B0502040204020203" pitchFamily="34" charset="0"/>
                <a:ea typeface="Segoe UI" panose="020B0502040204020203" pitchFamily="34" charset="0"/>
                <a:cs typeface="Segoe UI" panose="020B0502040204020203" pitchFamily="34" charset="0"/>
              </a:rPr>
            </a:br>
            <a:r>
              <a:rPr lang="en-US" sz="2400" b="1" dirty="0">
                <a:latin typeface="Segoe UI" panose="020B0502040204020203" pitchFamily="34" charset="0"/>
                <a:ea typeface="Segoe UI" panose="020B0502040204020203" pitchFamily="34" charset="0"/>
                <a:cs typeface="Segoe UI" panose="020B0502040204020203" pitchFamily="34" charset="0"/>
              </a:rPr>
              <a:t>(with CP-UP split)</a:t>
            </a:r>
          </a:p>
        </p:txBody>
      </p:sp>
      <p:grpSp>
        <p:nvGrpSpPr>
          <p:cNvPr id="163" name="Group 557"/>
          <p:cNvGrpSpPr>
            <a:grpSpLocks noChangeAspect="1"/>
          </p:cNvGrpSpPr>
          <p:nvPr/>
        </p:nvGrpSpPr>
        <p:grpSpPr bwMode="auto">
          <a:xfrm>
            <a:off x="780260" y="3537705"/>
            <a:ext cx="591143" cy="798800"/>
            <a:chOff x="3510" y="1858"/>
            <a:chExt cx="363" cy="520"/>
          </a:xfrm>
        </p:grpSpPr>
        <p:sp>
          <p:nvSpPr>
            <p:cNvPr id="164"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65"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66"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t>SGW</a:t>
              </a:r>
              <a:b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br>
              <a: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t>CP</a:t>
              </a:r>
            </a:p>
          </p:txBody>
        </p:sp>
        <p:sp>
          <p:nvSpPr>
            <p:cNvPr id="167"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68"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169" name="Group 557"/>
          <p:cNvGrpSpPr>
            <a:grpSpLocks noChangeAspect="1"/>
          </p:cNvGrpSpPr>
          <p:nvPr/>
        </p:nvGrpSpPr>
        <p:grpSpPr bwMode="auto">
          <a:xfrm>
            <a:off x="1935773" y="3536173"/>
            <a:ext cx="591143" cy="798800"/>
            <a:chOff x="3510" y="1858"/>
            <a:chExt cx="363" cy="520"/>
          </a:xfrm>
        </p:grpSpPr>
        <p:sp>
          <p:nvSpPr>
            <p:cNvPr id="170"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71"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72"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t>PGW</a:t>
              </a:r>
              <a:b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br>
              <a:r>
                <a:rPr lang="en-US" altLang="en-US" sz="1400" b="1" dirty="0">
                  <a:solidFill>
                    <a:srgbClr val="8F3F7B"/>
                  </a:solidFill>
                  <a:latin typeface="Segoe UI" panose="020B0502040204020203" pitchFamily="34" charset="0"/>
                  <a:ea typeface="Segoe UI" panose="020B0502040204020203" pitchFamily="34" charset="0"/>
                  <a:cs typeface="Segoe UI" panose="020B0502040204020203" pitchFamily="34" charset="0"/>
                </a:rPr>
                <a:t>CP</a:t>
              </a:r>
            </a:p>
          </p:txBody>
        </p:sp>
        <p:sp>
          <p:nvSpPr>
            <p:cNvPr id="173"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74"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grpSp>
        <p:nvGrpSpPr>
          <p:cNvPr id="175" name="Group 211"/>
          <p:cNvGrpSpPr>
            <a:grpSpLocks noChangeAspect="1"/>
          </p:cNvGrpSpPr>
          <p:nvPr/>
        </p:nvGrpSpPr>
        <p:grpSpPr bwMode="auto">
          <a:xfrm>
            <a:off x="760001" y="4470133"/>
            <a:ext cx="599219" cy="854082"/>
            <a:chOff x="3569" y="3512"/>
            <a:chExt cx="257" cy="366"/>
          </a:xfrm>
        </p:grpSpPr>
        <p:grpSp>
          <p:nvGrpSpPr>
            <p:cNvPr id="176" name="Group 7"/>
            <p:cNvGrpSpPr>
              <a:grpSpLocks noChangeAspect="1"/>
            </p:cNvGrpSpPr>
            <p:nvPr/>
          </p:nvGrpSpPr>
          <p:grpSpPr bwMode="auto">
            <a:xfrm>
              <a:off x="3569" y="3512"/>
              <a:ext cx="257" cy="366"/>
              <a:chOff x="2245" y="1698"/>
              <a:chExt cx="983" cy="1402"/>
            </a:xfrm>
          </p:grpSpPr>
          <p:pic>
            <p:nvPicPr>
              <p:cNvPr id="178"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5" y="1698"/>
                <a:ext cx="983" cy="14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79" name="Freeform 11"/>
              <p:cNvSpPr>
                <a:spLocks noChangeAspect="1" noEditPoints="1"/>
              </p:cNvSpPr>
              <p:nvPr/>
            </p:nvSpPr>
            <p:spPr bwMode="auto">
              <a:xfrm>
                <a:off x="2252"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7A1D93"/>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a:p>
            </p:txBody>
          </p:sp>
        </p:grpSp>
        <p:sp>
          <p:nvSpPr>
            <p:cNvPr id="177" name="Text Box 215"/>
            <p:cNvSpPr txBox="1">
              <a:spLocks noChangeAspect="1" noChangeArrowheads="1"/>
            </p:cNvSpPr>
            <p:nvPr/>
          </p:nvSpPr>
          <p:spPr bwMode="auto">
            <a:xfrm>
              <a:off x="3583" y="3719"/>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t>SGW</a:t>
              </a:r>
              <a:b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t>UP</a:t>
              </a:r>
            </a:p>
          </p:txBody>
        </p:sp>
      </p:grpSp>
      <p:grpSp>
        <p:nvGrpSpPr>
          <p:cNvPr id="180" name="Group 211"/>
          <p:cNvGrpSpPr>
            <a:grpSpLocks noChangeAspect="1"/>
          </p:cNvGrpSpPr>
          <p:nvPr/>
        </p:nvGrpSpPr>
        <p:grpSpPr bwMode="auto">
          <a:xfrm>
            <a:off x="1928766" y="4461307"/>
            <a:ext cx="599219" cy="854082"/>
            <a:chOff x="3569" y="3512"/>
            <a:chExt cx="257" cy="366"/>
          </a:xfrm>
        </p:grpSpPr>
        <p:grpSp>
          <p:nvGrpSpPr>
            <p:cNvPr id="181" name="Group 7"/>
            <p:cNvGrpSpPr>
              <a:grpSpLocks noChangeAspect="1"/>
            </p:cNvGrpSpPr>
            <p:nvPr/>
          </p:nvGrpSpPr>
          <p:grpSpPr bwMode="auto">
            <a:xfrm>
              <a:off x="3569" y="3512"/>
              <a:ext cx="257" cy="366"/>
              <a:chOff x="2245" y="1698"/>
              <a:chExt cx="983" cy="1402"/>
            </a:xfrm>
          </p:grpSpPr>
          <p:pic>
            <p:nvPicPr>
              <p:cNvPr id="183"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5" y="1698"/>
                <a:ext cx="983" cy="14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84" name="Freeform 11"/>
              <p:cNvSpPr>
                <a:spLocks noChangeAspect="1" noEditPoints="1"/>
              </p:cNvSpPr>
              <p:nvPr/>
            </p:nvSpPr>
            <p:spPr bwMode="auto">
              <a:xfrm>
                <a:off x="2252"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7A1D93"/>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a:p>
            </p:txBody>
          </p:sp>
        </p:grpSp>
        <p:sp>
          <p:nvSpPr>
            <p:cNvPr id="182" name="Text Box 215"/>
            <p:cNvSpPr txBox="1">
              <a:spLocks noChangeAspect="1" noChangeArrowheads="1"/>
            </p:cNvSpPr>
            <p:nvPr/>
          </p:nvSpPr>
          <p:spPr bwMode="auto">
            <a:xfrm>
              <a:off x="3583" y="3719"/>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t>PGW</a:t>
              </a:r>
              <a:b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br>
              <a: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t>UP</a:t>
              </a:r>
            </a:p>
          </p:txBody>
        </p:sp>
      </p:grpSp>
      <p:cxnSp>
        <p:nvCxnSpPr>
          <p:cNvPr id="185" name="Straight Connector 184"/>
          <p:cNvCxnSpPr>
            <a:stCxn id="166" idx="3"/>
            <a:endCxn id="172" idx="1"/>
          </p:cNvCxnSpPr>
          <p:nvPr/>
        </p:nvCxnSpPr>
        <p:spPr bwMode="auto">
          <a:xfrm flipV="1">
            <a:off x="1340461" y="4143723"/>
            <a:ext cx="622996" cy="153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6" name="Straight Connector 185"/>
          <p:cNvCxnSpPr>
            <a:stCxn id="172" idx="2"/>
            <a:endCxn id="183" idx="0"/>
          </p:cNvCxnSpPr>
          <p:nvPr/>
        </p:nvCxnSpPr>
        <p:spPr bwMode="auto">
          <a:xfrm flipH="1">
            <a:off x="2228376" y="4316540"/>
            <a:ext cx="1340" cy="14476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87" name="Straight Connector 186"/>
          <p:cNvCxnSpPr/>
          <p:nvPr/>
        </p:nvCxnSpPr>
        <p:spPr bwMode="auto">
          <a:xfrm>
            <a:off x="1062928" y="4330452"/>
            <a:ext cx="0" cy="13188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88" name="Rectangle 187"/>
          <p:cNvSpPr/>
          <p:nvPr/>
        </p:nvSpPr>
        <p:spPr>
          <a:xfrm>
            <a:off x="7132533" y="1663298"/>
            <a:ext cx="4814811" cy="830997"/>
          </a:xfrm>
          <a:prstGeom prst="rect">
            <a:avLst/>
          </a:prstGeom>
        </p:spPr>
        <p:txBody>
          <a:bodyPr wrap="square">
            <a:spAutoFit/>
          </a:bodyPr>
          <a:lstStyle/>
          <a:p>
            <a:pPr algn="ctr"/>
            <a:r>
              <a:rPr lang="en-US" sz="2400" b="1" dirty="0">
                <a:latin typeface="Segoe UI" panose="020B0502040204020203" pitchFamily="34" charset="0"/>
                <a:ea typeface="Segoe UI" panose="020B0502040204020203" pitchFamily="34" charset="0"/>
                <a:cs typeface="Segoe UI" panose="020B0502040204020203" pitchFamily="34" charset="0"/>
              </a:rPr>
              <a:t>5G Core Reference </a:t>
            </a:r>
            <a:br>
              <a:rPr lang="en-US" sz="2400" b="1" dirty="0">
                <a:latin typeface="Segoe UI" panose="020B0502040204020203" pitchFamily="34" charset="0"/>
                <a:ea typeface="Segoe UI" panose="020B0502040204020203" pitchFamily="34" charset="0"/>
                <a:cs typeface="Segoe UI" panose="020B0502040204020203" pitchFamily="34" charset="0"/>
              </a:rPr>
            </a:br>
            <a:r>
              <a:rPr lang="en-US" sz="2400" b="1" dirty="0">
                <a:latin typeface="Segoe UI" panose="020B0502040204020203" pitchFamily="34" charset="0"/>
                <a:ea typeface="Segoe UI" panose="020B0502040204020203" pitchFamily="34" charset="0"/>
                <a:cs typeface="Segoe UI" panose="020B0502040204020203" pitchFamily="34" charset="0"/>
              </a:rPr>
              <a:t>Architecture MBB (baseline)</a:t>
            </a:r>
          </a:p>
        </p:txBody>
      </p:sp>
      <p:grpSp>
        <p:nvGrpSpPr>
          <p:cNvPr id="189" name="Group 557"/>
          <p:cNvGrpSpPr>
            <a:grpSpLocks noChangeAspect="1"/>
          </p:cNvGrpSpPr>
          <p:nvPr/>
        </p:nvGrpSpPr>
        <p:grpSpPr bwMode="auto">
          <a:xfrm>
            <a:off x="10119451" y="3097791"/>
            <a:ext cx="713418" cy="994470"/>
            <a:chOff x="3510" y="1858"/>
            <a:chExt cx="363" cy="520"/>
          </a:xfrm>
        </p:grpSpPr>
        <p:sp>
          <p:nvSpPr>
            <p:cNvPr id="190"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191"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192"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SMF</a:t>
              </a:r>
            </a:p>
          </p:txBody>
        </p:sp>
        <p:sp>
          <p:nvSpPr>
            <p:cNvPr id="193"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194"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cxnSp>
        <p:nvCxnSpPr>
          <p:cNvPr id="195" name="Straight Connector 203"/>
          <p:cNvCxnSpPr>
            <a:cxnSpLocks noChangeShapeType="1"/>
          </p:cNvCxnSpPr>
          <p:nvPr/>
        </p:nvCxnSpPr>
        <p:spPr bwMode="auto">
          <a:xfrm>
            <a:off x="7061721" y="4472847"/>
            <a:ext cx="3049616" cy="900860"/>
          </a:xfrm>
          <a:prstGeom prst="bentConnector3">
            <a:avLst>
              <a:gd name="adj1" fmla="val 71836"/>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196" name="Straight Connector 203"/>
          <p:cNvCxnSpPr>
            <a:cxnSpLocks noChangeShapeType="1"/>
          </p:cNvCxnSpPr>
          <p:nvPr/>
        </p:nvCxnSpPr>
        <p:spPr bwMode="auto">
          <a:xfrm>
            <a:off x="10214731" y="5339029"/>
            <a:ext cx="1552213" cy="0"/>
          </a:xfrm>
          <a:prstGeom prst="straightConnector1">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197" name="Straight Connector 203"/>
          <p:cNvCxnSpPr>
            <a:cxnSpLocks noChangeShapeType="1"/>
            <a:stCxn id="190" idx="2"/>
            <a:endCxn id="210" idx="0"/>
          </p:cNvCxnSpPr>
          <p:nvPr/>
        </p:nvCxnSpPr>
        <p:spPr bwMode="auto">
          <a:xfrm rot="5400000">
            <a:off x="10232739" y="4320420"/>
            <a:ext cx="484038" cy="4771"/>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98" name="Line 169"/>
          <p:cNvSpPr>
            <a:spLocks noChangeShapeType="1"/>
          </p:cNvSpPr>
          <p:nvPr/>
        </p:nvSpPr>
        <p:spPr bwMode="auto">
          <a:xfrm flipH="1">
            <a:off x="10012530" y="3209451"/>
            <a:ext cx="1" cy="5964"/>
          </a:xfrm>
          <a:prstGeom prst="line">
            <a:avLst/>
          </a:prstGeom>
          <a:noFill/>
          <a:ln w="9525">
            <a:solidFill>
              <a:schemeClr val="accent4">
                <a:lumMod val="50000"/>
              </a:schemeClr>
            </a:solidFill>
            <a:prstDash val="dash"/>
            <a:round/>
            <a:headEnd/>
            <a:tailEnd/>
          </a:ln>
        </p:spPr>
        <p:txBody>
          <a:bodyPr/>
          <a:lstStyle/>
          <a:p>
            <a:pPr>
              <a:defRPr/>
            </a:pPr>
            <a:endParaRPr lang="sv-SE" sz="1200">
              <a:solidFill>
                <a:srgbClr val="58585A"/>
              </a:solidFill>
            </a:endParaRPr>
          </a:p>
        </p:txBody>
      </p:sp>
      <p:sp>
        <p:nvSpPr>
          <p:cNvPr id="199" name="TextBox 198"/>
          <p:cNvSpPr txBox="1"/>
          <p:nvPr/>
        </p:nvSpPr>
        <p:spPr>
          <a:xfrm>
            <a:off x="7705498" y="3663042"/>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2</a:t>
            </a:r>
          </a:p>
        </p:txBody>
      </p:sp>
      <p:sp>
        <p:nvSpPr>
          <p:cNvPr id="200" name="TextBox 199"/>
          <p:cNvSpPr txBox="1"/>
          <p:nvPr/>
        </p:nvSpPr>
        <p:spPr>
          <a:xfrm>
            <a:off x="7711479" y="4239679"/>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3</a:t>
            </a:r>
          </a:p>
        </p:txBody>
      </p:sp>
      <p:sp>
        <p:nvSpPr>
          <p:cNvPr id="201" name="TextBox 200"/>
          <p:cNvSpPr txBox="1"/>
          <p:nvPr/>
        </p:nvSpPr>
        <p:spPr>
          <a:xfrm>
            <a:off x="11334830" y="5096708"/>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6</a:t>
            </a:r>
          </a:p>
        </p:txBody>
      </p:sp>
      <p:grpSp>
        <p:nvGrpSpPr>
          <p:cNvPr id="202" name="Group 278"/>
          <p:cNvGrpSpPr>
            <a:grpSpLocks noChangeAspect="1"/>
          </p:cNvGrpSpPr>
          <p:nvPr/>
        </p:nvGrpSpPr>
        <p:grpSpPr bwMode="auto">
          <a:xfrm>
            <a:off x="6880849" y="3661619"/>
            <a:ext cx="726971" cy="1043784"/>
            <a:chOff x="3106" y="2389"/>
            <a:chExt cx="363" cy="520"/>
          </a:xfrm>
        </p:grpSpPr>
        <p:sp>
          <p:nvSpPr>
            <p:cNvPr id="203"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4"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5"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 5G RAN</a:t>
              </a:r>
            </a:p>
          </p:txBody>
        </p:sp>
        <p:sp>
          <p:nvSpPr>
            <p:cNvPr id="206"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7"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208" name="Group 264"/>
          <p:cNvGrpSpPr>
            <a:grpSpLocks noChangeAspect="1"/>
          </p:cNvGrpSpPr>
          <p:nvPr/>
        </p:nvGrpSpPr>
        <p:grpSpPr bwMode="auto">
          <a:xfrm>
            <a:off x="10102179" y="4550578"/>
            <a:ext cx="742431" cy="1058241"/>
            <a:chOff x="644" y="2384"/>
            <a:chExt cx="363" cy="520"/>
          </a:xfrm>
        </p:grpSpPr>
        <p:sp>
          <p:nvSpPr>
            <p:cNvPr id="209"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10"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11" name="Text Box 144"/>
            <p:cNvSpPr txBox="1">
              <a:spLocks noChangeAspect="1" noChangeArrowheads="1"/>
            </p:cNvSpPr>
            <p:nvPr/>
          </p:nvSpPr>
          <p:spPr bwMode="auto">
            <a:xfrm>
              <a:off x="661" y="2667"/>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lnSpc>
                  <a:spcPct val="80000"/>
                </a:lnSpc>
                <a:spcBef>
                  <a:spcPct val="0"/>
                </a:spcBef>
                <a:buClrTx/>
                <a:buFontTx/>
                <a:buNone/>
              </a:pPr>
              <a:endParaRPr lang="en-US" altLang="en-US" sz="1000" dirty="0">
                <a:solidFill>
                  <a:srgbClr val="8F3F7B"/>
                </a:solidFill>
                <a:ea typeface="MS PGothic" pitchFamily="34" charset="-128"/>
                <a:cs typeface="MS PGothic" pitchFamily="34" charset="-128"/>
              </a:endParaRPr>
            </a:p>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UPF</a:t>
              </a:r>
              <a:endParaRPr lang="en-US" altLang="en-US" sz="11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12"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13"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214" name="Group 213"/>
          <p:cNvGrpSpPr/>
          <p:nvPr/>
        </p:nvGrpSpPr>
        <p:grpSpPr>
          <a:xfrm>
            <a:off x="11239004" y="3596163"/>
            <a:ext cx="583889" cy="789793"/>
            <a:chOff x="2418855" y="2964540"/>
            <a:chExt cx="428873" cy="582717"/>
          </a:xfrm>
        </p:grpSpPr>
        <p:sp>
          <p:nvSpPr>
            <p:cNvPr id="215"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16"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17"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200" b="1" dirty="0">
                  <a:solidFill>
                    <a:srgbClr val="7B0663"/>
                  </a:solidFill>
                  <a:latin typeface="Segoe UI" panose="020B0502040204020203" pitchFamily="34" charset="0"/>
                  <a:ea typeface="Segoe UI" panose="020B0502040204020203" pitchFamily="34" charset="0"/>
                  <a:cs typeface="Segoe UI" panose="020B0502040204020203" pitchFamily="34" charset="0"/>
                </a:rPr>
                <a:t>PCF</a:t>
              </a:r>
            </a:p>
          </p:txBody>
        </p:sp>
        <p:sp>
          <p:nvSpPr>
            <p:cNvPr id="218"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220" name="Straight Connector 203"/>
          <p:cNvCxnSpPr>
            <a:cxnSpLocks noChangeShapeType="1"/>
            <a:stCxn id="191" idx="0"/>
            <a:endCxn id="233" idx="2"/>
          </p:cNvCxnSpPr>
          <p:nvPr/>
        </p:nvCxnSpPr>
        <p:spPr bwMode="auto">
          <a:xfrm rot="5400000" flipH="1" flipV="1">
            <a:off x="10759105" y="2623799"/>
            <a:ext cx="203452" cy="771306"/>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21" name="TextBox 220"/>
          <p:cNvSpPr txBox="1"/>
          <p:nvPr/>
        </p:nvSpPr>
        <p:spPr>
          <a:xfrm>
            <a:off x="3768024" y="4844489"/>
            <a:ext cx="5267488" cy="1569660"/>
          </a:xfrm>
          <a:prstGeom prst="rect">
            <a:avLst/>
          </a:prstGeom>
          <a:solidFill>
            <a:schemeClr val="bg1"/>
          </a:solidFill>
        </p:spPr>
        <p:txBody>
          <a:bodyPr wrap="square" rtlCol="0">
            <a:spAutoFit/>
          </a:bodyPr>
          <a:lstStyle/>
          <a:p>
            <a:r>
              <a:rPr lang="en-US" sz="2400" b="1" dirty="0">
                <a:solidFill>
                  <a:schemeClr val="accent1">
                    <a:lumMod val="75000"/>
                  </a:schemeClr>
                </a:solidFill>
              </a:rPr>
              <a:t>The 5G CP-UP interface should be based on the EPC CUPS CP-UP interface, with enhancements for 5G as needed</a:t>
            </a:r>
          </a:p>
        </p:txBody>
      </p:sp>
      <p:grpSp>
        <p:nvGrpSpPr>
          <p:cNvPr id="222" name="Group 211"/>
          <p:cNvGrpSpPr>
            <a:grpSpLocks noChangeAspect="1"/>
          </p:cNvGrpSpPr>
          <p:nvPr/>
        </p:nvGrpSpPr>
        <p:grpSpPr bwMode="auto">
          <a:xfrm>
            <a:off x="2680385" y="4458261"/>
            <a:ext cx="599219" cy="854082"/>
            <a:chOff x="3569" y="3512"/>
            <a:chExt cx="257" cy="366"/>
          </a:xfrm>
        </p:grpSpPr>
        <p:grpSp>
          <p:nvGrpSpPr>
            <p:cNvPr id="223" name="Group 7"/>
            <p:cNvGrpSpPr>
              <a:grpSpLocks noChangeAspect="1"/>
            </p:cNvGrpSpPr>
            <p:nvPr/>
          </p:nvGrpSpPr>
          <p:grpSpPr bwMode="auto">
            <a:xfrm>
              <a:off x="3569" y="3512"/>
              <a:ext cx="257" cy="366"/>
              <a:chOff x="2245" y="1698"/>
              <a:chExt cx="983" cy="1402"/>
            </a:xfrm>
          </p:grpSpPr>
          <p:pic>
            <p:nvPicPr>
              <p:cNvPr id="225"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5" y="1698"/>
                <a:ext cx="983" cy="14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26" name="Freeform 11"/>
              <p:cNvSpPr>
                <a:spLocks noChangeAspect="1" noEditPoints="1"/>
              </p:cNvSpPr>
              <p:nvPr/>
            </p:nvSpPr>
            <p:spPr bwMode="auto">
              <a:xfrm>
                <a:off x="2252"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2147483647 w 410"/>
                  <a:gd name="T75" fmla="*/ 2147483647 h 589"/>
                  <a:gd name="T76" fmla="*/ 2147483647 w 410"/>
                  <a:gd name="T77" fmla="*/ 2147483647 h 589"/>
                  <a:gd name="T78" fmla="*/ 2147483647 w 410"/>
                  <a:gd name="T79" fmla="*/ 2147483647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7A1D93"/>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pPr algn="ctr"/>
                <a:endParaRPr lang="en-US"/>
              </a:p>
            </p:txBody>
          </p:sp>
        </p:grpSp>
        <p:sp>
          <p:nvSpPr>
            <p:cNvPr id="224" name="Text Box 215"/>
            <p:cNvSpPr txBox="1">
              <a:spLocks noChangeAspect="1" noChangeArrowheads="1"/>
            </p:cNvSpPr>
            <p:nvPr/>
          </p:nvSpPr>
          <p:spPr bwMode="auto">
            <a:xfrm>
              <a:off x="3583" y="3719"/>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ctr" eaLnBrk="1" hangingPunct="1"/>
              <a:r>
                <a:rPr lang="en-US" sz="1400" b="1" dirty="0">
                  <a:solidFill>
                    <a:srgbClr val="7A1D93"/>
                  </a:solidFill>
                  <a:latin typeface="Segoe UI" panose="020B0502040204020203" pitchFamily="34" charset="0"/>
                  <a:ea typeface="Segoe UI" panose="020B0502040204020203" pitchFamily="34" charset="0"/>
                  <a:cs typeface="Segoe UI" panose="020B0502040204020203" pitchFamily="34" charset="0"/>
                </a:rPr>
                <a:t>TDF</a:t>
              </a:r>
            </a:p>
          </p:txBody>
        </p:sp>
      </p:grpSp>
      <p:cxnSp>
        <p:nvCxnSpPr>
          <p:cNvPr id="227" name="Straight Connector 226"/>
          <p:cNvCxnSpPr>
            <a:stCxn id="153" idx="2"/>
            <a:endCxn id="225" idx="0"/>
          </p:cNvCxnSpPr>
          <p:nvPr/>
        </p:nvCxnSpPr>
        <p:spPr bwMode="auto">
          <a:xfrm flipH="1">
            <a:off x="2979995" y="3412886"/>
            <a:ext cx="108573" cy="104537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28" name="TextBox 227"/>
          <p:cNvSpPr txBox="1"/>
          <p:nvPr/>
        </p:nvSpPr>
        <p:spPr>
          <a:xfrm>
            <a:off x="3050742" y="3456716"/>
            <a:ext cx="365806" cy="276999"/>
          </a:xfrm>
          <a:prstGeom prst="rect">
            <a:avLst/>
          </a:prstGeom>
          <a:noFill/>
        </p:spPr>
        <p:txBody>
          <a:bodyPr wrap="none" rtlCol="0">
            <a:spAutoFit/>
          </a:bodyPr>
          <a:lstStyle/>
          <a:p>
            <a:r>
              <a:rPr lang="en-US" sz="1200" b="1" dirty="0" err="1">
                <a:latin typeface="Segoe UI" panose="020B0502040204020203" pitchFamily="34" charset="0"/>
                <a:ea typeface="Segoe UI" panose="020B0502040204020203" pitchFamily="34" charset="0"/>
                <a:cs typeface="Segoe UI" panose="020B0502040204020203" pitchFamily="34" charset="0"/>
              </a:rPr>
              <a:t>Sd</a:t>
            </a:r>
            <a:endParaRPr lang="en-US" sz="1200" b="1" dirty="0">
              <a:latin typeface="Segoe UI" panose="020B0502040204020203" pitchFamily="34" charset="0"/>
              <a:ea typeface="Segoe UI" panose="020B0502040204020203" pitchFamily="34" charset="0"/>
              <a:cs typeface="Segoe UI" panose="020B0502040204020203" pitchFamily="34" charset="0"/>
            </a:endParaRPr>
          </a:p>
        </p:txBody>
      </p:sp>
      <p:cxnSp>
        <p:nvCxnSpPr>
          <p:cNvPr id="229" name="Straight Connector 203"/>
          <p:cNvCxnSpPr>
            <a:cxnSpLocks noChangeShapeType="1"/>
            <a:stCxn id="191" idx="6"/>
            <a:endCxn id="218" idx="1"/>
          </p:cNvCxnSpPr>
          <p:nvPr/>
        </p:nvCxnSpPr>
        <p:spPr bwMode="auto">
          <a:xfrm>
            <a:off x="10821077" y="3450637"/>
            <a:ext cx="417927" cy="540423"/>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30" name="Arc 229"/>
          <p:cNvSpPr/>
          <p:nvPr/>
        </p:nvSpPr>
        <p:spPr bwMode="auto">
          <a:xfrm flipV="1">
            <a:off x="2296711" y="3958695"/>
            <a:ext cx="7967651" cy="866061"/>
          </a:xfrm>
          <a:prstGeom prst="arc">
            <a:avLst>
              <a:gd name="adj1" fmla="val 10809657"/>
              <a:gd name="adj2" fmla="val 21574634"/>
            </a:avLst>
          </a:prstGeom>
          <a:noFill/>
          <a:ln w="76200" cap="flat" cmpd="sng" algn="ctr">
            <a:solidFill>
              <a:srgbClr val="89BA17"/>
            </a:solidFill>
            <a:prstDash val="solid"/>
            <a:round/>
            <a:headEnd type="none" w="med" len="med"/>
            <a:tailEnd type="triangle" w="med" len="med"/>
          </a:ln>
          <a:effectLst/>
          <a:extLst>
            <a:ext uri="{909E8E84-426E-40DD-AFC4-6F175D3DCCD1}">
              <a14:hiddenFill xmlns:a14="http://schemas.microsoft.com/office/drawing/2010/main">
                <a:blipFill>
                  <a:blip r:embed="rId4"/>
                  <a:stretch>
                    <a:fillRect/>
                  </a:stretch>
                </a:blip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231" name="Group 45"/>
          <p:cNvGrpSpPr>
            <a:grpSpLocks noChangeAspect="1"/>
          </p:cNvGrpSpPr>
          <p:nvPr/>
        </p:nvGrpSpPr>
        <p:grpSpPr bwMode="auto">
          <a:xfrm>
            <a:off x="11238159" y="2605823"/>
            <a:ext cx="604375" cy="850893"/>
            <a:chOff x="1057" y="1587"/>
            <a:chExt cx="363" cy="520"/>
          </a:xfrm>
        </p:grpSpPr>
        <p:sp>
          <p:nvSpPr>
            <p:cNvPr id="232"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33"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34"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200" b="1" dirty="0">
                  <a:solidFill>
                    <a:srgbClr val="00A9D4"/>
                  </a:solidFill>
                  <a:latin typeface="Segoe UI" panose="020B0502040204020203" pitchFamily="34" charset="0"/>
                  <a:ea typeface="Segoe UI" panose="020B0502040204020203" pitchFamily="34" charset="0"/>
                  <a:cs typeface="Segoe UI" panose="020B0502040204020203" pitchFamily="34" charset="0"/>
                </a:rPr>
                <a:t>UDM</a:t>
              </a:r>
            </a:p>
          </p:txBody>
        </p:sp>
        <p:sp>
          <p:nvSpPr>
            <p:cNvPr id="23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236"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sp>
        <p:nvSpPr>
          <p:cNvPr id="237" name="TextBox 236"/>
          <p:cNvSpPr txBox="1"/>
          <p:nvPr/>
        </p:nvSpPr>
        <p:spPr>
          <a:xfrm>
            <a:off x="10438447" y="4198005"/>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4</a:t>
            </a:r>
          </a:p>
        </p:txBody>
      </p:sp>
      <p:grpSp>
        <p:nvGrpSpPr>
          <p:cNvPr id="238" name="Group 557"/>
          <p:cNvGrpSpPr>
            <a:grpSpLocks noChangeAspect="1"/>
          </p:cNvGrpSpPr>
          <p:nvPr/>
        </p:nvGrpSpPr>
        <p:grpSpPr bwMode="auto">
          <a:xfrm>
            <a:off x="8756927" y="3127862"/>
            <a:ext cx="713418" cy="994470"/>
            <a:chOff x="3510" y="1858"/>
            <a:chExt cx="363" cy="520"/>
          </a:xfrm>
        </p:grpSpPr>
        <p:sp>
          <p:nvSpPr>
            <p:cNvPr id="239"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240"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241"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AMF</a:t>
              </a:r>
            </a:p>
          </p:txBody>
        </p:sp>
        <p:sp>
          <p:nvSpPr>
            <p:cNvPr id="242"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243"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sp>
        <p:nvSpPr>
          <p:cNvPr id="244" name="TextBox 243"/>
          <p:cNvSpPr txBox="1"/>
          <p:nvPr/>
        </p:nvSpPr>
        <p:spPr>
          <a:xfrm>
            <a:off x="9512843" y="3515383"/>
            <a:ext cx="482824"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11</a:t>
            </a:r>
          </a:p>
        </p:txBody>
      </p:sp>
      <p:cxnSp>
        <p:nvCxnSpPr>
          <p:cNvPr id="245" name="Straight Connector 203"/>
          <p:cNvCxnSpPr>
            <a:cxnSpLocks noChangeShapeType="1"/>
            <a:stCxn id="240" idx="0"/>
          </p:cNvCxnSpPr>
          <p:nvPr/>
        </p:nvCxnSpPr>
        <p:spPr bwMode="auto">
          <a:xfrm rot="5400000" flipH="1" flipV="1">
            <a:off x="10006350" y="1812767"/>
            <a:ext cx="434787" cy="2222178"/>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09310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par>
                                <p:cTn id="8" presetID="10" presetClass="entr" presetSubtype="0" fill="hold" nodeType="withEffect">
                                  <p:stCondLst>
                                    <p:cond delay="0"/>
                                  </p:stCondLst>
                                  <p:childTnLst>
                                    <p:set>
                                      <p:cBhvr>
                                        <p:cTn id="9" dur="1" fill="hold">
                                          <p:stCondLst>
                                            <p:cond delay="0"/>
                                          </p:stCondLst>
                                        </p:cTn>
                                        <p:tgtEl>
                                          <p:spTgt spid="189"/>
                                        </p:tgtEl>
                                        <p:attrNameLst>
                                          <p:attrName>style.visibility</p:attrName>
                                        </p:attrNameLst>
                                      </p:cBhvr>
                                      <p:to>
                                        <p:strVal val="visible"/>
                                      </p:to>
                                    </p:set>
                                    <p:animEffect transition="in" filter="fade">
                                      <p:cBhvr>
                                        <p:cTn id="10" dur="500"/>
                                        <p:tgtEl>
                                          <p:spTgt spid="189"/>
                                        </p:tgtEl>
                                      </p:cBhvr>
                                    </p:animEffect>
                                  </p:childTnLst>
                                </p:cTn>
                              </p:par>
                              <p:par>
                                <p:cTn id="11" presetID="10" presetClass="entr" presetSubtype="0" fill="hold" nodeType="withEffect">
                                  <p:stCondLst>
                                    <p:cond delay="0"/>
                                  </p:stCondLst>
                                  <p:childTnLst>
                                    <p:set>
                                      <p:cBhvr>
                                        <p:cTn id="12" dur="1" fill="hold">
                                          <p:stCondLst>
                                            <p:cond delay="0"/>
                                          </p:stCondLst>
                                        </p:cTn>
                                        <p:tgtEl>
                                          <p:spTgt spid="195"/>
                                        </p:tgtEl>
                                        <p:attrNameLst>
                                          <p:attrName>style.visibility</p:attrName>
                                        </p:attrNameLst>
                                      </p:cBhvr>
                                      <p:to>
                                        <p:strVal val="visible"/>
                                      </p:to>
                                    </p:set>
                                    <p:animEffect transition="in" filter="fade">
                                      <p:cBhvr>
                                        <p:cTn id="13" dur="500"/>
                                        <p:tgtEl>
                                          <p:spTgt spid="195"/>
                                        </p:tgtEl>
                                      </p:cBhvr>
                                    </p:animEffect>
                                  </p:childTnLst>
                                </p:cTn>
                              </p:par>
                              <p:par>
                                <p:cTn id="14" presetID="10" presetClass="entr" presetSubtype="0" fill="hold" nodeType="withEffect">
                                  <p:stCondLst>
                                    <p:cond delay="0"/>
                                  </p:stCondLst>
                                  <p:childTnLst>
                                    <p:set>
                                      <p:cBhvr>
                                        <p:cTn id="15" dur="1" fill="hold">
                                          <p:stCondLst>
                                            <p:cond delay="0"/>
                                          </p:stCondLst>
                                        </p:cTn>
                                        <p:tgtEl>
                                          <p:spTgt spid="196"/>
                                        </p:tgtEl>
                                        <p:attrNameLst>
                                          <p:attrName>style.visibility</p:attrName>
                                        </p:attrNameLst>
                                      </p:cBhvr>
                                      <p:to>
                                        <p:strVal val="visible"/>
                                      </p:to>
                                    </p:set>
                                    <p:animEffect transition="in" filter="fade">
                                      <p:cBhvr>
                                        <p:cTn id="16" dur="500"/>
                                        <p:tgtEl>
                                          <p:spTgt spid="196"/>
                                        </p:tgtEl>
                                      </p:cBhvr>
                                    </p:animEffect>
                                  </p:childTnLst>
                                </p:cTn>
                              </p:par>
                              <p:par>
                                <p:cTn id="17" presetID="10" presetClass="entr" presetSubtype="0" fill="hold" nodeType="withEffect">
                                  <p:stCondLst>
                                    <p:cond delay="0"/>
                                  </p:stCondLst>
                                  <p:childTnLst>
                                    <p:set>
                                      <p:cBhvr>
                                        <p:cTn id="18" dur="1" fill="hold">
                                          <p:stCondLst>
                                            <p:cond delay="0"/>
                                          </p:stCondLst>
                                        </p:cTn>
                                        <p:tgtEl>
                                          <p:spTgt spid="197"/>
                                        </p:tgtEl>
                                        <p:attrNameLst>
                                          <p:attrName>style.visibility</p:attrName>
                                        </p:attrNameLst>
                                      </p:cBhvr>
                                      <p:to>
                                        <p:strVal val="visible"/>
                                      </p:to>
                                    </p:set>
                                    <p:animEffect transition="in" filter="fade">
                                      <p:cBhvr>
                                        <p:cTn id="19" dur="500"/>
                                        <p:tgtEl>
                                          <p:spTgt spid="19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8"/>
                                        </p:tgtEl>
                                        <p:attrNameLst>
                                          <p:attrName>style.visibility</p:attrName>
                                        </p:attrNameLst>
                                      </p:cBhvr>
                                      <p:to>
                                        <p:strVal val="visible"/>
                                      </p:to>
                                    </p:set>
                                    <p:animEffect transition="in" filter="fade">
                                      <p:cBhvr>
                                        <p:cTn id="22" dur="500"/>
                                        <p:tgtEl>
                                          <p:spTgt spid="1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9"/>
                                        </p:tgtEl>
                                        <p:attrNameLst>
                                          <p:attrName>style.visibility</p:attrName>
                                        </p:attrNameLst>
                                      </p:cBhvr>
                                      <p:to>
                                        <p:strVal val="visible"/>
                                      </p:to>
                                    </p:set>
                                    <p:animEffect transition="in" filter="fade">
                                      <p:cBhvr>
                                        <p:cTn id="25" dur="500"/>
                                        <p:tgtEl>
                                          <p:spTgt spid="19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0"/>
                                        </p:tgtEl>
                                        <p:attrNameLst>
                                          <p:attrName>style.visibility</p:attrName>
                                        </p:attrNameLst>
                                      </p:cBhvr>
                                      <p:to>
                                        <p:strVal val="visible"/>
                                      </p:to>
                                    </p:set>
                                    <p:animEffect transition="in" filter="fade">
                                      <p:cBhvr>
                                        <p:cTn id="28" dur="500"/>
                                        <p:tgtEl>
                                          <p:spTgt spid="20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1"/>
                                        </p:tgtEl>
                                        <p:attrNameLst>
                                          <p:attrName>style.visibility</p:attrName>
                                        </p:attrNameLst>
                                      </p:cBhvr>
                                      <p:to>
                                        <p:strVal val="visible"/>
                                      </p:to>
                                    </p:set>
                                    <p:animEffect transition="in" filter="fade">
                                      <p:cBhvr>
                                        <p:cTn id="31" dur="500"/>
                                        <p:tgtEl>
                                          <p:spTgt spid="201"/>
                                        </p:tgtEl>
                                      </p:cBhvr>
                                    </p:animEffect>
                                  </p:childTnLst>
                                </p:cTn>
                              </p:par>
                              <p:par>
                                <p:cTn id="32" presetID="10" presetClass="entr" presetSubtype="0" fill="hold" nodeType="withEffect">
                                  <p:stCondLst>
                                    <p:cond delay="0"/>
                                  </p:stCondLst>
                                  <p:childTnLst>
                                    <p:set>
                                      <p:cBhvr>
                                        <p:cTn id="33" dur="1" fill="hold">
                                          <p:stCondLst>
                                            <p:cond delay="0"/>
                                          </p:stCondLst>
                                        </p:cTn>
                                        <p:tgtEl>
                                          <p:spTgt spid="202"/>
                                        </p:tgtEl>
                                        <p:attrNameLst>
                                          <p:attrName>style.visibility</p:attrName>
                                        </p:attrNameLst>
                                      </p:cBhvr>
                                      <p:to>
                                        <p:strVal val="visible"/>
                                      </p:to>
                                    </p:set>
                                    <p:animEffect transition="in" filter="fade">
                                      <p:cBhvr>
                                        <p:cTn id="34" dur="500"/>
                                        <p:tgtEl>
                                          <p:spTgt spid="202"/>
                                        </p:tgtEl>
                                      </p:cBhvr>
                                    </p:animEffect>
                                  </p:childTnLst>
                                </p:cTn>
                              </p:par>
                              <p:par>
                                <p:cTn id="35" presetID="10" presetClass="entr" presetSubtype="0" fill="hold" nodeType="withEffect">
                                  <p:stCondLst>
                                    <p:cond delay="0"/>
                                  </p:stCondLst>
                                  <p:childTnLst>
                                    <p:set>
                                      <p:cBhvr>
                                        <p:cTn id="36" dur="1" fill="hold">
                                          <p:stCondLst>
                                            <p:cond delay="0"/>
                                          </p:stCondLst>
                                        </p:cTn>
                                        <p:tgtEl>
                                          <p:spTgt spid="208"/>
                                        </p:tgtEl>
                                        <p:attrNameLst>
                                          <p:attrName>style.visibility</p:attrName>
                                        </p:attrNameLst>
                                      </p:cBhvr>
                                      <p:to>
                                        <p:strVal val="visible"/>
                                      </p:to>
                                    </p:set>
                                    <p:animEffect transition="in" filter="fade">
                                      <p:cBhvr>
                                        <p:cTn id="37" dur="500"/>
                                        <p:tgtEl>
                                          <p:spTgt spid="208"/>
                                        </p:tgtEl>
                                      </p:cBhvr>
                                    </p:animEffect>
                                  </p:childTnLst>
                                </p:cTn>
                              </p:par>
                              <p:par>
                                <p:cTn id="38" presetID="10" presetClass="entr" presetSubtype="0" fill="hold" nodeType="withEffect">
                                  <p:stCondLst>
                                    <p:cond delay="0"/>
                                  </p:stCondLst>
                                  <p:childTnLst>
                                    <p:set>
                                      <p:cBhvr>
                                        <p:cTn id="39" dur="1" fill="hold">
                                          <p:stCondLst>
                                            <p:cond delay="0"/>
                                          </p:stCondLst>
                                        </p:cTn>
                                        <p:tgtEl>
                                          <p:spTgt spid="214"/>
                                        </p:tgtEl>
                                        <p:attrNameLst>
                                          <p:attrName>style.visibility</p:attrName>
                                        </p:attrNameLst>
                                      </p:cBhvr>
                                      <p:to>
                                        <p:strVal val="visible"/>
                                      </p:to>
                                    </p:set>
                                    <p:animEffect transition="in" filter="fade">
                                      <p:cBhvr>
                                        <p:cTn id="40" dur="500"/>
                                        <p:tgtEl>
                                          <p:spTgt spid="214"/>
                                        </p:tgtEl>
                                      </p:cBhvr>
                                    </p:animEffect>
                                  </p:childTnLst>
                                </p:cTn>
                              </p:par>
                              <p:par>
                                <p:cTn id="41" presetID="10" presetClass="entr" presetSubtype="0" fill="hold" nodeType="withEffect">
                                  <p:stCondLst>
                                    <p:cond delay="0"/>
                                  </p:stCondLst>
                                  <p:childTnLst>
                                    <p:set>
                                      <p:cBhvr>
                                        <p:cTn id="42" dur="1" fill="hold">
                                          <p:stCondLst>
                                            <p:cond delay="0"/>
                                          </p:stCondLst>
                                        </p:cTn>
                                        <p:tgtEl>
                                          <p:spTgt spid="220"/>
                                        </p:tgtEl>
                                        <p:attrNameLst>
                                          <p:attrName>style.visibility</p:attrName>
                                        </p:attrNameLst>
                                      </p:cBhvr>
                                      <p:to>
                                        <p:strVal val="visible"/>
                                      </p:to>
                                    </p:set>
                                    <p:animEffect transition="in" filter="fade">
                                      <p:cBhvr>
                                        <p:cTn id="43" dur="500"/>
                                        <p:tgtEl>
                                          <p:spTgt spid="220"/>
                                        </p:tgtEl>
                                      </p:cBhvr>
                                    </p:animEffect>
                                  </p:childTnLst>
                                </p:cTn>
                              </p:par>
                              <p:par>
                                <p:cTn id="44" presetID="10" presetClass="entr" presetSubtype="0" fill="hold" nodeType="withEffect">
                                  <p:stCondLst>
                                    <p:cond delay="0"/>
                                  </p:stCondLst>
                                  <p:childTnLst>
                                    <p:set>
                                      <p:cBhvr>
                                        <p:cTn id="45" dur="1" fill="hold">
                                          <p:stCondLst>
                                            <p:cond delay="0"/>
                                          </p:stCondLst>
                                        </p:cTn>
                                        <p:tgtEl>
                                          <p:spTgt spid="229"/>
                                        </p:tgtEl>
                                        <p:attrNameLst>
                                          <p:attrName>style.visibility</p:attrName>
                                        </p:attrNameLst>
                                      </p:cBhvr>
                                      <p:to>
                                        <p:strVal val="visible"/>
                                      </p:to>
                                    </p:set>
                                    <p:animEffect transition="in" filter="fade">
                                      <p:cBhvr>
                                        <p:cTn id="46" dur="500"/>
                                        <p:tgtEl>
                                          <p:spTgt spid="229"/>
                                        </p:tgtEl>
                                      </p:cBhvr>
                                    </p:animEffect>
                                  </p:childTnLst>
                                </p:cTn>
                              </p:par>
                              <p:par>
                                <p:cTn id="47" presetID="10" presetClass="entr" presetSubtype="0" fill="hold" nodeType="withEffect">
                                  <p:stCondLst>
                                    <p:cond delay="0"/>
                                  </p:stCondLst>
                                  <p:childTnLst>
                                    <p:set>
                                      <p:cBhvr>
                                        <p:cTn id="48" dur="1" fill="hold">
                                          <p:stCondLst>
                                            <p:cond delay="0"/>
                                          </p:stCondLst>
                                        </p:cTn>
                                        <p:tgtEl>
                                          <p:spTgt spid="231"/>
                                        </p:tgtEl>
                                        <p:attrNameLst>
                                          <p:attrName>style.visibility</p:attrName>
                                        </p:attrNameLst>
                                      </p:cBhvr>
                                      <p:to>
                                        <p:strVal val="visible"/>
                                      </p:to>
                                    </p:set>
                                    <p:animEffect transition="in" filter="fade">
                                      <p:cBhvr>
                                        <p:cTn id="49" dur="500"/>
                                        <p:tgtEl>
                                          <p:spTgt spid="2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8"/>
                                        </p:tgtEl>
                                        <p:attrNameLst>
                                          <p:attrName>style.visibility</p:attrName>
                                        </p:attrNameLst>
                                      </p:cBhvr>
                                      <p:to>
                                        <p:strVal val="visible"/>
                                      </p:to>
                                    </p:set>
                                    <p:animEffect transition="in" filter="fade">
                                      <p:cBhvr>
                                        <p:cTn id="52" dur="500"/>
                                        <p:tgtEl>
                                          <p:spTgt spid="18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21"/>
                                        </p:tgtEl>
                                        <p:attrNameLst>
                                          <p:attrName>style.visibility</p:attrName>
                                        </p:attrNameLst>
                                      </p:cBhvr>
                                      <p:to>
                                        <p:strVal val="visible"/>
                                      </p:to>
                                    </p:set>
                                    <p:animEffect transition="in" filter="fade">
                                      <p:cBhvr>
                                        <p:cTn id="57" dur="500"/>
                                        <p:tgtEl>
                                          <p:spTgt spid="22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30"/>
                                        </p:tgtEl>
                                        <p:attrNameLst>
                                          <p:attrName>style.visibility</p:attrName>
                                        </p:attrNameLst>
                                      </p:cBhvr>
                                      <p:to>
                                        <p:strVal val="visible"/>
                                      </p:to>
                                    </p:set>
                                    <p:animEffect transition="in" filter="fade">
                                      <p:cBhvr>
                                        <p:cTn id="60" dur="500"/>
                                        <p:tgtEl>
                                          <p:spTgt spid="23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500"/>
                                        <p:tgtEl>
                                          <p:spTgt spid="237"/>
                                        </p:tgtEl>
                                      </p:cBhvr>
                                    </p:animEffect>
                                  </p:childTnLst>
                                </p:cTn>
                              </p:par>
                              <p:par>
                                <p:cTn id="64" presetID="10" presetClass="entr" presetSubtype="0" fill="hold" nodeType="withEffect">
                                  <p:stCondLst>
                                    <p:cond delay="0"/>
                                  </p:stCondLst>
                                  <p:childTnLst>
                                    <p:set>
                                      <p:cBhvr>
                                        <p:cTn id="65" dur="1" fill="hold">
                                          <p:stCondLst>
                                            <p:cond delay="0"/>
                                          </p:stCondLst>
                                        </p:cTn>
                                        <p:tgtEl>
                                          <p:spTgt spid="238"/>
                                        </p:tgtEl>
                                        <p:attrNameLst>
                                          <p:attrName>style.visibility</p:attrName>
                                        </p:attrNameLst>
                                      </p:cBhvr>
                                      <p:to>
                                        <p:strVal val="visible"/>
                                      </p:to>
                                    </p:set>
                                    <p:animEffect transition="in" filter="fade">
                                      <p:cBhvr>
                                        <p:cTn id="66" dur="500"/>
                                        <p:tgtEl>
                                          <p:spTgt spid="238"/>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32"/>
                                        </p:tgtEl>
                                        <p:attrNameLst>
                                          <p:attrName>style.visibility</p:attrName>
                                        </p:attrNameLst>
                                      </p:cBhvr>
                                      <p:to>
                                        <p:strVal val="visible"/>
                                      </p:to>
                                    </p:set>
                                    <p:animEffect transition="in" filter="fade">
                                      <p:cBhvr>
                                        <p:cTn id="71" dur="500"/>
                                        <p:tgtEl>
                                          <p:spTgt spid="13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44"/>
                                        </p:tgtEl>
                                        <p:attrNameLst>
                                          <p:attrName>style.visibility</p:attrName>
                                        </p:attrNameLst>
                                      </p:cBhvr>
                                      <p:to>
                                        <p:strVal val="visible"/>
                                      </p:to>
                                    </p:set>
                                    <p:animEffect transition="in" filter="fade">
                                      <p:cBhvr>
                                        <p:cTn id="74" dur="500"/>
                                        <p:tgtEl>
                                          <p:spTgt spid="244"/>
                                        </p:tgtEl>
                                      </p:cBhvr>
                                    </p:animEffect>
                                  </p:childTnLst>
                                </p:cTn>
                              </p:par>
                              <p:par>
                                <p:cTn id="75" presetID="10" presetClass="entr" presetSubtype="0" fill="hold" nodeType="withEffect">
                                  <p:stCondLst>
                                    <p:cond delay="0"/>
                                  </p:stCondLst>
                                  <p:childTnLst>
                                    <p:set>
                                      <p:cBhvr>
                                        <p:cTn id="76" dur="1" fill="hold">
                                          <p:stCondLst>
                                            <p:cond delay="0"/>
                                          </p:stCondLst>
                                        </p:cTn>
                                        <p:tgtEl>
                                          <p:spTgt spid="245"/>
                                        </p:tgtEl>
                                        <p:attrNameLst>
                                          <p:attrName>style.visibility</p:attrName>
                                        </p:attrNameLst>
                                      </p:cBhvr>
                                      <p:to>
                                        <p:strVal val="visible"/>
                                      </p:to>
                                    </p:set>
                                    <p:animEffect transition="in" filter="fade">
                                      <p:cBhvr>
                                        <p:cTn id="77"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p:bldP spid="198" grpId="0" animBg="1"/>
      <p:bldP spid="199" grpId="0"/>
      <p:bldP spid="200" grpId="0"/>
      <p:bldP spid="201" grpId="0"/>
      <p:bldP spid="221" grpId="0" animBg="1"/>
      <p:bldP spid="230" grpId="0" animBg="1"/>
      <p:bldP spid="237" grpId="0"/>
      <p:bldP spid="244"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re Access and Mobility Management Function (AMF)</a:t>
            </a:r>
            <a:endParaRPr lang="en-US" dirty="0"/>
          </a:p>
        </p:txBody>
      </p:sp>
      <p:sp>
        <p:nvSpPr>
          <p:cNvPr id="3" name="Text Placeholder 2"/>
          <p:cNvSpPr>
            <a:spLocks noGrp="1"/>
          </p:cNvSpPr>
          <p:nvPr>
            <p:ph type="body" idx="1"/>
          </p:nvPr>
        </p:nvSpPr>
        <p:spPr>
          <a:xfrm>
            <a:off x="394255" y="1363537"/>
            <a:ext cx="11238112" cy="5095471"/>
          </a:xfrm>
        </p:spPr>
        <p:txBody>
          <a:bodyPr/>
          <a:lstStyle/>
          <a:p>
            <a:pPr marL="0" indent="0">
              <a:buNone/>
            </a:pPr>
            <a:r>
              <a:rPr lang="en-US" sz="2000" dirty="0"/>
              <a:t>Main functionality</a:t>
            </a:r>
          </a:p>
          <a:p>
            <a:r>
              <a:rPr lang="en-US" sz="1600" dirty="0"/>
              <a:t>Termination point for RAN CP interface (N2)</a:t>
            </a:r>
          </a:p>
          <a:p>
            <a:r>
              <a:rPr lang="en-US" sz="1600" dirty="0"/>
              <a:t>Termination of NAS (N1), NAS ciphering and integrity protection</a:t>
            </a:r>
          </a:p>
          <a:p>
            <a:r>
              <a:rPr lang="en-US" sz="1600" b="1" dirty="0">
                <a:solidFill>
                  <a:srgbClr val="00A9D4"/>
                </a:solidFill>
              </a:rPr>
              <a:t>Registration, Connection, Reachability and Mobility Management</a:t>
            </a:r>
          </a:p>
          <a:p>
            <a:r>
              <a:rPr lang="en-US" sz="1600" dirty="0"/>
              <a:t>Lawful intercept</a:t>
            </a:r>
          </a:p>
          <a:p>
            <a:r>
              <a:rPr lang="en-US" sz="1600" b="1" dirty="0">
                <a:solidFill>
                  <a:srgbClr val="00A9D4"/>
                </a:solidFill>
              </a:rPr>
              <a:t>Provide transport for SM messages between UE and SMF</a:t>
            </a:r>
          </a:p>
          <a:p>
            <a:r>
              <a:rPr lang="en-US" sz="1600" dirty="0"/>
              <a:t>UE Authentication and Access security</a:t>
            </a:r>
          </a:p>
          <a:p>
            <a:pPr lvl="1"/>
            <a:r>
              <a:rPr lang="en-US" sz="1400" dirty="0"/>
              <a:t>Acts as Security Anchor Function (SEA)</a:t>
            </a:r>
          </a:p>
          <a:p>
            <a:pPr lvl="1"/>
            <a:r>
              <a:rPr lang="en-US" sz="1400" dirty="0"/>
              <a:t>Performs Security Context Management (SCM) to handle access network specific keys</a:t>
            </a:r>
          </a:p>
          <a:p>
            <a:r>
              <a:rPr lang="en-US" sz="1600" b="1" dirty="0">
                <a:solidFill>
                  <a:srgbClr val="00A9D4"/>
                </a:solidFill>
              </a:rPr>
              <a:t>Provide transport for SMS messages between UE and SMS Function (SMSF)</a:t>
            </a:r>
          </a:p>
          <a:p>
            <a:r>
              <a:rPr lang="en-US" sz="1600" dirty="0"/>
              <a:t>Support of N2 interface, NAS signaling and authentication of UEs over N3IWF</a:t>
            </a:r>
          </a:p>
          <a:p>
            <a:r>
              <a:rPr lang="en-US" sz="1600" dirty="0"/>
              <a:t>Management of mobility, authentication, and separate security context state(s) of a UE connected via 3GPP and non-3GPP accesses simultaneously</a:t>
            </a:r>
          </a:p>
          <a:p>
            <a:r>
              <a:rPr lang="en-US" sz="1600" b="1" dirty="0">
                <a:solidFill>
                  <a:srgbClr val="00A9D4"/>
                </a:solidFill>
              </a:rPr>
              <a:t>Support a </a:t>
            </a:r>
            <a:r>
              <a:rPr lang="en-US" sz="1600" b="1" dirty="0" err="1">
                <a:solidFill>
                  <a:srgbClr val="00A9D4"/>
                </a:solidFill>
              </a:rPr>
              <a:t>co-ordinated</a:t>
            </a:r>
            <a:r>
              <a:rPr lang="en-US" sz="1600" b="1" dirty="0">
                <a:solidFill>
                  <a:srgbClr val="00A9D4"/>
                </a:solidFill>
              </a:rPr>
              <a:t> RM context valid over 3GPP and non-3GPP accesses</a:t>
            </a:r>
          </a:p>
          <a:p>
            <a:r>
              <a:rPr lang="en-US" sz="1600" dirty="0"/>
              <a:t>Support dedicated CM management contexts for the UE connectivity over non-3GPP access</a:t>
            </a:r>
          </a:p>
          <a:p>
            <a:r>
              <a:rPr lang="en-US" sz="1600" b="1" dirty="0">
                <a:solidFill>
                  <a:srgbClr val="00A9D4"/>
                </a:solidFill>
              </a:rPr>
              <a:t>SMF Selection</a:t>
            </a:r>
          </a:p>
          <a:p>
            <a:endParaRPr lang="en-US" sz="1800" dirty="0"/>
          </a:p>
        </p:txBody>
      </p:sp>
      <p:grpSp>
        <p:nvGrpSpPr>
          <p:cNvPr id="11" name="Group 10"/>
          <p:cNvGrpSpPr>
            <a:grpSpLocks noChangeAspect="1"/>
          </p:cNvGrpSpPr>
          <p:nvPr/>
        </p:nvGrpSpPr>
        <p:grpSpPr>
          <a:xfrm>
            <a:off x="9471593" y="3177815"/>
            <a:ext cx="432341" cy="600029"/>
            <a:chOff x="936376" y="2900085"/>
            <a:chExt cx="864096" cy="1240668"/>
          </a:xfrm>
        </p:grpSpPr>
        <p:sp>
          <p:nvSpPr>
            <p:cNvPr id="12"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800">
                <a:solidFill>
                  <a:srgbClr val="58585A"/>
                </a:solidFill>
              </a:endParaRPr>
            </a:p>
          </p:txBody>
        </p:sp>
        <p:sp>
          <p:nvSpPr>
            <p:cNvPr id="13"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800">
                <a:solidFill>
                  <a:srgbClr val="58585A"/>
                </a:solidFill>
              </a:endParaRPr>
            </a:p>
          </p:txBody>
        </p:sp>
        <p:sp>
          <p:nvSpPr>
            <p:cNvPr id="14"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100" dirty="0">
                  <a:ea typeface="Segoe UI" panose="020B0502040204020203" pitchFamily="34" charset="0"/>
                  <a:cs typeface="Arial" panose="020B0604020202020204" pitchFamily="34" charset="0"/>
                </a:rPr>
                <a:t>5G RAN</a:t>
              </a:r>
            </a:p>
          </p:txBody>
        </p:sp>
        <p:sp>
          <p:nvSpPr>
            <p:cNvPr id="15"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800">
                <a:solidFill>
                  <a:srgbClr val="58585A"/>
                </a:solidFill>
              </a:endParaRPr>
            </a:p>
          </p:txBody>
        </p:sp>
        <p:sp>
          <p:nvSpPr>
            <p:cNvPr id="16"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400">
                <a:solidFill>
                  <a:srgbClr val="58585A"/>
                </a:solidFill>
              </a:endParaRPr>
            </a:p>
          </p:txBody>
        </p:sp>
      </p:grpSp>
      <p:sp>
        <p:nvSpPr>
          <p:cNvPr id="17" name="Freeform 4"/>
          <p:cNvSpPr>
            <a:spLocks noChangeAspect="1" noEditPoints="1"/>
          </p:cNvSpPr>
          <p:nvPr/>
        </p:nvSpPr>
        <p:spPr bwMode="auto">
          <a:xfrm>
            <a:off x="8284726" y="3199511"/>
            <a:ext cx="332622" cy="45566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88"/>
          <p:cNvSpPr>
            <a:spLocks noChangeAspect="1"/>
          </p:cNvSpPr>
          <p:nvPr/>
        </p:nvSpPr>
        <p:spPr bwMode="auto">
          <a:xfrm rot="2583056" flipH="1">
            <a:off x="8757485" y="3299234"/>
            <a:ext cx="595267" cy="410268"/>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50" b="1" dirty="0">
              <a:cs typeface="+mn-cs"/>
            </a:endParaRPr>
          </a:p>
        </p:txBody>
      </p:sp>
      <p:sp>
        <p:nvSpPr>
          <p:cNvPr id="19" name="Text Box 144"/>
          <p:cNvSpPr txBox="1">
            <a:spLocks noChangeAspect="1" noChangeArrowheads="1"/>
          </p:cNvSpPr>
          <p:nvPr/>
        </p:nvSpPr>
        <p:spPr bwMode="auto">
          <a:xfrm>
            <a:off x="7950957" y="3408291"/>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dirty="0"/>
              <a:t>NG UE</a:t>
            </a:r>
          </a:p>
        </p:txBody>
      </p:sp>
      <p:grpSp>
        <p:nvGrpSpPr>
          <p:cNvPr id="20" name="Group 19"/>
          <p:cNvGrpSpPr/>
          <p:nvPr/>
        </p:nvGrpSpPr>
        <p:grpSpPr>
          <a:xfrm>
            <a:off x="9892159" y="1434825"/>
            <a:ext cx="920586" cy="1329413"/>
            <a:chOff x="2530204" y="1718022"/>
            <a:chExt cx="1186277" cy="1647323"/>
          </a:xfrm>
        </p:grpSpPr>
        <p:sp>
          <p:nvSpPr>
            <p:cNvPr id="21"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2"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3"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24" name="Group 274"/>
            <p:cNvGrpSpPr>
              <a:grpSpLocks noChangeAspect="1"/>
            </p:cNvGrpSpPr>
            <p:nvPr/>
          </p:nvGrpSpPr>
          <p:grpSpPr bwMode="auto">
            <a:xfrm>
              <a:off x="2590950" y="1853233"/>
              <a:ext cx="1125531" cy="1512112"/>
              <a:chOff x="3147" y="3024"/>
              <a:chExt cx="257" cy="366"/>
            </a:xfrm>
          </p:grpSpPr>
          <p:grpSp>
            <p:nvGrpSpPr>
              <p:cNvPr id="25" name="Group 7"/>
              <p:cNvGrpSpPr>
                <a:grpSpLocks noChangeAspect="1"/>
              </p:cNvGrpSpPr>
              <p:nvPr/>
            </p:nvGrpSpPr>
            <p:grpSpPr bwMode="auto">
              <a:xfrm>
                <a:off x="3147" y="3024"/>
                <a:ext cx="257" cy="366"/>
                <a:chOff x="2284" y="1695"/>
                <a:chExt cx="983" cy="1401"/>
              </a:xfrm>
            </p:grpSpPr>
            <p:pic>
              <p:nvPicPr>
                <p:cNvPr id="27"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26"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AMF</a:t>
                </a:r>
              </a:p>
            </p:txBody>
          </p:sp>
        </p:grpSp>
      </p:grpSp>
      <p:cxnSp>
        <p:nvCxnSpPr>
          <p:cNvPr id="29" name="Elbow Connector 59"/>
          <p:cNvCxnSpPr>
            <a:cxnSpLocks/>
          </p:cNvCxnSpPr>
          <p:nvPr/>
        </p:nvCxnSpPr>
        <p:spPr bwMode="auto">
          <a:xfrm flipV="1">
            <a:off x="8445602" y="2250369"/>
            <a:ext cx="1512000" cy="936000"/>
          </a:xfrm>
          <a:prstGeom prst="bentConnector3">
            <a:avLst>
              <a:gd name="adj1" fmla="val 516"/>
            </a:avLst>
          </a:prstGeom>
          <a:noFill/>
          <a:ln w="19050">
            <a:solidFill>
              <a:schemeClr val="accent4">
                <a:lumMod val="50000"/>
              </a:schemeClr>
            </a:solidFill>
            <a:prstDash val="dash"/>
            <a:round/>
            <a:headEnd/>
            <a:tailEnd/>
          </a:ln>
        </p:spPr>
      </p:cxnSp>
      <p:sp>
        <p:nvSpPr>
          <p:cNvPr id="30" name="Text Box 144"/>
          <p:cNvSpPr txBox="1">
            <a:spLocks noChangeAspect="1" noChangeArrowheads="1"/>
          </p:cNvSpPr>
          <p:nvPr/>
        </p:nvSpPr>
        <p:spPr bwMode="auto">
          <a:xfrm>
            <a:off x="8074917" y="207678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a:t>
            </a:r>
          </a:p>
        </p:txBody>
      </p:sp>
      <p:cxnSp>
        <p:nvCxnSpPr>
          <p:cNvPr id="31" name="Straight Connector 30"/>
          <p:cNvCxnSpPr>
            <a:endCxn id="27" idx="2"/>
          </p:cNvCxnSpPr>
          <p:nvPr/>
        </p:nvCxnSpPr>
        <p:spPr bwMode="auto">
          <a:xfrm flipV="1">
            <a:off x="9704971" y="2764238"/>
            <a:ext cx="671052" cy="413577"/>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2" name="Text Box 144"/>
          <p:cNvSpPr txBox="1">
            <a:spLocks noChangeAspect="1" noChangeArrowheads="1"/>
          </p:cNvSpPr>
          <p:nvPr/>
        </p:nvSpPr>
        <p:spPr bwMode="auto">
          <a:xfrm>
            <a:off x="9359666" y="2844812"/>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2</a:t>
            </a:r>
          </a:p>
        </p:txBody>
      </p:sp>
      <p:sp>
        <p:nvSpPr>
          <p:cNvPr id="34" name="TextBox 33"/>
          <p:cNvSpPr txBox="1"/>
          <p:nvPr/>
        </p:nvSpPr>
        <p:spPr>
          <a:xfrm>
            <a:off x="9624290" y="1207005"/>
            <a:ext cx="612668" cy="307777"/>
          </a:xfrm>
          <a:prstGeom prst="rect">
            <a:avLst/>
          </a:prstGeom>
          <a:noFill/>
        </p:spPr>
        <p:txBody>
          <a:bodyPr wrap="none" rtlCol="0">
            <a:spAutoFit/>
          </a:bodyPr>
          <a:lstStyle/>
          <a:p>
            <a:r>
              <a:rPr lang="en-US" sz="1400" dirty="0" err="1">
                <a:solidFill>
                  <a:srgbClr val="FF0000"/>
                </a:solidFill>
              </a:rPr>
              <a:t>Namf</a:t>
            </a:r>
            <a:endParaRPr lang="en-US" sz="1400" dirty="0">
              <a:solidFill>
                <a:srgbClr val="FF0000"/>
              </a:solidFill>
            </a:endParaRPr>
          </a:p>
        </p:txBody>
      </p:sp>
      <p:cxnSp>
        <p:nvCxnSpPr>
          <p:cNvPr id="35" name="Straight Connector 34"/>
          <p:cNvCxnSpPr/>
          <p:nvPr/>
        </p:nvCxnSpPr>
        <p:spPr bwMode="auto">
          <a:xfrm>
            <a:off x="10776312" y="2249143"/>
            <a:ext cx="947626"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6" name="Text Box 144"/>
          <p:cNvSpPr txBox="1">
            <a:spLocks noChangeAspect="1" noChangeArrowheads="1"/>
          </p:cNvSpPr>
          <p:nvPr/>
        </p:nvSpPr>
        <p:spPr bwMode="auto">
          <a:xfrm>
            <a:off x="10744678" y="2083757"/>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11</a:t>
            </a:r>
          </a:p>
        </p:txBody>
      </p:sp>
      <p:grpSp>
        <p:nvGrpSpPr>
          <p:cNvPr id="37" name="Group 36"/>
          <p:cNvGrpSpPr/>
          <p:nvPr/>
        </p:nvGrpSpPr>
        <p:grpSpPr>
          <a:xfrm rot="10800000" flipH="1" flipV="1">
            <a:off x="10277906" y="1277025"/>
            <a:ext cx="145622" cy="280111"/>
            <a:chOff x="7128406" y="1476204"/>
            <a:chExt cx="145622" cy="280111"/>
          </a:xfrm>
        </p:grpSpPr>
        <p:cxnSp>
          <p:nvCxnSpPr>
            <p:cNvPr id="38" name="Straight Connector 37"/>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39" name="Oval 38"/>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35997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34780249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3"/>
          <p:cNvSpPr>
            <a:spLocks noChangeArrowheads="1"/>
          </p:cNvSpPr>
          <p:nvPr/>
        </p:nvSpPr>
        <p:spPr bwMode="auto">
          <a:xfrm>
            <a:off x="0" y="0"/>
            <a:ext cx="12192000" cy="6858000"/>
          </a:xfrm>
          <a:prstGeom prst="rect">
            <a:avLst/>
          </a:prstGeom>
          <a:blipFill dpi="0" rotWithShape="1">
            <a:blip r:embed="rId3"/>
            <a:srcRect/>
            <a:stretch>
              <a:fillRect/>
            </a:stretch>
          </a:blipFill>
          <a:ln w="12700" algn="ctr">
            <a:solidFill>
              <a:schemeClr val="tx1"/>
            </a:solidFill>
            <a:round/>
            <a:headEnd/>
            <a:tailEnd/>
          </a:ln>
        </p:spPr>
        <p:txBody>
          <a:bodyPr wrap="none" lIns="71998" tIns="45718" rIns="71998" bIns="45718"/>
          <a:lstStyle>
            <a:lvl1pPr eaLnBrk="0" hangingPunct="0">
              <a:spcBef>
                <a:spcPct val="20000"/>
              </a:spcBef>
              <a:buClr>
                <a:srgbClr val="00A9D4"/>
              </a:buClr>
              <a:buFont typeface="Arial" pitchFamily="34" charset="0"/>
              <a:buChar char="›"/>
              <a:defRPr sz="20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a:solidFill>
                  <a:schemeClr val="tx1"/>
                </a:solidFill>
                <a:latin typeface="Arial" pitchFamily="34" charset="0"/>
              </a:defRPr>
            </a:lvl9pPr>
          </a:lstStyle>
          <a:p>
            <a:pPr eaLnBrk="1" hangingPunct="1">
              <a:spcBef>
                <a:spcPct val="50000"/>
              </a:spcBef>
              <a:buClrTx/>
              <a:buFontTx/>
              <a:buNone/>
            </a:pPr>
            <a:endParaRPr lang="en-US" altLang="en-US"/>
          </a:p>
        </p:txBody>
      </p:sp>
      <p:sp>
        <p:nvSpPr>
          <p:cNvPr id="7171" name="Title 3"/>
          <p:cNvSpPr>
            <a:spLocks noGrp="1"/>
          </p:cNvSpPr>
          <p:nvPr>
            <p:ph type="title"/>
          </p:nvPr>
        </p:nvSpPr>
        <p:spPr>
          <a:xfrm>
            <a:off x="525463" y="239713"/>
            <a:ext cx="10636250" cy="1085850"/>
          </a:xfrm>
          <a:noFill/>
        </p:spPr>
        <p:txBody>
          <a:bodyPr>
            <a:normAutofit/>
          </a:bodyPr>
          <a:lstStyle/>
          <a:p>
            <a:r>
              <a:rPr lang="en-US" altLang="en-US" dirty="0">
                <a:solidFill>
                  <a:schemeClr val="bg1"/>
                </a:solidFill>
                <a:latin typeface="Ericsson Capital TT" pitchFamily="2" charset="0"/>
              </a:rPr>
              <a:t>5G Enabling Business Expansion</a:t>
            </a:r>
          </a:p>
        </p:txBody>
      </p:sp>
      <p:pic>
        <p:nvPicPr>
          <p:cNvPr id="7204" name="Picture 6"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7750" y="360363"/>
            <a:ext cx="4460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Content Placeholder 1"/>
          <p:cNvSpPr txBox="1">
            <a:spLocks/>
          </p:cNvSpPr>
          <p:nvPr/>
        </p:nvSpPr>
        <p:spPr>
          <a:xfrm>
            <a:off x="524933" y="1500455"/>
            <a:ext cx="11135785" cy="4787689"/>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a:buClr>
                <a:schemeClr val="bg1"/>
              </a:buClr>
            </a:pPr>
            <a:r>
              <a:rPr lang="en-US" sz="3600" kern="0">
                <a:solidFill>
                  <a:schemeClr val="bg1"/>
                </a:solidFill>
              </a:rPr>
              <a:t>Challenges:</a:t>
            </a:r>
          </a:p>
          <a:p>
            <a:pPr lvl="1">
              <a:buClr>
                <a:schemeClr val="bg1"/>
              </a:buClr>
            </a:pPr>
            <a:r>
              <a:rPr lang="en-US" sz="2400" kern="0">
                <a:solidFill>
                  <a:schemeClr val="bg1"/>
                </a:solidFill>
              </a:rPr>
              <a:t>Becoming relevant</a:t>
            </a:r>
          </a:p>
          <a:p>
            <a:pPr lvl="1">
              <a:buClr>
                <a:schemeClr val="bg1"/>
              </a:buClr>
            </a:pPr>
            <a:r>
              <a:rPr lang="en-US" sz="2400" kern="0">
                <a:solidFill>
                  <a:schemeClr val="bg1"/>
                </a:solidFill>
              </a:rPr>
              <a:t>Agility</a:t>
            </a:r>
          </a:p>
          <a:p>
            <a:pPr lvl="1">
              <a:buClr>
                <a:schemeClr val="bg1"/>
              </a:buClr>
            </a:pPr>
            <a:r>
              <a:rPr lang="en-US" sz="2400" kern="0">
                <a:solidFill>
                  <a:schemeClr val="bg1"/>
                </a:solidFill>
              </a:rPr>
              <a:t>Cost/Complexity</a:t>
            </a:r>
          </a:p>
          <a:p>
            <a:pPr marL="355600" lvl="1" indent="0">
              <a:buClr>
                <a:schemeClr val="bg1"/>
              </a:buClr>
              <a:buFont typeface="Ericsson Capital TT" pitchFamily="2" charset="0"/>
              <a:buNone/>
            </a:pPr>
            <a:endParaRPr lang="en-US" kern="0">
              <a:solidFill>
                <a:schemeClr val="bg1"/>
              </a:solidFill>
            </a:endParaRPr>
          </a:p>
          <a:p>
            <a:pPr>
              <a:buClr>
                <a:schemeClr val="bg1"/>
              </a:buClr>
            </a:pPr>
            <a:r>
              <a:rPr lang="en-US" sz="3600" kern="0">
                <a:solidFill>
                  <a:schemeClr val="bg1"/>
                </a:solidFill>
              </a:rPr>
              <a:t>Key ingredients:</a:t>
            </a:r>
          </a:p>
          <a:p>
            <a:pPr lvl="1">
              <a:buClr>
                <a:schemeClr val="bg1"/>
              </a:buClr>
            </a:pPr>
            <a:r>
              <a:rPr lang="en-US" sz="2400" kern="0">
                <a:solidFill>
                  <a:schemeClr val="bg1"/>
                </a:solidFill>
              </a:rPr>
              <a:t>Automation</a:t>
            </a:r>
          </a:p>
          <a:p>
            <a:pPr lvl="1">
              <a:buClr>
                <a:schemeClr val="bg1"/>
              </a:buClr>
            </a:pPr>
            <a:r>
              <a:rPr lang="en-US" sz="2400" kern="0">
                <a:solidFill>
                  <a:schemeClr val="bg1"/>
                </a:solidFill>
              </a:rPr>
              <a:t>Programmability</a:t>
            </a:r>
          </a:p>
          <a:p>
            <a:pPr lvl="1">
              <a:buClr>
                <a:schemeClr val="bg1"/>
              </a:buClr>
            </a:pPr>
            <a:r>
              <a:rPr lang="en-US" sz="2400" kern="0">
                <a:solidFill>
                  <a:schemeClr val="bg1"/>
                </a:solidFill>
              </a:rPr>
              <a:t>Modularity</a:t>
            </a:r>
          </a:p>
          <a:p>
            <a:pPr lvl="1">
              <a:buClr>
                <a:schemeClr val="bg1"/>
              </a:buClr>
            </a:pPr>
            <a:r>
              <a:rPr lang="en-US" sz="2400" kern="0">
                <a:solidFill>
                  <a:schemeClr val="bg1"/>
                </a:solidFill>
              </a:rPr>
              <a:t>Network slices</a:t>
            </a:r>
            <a:endParaRPr lang="en-US" kern="0">
              <a:solidFill>
                <a:schemeClr val="bg1"/>
              </a:solidFill>
            </a:endParaRPr>
          </a:p>
          <a:p>
            <a:pPr marL="0" indent="0">
              <a:buClr>
                <a:schemeClr val="bg1"/>
              </a:buClr>
              <a:buFont typeface="Arial" charset="0"/>
              <a:buNone/>
            </a:pPr>
            <a:endParaRPr lang="en-US" sz="3200" kern="0" dirty="0">
              <a:solidFill>
                <a:schemeClr val="bg1"/>
              </a:solidFill>
            </a:endParaRPr>
          </a:p>
        </p:txBody>
      </p:sp>
      <p:sp>
        <p:nvSpPr>
          <p:cNvPr id="85" name="Freeform 3"/>
          <p:cNvSpPr>
            <a:spLocks noChangeAspect="1" noEditPoints="1"/>
          </p:cNvSpPr>
          <p:nvPr/>
        </p:nvSpPr>
        <p:spPr bwMode="auto">
          <a:xfrm>
            <a:off x="8576441" y="1947856"/>
            <a:ext cx="1023398" cy="1530769"/>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8585A"/>
              </a:solidFill>
              <a:effectLst/>
              <a:uLnTx/>
              <a:uFillTx/>
            </a:endParaRPr>
          </a:p>
        </p:txBody>
      </p:sp>
      <p:sp>
        <p:nvSpPr>
          <p:cNvPr id="87" name="Freeform 3"/>
          <p:cNvSpPr>
            <a:spLocks noChangeAspect="1" noEditPoints="1"/>
          </p:cNvSpPr>
          <p:nvPr/>
        </p:nvSpPr>
        <p:spPr bwMode="auto">
          <a:xfrm>
            <a:off x="5459941" y="1848154"/>
            <a:ext cx="1373694" cy="1730175"/>
          </a:xfrm>
          <a:custGeom>
            <a:avLst/>
            <a:gdLst>
              <a:gd name="T0" fmla="*/ 417 w 417"/>
              <a:gd name="T1" fmla="*/ 66 h 428"/>
              <a:gd name="T2" fmla="*/ 396 w 417"/>
              <a:gd name="T3" fmla="*/ 29 h 428"/>
              <a:gd name="T4" fmla="*/ 393 w 417"/>
              <a:gd name="T5" fmla="*/ 40 h 428"/>
              <a:gd name="T6" fmla="*/ 335 w 417"/>
              <a:gd name="T7" fmla="*/ 114 h 428"/>
              <a:gd name="T8" fmla="*/ 366 w 417"/>
              <a:gd name="T9" fmla="*/ 19 h 428"/>
              <a:gd name="T10" fmla="*/ 374 w 417"/>
              <a:gd name="T11" fmla="*/ 22 h 428"/>
              <a:gd name="T12" fmla="*/ 381 w 417"/>
              <a:gd name="T13" fmla="*/ 8 h 428"/>
              <a:gd name="T14" fmla="*/ 351 w 417"/>
              <a:gd name="T15" fmla="*/ 0 h 428"/>
              <a:gd name="T16" fmla="*/ 286 w 417"/>
              <a:gd name="T17" fmla="*/ 55 h 428"/>
              <a:gd name="T18" fmla="*/ 159 w 417"/>
              <a:gd name="T19" fmla="*/ 70 h 428"/>
              <a:gd name="T20" fmla="*/ 139 w 417"/>
              <a:gd name="T21" fmla="*/ 75 h 428"/>
              <a:gd name="T22" fmla="*/ 110 w 417"/>
              <a:gd name="T23" fmla="*/ 58 h 428"/>
              <a:gd name="T24" fmla="*/ 41 w 417"/>
              <a:gd name="T25" fmla="*/ 60 h 428"/>
              <a:gd name="T26" fmla="*/ 0 w 417"/>
              <a:gd name="T27" fmla="*/ 105 h 428"/>
              <a:gd name="T28" fmla="*/ 22 w 417"/>
              <a:gd name="T29" fmla="*/ 127 h 428"/>
              <a:gd name="T30" fmla="*/ 53 w 417"/>
              <a:gd name="T31" fmla="*/ 107 h 428"/>
              <a:gd name="T32" fmla="*/ 111 w 417"/>
              <a:gd name="T33" fmla="*/ 131 h 428"/>
              <a:gd name="T34" fmla="*/ 73 w 417"/>
              <a:gd name="T35" fmla="*/ 182 h 428"/>
              <a:gd name="T36" fmla="*/ 37 w 417"/>
              <a:gd name="T37" fmla="*/ 180 h 428"/>
              <a:gd name="T38" fmla="*/ 29 w 417"/>
              <a:gd name="T39" fmla="*/ 211 h 428"/>
              <a:gd name="T40" fmla="*/ 87 w 417"/>
              <a:gd name="T41" fmla="*/ 228 h 428"/>
              <a:gd name="T42" fmla="*/ 93 w 417"/>
              <a:gd name="T43" fmla="*/ 227 h 428"/>
              <a:gd name="T44" fmla="*/ 151 w 417"/>
              <a:gd name="T45" fmla="*/ 192 h 428"/>
              <a:gd name="T46" fmla="*/ 171 w 417"/>
              <a:gd name="T47" fmla="*/ 165 h 428"/>
              <a:gd name="T48" fmla="*/ 295 w 417"/>
              <a:gd name="T49" fmla="*/ 110 h 428"/>
              <a:gd name="T50" fmla="*/ 212 w 417"/>
              <a:gd name="T51" fmla="*/ 286 h 428"/>
              <a:gd name="T52" fmla="*/ 151 w 417"/>
              <a:gd name="T53" fmla="*/ 415 h 428"/>
              <a:gd name="T54" fmla="*/ 158 w 417"/>
              <a:gd name="T55" fmla="*/ 428 h 428"/>
              <a:gd name="T56" fmla="*/ 409 w 417"/>
              <a:gd name="T57" fmla="*/ 423 h 428"/>
              <a:gd name="T58" fmla="*/ 341 w 417"/>
              <a:gd name="T59" fmla="*/ 304 h 428"/>
              <a:gd name="T60" fmla="*/ 331 w 417"/>
              <a:gd name="T61" fmla="*/ 248 h 428"/>
              <a:gd name="T62" fmla="*/ 413 w 417"/>
              <a:gd name="T63" fmla="*/ 87 h 428"/>
              <a:gd name="T64" fmla="*/ 88 w 417"/>
              <a:gd name="T65" fmla="*/ 93 h 428"/>
              <a:gd name="T66" fmla="*/ 49 w 417"/>
              <a:gd name="T67" fmla="*/ 91 h 428"/>
              <a:gd name="T68" fmla="*/ 27 w 417"/>
              <a:gd name="T69" fmla="*/ 110 h 428"/>
              <a:gd name="T70" fmla="*/ 50 w 417"/>
              <a:gd name="T71" fmla="*/ 74 h 428"/>
              <a:gd name="T72" fmla="*/ 125 w 417"/>
              <a:gd name="T73" fmla="*/ 84 h 428"/>
              <a:gd name="T74" fmla="*/ 93 w 417"/>
              <a:gd name="T75" fmla="*/ 95 h 428"/>
              <a:gd name="T76" fmla="*/ 88 w 417"/>
              <a:gd name="T77" fmla="*/ 212 h 428"/>
              <a:gd name="T78" fmla="*/ 49 w 417"/>
              <a:gd name="T79" fmla="*/ 192 h 428"/>
              <a:gd name="T80" fmla="*/ 79 w 417"/>
              <a:gd name="T81" fmla="*/ 197 h 428"/>
              <a:gd name="T82" fmla="*/ 114 w 417"/>
              <a:gd name="T83" fmla="*/ 173 h 428"/>
              <a:gd name="T84" fmla="*/ 147 w 417"/>
              <a:gd name="T85" fmla="*/ 165 h 428"/>
              <a:gd name="T86" fmla="*/ 167 w 417"/>
              <a:gd name="T87" fmla="*/ 149 h 428"/>
              <a:gd name="T88" fmla="*/ 150 w 417"/>
              <a:gd name="T89" fmla="*/ 88 h 428"/>
              <a:gd name="T90" fmla="*/ 167 w 417"/>
              <a:gd name="T91" fmla="*/ 149 h 428"/>
              <a:gd name="T92" fmla="*/ 205 w 417"/>
              <a:gd name="T93" fmla="*/ 106 h 428"/>
              <a:gd name="T94" fmla="*/ 200 w 417"/>
              <a:gd name="T95" fmla="*/ 95 h 428"/>
              <a:gd name="T96" fmla="*/ 291 w 417"/>
              <a:gd name="T97" fmla="*/ 95 h 428"/>
              <a:gd name="T98" fmla="*/ 278 w 417"/>
              <a:gd name="T99" fmla="*/ 236 h 428"/>
              <a:gd name="T100" fmla="*/ 278 w 417"/>
              <a:gd name="T101" fmla="*/ 337 h 428"/>
              <a:gd name="T102" fmla="*/ 278 w 417"/>
              <a:gd name="T103" fmla="*/ 236 h 428"/>
              <a:gd name="T104" fmla="*/ 388 w 417"/>
              <a:gd name="T105" fmla="*/ 412 h 428"/>
              <a:gd name="T106" fmla="*/ 225 w 417"/>
              <a:gd name="T107" fmla="*/ 326 h 428"/>
              <a:gd name="T108" fmla="*/ 333 w 417"/>
              <a:gd name="T109" fmla="*/ 322 h 428"/>
              <a:gd name="T110" fmla="*/ 278 w 417"/>
              <a:gd name="T111" fmla="*/ 220 h 428"/>
              <a:gd name="T112" fmla="*/ 309 w 417"/>
              <a:gd name="T113" fmla="*/ 118 h 428"/>
              <a:gd name="T114" fmla="*/ 351 w 417"/>
              <a:gd name="T115" fmla="*/ 132 h 428"/>
              <a:gd name="T116" fmla="*/ 353 w 417"/>
              <a:gd name="T117" fmla="*/ 132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chemeClr val="bg1"/>
          </a:solidFill>
          <a:ln>
            <a:noFill/>
          </a:ln>
        </p:spPr>
        <p:txBody>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20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88" name="Freeform 3"/>
          <p:cNvSpPr>
            <a:spLocks noChangeAspect="1" noEditPoints="1"/>
          </p:cNvSpPr>
          <p:nvPr/>
        </p:nvSpPr>
        <p:spPr bwMode="auto">
          <a:xfrm>
            <a:off x="8434552" y="4457703"/>
            <a:ext cx="1320393" cy="1124734"/>
          </a:xfrm>
          <a:custGeom>
            <a:avLst/>
            <a:gdLst>
              <a:gd name="T0" fmla="*/ 1447259450 w 418"/>
              <a:gd name="T1" fmla="*/ 2147483647 h 336"/>
              <a:gd name="T2" fmla="*/ 2147483647 w 418"/>
              <a:gd name="T3" fmla="*/ 2147483647 h 336"/>
              <a:gd name="T4" fmla="*/ 2147483647 w 418"/>
              <a:gd name="T5" fmla="*/ 2147483647 h 336"/>
              <a:gd name="T6" fmla="*/ 2147483647 w 418"/>
              <a:gd name="T7" fmla="*/ 1153994874 h 336"/>
              <a:gd name="T8" fmla="*/ 1447259450 w 418"/>
              <a:gd name="T9" fmla="*/ 2147483647 h 336"/>
              <a:gd name="T10" fmla="*/ 2147483647 w 418"/>
              <a:gd name="T11" fmla="*/ 1829504434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35760354 w 418"/>
              <a:gd name="T35" fmla="*/ 2147483647 h 336"/>
              <a:gd name="T36" fmla="*/ 1910941896 w 418"/>
              <a:gd name="T37" fmla="*/ 2147483647 h 336"/>
              <a:gd name="T38" fmla="*/ 1910941896 w 418"/>
              <a:gd name="T39" fmla="*/ 2147483647 h 336"/>
              <a:gd name="T40" fmla="*/ 2135760354 w 418"/>
              <a:gd name="T41" fmla="*/ 2147483647 h 336"/>
              <a:gd name="T42" fmla="*/ 2147483647 w 418"/>
              <a:gd name="T43" fmla="*/ 2147483647 h 336"/>
              <a:gd name="T44" fmla="*/ 2147483647 w 418"/>
              <a:gd name="T45" fmla="*/ 1829504434 h 336"/>
              <a:gd name="T46" fmla="*/ 2147483647 w 418"/>
              <a:gd name="T47" fmla="*/ 1604333330 h 336"/>
              <a:gd name="T48" fmla="*/ 2147483647 w 418"/>
              <a:gd name="T49" fmla="*/ 1604333330 h 336"/>
              <a:gd name="T50" fmla="*/ 2147483647 w 418"/>
              <a:gd name="T51" fmla="*/ 1829504434 h 336"/>
              <a:gd name="T52" fmla="*/ 2147483647 w 418"/>
              <a:gd name="T53" fmla="*/ 1435455940 h 336"/>
              <a:gd name="T54" fmla="*/ 2147483647 w 418"/>
              <a:gd name="T55" fmla="*/ 1548043368 h 336"/>
              <a:gd name="T56" fmla="*/ 2147483647 w 418"/>
              <a:gd name="T57" fmla="*/ 1548043368 h 336"/>
              <a:gd name="T58" fmla="*/ 2147483647 w 418"/>
              <a:gd name="T59" fmla="*/ 2147483647 h 336"/>
              <a:gd name="T60" fmla="*/ 2147483647 w 418"/>
              <a:gd name="T61" fmla="*/ 2147483647 h 336"/>
              <a:gd name="T62" fmla="*/ 351276966 w 418"/>
              <a:gd name="T63" fmla="*/ 2147483647 h 336"/>
              <a:gd name="T64" fmla="*/ 224818458 w 418"/>
              <a:gd name="T65" fmla="*/ 2147483647 h 336"/>
              <a:gd name="T66" fmla="*/ 224818458 w 418"/>
              <a:gd name="T67" fmla="*/ 900676913 h 336"/>
              <a:gd name="T68" fmla="*/ 351276966 w 418"/>
              <a:gd name="T69" fmla="*/ 774021684 h 336"/>
              <a:gd name="T70" fmla="*/ 2147483647 w 418"/>
              <a:gd name="T71" fmla="*/ 774021684 h 336"/>
              <a:gd name="T72" fmla="*/ 2147483647 w 418"/>
              <a:gd name="T73" fmla="*/ 900676913 h 336"/>
              <a:gd name="T74" fmla="*/ 2147483647 w 418"/>
              <a:gd name="T75" fmla="*/ 1097701160 h 336"/>
              <a:gd name="T76" fmla="*/ 2147483647 w 418"/>
              <a:gd name="T77" fmla="*/ 1210288588 h 336"/>
              <a:gd name="T78" fmla="*/ 2147483647 w 418"/>
              <a:gd name="T79" fmla="*/ 1097701160 h 336"/>
              <a:gd name="T80" fmla="*/ 2147483647 w 418"/>
              <a:gd name="T81" fmla="*/ 900676913 h 336"/>
              <a:gd name="T82" fmla="*/ 2147483647 w 418"/>
              <a:gd name="T83" fmla="*/ 548850580 h 336"/>
              <a:gd name="T84" fmla="*/ 2147483647 w 418"/>
              <a:gd name="T85" fmla="*/ 548850580 h 336"/>
              <a:gd name="T86" fmla="*/ 2147483647 w 418"/>
              <a:gd name="T87" fmla="*/ 337754780 h 336"/>
              <a:gd name="T88" fmla="*/ 2147483647 w 418"/>
              <a:gd name="T89" fmla="*/ 0 h 336"/>
              <a:gd name="T90" fmla="*/ 2147483647 w 418"/>
              <a:gd name="T91" fmla="*/ 0 h 336"/>
              <a:gd name="T92" fmla="*/ 1854741030 w 418"/>
              <a:gd name="T93" fmla="*/ 337754780 h 336"/>
              <a:gd name="T94" fmla="*/ 1854741030 w 418"/>
              <a:gd name="T95" fmla="*/ 548850580 h 336"/>
              <a:gd name="T96" fmla="*/ 351276966 w 418"/>
              <a:gd name="T97" fmla="*/ 548850580 h 336"/>
              <a:gd name="T98" fmla="*/ 0 w 418"/>
              <a:gd name="T99" fmla="*/ 900676913 h 336"/>
              <a:gd name="T100" fmla="*/ 0 w 418"/>
              <a:gd name="T101" fmla="*/ 2147483647 h 336"/>
              <a:gd name="T102" fmla="*/ 351276966 w 418"/>
              <a:gd name="T103" fmla="*/ 2147483647 h 336"/>
              <a:gd name="T104" fmla="*/ 2147483647 w 418"/>
              <a:gd name="T105" fmla="*/ 2147483647 h 336"/>
              <a:gd name="T106" fmla="*/ 2147483647 w 418"/>
              <a:gd name="T107" fmla="*/ 2147483647 h 336"/>
              <a:gd name="T108" fmla="*/ 2147483647 w 418"/>
              <a:gd name="T109" fmla="*/ 1548043368 h 336"/>
              <a:gd name="T110" fmla="*/ 2147483647 w 418"/>
              <a:gd name="T111" fmla="*/ 1435455940 h 336"/>
              <a:gd name="T112" fmla="*/ 2147483647 w 418"/>
              <a:gd name="T113" fmla="*/ 225171104 h 336"/>
              <a:gd name="T114" fmla="*/ 2147483647 w 418"/>
              <a:gd name="T115" fmla="*/ 225171104 h 336"/>
              <a:gd name="T116" fmla="*/ 2147483647 w 418"/>
              <a:gd name="T117" fmla="*/ 337754780 h 336"/>
              <a:gd name="T118" fmla="*/ 2147483647 w 418"/>
              <a:gd name="T119" fmla="*/ 548850580 h 336"/>
              <a:gd name="T120" fmla="*/ 2079555740 w 418"/>
              <a:gd name="T121" fmla="*/ 548850580 h 336"/>
              <a:gd name="T122" fmla="*/ 2079555740 w 418"/>
              <a:gd name="T123" fmla="*/ 337754780 h 336"/>
              <a:gd name="T124" fmla="*/ 2147483647 w 418"/>
              <a:gd name="T125" fmla="*/ 225171104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chemeClr val="bg1"/>
          </a:solidFill>
          <a:ln>
            <a:noFill/>
          </a:ln>
        </p:spPr>
        <p:txBody>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altLang="en-US" sz="2000" b="0" i="0" u="none" strike="noStrike" kern="0" cap="none" spc="0" normalizeH="0" baseline="0" noProof="0">
              <a:ln>
                <a:noFill/>
              </a:ln>
              <a:solidFill>
                <a:schemeClr val="tx1"/>
              </a:solidFill>
              <a:effectLst/>
              <a:uLnTx/>
              <a:uFillTx/>
              <a:latin typeface="Arial" charset="0"/>
              <a:ea typeface="ＭＳ Ｐゴシック" pitchFamily="34" charset="-128"/>
            </a:endParaRPr>
          </a:p>
        </p:txBody>
      </p:sp>
      <p:sp>
        <p:nvSpPr>
          <p:cNvPr id="89" name="Freeform 3"/>
          <p:cNvSpPr>
            <a:spLocks noChangeAspect="1" noEditPoints="1"/>
          </p:cNvSpPr>
          <p:nvPr/>
        </p:nvSpPr>
        <p:spPr bwMode="auto">
          <a:xfrm>
            <a:off x="5459942" y="4382371"/>
            <a:ext cx="1654386" cy="1275399"/>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chemeClr val="bg1"/>
          </a:solidFill>
          <a:ln>
            <a:noFill/>
          </a:ln>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6365585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414" y="239714"/>
            <a:ext cx="10461117" cy="1085371"/>
          </a:xfrm>
        </p:spPr>
        <p:txBody>
          <a:bodyPr/>
          <a:lstStyle/>
          <a:p>
            <a:r>
              <a:rPr lang="en-US" dirty="0"/>
              <a:t>Control Plane Protocol Stacks</a:t>
            </a:r>
            <a:br>
              <a:rPr lang="en-US" dirty="0"/>
            </a:br>
            <a:r>
              <a:rPr lang="en-US" dirty="0"/>
              <a:t>AN-AMF (N2)</a:t>
            </a:r>
          </a:p>
        </p:txBody>
      </p:sp>
      <p:pic>
        <p:nvPicPr>
          <p:cNvPr id="4" name="Picture 3"/>
          <p:cNvPicPr>
            <a:picLocks noChangeAspect="1"/>
          </p:cNvPicPr>
          <p:nvPr/>
        </p:nvPicPr>
        <p:blipFill>
          <a:blip r:embed="rId3"/>
          <a:stretch>
            <a:fillRect/>
          </a:stretch>
        </p:blipFill>
        <p:spPr>
          <a:xfrm>
            <a:off x="2437208" y="1674278"/>
            <a:ext cx="7366578" cy="4785450"/>
          </a:xfrm>
          <a:prstGeom prst="rect">
            <a:avLst/>
          </a:prstGeom>
        </p:spPr>
      </p:pic>
      <p:sp>
        <p:nvSpPr>
          <p:cNvPr id="5" name="TextBox 4"/>
          <p:cNvSpPr txBox="1"/>
          <p:nvPr/>
        </p:nvSpPr>
        <p:spPr>
          <a:xfrm>
            <a:off x="1514007" y="2133226"/>
            <a:ext cx="1367682" cy="400110"/>
          </a:xfrm>
          <a:prstGeom prst="rect">
            <a:avLst/>
          </a:prstGeom>
          <a:noFill/>
        </p:spPr>
        <p:txBody>
          <a:bodyPr wrap="none" rtlCol="0">
            <a:spAutoFit/>
          </a:bodyPr>
          <a:lstStyle/>
          <a:p>
            <a:r>
              <a:rPr lang="en-US" dirty="0"/>
              <a:t>TS 38.413</a:t>
            </a:r>
          </a:p>
        </p:txBody>
      </p:sp>
      <p:sp>
        <p:nvSpPr>
          <p:cNvPr id="6" name="TextBox 5"/>
          <p:cNvSpPr txBox="1"/>
          <p:nvPr/>
        </p:nvSpPr>
        <p:spPr>
          <a:xfrm>
            <a:off x="1514007" y="2812248"/>
            <a:ext cx="1354858" cy="400110"/>
          </a:xfrm>
          <a:prstGeom prst="rect">
            <a:avLst/>
          </a:prstGeom>
          <a:noFill/>
        </p:spPr>
        <p:txBody>
          <a:bodyPr wrap="none" rtlCol="0">
            <a:spAutoFit/>
          </a:bodyPr>
          <a:lstStyle/>
          <a:p>
            <a:r>
              <a:rPr lang="en-US" dirty="0"/>
              <a:t>RFC 4960</a:t>
            </a:r>
          </a:p>
        </p:txBody>
      </p:sp>
      <p:grpSp>
        <p:nvGrpSpPr>
          <p:cNvPr id="14" name="Group 13"/>
          <p:cNvGrpSpPr/>
          <p:nvPr/>
        </p:nvGrpSpPr>
        <p:grpSpPr>
          <a:xfrm>
            <a:off x="11399757" y="5717203"/>
            <a:ext cx="697847" cy="920272"/>
            <a:chOff x="4338871" y="2725624"/>
            <a:chExt cx="1199053" cy="1626215"/>
          </a:xfrm>
        </p:grpSpPr>
        <p:sp>
          <p:nvSpPr>
            <p:cNvPr id="1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1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2036374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NAS Transport (n1)</a:t>
            </a:r>
          </a:p>
        </p:txBody>
      </p:sp>
      <p:pic>
        <p:nvPicPr>
          <p:cNvPr id="4" name="Picture 3"/>
          <p:cNvPicPr>
            <a:picLocks noChangeAspect="1"/>
          </p:cNvPicPr>
          <p:nvPr/>
        </p:nvPicPr>
        <p:blipFill>
          <a:blip r:embed="rId3"/>
          <a:stretch>
            <a:fillRect/>
          </a:stretch>
        </p:blipFill>
        <p:spPr>
          <a:xfrm>
            <a:off x="1216466" y="1199191"/>
            <a:ext cx="9782838" cy="4857053"/>
          </a:xfrm>
          <a:prstGeom prst="rect">
            <a:avLst/>
          </a:prstGeom>
        </p:spPr>
      </p:pic>
      <p:grpSp>
        <p:nvGrpSpPr>
          <p:cNvPr id="12" name="Group 11"/>
          <p:cNvGrpSpPr/>
          <p:nvPr/>
        </p:nvGrpSpPr>
        <p:grpSpPr>
          <a:xfrm>
            <a:off x="11399757" y="5717203"/>
            <a:ext cx="697847" cy="920272"/>
            <a:chOff x="4338871" y="2725624"/>
            <a:chExt cx="1199053" cy="1626215"/>
          </a:xfrm>
        </p:grpSpPr>
        <p:sp>
          <p:nvSpPr>
            <p:cNvPr id="1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1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33361316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rol Plane Protocol Stacks</a:t>
            </a:r>
            <a:br>
              <a:rPr lang="en-US" dirty="0"/>
            </a:br>
            <a:r>
              <a:rPr lang="en-US" dirty="0"/>
              <a:t>UE-AMF (N1)</a:t>
            </a:r>
          </a:p>
        </p:txBody>
      </p:sp>
      <p:pic>
        <p:nvPicPr>
          <p:cNvPr id="4" name="Picture 3"/>
          <p:cNvPicPr>
            <a:picLocks noChangeAspect="1"/>
          </p:cNvPicPr>
          <p:nvPr/>
        </p:nvPicPr>
        <p:blipFill>
          <a:blip r:embed="rId3"/>
          <a:stretch>
            <a:fillRect/>
          </a:stretch>
        </p:blipFill>
        <p:spPr>
          <a:xfrm>
            <a:off x="1936813" y="1815548"/>
            <a:ext cx="9865313" cy="4214191"/>
          </a:xfrm>
          <a:prstGeom prst="rect">
            <a:avLst/>
          </a:prstGeom>
        </p:spPr>
      </p:pic>
      <p:sp>
        <p:nvSpPr>
          <p:cNvPr id="5" name="TextBox 4"/>
          <p:cNvSpPr txBox="1"/>
          <p:nvPr/>
        </p:nvSpPr>
        <p:spPr>
          <a:xfrm>
            <a:off x="5923724" y="1842053"/>
            <a:ext cx="513282" cy="400110"/>
          </a:xfrm>
          <a:prstGeom prst="rect">
            <a:avLst/>
          </a:prstGeom>
          <a:noFill/>
        </p:spPr>
        <p:txBody>
          <a:bodyPr wrap="none" rtlCol="0">
            <a:spAutoFit/>
          </a:bodyPr>
          <a:lstStyle/>
          <a:p>
            <a:r>
              <a:rPr lang="en-US" dirty="0"/>
              <a:t>N1</a:t>
            </a:r>
          </a:p>
        </p:txBody>
      </p:sp>
      <p:sp>
        <p:nvSpPr>
          <p:cNvPr id="6" name="TextBox 5"/>
          <p:cNvSpPr txBox="1"/>
          <p:nvPr/>
        </p:nvSpPr>
        <p:spPr>
          <a:xfrm>
            <a:off x="524935" y="3162921"/>
            <a:ext cx="1367682" cy="1631216"/>
          </a:xfrm>
          <a:prstGeom prst="rect">
            <a:avLst/>
          </a:prstGeom>
          <a:noFill/>
        </p:spPr>
        <p:txBody>
          <a:bodyPr wrap="none" rtlCol="0">
            <a:spAutoFit/>
          </a:bodyPr>
          <a:lstStyle/>
          <a:p>
            <a:r>
              <a:rPr lang="en-US" dirty="0" err="1"/>
              <a:t>eNodeB</a:t>
            </a:r>
            <a:br>
              <a:rPr lang="en-US" dirty="0"/>
            </a:br>
            <a:r>
              <a:rPr lang="en-US" dirty="0"/>
              <a:t>TS 36.300</a:t>
            </a:r>
            <a:br>
              <a:rPr lang="en-US" dirty="0"/>
            </a:br>
            <a:br>
              <a:rPr lang="en-US" dirty="0"/>
            </a:br>
            <a:r>
              <a:rPr lang="en-US" dirty="0" err="1"/>
              <a:t>gNodeB</a:t>
            </a:r>
            <a:br>
              <a:rPr lang="en-US" dirty="0"/>
            </a:br>
            <a:r>
              <a:rPr lang="en-US" dirty="0"/>
              <a:t>TS 38.300</a:t>
            </a:r>
          </a:p>
        </p:txBody>
      </p:sp>
      <p:grpSp>
        <p:nvGrpSpPr>
          <p:cNvPr id="7" name="Group 6"/>
          <p:cNvGrpSpPr/>
          <p:nvPr/>
        </p:nvGrpSpPr>
        <p:grpSpPr>
          <a:xfrm>
            <a:off x="11399757" y="5717203"/>
            <a:ext cx="697847" cy="920272"/>
            <a:chOff x="4338871" y="2725624"/>
            <a:chExt cx="1199053" cy="1626215"/>
          </a:xfrm>
        </p:grpSpPr>
        <p:sp>
          <p:nvSpPr>
            <p:cNvPr id="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1"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12"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3"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11123571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 Mobility Management</a:t>
            </a:r>
          </a:p>
        </p:txBody>
      </p:sp>
      <p:sp>
        <p:nvSpPr>
          <p:cNvPr id="3" name="Text Placeholder 2"/>
          <p:cNvSpPr>
            <a:spLocks noGrp="1"/>
          </p:cNvSpPr>
          <p:nvPr>
            <p:ph type="body" idx="1"/>
          </p:nvPr>
        </p:nvSpPr>
        <p:spPr/>
        <p:txBody>
          <a:bodyPr/>
          <a:lstStyle/>
          <a:p>
            <a:r>
              <a:rPr lang="en-US" dirty="0"/>
              <a:t>Mobility Procedure and optimization</a:t>
            </a:r>
          </a:p>
          <a:p>
            <a:pPr lvl="1"/>
            <a:r>
              <a:rPr lang="en-US" dirty="0"/>
              <a:t>Generalizing registration procedure to serve as both initial registration (i.e. attach) and mobility update (i.e. TAU).</a:t>
            </a:r>
          </a:p>
          <a:p>
            <a:r>
              <a:rPr lang="en-US" dirty="0"/>
              <a:t>Mobility registration in AMF for Non-3GPP</a:t>
            </a:r>
          </a:p>
          <a:p>
            <a:pPr lvl="1"/>
            <a:r>
              <a:rPr lang="en-US" dirty="0">
                <a:latin typeface="Arial" pitchFamily="18"/>
                <a:ea typeface="Microsoft YaHei" pitchFamily="2"/>
                <a:cs typeface="Arial" pitchFamily="2"/>
              </a:rPr>
              <a:t> UE need to be registered in AMF, through N3IWF, before PDU session can be established.</a:t>
            </a:r>
          </a:p>
          <a:p>
            <a:pPr lvl="1"/>
            <a:r>
              <a:rPr lang="en-US" altLang="en-US" dirty="0">
                <a:latin typeface="Arial" pitchFamily="18"/>
                <a:ea typeface="Microsoft YaHei" pitchFamily="2"/>
                <a:cs typeface="Arial" pitchFamily="2"/>
              </a:rPr>
              <a:t> Same AMF handles UE if 3GPP and non-3GPP is in the same PLMN.</a:t>
            </a:r>
            <a:endParaRPr lang="en-US" dirty="0">
              <a:latin typeface="Arial" pitchFamily="18"/>
              <a:ea typeface="Microsoft YaHei" pitchFamily="2"/>
              <a:cs typeface="Arial" pitchFamily="2"/>
            </a:endParaRPr>
          </a:p>
          <a:p>
            <a:pPr marL="355600" lvl="1" indent="0">
              <a:buNone/>
            </a:pPr>
            <a:endParaRPr lang="en-US" dirty="0"/>
          </a:p>
        </p:txBody>
      </p:sp>
      <p:grpSp>
        <p:nvGrpSpPr>
          <p:cNvPr id="4" name="Group 3"/>
          <p:cNvGrpSpPr/>
          <p:nvPr/>
        </p:nvGrpSpPr>
        <p:grpSpPr>
          <a:xfrm>
            <a:off x="11399757" y="5717203"/>
            <a:ext cx="697847" cy="920272"/>
            <a:chOff x="4338871" y="2725624"/>
            <a:chExt cx="1199053" cy="1626215"/>
          </a:xfrm>
        </p:grpSpPr>
        <p:sp>
          <p:nvSpPr>
            <p:cNvPr id="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4650277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288839" cy="1085371"/>
          </a:xfrm>
        </p:spPr>
        <p:txBody>
          <a:bodyPr/>
          <a:lstStyle/>
          <a:p>
            <a:r>
              <a:rPr lang="en-US" dirty="0"/>
              <a:t>Registration Management (RM)</a:t>
            </a:r>
          </a:p>
        </p:txBody>
      </p:sp>
      <p:sp>
        <p:nvSpPr>
          <p:cNvPr id="3" name="Text Placeholder 2"/>
          <p:cNvSpPr>
            <a:spLocks noGrp="1"/>
          </p:cNvSpPr>
          <p:nvPr>
            <p:ph type="body" idx="1"/>
          </p:nvPr>
        </p:nvSpPr>
        <p:spPr>
          <a:xfrm>
            <a:off x="529167" y="1614469"/>
            <a:ext cx="11135785" cy="4189984"/>
          </a:xfrm>
        </p:spPr>
        <p:txBody>
          <a:bodyPr/>
          <a:lstStyle/>
          <a:p>
            <a:r>
              <a:rPr lang="en-US" dirty="0"/>
              <a:t>Registration Management:</a:t>
            </a:r>
          </a:p>
          <a:p>
            <a:pPr lvl="1"/>
            <a:r>
              <a:rPr lang="en-US" dirty="0"/>
              <a:t>Used to register and de-register a UE/user with the network</a:t>
            </a:r>
          </a:p>
          <a:p>
            <a:pPr lvl="1"/>
            <a:r>
              <a:rPr lang="en-US" dirty="0"/>
              <a:t>Establish the user context in the network</a:t>
            </a:r>
          </a:p>
          <a:p>
            <a:pPr lvl="1"/>
            <a:r>
              <a:rPr lang="en-US" dirty="0"/>
              <a:t>The Initial Registration procedure involves:</a:t>
            </a:r>
          </a:p>
          <a:p>
            <a:pPr lvl="2"/>
            <a:r>
              <a:rPr lang="en-US" sz="1800" dirty="0"/>
              <a:t>User authentication and access authorization based on subscription profiles in UDM</a:t>
            </a:r>
          </a:p>
          <a:p>
            <a:pPr lvl="2"/>
            <a:r>
              <a:rPr lang="en-US" sz="1800" dirty="0"/>
              <a:t>As a result of the procedure the serving AMF is registered in UDM</a:t>
            </a:r>
          </a:p>
          <a:p>
            <a:pPr lvl="1"/>
            <a:r>
              <a:rPr lang="en-US" dirty="0"/>
              <a:t>Once registered the UE updates its registration with the network:</a:t>
            </a:r>
          </a:p>
          <a:p>
            <a:pPr lvl="2"/>
            <a:r>
              <a:rPr lang="en-US" sz="1800" dirty="0"/>
              <a:t>Periodically</a:t>
            </a:r>
          </a:p>
          <a:p>
            <a:pPr lvl="2"/>
            <a:r>
              <a:rPr lang="en-US" sz="1800" dirty="0"/>
              <a:t>Upon mobility events</a:t>
            </a:r>
          </a:p>
          <a:p>
            <a:pPr lvl="2"/>
            <a:r>
              <a:rPr lang="en-US" sz="1800" dirty="0"/>
              <a:t>To update its capabilities or re-negotiate protocol parameters</a:t>
            </a:r>
          </a:p>
          <a:p>
            <a:pPr lvl="1"/>
            <a:r>
              <a:rPr lang="en-US" dirty="0"/>
              <a:t>Applicable over both 3GPP and non 3GPP access</a:t>
            </a:r>
          </a:p>
        </p:txBody>
      </p:sp>
      <p:grpSp>
        <p:nvGrpSpPr>
          <p:cNvPr id="4" name="Group 3"/>
          <p:cNvGrpSpPr/>
          <p:nvPr/>
        </p:nvGrpSpPr>
        <p:grpSpPr>
          <a:xfrm>
            <a:off x="11399757" y="5717203"/>
            <a:ext cx="697847" cy="920272"/>
            <a:chOff x="4338871" y="2725624"/>
            <a:chExt cx="1199053" cy="1626215"/>
          </a:xfrm>
        </p:grpSpPr>
        <p:sp>
          <p:nvSpPr>
            <p:cNvPr id="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39883239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Arrow Connector 25"/>
          <p:cNvCxnSpPr>
            <a:cxnSpLocks/>
          </p:cNvCxnSpPr>
          <p:nvPr/>
        </p:nvCxnSpPr>
        <p:spPr bwMode="auto">
          <a:xfrm flipH="1">
            <a:off x="4184375" y="3385927"/>
            <a:ext cx="2786271"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2" name="Title 1"/>
          <p:cNvSpPr>
            <a:spLocks noGrp="1"/>
          </p:cNvSpPr>
          <p:nvPr>
            <p:ph type="title"/>
          </p:nvPr>
        </p:nvSpPr>
        <p:spPr/>
        <p:txBody>
          <a:bodyPr/>
          <a:lstStyle/>
          <a:p>
            <a:r>
              <a:rPr lang="en-US" dirty="0"/>
              <a:t>5GS RM State Models</a:t>
            </a:r>
          </a:p>
        </p:txBody>
      </p:sp>
      <p:sp>
        <p:nvSpPr>
          <p:cNvPr id="4" name="Oval 3"/>
          <p:cNvSpPr/>
          <p:nvPr/>
        </p:nvSpPr>
        <p:spPr bwMode="auto">
          <a:xfrm>
            <a:off x="1215887" y="2647122"/>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RM-DEREGISTERED</a:t>
            </a:r>
            <a:endParaRPr kumimoji="0" lang="en-US" sz="2000" b="0" i="0" u="none" strike="noStrike" cap="none" normalizeH="0" baseline="0" dirty="0">
              <a:ln>
                <a:noFill/>
              </a:ln>
              <a:solidFill>
                <a:schemeClr val="tx1"/>
              </a:solidFill>
              <a:effectLst/>
              <a:latin typeface="Arial" charset="0"/>
            </a:endParaRPr>
          </a:p>
        </p:txBody>
      </p:sp>
      <p:sp>
        <p:nvSpPr>
          <p:cNvPr id="6" name="Oval 5"/>
          <p:cNvSpPr/>
          <p:nvPr/>
        </p:nvSpPr>
        <p:spPr bwMode="auto">
          <a:xfrm>
            <a:off x="1215887" y="5201477"/>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RM-DEREGISTERED</a:t>
            </a:r>
            <a:endParaRPr kumimoji="0" lang="en-US" sz="2000" b="0" i="0" u="none" strike="noStrike" cap="none" normalizeH="0" baseline="0" dirty="0">
              <a:ln>
                <a:noFill/>
              </a:ln>
              <a:solidFill>
                <a:schemeClr val="tx1"/>
              </a:solidFill>
              <a:effectLst/>
              <a:latin typeface="Arial" charset="0"/>
            </a:endParaRPr>
          </a:p>
        </p:txBody>
      </p:sp>
      <p:sp>
        <p:nvSpPr>
          <p:cNvPr id="7" name="Oval 6"/>
          <p:cNvSpPr/>
          <p:nvPr/>
        </p:nvSpPr>
        <p:spPr bwMode="auto">
          <a:xfrm>
            <a:off x="6960705" y="5194852"/>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RM-REGISTERED</a:t>
            </a:r>
            <a:endParaRPr kumimoji="0" lang="en-US" sz="2000" b="0" i="0" u="none" strike="noStrike" cap="none" normalizeH="0" baseline="0" dirty="0">
              <a:ln>
                <a:noFill/>
              </a:ln>
              <a:solidFill>
                <a:schemeClr val="tx1"/>
              </a:solidFill>
              <a:effectLst/>
              <a:latin typeface="Arial" charset="0"/>
            </a:endParaRPr>
          </a:p>
        </p:txBody>
      </p:sp>
      <p:sp>
        <p:nvSpPr>
          <p:cNvPr id="20" name="Arrow: Curved Down 19"/>
          <p:cNvSpPr/>
          <p:nvPr/>
        </p:nvSpPr>
        <p:spPr bwMode="auto">
          <a:xfrm flipH="1">
            <a:off x="2093846" y="2266121"/>
            <a:ext cx="1216152" cy="426720"/>
          </a:xfrm>
          <a:prstGeom prst="curvedDownArrow">
            <a:avLst/>
          </a:prstGeom>
          <a:solidFill>
            <a:srgbClr val="FF00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1" name="Arrow: Curved Down 20"/>
          <p:cNvSpPr/>
          <p:nvPr/>
        </p:nvSpPr>
        <p:spPr bwMode="auto">
          <a:xfrm flipH="1">
            <a:off x="7863377" y="2256183"/>
            <a:ext cx="1216152" cy="426720"/>
          </a:xfrm>
          <a:prstGeom prst="curvedDownArrow">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2" name="Arrow: Curved Down 21"/>
          <p:cNvSpPr/>
          <p:nvPr/>
        </p:nvSpPr>
        <p:spPr bwMode="auto">
          <a:xfrm flipH="1">
            <a:off x="2060715" y="4830418"/>
            <a:ext cx="1216152" cy="426720"/>
          </a:xfrm>
          <a:prstGeom prst="curvedDownArrow">
            <a:avLst/>
          </a:prstGeom>
          <a:solidFill>
            <a:srgbClr val="FF0000"/>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3" name="Arrow: Curved Down 22"/>
          <p:cNvSpPr/>
          <p:nvPr/>
        </p:nvSpPr>
        <p:spPr bwMode="auto">
          <a:xfrm flipH="1">
            <a:off x="7830246" y="4820480"/>
            <a:ext cx="1216152" cy="426720"/>
          </a:xfrm>
          <a:prstGeom prst="curvedDownArrow">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25" name="Straight Arrow Connector 24"/>
          <p:cNvCxnSpPr>
            <a:cxnSpLocks/>
          </p:cNvCxnSpPr>
          <p:nvPr/>
        </p:nvCxnSpPr>
        <p:spPr bwMode="auto">
          <a:xfrm>
            <a:off x="4210879" y="3127511"/>
            <a:ext cx="276307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5" name="Oval 4"/>
          <p:cNvSpPr/>
          <p:nvPr/>
        </p:nvSpPr>
        <p:spPr bwMode="auto">
          <a:xfrm>
            <a:off x="6960705" y="2647122"/>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RM-REGISTERED</a:t>
            </a:r>
            <a:endParaRPr kumimoji="0" lang="en-US" sz="2000" b="0" i="0" u="none" strike="noStrike" cap="none" normalizeH="0" baseline="0" dirty="0">
              <a:ln>
                <a:noFill/>
              </a:ln>
              <a:solidFill>
                <a:schemeClr val="tx1"/>
              </a:solidFill>
              <a:effectLst/>
              <a:latin typeface="Arial" charset="0"/>
            </a:endParaRPr>
          </a:p>
        </p:txBody>
      </p:sp>
      <p:cxnSp>
        <p:nvCxnSpPr>
          <p:cNvPr id="32" name="Straight Arrow Connector 31"/>
          <p:cNvCxnSpPr>
            <a:cxnSpLocks/>
          </p:cNvCxnSpPr>
          <p:nvPr/>
        </p:nvCxnSpPr>
        <p:spPr bwMode="auto">
          <a:xfrm flipH="1">
            <a:off x="4191002" y="5936972"/>
            <a:ext cx="2786271"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cxnSp>
        <p:nvCxnSpPr>
          <p:cNvPr id="33" name="Straight Arrow Connector 32"/>
          <p:cNvCxnSpPr>
            <a:cxnSpLocks/>
          </p:cNvCxnSpPr>
          <p:nvPr/>
        </p:nvCxnSpPr>
        <p:spPr bwMode="auto">
          <a:xfrm>
            <a:off x="4217506" y="5678556"/>
            <a:ext cx="276307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34" name="TextBox 33"/>
          <p:cNvSpPr txBox="1"/>
          <p:nvPr/>
        </p:nvSpPr>
        <p:spPr>
          <a:xfrm>
            <a:off x="4209632" y="2770767"/>
            <a:ext cx="2159566" cy="369332"/>
          </a:xfrm>
          <a:prstGeom prst="rect">
            <a:avLst/>
          </a:prstGeom>
          <a:noFill/>
        </p:spPr>
        <p:txBody>
          <a:bodyPr wrap="none" rtlCol="0">
            <a:spAutoFit/>
          </a:bodyPr>
          <a:lstStyle/>
          <a:p>
            <a:r>
              <a:rPr lang="en-US" sz="1800" dirty="0"/>
              <a:t>Registration Accept</a:t>
            </a:r>
          </a:p>
        </p:txBody>
      </p:sp>
      <p:sp>
        <p:nvSpPr>
          <p:cNvPr id="35" name="TextBox 34"/>
          <p:cNvSpPr txBox="1"/>
          <p:nvPr/>
        </p:nvSpPr>
        <p:spPr>
          <a:xfrm>
            <a:off x="4209632" y="3360488"/>
            <a:ext cx="2941831" cy="646331"/>
          </a:xfrm>
          <a:prstGeom prst="rect">
            <a:avLst/>
          </a:prstGeom>
          <a:noFill/>
        </p:spPr>
        <p:txBody>
          <a:bodyPr wrap="none" rtlCol="0">
            <a:spAutoFit/>
          </a:bodyPr>
          <a:lstStyle/>
          <a:p>
            <a:r>
              <a:rPr lang="en-US" sz="1800" dirty="0"/>
              <a:t>Deregistration or</a:t>
            </a:r>
            <a:br>
              <a:rPr lang="en-US" sz="1800" dirty="0"/>
            </a:br>
            <a:r>
              <a:rPr lang="en-US" sz="1800" dirty="0"/>
              <a:t>Registration Update Reject</a:t>
            </a:r>
          </a:p>
        </p:txBody>
      </p:sp>
      <p:sp>
        <p:nvSpPr>
          <p:cNvPr id="36" name="TextBox 35"/>
          <p:cNvSpPr txBox="1"/>
          <p:nvPr/>
        </p:nvSpPr>
        <p:spPr>
          <a:xfrm>
            <a:off x="1659676" y="1911106"/>
            <a:ext cx="2133918" cy="369332"/>
          </a:xfrm>
          <a:prstGeom prst="rect">
            <a:avLst/>
          </a:prstGeom>
          <a:noFill/>
        </p:spPr>
        <p:txBody>
          <a:bodyPr wrap="none" rtlCol="0">
            <a:spAutoFit/>
          </a:bodyPr>
          <a:lstStyle/>
          <a:p>
            <a:r>
              <a:rPr lang="en-US" sz="1800" dirty="0"/>
              <a:t>Registration Reject</a:t>
            </a:r>
          </a:p>
        </p:txBody>
      </p:sp>
      <p:sp>
        <p:nvSpPr>
          <p:cNvPr id="37" name="TextBox 36"/>
          <p:cNvSpPr txBox="1"/>
          <p:nvPr/>
        </p:nvSpPr>
        <p:spPr>
          <a:xfrm>
            <a:off x="7026806" y="1889165"/>
            <a:ext cx="2980368" cy="369332"/>
          </a:xfrm>
          <a:prstGeom prst="rect">
            <a:avLst/>
          </a:prstGeom>
          <a:noFill/>
        </p:spPr>
        <p:txBody>
          <a:bodyPr wrap="none" rtlCol="0">
            <a:spAutoFit/>
          </a:bodyPr>
          <a:lstStyle/>
          <a:p>
            <a:r>
              <a:rPr lang="en-US" sz="1800" dirty="0"/>
              <a:t>Registration Update Accept</a:t>
            </a:r>
          </a:p>
        </p:txBody>
      </p:sp>
      <p:sp>
        <p:nvSpPr>
          <p:cNvPr id="38" name="TextBox 37"/>
          <p:cNvSpPr txBox="1"/>
          <p:nvPr/>
        </p:nvSpPr>
        <p:spPr>
          <a:xfrm>
            <a:off x="180379" y="1444487"/>
            <a:ext cx="2720617" cy="400110"/>
          </a:xfrm>
          <a:prstGeom prst="rect">
            <a:avLst/>
          </a:prstGeom>
          <a:noFill/>
        </p:spPr>
        <p:txBody>
          <a:bodyPr wrap="none" rtlCol="0">
            <a:spAutoFit/>
          </a:bodyPr>
          <a:lstStyle/>
          <a:p>
            <a:r>
              <a:rPr lang="en-US" dirty="0">
                <a:solidFill>
                  <a:schemeClr val="tx1">
                    <a:lumMod val="50000"/>
                  </a:schemeClr>
                </a:solidFill>
              </a:rPr>
              <a:t>RM State model in UE</a:t>
            </a:r>
          </a:p>
        </p:txBody>
      </p:sp>
      <p:sp>
        <p:nvSpPr>
          <p:cNvPr id="39" name="TextBox 38"/>
          <p:cNvSpPr txBox="1"/>
          <p:nvPr/>
        </p:nvSpPr>
        <p:spPr>
          <a:xfrm>
            <a:off x="180379" y="4059251"/>
            <a:ext cx="2890791" cy="400110"/>
          </a:xfrm>
          <a:prstGeom prst="rect">
            <a:avLst/>
          </a:prstGeom>
          <a:noFill/>
        </p:spPr>
        <p:txBody>
          <a:bodyPr wrap="none" rtlCol="0">
            <a:spAutoFit/>
          </a:bodyPr>
          <a:lstStyle/>
          <a:p>
            <a:r>
              <a:rPr lang="en-US" dirty="0">
                <a:solidFill>
                  <a:schemeClr val="tx1">
                    <a:lumMod val="50000"/>
                  </a:schemeClr>
                </a:solidFill>
              </a:rPr>
              <a:t>RM State model in AMF</a:t>
            </a:r>
          </a:p>
        </p:txBody>
      </p:sp>
      <p:sp>
        <p:nvSpPr>
          <p:cNvPr id="40" name="TextBox 39"/>
          <p:cNvSpPr txBox="1"/>
          <p:nvPr/>
        </p:nvSpPr>
        <p:spPr>
          <a:xfrm>
            <a:off x="1759068" y="4515153"/>
            <a:ext cx="2133918" cy="369332"/>
          </a:xfrm>
          <a:prstGeom prst="rect">
            <a:avLst/>
          </a:prstGeom>
          <a:noFill/>
        </p:spPr>
        <p:txBody>
          <a:bodyPr wrap="none" rtlCol="0">
            <a:spAutoFit/>
          </a:bodyPr>
          <a:lstStyle/>
          <a:p>
            <a:r>
              <a:rPr lang="en-US" sz="1800" dirty="0"/>
              <a:t>Registration Reject</a:t>
            </a:r>
          </a:p>
        </p:txBody>
      </p:sp>
      <p:sp>
        <p:nvSpPr>
          <p:cNvPr id="41" name="TextBox 40"/>
          <p:cNvSpPr txBox="1"/>
          <p:nvPr/>
        </p:nvSpPr>
        <p:spPr>
          <a:xfrm>
            <a:off x="7020182" y="4493214"/>
            <a:ext cx="2980368" cy="369332"/>
          </a:xfrm>
          <a:prstGeom prst="rect">
            <a:avLst/>
          </a:prstGeom>
          <a:noFill/>
        </p:spPr>
        <p:txBody>
          <a:bodyPr wrap="none" rtlCol="0">
            <a:spAutoFit/>
          </a:bodyPr>
          <a:lstStyle/>
          <a:p>
            <a:r>
              <a:rPr lang="en-US" sz="1800" dirty="0"/>
              <a:t>Registration Update Accept</a:t>
            </a:r>
          </a:p>
        </p:txBody>
      </p:sp>
      <p:sp>
        <p:nvSpPr>
          <p:cNvPr id="42" name="TextBox 41"/>
          <p:cNvSpPr txBox="1"/>
          <p:nvPr/>
        </p:nvSpPr>
        <p:spPr>
          <a:xfrm>
            <a:off x="4242764" y="5348312"/>
            <a:ext cx="2159566" cy="369332"/>
          </a:xfrm>
          <a:prstGeom prst="rect">
            <a:avLst/>
          </a:prstGeom>
          <a:noFill/>
        </p:spPr>
        <p:txBody>
          <a:bodyPr wrap="none" rtlCol="0">
            <a:spAutoFit/>
          </a:bodyPr>
          <a:lstStyle/>
          <a:p>
            <a:r>
              <a:rPr lang="en-US" sz="1800" dirty="0"/>
              <a:t>Registration Accept</a:t>
            </a:r>
          </a:p>
        </p:txBody>
      </p:sp>
      <p:sp>
        <p:nvSpPr>
          <p:cNvPr id="44" name="TextBox 43"/>
          <p:cNvSpPr txBox="1"/>
          <p:nvPr/>
        </p:nvSpPr>
        <p:spPr>
          <a:xfrm>
            <a:off x="4242764" y="5898278"/>
            <a:ext cx="2941831" cy="646331"/>
          </a:xfrm>
          <a:prstGeom prst="rect">
            <a:avLst/>
          </a:prstGeom>
          <a:noFill/>
        </p:spPr>
        <p:txBody>
          <a:bodyPr wrap="none" rtlCol="0">
            <a:spAutoFit/>
          </a:bodyPr>
          <a:lstStyle/>
          <a:p>
            <a:r>
              <a:rPr lang="en-US" sz="1800" dirty="0"/>
              <a:t>Deregistration or</a:t>
            </a:r>
            <a:br>
              <a:rPr lang="en-US" sz="1800" dirty="0"/>
            </a:br>
            <a:r>
              <a:rPr lang="en-US" sz="1800" dirty="0"/>
              <a:t>Registration Update Reject</a:t>
            </a:r>
          </a:p>
        </p:txBody>
      </p:sp>
      <p:grpSp>
        <p:nvGrpSpPr>
          <p:cNvPr id="27" name="Group 26"/>
          <p:cNvGrpSpPr/>
          <p:nvPr/>
        </p:nvGrpSpPr>
        <p:grpSpPr>
          <a:xfrm>
            <a:off x="11399757" y="5717203"/>
            <a:ext cx="697847" cy="920272"/>
            <a:chOff x="4338871" y="2725624"/>
            <a:chExt cx="1199053" cy="1626215"/>
          </a:xfrm>
        </p:grpSpPr>
        <p:sp>
          <p:nvSpPr>
            <p:cNvPr id="28"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9"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0"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31"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4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45"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36934186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17277284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E Registered over both 3GPP and Non 3GPP access</a:t>
            </a:r>
          </a:p>
        </p:txBody>
      </p:sp>
      <p:sp>
        <p:nvSpPr>
          <p:cNvPr id="3" name="Text Placeholder 2"/>
          <p:cNvSpPr>
            <a:spLocks noGrp="1"/>
          </p:cNvSpPr>
          <p:nvPr>
            <p:ph type="body" idx="1"/>
          </p:nvPr>
        </p:nvSpPr>
        <p:spPr/>
        <p:txBody>
          <a:bodyPr/>
          <a:lstStyle/>
          <a:p>
            <a:r>
              <a:rPr lang="en-US" dirty="0"/>
              <a:t>AMF associates multiple access-specific RM contexts for an UE with</a:t>
            </a:r>
          </a:p>
          <a:p>
            <a:pPr lvl="1"/>
            <a:r>
              <a:rPr lang="en-US" dirty="0"/>
              <a:t>A common globally unique Temporary Identifier for 3GPP and Non-3GPP access</a:t>
            </a:r>
          </a:p>
          <a:p>
            <a:pPr lvl="1"/>
            <a:r>
              <a:rPr lang="en-US" dirty="0"/>
              <a:t>A Registration state per access type (3GPP/Non-3GPP)</a:t>
            </a:r>
          </a:p>
          <a:p>
            <a:pPr lvl="1"/>
            <a:r>
              <a:rPr lang="en-US" dirty="0"/>
              <a:t>Registration Areas (RA) per access type</a:t>
            </a:r>
          </a:p>
          <a:p>
            <a:pPr lvl="1"/>
            <a:r>
              <a:rPr lang="en-US" dirty="0"/>
              <a:t>A periodic registration timer for 3GPP access</a:t>
            </a:r>
          </a:p>
          <a:p>
            <a:r>
              <a:rPr lang="en-US" dirty="0"/>
              <a:t>UE shall not perform periodic registration update over non-3GPP access</a:t>
            </a:r>
          </a:p>
          <a:p>
            <a:r>
              <a:rPr lang="en-US" dirty="0"/>
              <a:t>Temporary ID can only be used if both accesses are in the same PLMN </a:t>
            </a:r>
          </a:p>
          <a:p>
            <a:pPr lvl="1"/>
            <a:r>
              <a:rPr lang="en-US" dirty="0"/>
              <a:t>The UE is registered via a 3GPP access and selects a N3IWF in the same PLMN</a:t>
            </a:r>
          </a:p>
          <a:p>
            <a:r>
              <a:rPr lang="en-US" dirty="0"/>
              <a:t>Deregistration indication:</a:t>
            </a:r>
          </a:p>
          <a:p>
            <a:pPr lvl="1"/>
            <a:r>
              <a:rPr lang="en-US" dirty="0"/>
              <a:t>All accesses or only the access over which the procedure is run</a:t>
            </a:r>
          </a:p>
        </p:txBody>
      </p:sp>
      <p:grpSp>
        <p:nvGrpSpPr>
          <p:cNvPr id="4" name="Group 3"/>
          <p:cNvGrpSpPr/>
          <p:nvPr/>
        </p:nvGrpSpPr>
        <p:grpSpPr>
          <a:xfrm>
            <a:off x="11399757" y="5717203"/>
            <a:ext cx="697847" cy="920272"/>
            <a:chOff x="4338871" y="2725624"/>
            <a:chExt cx="1199053" cy="1626215"/>
          </a:xfrm>
        </p:grpSpPr>
        <p:sp>
          <p:nvSpPr>
            <p:cNvPr id="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10836288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on Management (CM)</a:t>
            </a:r>
          </a:p>
        </p:txBody>
      </p:sp>
      <p:sp>
        <p:nvSpPr>
          <p:cNvPr id="3" name="Text Placeholder 2"/>
          <p:cNvSpPr>
            <a:spLocks noGrp="1"/>
          </p:cNvSpPr>
          <p:nvPr>
            <p:ph type="body" idx="1"/>
          </p:nvPr>
        </p:nvSpPr>
        <p:spPr/>
        <p:txBody>
          <a:bodyPr/>
          <a:lstStyle/>
          <a:p>
            <a:r>
              <a:rPr lang="en-US" dirty="0"/>
              <a:t>Connection Management:</a:t>
            </a:r>
          </a:p>
          <a:p>
            <a:pPr lvl="1"/>
            <a:r>
              <a:rPr lang="en-US" dirty="0"/>
              <a:t>Includes the functions of establishing and releasing a signaling connection between a UE and the AMF over N1</a:t>
            </a:r>
          </a:p>
          <a:p>
            <a:pPr lvl="2"/>
            <a:r>
              <a:rPr lang="en-US" sz="1800" dirty="0"/>
              <a:t>Used to enable NAS signaling between UE and the core network</a:t>
            </a:r>
          </a:p>
          <a:p>
            <a:pPr lvl="2"/>
            <a:r>
              <a:rPr lang="en-US" sz="1800" dirty="0"/>
              <a:t>Includes the signaling connection between UE and the AN</a:t>
            </a:r>
          </a:p>
          <a:p>
            <a:pPr lvl="2"/>
            <a:r>
              <a:rPr lang="en-US" sz="1800" dirty="0"/>
              <a:t>Includes the N2 connection for this UE between AN and the AMF</a:t>
            </a:r>
          </a:p>
          <a:p>
            <a:pPr lvl="1"/>
            <a:endParaRPr lang="en-US" dirty="0"/>
          </a:p>
        </p:txBody>
      </p:sp>
      <p:grpSp>
        <p:nvGrpSpPr>
          <p:cNvPr id="4" name="Group 3"/>
          <p:cNvGrpSpPr>
            <a:grpSpLocks noChangeAspect="1"/>
          </p:cNvGrpSpPr>
          <p:nvPr/>
        </p:nvGrpSpPr>
        <p:grpSpPr>
          <a:xfrm>
            <a:off x="4735480" y="3946946"/>
            <a:ext cx="6036074" cy="2884978"/>
            <a:chOff x="453894" y="1290725"/>
            <a:chExt cx="11150562" cy="5329479"/>
          </a:xfrm>
        </p:grpSpPr>
        <p:grpSp>
          <p:nvGrpSpPr>
            <p:cNvPr id="5" name="Group 4"/>
            <p:cNvGrpSpPr/>
            <p:nvPr/>
          </p:nvGrpSpPr>
          <p:grpSpPr>
            <a:xfrm>
              <a:off x="9354059" y="4900926"/>
              <a:ext cx="2250397" cy="1719278"/>
              <a:chOff x="9315422" y="5130211"/>
              <a:chExt cx="2250397" cy="1719278"/>
            </a:xfrm>
          </p:grpSpPr>
          <p:sp>
            <p:nvSpPr>
              <p:cNvPr id="88"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sz="1000"/>
              </a:p>
            </p:txBody>
          </p:sp>
          <p:sp>
            <p:nvSpPr>
              <p:cNvPr id="89" name="Text Box 35"/>
              <p:cNvSpPr txBox="1">
                <a:spLocks noChangeAspect="1" noChangeArrowheads="1"/>
              </p:cNvSpPr>
              <p:nvPr/>
            </p:nvSpPr>
            <p:spPr bwMode="auto">
              <a:xfrm>
                <a:off x="9508328" y="5638453"/>
                <a:ext cx="1808285" cy="85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ea typeface="MS PGothic" pitchFamily="34" charset="-128"/>
                  </a:rPr>
                  <a:t>Data Network </a:t>
                </a:r>
              </a:p>
              <a:p>
                <a:pPr algn="ctr" eaLnBrk="1" hangingPunct="1">
                  <a:lnSpc>
                    <a:spcPct val="80000"/>
                  </a:lnSpc>
                  <a:spcBef>
                    <a:spcPct val="0"/>
                  </a:spcBef>
                  <a:buClrTx/>
                  <a:buFontTx/>
                  <a:buNone/>
                </a:pPr>
                <a:r>
                  <a:rPr lang="en-US" altLang="en-US" sz="1000" dirty="0">
                    <a:ea typeface="MS PGothic" pitchFamily="34" charset="-128"/>
                  </a:rPr>
                  <a:t>(e.g. operator </a:t>
                </a:r>
              </a:p>
              <a:p>
                <a:pPr algn="ctr" eaLnBrk="1" hangingPunct="1">
                  <a:lnSpc>
                    <a:spcPct val="80000"/>
                  </a:lnSpc>
                  <a:spcBef>
                    <a:spcPct val="0"/>
                  </a:spcBef>
                  <a:buClrTx/>
                  <a:buFontTx/>
                  <a:buNone/>
                </a:pPr>
                <a:r>
                  <a:rPr lang="en-US" altLang="en-US" sz="1000" dirty="0">
                    <a:ea typeface="MS PGothic" pitchFamily="34" charset="-128"/>
                  </a:rPr>
                  <a:t>or Internet)</a:t>
                </a:r>
              </a:p>
            </p:txBody>
          </p:sp>
        </p:grpSp>
        <p:cxnSp>
          <p:nvCxnSpPr>
            <p:cNvPr id="6" name="Elbow Connector 59"/>
            <p:cNvCxnSpPr>
              <a:cxnSpLocks/>
              <a:endCxn id="51" idx="2"/>
            </p:cNvCxnSpPr>
            <p:nvPr/>
          </p:nvCxnSpPr>
          <p:spPr bwMode="auto">
            <a:xfrm flipV="1">
              <a:off x="955975" y="352451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7" name="Freeform 4"/>
            <p:cNvSpPr>
              <a:spLocks noChangeAspect="1" noEditPoints="1"/>
            </p:cNvSpPr>
            <p:nvPr/>
          </p:nvSpPr>
          <p:spPr bwMode="auto">
            <a:xfrm>
              <a:off x="696863" y="498617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a:p>
          </p:txBody>
        </p:sp>
        <p:sp>
          <p:nvSpPr>
            <p:cNvPr id="8" name="Freeform 88"/>
            <p:cNvSpPr>
              <a:spLocks/>
            </p:cNvSpPr>
            <p:nvPr/>
          </p:nvSpPr>
          <p:spPr bwMode="auto">
            <a:xfrm rot="2583056" flipH="1">
              <a:off x="1412059" y="516553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00" b="1" dirty="0">
                <a:cs typeface="+mn-cs"/>
              </a:endParaRPr>
            </a:p>
          </p:txBody>
        </p:sp>
        <p:sp>
          <p:nvSpPr>
            <p:cNvPr id="9" name="Text Box 144"/>
            <p:cNvSpPr txBox="1">
              <a:spLocks noChangeAspect="1" noChangeArrowheads="1"/>
            </p:cNvSpPr>
            <p:nvPr/>
          </p:nvSpPr>
          <p:spPr bwMode="auto">
            <a:xfrm>
              <a:off x="453894" y="565117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G UE</a:t>
              </a:r>
            </a:p>
          </p:txBody>
        </p:sp>
        <p:sp>
          <p:nvSpPr>
            <p:cNvPr id="10" name="Text Box 144"/>
            <p:cNvSpPr txBox="1">
              <a:spLocks noChangeAspect="1" noChangeArrowheads="1"/>
            </p:cNvSpPr>
            <p:nvPr/>
          </p:nvSpPr>
          <p:spPr bwMode="auto">
            <a:xfrm>
              <a:off x="4004009" y="4522361"/>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2</a:t>
              </a:r>
            </a:p>
          </p:txBody>
        </p:sp>
        <p:sp>
          <p:nvSpPr>
            <p:cNvPr id="11" name="Text Box 144"/>
            <p:cNvSpPr txBox="1">
              <a:spLocks noChangeAspect="1" noChangeArrowheads="1"/>
            </p:cNvSpPr>
            <p:nvPr/>
          </p:nvSpPr>
          <p:spPr bwMode="auto">
            <a:xfrm>
              <a:off x="5022480" y="561005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3</a:t>
              </a:r>
            </a:p>
          </p:txBody>
        </p:sp>
        <p:sp>
          <p:nvSpPr>
            <p:cNvPr id="12" name="Text Box 144"/>
            <p:cNvSpPr txBox="1">
              <a:spLocks noChangeAspect="1" noChangeArrowheads="1"/>
            </p:cNvSpPr>
            <p:nvPr/>
          </p:nvSpPr>
          <p:spPr bwMode="auto">
            <a:xfrm>
              <a:off x="8188449" y="561215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6</a:t>
              </a:r>
            </a:p>
          </p:txBody>
        </p:sp>
        <p:sp>
          <p:nvSpPr>
            <p:cNvPr id="13" name="Text Box 144"/>
            <p:cNvSpPr txBox="1">
              <a:spLocks noChangeAspect="1" noChangeArrowheads="1"/>
            </p:cNvSpPr>
            <p:nvPr/>
          </p:nvSpPr>
          <p:spPr bwMode="auto">
            <a:xfrm>
              <a:off x="7405615" y="271829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7</a:t>
              </a:r>
            </a:p>
          </p:txBody>
        </p:sp>
        <p:sp>
          <p:nvSpPr>
            <p:cNvPr id="14" name="Text Box 144"/>
            <p:cNvSpPr txBox="1">
              <a:spLocks noChangeAspect="1" noChangeArrowheads="1"/>
            </p:cNvSpPr>
            <p:nvPr/>
          </p:nvSpPr>
          <p:spPr bwMode="auto">
            <a:xfrm>
              <a:off x="8303280" y="2720540"/>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5</a:t>
              </a:r>
            </a:p>
          </p:txBody>
        </p:sp>
        <p:sp>
          <p:nvSpPr>
            <p:cNvPr id="15" name="Text Box 144"/>
            <p:cNvSpPr txBox="1">
              <a:spLocks noChangeAspect="1" noChangeArrowheads="1"/>
            </p:cNvSpPr>
            <p:nvPr/>
          </p:nvSpPr>
          <p:spPr bwMode="auto">
            <a:xfrm>
              <a:off x="7174663" y="4654372"/>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4</a:t>
              </a:r>
            </a:p>
          </p:txBody>
        </p:sp>
        <p:grpSp>
          <p:nvGrpSpPr>
            <p:cNvPr id="16" name="Group 15"/>
            <p:cNvGrpSpPr/>
            <p:nvPr/>
          </p:nvGrpSpPr>
          <p:grpSpPr>
            <a:xfrm>
              <a:off x="2780030" y="4934476"/>
              <a:ext cx="886830" cy="1230796"/>
              <a:chOff x="936376" y="2900085"/>
              <a:chExt cx="864096" cy="1240668"/>
            </a:xfrm>
          </p:grpSpPr>
          <p:sp>
            <p:nvSpPr>
              <p:cNvPr id="83"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4"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5"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ea typeface="Segoe UI" panose="020B0502040204020203" pitchFamily="34" charset="0"/>
                    <a:cs typeface="Arial" panose="020B0604020202020204" pitchFamily="34" charset="0"/>
                  </a:rPr>
                  <a:t>5G RAN</a:t>
                </a:r>
              </a:p>
            </p:txBody>
          </p:sp>
          <p:sp>
            <p:nvSpPr>
              <p:cNvPr id="86"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7"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000">
                  <a:solidFill>
                    <a:srgbClr val="58585A"/>
                  </a:solidFill>
                </a:endParaRPr>
              </a:p>
            </p:txBody>
          </p:sp>
        </p:grpSp>
        <p:sp>
          <p:nvSpPr>
            <p:cNvPr id="17" name="Line 30"/>
            <p:cNvSpPr>
              <a:spLocks noChangeShapeType="1"/>
            </p:cNvSpPr>
            <p:nvPr/>
          </p:nvSpPr>
          <p:spPr bwMode="auto">
            <a:xfrm>
              <a:off x="3670915" y="5830687"/>
              <a:ext cx="5705219"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1000">
                <a:ea typeface="ＭＳ Ｐゴシック" charset="0"/>
                <a:cs typeface="Arial" charset="0"/>
              </a:endParaRPr>
            </a:p>
          </p:txBody>
        </p:sp>
        <p:grpSp>
          <p:nvGrpSpPr>
            <p:cNvPr id="18" name="Group 17"/>
            <p:cNvGrpSpPr/>
            <p:nvPr/>
          </p:nvGrpSpPr>
          <p:grpSpPr>
            <a:xfrm>
              <a:off x="7068292" y="4955384"/>
              <a:ext cx="889582" cy="1249115"/>
              <a:chOff x="5979156" y="5040856"/>
              <a:chExt cx="1101600" cy="1587600"/>
            </a:xfrm>
          </p:grpSpPr>
          <p:cxnSp>
            <p:nvCxnSpPr>
              <p:cNvPr id="77" name="Straight Connector 76"/>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78"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9"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0"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UPF</a:t>
                </a:r>
              </a:p>
            </p:txBody>
          </p:sp>
          <p:sp>
            <p:nvSpPr>
              <p:cNvPr id="81"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2"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000"/>
              </a:p>
            </p:txBody>
          </p:sp>
        </p:grpSp>
        <p:grpSp>
          <p:nvGrpSpPr>
            <p:cNvPr id="19" name="Group 18"/>
            <p:cNvGrpSpPr/>
            <p:nvPr/>
          </p:nvGrpSpPr>
          <p:grpSpPr>
            <a:xfrm>
              <a:off x="7085193" y="3084556"/>
              <a:ext cx="948900" cy="1274363"/>
              <a:chOff x="4338871" y="2725624"/>
              <a:chExt cx="1199053" cy="1626215"/>
            </a:xfrm>
          </p:grpSpPr>
          <p:sp>
            <p:nvSpPr>
              <p:cNvPr id="7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SMF</a:t>
                </a:r>
              </a:p>
            </p:txBody>
          </p:sp>
          <p:sp>
            <p:nvSpPr>
              <p:cNvPr id="7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6"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nvGrpSpPr>
            <p:cNvPr id="20" name="Group 19"/>
            <p:cNvGrpSpPr/>
            <p:nvPr/>
          </p:nvGrpSpPr>
          <p:grpSpPr>
            <a:xfrm>
              <a:off x="7843880" y="1290725"/>
              <a:ext cx="920586" cy="1329413"/>
              <a:chOff x="2530204" y="1718022"/>
              <a:chExt cx="1186277" cy="1647323"/>
            </a:xfrm>
          </p:grpSpPr>
          <p:sp>
            <p:nvSpPr>
              <p:cNvPr id="6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66" name="Group 274"/>
              <p:cNvGrpSpPr>
                <a:grpSpLocks noChangeAspect="1"/>
              </p:cNvGrpSpPr>
              <p:nvPr/>
            </p:nvGrpSpPr>
            <p:grpSpPr bwMode="auto">
              <a:xfrm>
                <a:off x="2590950" y="1853233"/>
                <a:ext cx="1125531" cy="1512112"/>
                <a:chOff x="3147" y="3024"/>
                <a:chExt cx="257" cy="366"/>
              </a:xfrm>
            </p:grpSpPr>
            <p:grpSp>
              <p:nvGrpSpPr>
                <p:cNvPr id="67" name="Group 7"/>
                <p:cNvGrpSpPr>
                  <a:grpSpLocks noChangeAspect="1"/>
                </p:cNvGrpSpPr>
                <p:nvPr/>
              </p:nvGrpSpPr>
              <p:grpSpPr bwMode="auto">
                <a:xfrm>
                  <a:off x="3147" y="3024"/>
                  <a:ext cx="257" cy="366"/>
                  <a:chOff x="2283" y="1698"/>
                  <a:chExt cx="983" cy="1402"/>
                </a:xfrm>
              </p:grpSpPr>
              <p:pic>
                <p:nvPicPr>
                  <p:cNvPr id="69"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charset="-128"/>
                    </a:rPr>
                    <a:t>PCF</a:t>
                  </a:r>
                </a:p>
              </p:txBody>
            </p:sp>
          </p:grpSp>
        </p:grpSp>
        <p:cxnSp>
          <p:nvCxnSpPr>
            <p:cNvPr id="21" name="Straight Connector 20"/>
            <p:cNvCxnSpPr>
              <a:cxnSpLocks/>
              <a:stCxn id="52" idx="1"/>
              <a:endCxn id="84" idx="6"/>
            </p:cNvCxnSpPr>
            <p:nvPr/>
          </p:nvCxnSpPr>
          <p:spPr bwMode="auto">
            <a:xfrm flipH="1">
              <a:off x="3652201" y="402933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2" name="Text Box 144"/>
            <p:cNvSpPr txBox="1">
              <a:spLocks noChangeAspect="1" noChangeArrowheads="1"/>
            </p:cNvSpPr>
            <p:nvPr/>
          </p:nvSpPr>
          <p:spPr bwMode="auto">
            <a:xfrm>
              <a:off x="661985" y="333549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a:t>
              </a:r>
            </a:p>
          </p:txBody>
        </p:sp>
        <p:cxnSp>
          <p:nvCxnSpPr>
            <p:cNvPr id="23" name="Straight Connector 22"/>
            <p:cNvCxnSpPr>
              <a:cxnSpLocks/>
              <a:stCxn id="74" idx="2"/>
              <a:endCxn id="79" idx="0"/>
            </p:cNvCxnSpPr>
            <p:nvPr/>
          </p:nvCxnSpPr>
          <p:spPr bwMode="auto">
            <a:xfrm flipH="1">
              <a:off x="7511859" y="429994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4" name="Straight Connector 23"/>
            <p:cNvCxnSpPr>
              <a:cxnSpLocks/>
              <a:stCxn id="74" idx="1"/>
              <a:endCxn id="52" idx="3"/>
            </p:cNvCxnSpPr>
            <p:nvPr/>
          </p:nvCxnSpPr>
          <p:spPr bwMode="auto">
            <a:xfrm flipH="1" flipV="1">
              <a:off x="6369288" y="402933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5" name="Text Box 144"/>
            <p:cNvSpPr txBox="1">
              <a:spLocks noChangeAspect="1" noChangeArrowheads="1"/>
            </p:cNvSpPr>
            <p:nvPr/>
          </p:nvSpPr>
          <p:spPr bwMode="auto">
            <a:xfrm>
              <a:off x="6273553" y="384546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1</a:t>
              </a:r>
            </a:p>
          </p:txBody>
        </p:sp>
        <p:grpSp>
          <p:nvGrpSpPr>
            <p:cNvPr id="26" name="Group 25"/>
            <p:cNvGrpSpPr/>
            <p:nvPr/>
          </p:nvGrpSpPr>
          <p:grpSpPr>
            <a:xfrm>
              <a:off x="6293596" y="1303232"/>
              <a:ext cx="920586" cy="1329413"/>
              <a:chOff x="2530204" y="1718022"/>
              <a:chExt cx="1186277" cy="1647323"/>
            </a:xfrm>
          </p:grpSpPr>
          <p:sp>
            <p:nvSpPr>
              <p:cNvPr id="5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58" name="Group 274"/>
              <p:cNvGrpSpPr>
                <a:grpSpLocks noChangeAspect="1"/>
              </p:cNvGrpSpPr>
              <p:nvPr/>
            </p:nvGrpSpPr>
            <p:grpSpPr bwMode="auto">
              <a:xfrm>
                <a:off x="2590950" y="1853233"/>
                <a:ext cx="1125531" cy="1512112"/>
                <a:chOff x="3147" y="3024"/>
                <a:chExt cx="257" cy="366"/>
              </a:xfrm>
            </p:grpSpPr>
            <p:grpSp>
              <p:nvGrpSpPr>
                <p:cNvPr id="59" name="Group 7"/>
                <p:cNvGrpSpPr>
                  <a:grpSpLocks noChangeAspect="1"/>
                </p:cNvGrpSpPr>
                <p:nvPr/>
              </p:nvGrpSpPr>
              <p:grpSpPr bwMode="auto">
                <a:xfrm>
                  <a:off x="3147" y="3024"/>
                  <a:ext cx="257" cy="366"/>
                  <a:chOff x="2283" y="1698"/>
                  <a:chExt cx="983" cy="1402"/>
                </a:xfrm>
              </p:grpSpPr>
              <p:pic>
                <p:nvPicPr>
                  <p:cNvPr id="61"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pitchFamily="34" charset="-128"/>
                    </a:rPr>
                    <a:t>UDM</a:t>
                  </a:r>
                  <a:endParaRPr lang="en-US" altLang="en-US" sz="1000" dirty="0">
                    <a:ea typeface="MS PGothic" charset="-128"/>
                  </a:endParaRPr>
                </a:p>
              </p:txBody>
            </p:sp>
          </p:grpSp>
        </p:grpSp>
        <p:cxnSp>
          <p:nvCxnSpPr>
            <p:cNvPr id="27" name="Straight Connector 26"/>
            <p:cNvCxnSpPr>
              <a:cxnSpLocks/>
              <a:stCxn id="61" idx="2"/>
              <a:endCxn id="51" idx="7"/>
            </p:cNvCxnSpPr>
            <p:nvPr/>
          </p:nvCxnSpPr>
          <p:spPr bwMode="auto">
            <a:xfrm flipH="1">
              <a:off x="6276709" y="263264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8" name="Straight Connector 27"/>
            <p:cNvCxnSpPr>
              <a:cxnSpLocks/>
              <a:endCxn id="51" idx="1"/>
            </p:cNvCxnSpPr>
            <p:nvPr/>
          </p:nvCxnSpPr>
          <p:spPr bwMode="auto">
            <a:xfrm>
              <a:off x="5247805" y="262408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9" name="Straight Connector 28"/>
            <p:cNvCxnSpPr>
              <a:cxnSpLocks/>
              <a:endCxn id="60" idx="1"/>
            </p:cNvCxnSpPr>
            <p:nvPr/>
          </p:nvCxnSpPr>
          <p:spPr bwMode="auto">
            <a:xfrm>
              <a:off x="5626751" y="228733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0" name="Text Box 144"/>
            <p:cNvSpPr txBox="1">
              <a:spLocks noChangeAspect="1" noChangeArrowheads="1"/>
            </p:cNvSpPr>
            <p:nvPr/>
          </p:nvSpPr>
          <p:spPr bwMode="auto">
            <a:xfrm>
              <a:off x="5499691" y="203511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3</a:t>
              </a:r>
            </a:p>
          </p:txBody>
        </p:sp>
        <p:sp>
          <p:nvSpPr>
            <p:cNvPr id="31" name="Text Box 144"/>
            <p:cNvSpPr txBox="1">
              <a:spLocks noChangeAspect="1" noChangeArrowheads="1"/>
            </p:cNvSpPr>
            <p:nvPr/>
          </p:nvSpPr>
          <p:spPr bwMode="auto">
            <a:xfrm>
              <a:off x="5753154" y="272791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8</a:t>
              </a:r>
            </a:p>
          </p:txBody>
        </p:sp>
        <p:sp>
          <p:nvSpPr>
            <p:cNvPr id="32" name="Text Box 144"/>
            <p:cNvSpPr txBox="1">
              <a:spLocks noChangeAspect="1" noChangeArrowheads="1"/>
            </p:cNvSpPr>
            <p:nvPr/>
          </p:nvSpPr>
          <p:spPr bwMode="auto">
            <a:xfrm>
              <a:off x="4526304" y="271942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2</a:t>
              </a:r>
            </a:p>
          </p:txBody>
        </p:sp>
        <p:sp>
          <p:nvSpPr>
            <p:cNvPr id="33" name="Text Box 144"/>
            <p:cNvSpPr txBox="1">
              <a:spLocks noChangeAspect="1" noChangeArrowheads="1"/>
            </p:cNvSpPr>
            <p:nvPr/>
          </p:nvSpPr>
          <p:spPr bwMode="auto">
            <a:xfrm>
              <a:off x="6750515" y="2712907"/>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0</a:t>
              </a:r>
            </a:p>
          </p:txBody>
        </p:sp>
        <p:cxnSp>
          <p:nvCxnSpPr>
            <p:cNvPr id="34" name="Straight Connector 33"/>
            <p:cNvCxnSpPr>
              <a:cxnSpLocks/>
              <a:stCxn id="73" idx="1"/>
              <a:endCxn id="61" idx="2"/>
            </p:cNvCxnSpPr>
            <p:nvPr/>
          </p:nvCxnSpPr>
          <p:spPr bwMode="auto">
            <a:xfrm flipH="1" flipV="1">
              <a:off x="6777460" y="263264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5" name="Straight Connector 34"/>
            <p:cNvCxnSpPr>
              <a:cxnSpLocks/>
              <a:stCxn id="69" idx="2"/>
              <a:endCxn id="73" idx="7"/>
            </p:cNvCxnSpPr>
            <p:nvPr/>
          </p:nvCxnSpPr>
          <p:spPr bwMode="auto">
            <a:xfrm flipH="1">
              <a:off x="7818762" y="262013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6" name="Straight Connector 35"/>
            <p:cNvCxnSpPr>
              <a:cxnSpLocks/>
              <a:stCxn id="69" idx="2"/>
            </p:cNvCxnSpPr>
            <p:nvPr/>
          </p:nvCxnSpPr>
          <p:spPr bwMode="auto">
            <a:xfrm>
              <a:off x="8327744" y="262013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7" name="Straight Connector 95"/>
            <p:cNvCxnSpPr>
              <a:cxnSpLocks/>
              <a:stCxn id="69" idx="2"/>
              <a:endCxn id="52" idx="2"/>
            </p:cNvCxnSpPr>
            <p:nvPr/>
          </p:nvCxnSpPr>
          <p:spPr bwMode="auto">
            <a:xfrm rot="5400000">
              <a:off x="6313012" y="228375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cxnSp>
          <p:nvCxnSpPr>
            <p:cNvPr id="38" name="Straight Connector 95"/>
            <p:cNvCxnSpPr>
              <a:cxnSpLocks/>
              <a:stCxn id="51" idx="3"/>
              <a:endCxn id="52" idx="1"/>
            </p:cNvCxnSpPr>
            <p:nvPr/>
          </p:nvCxnSpPr>
          <p:spPr bwMode="auto">
            <a:xfrm rot="5400000">
              <a:off x="5529192" y="387957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39" name="Group 38"/>
            <p:cNvGrpSpPr/>
            <p:nvPr/>
          </p:nvGrpSpPr>
          <p:grpSpPr>
            <a:xfrm>
              <a:off x="5543140" y="3083094"/>
              <a:ext cx="948900" cy="1274363"/>
              <a:chOff x="4338871" y="2725624"/>
              <a:chExt cx="1199053" cy="1626215"/>
            </a:xfrm>
          </p:grpSpPr>
          <p:sp>
            <p:nvSpPr>
              <p:cNvPr id="4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MF</a:t>
                </a:r>
              </a:p>
            </p:txBody>
          </p:sp>
          <p:sp>
            <p:nvSpPr>
              <p:cNvPr id="5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sp>
          <p:nvSpPr>
            <p:cNvPr id="40" name="Text Box 144"/>
            <p:cNvSpPr txBox="1">
              <a:spLocks noChangeAspect="1" noChangeArrowheads="1"/>
            </p:cNvSpPr>
            <p:nvPr/>
          </p:nvSpPr>
          <p:spPr bwMode="auto">
            <a:xfrm>
              <a:off x="4655018" y="3639523"/>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4</a:t>
              </a:r>
            </a:p>
          </p:txBody>
        </p:sp>
        <p:sp>
          <p:nvSpPr>
            <p:cNvPr id="41" name="Text Box 144"/>
            <p:cNvSpPr txBox="1">
              <a:spLocks noChangeAspect="1" noChangeArrowheads="1"/>
            </p:cNvSpPr>
            <p:nvPr/>
          </p:nvSpPr>
          <p:spPr bwMode="auto">
            <a:xfrm>
              <a:off x="6273553" y="435000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5</a:t>
              </a:r>
            </a:p>
          </p:txBody>
        </p:sp>
        <p:grpSp>
          <p:nvGrpSpPr>
            <p:cNvPr id="42" name="Group 41"/>
            <p:cNvGrpSpPr/>
            <p:nvPr/>
          </p:nvGrpSpPr>
          <p:grpSpPr>
            <a:xfrm>
              <a:off x="4837025" y="1387754"/>
              <a:ext cx="948900" cy="1274363"/>
              <a:chOff x="4338871" y="2725624"/>
              <a:chExt cx="1199053" cy="1626215"/>
            </a:xfrm>
          </p:grpSpPr>
          <p:sp>
            <p:nvSpPr>
              <p:cNvPr id="4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USF</a:t>
                </a:r>
              </a:p>
            </p:txBody>
          </p:sp>
          <p:sp>
            <p:nvSpPr>
              <p:cNvPr id="4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sp>
        <p:nvSpPr>
          <p:cNvPr id="90" name="Oval 89"/>
          <p:cNvSpPr/>
          <p:nvPr/>
        </p:nvSpPr>
        <p:spPr bwMode="auto">
          <a:xfrm>
            <a:off x="4212130" y="4484299"/>
            <a:ext cx="3394670" cy="2347625"/>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1" name="TextBox 90"/>
          <p:cNvSpPr txBox="1"/>
          <p:nvPr/>
        </p:nvSpPr>
        <p:spPr>
          <a:xfrm>
            <a:off x="5127120" y="4973456"/>
            <a:ext cx="534121" cy="246221"/>
          </a:xfrm>
          <a:prstGeom prst="rect">
            <a:avLst/>
          </a:prstGeom>
          <a:noFill/>
        </p:spPr>
        <p:txBody>
          <a:bodyPr wrap="none" rtlCol="0">
            <a:spAutoFit/>
          </a:bodyPr>
          <a:lstStyle/>
          <a:p>
            <a:r>
              <a:rPr lang="en-US" sz="1000" dirty="0"/>
              <a:t>(NAS)</a:t>
            </a:r>
          </a:p>
        </p:txBody>
      </p:sp>
      <p:grpSp>
        <p:nvGrpSpPr>
          <p:cNvPr id="92" name="Group 91"/>
          <p:cNvGrpSpPr/>
          <p:nvPr/>
        </p:nvGrpSpPr>
        <p:grpSpPr>
          <a:xfrm>
            <a:off x="11399757" y="5717203"/>
            <a:ext cx="697847" cy="920272"/>
            <a:chOff x="4338871" y="2725624"/>
            <a:chExt cx="1199053" cy="1626215"/>
          </a:xfrm>
        </p:grpSpPr>
        <p:sp>
          <p:nvSpPr>
            <p:cNvPr id="9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9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3937778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GS CM State models</a:t>
            </a:r>
          </a:p>
        </p:txBody>
      </p:sp>
      <p:cxnSp>
        <p:nvCxnSpPr>
          <p:cNvPr id="4" name="Straight Arrow Connector 3"/>
          <p:cNvCxnSpPr>
            <a:cxnSpLocks/>
          </p:cNvCxnSpPr>
          <p:nvPr/>
        </p:nvCxnSpPr>
        <p:spPr bwMode="auto">
          <a:xfrm flipH="1">
            <a:off x="4184375" y="3054623"/>
            <a:ext cx="2786271"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5" name="Oval 4"/>
          <p:cNvSpPr/>
          <p:nvPr/>
        </p:nvSpPr>
        <p:spPr bwMode="auto">
          <a:xfrm>
            <a:off x="1215887" y="2315818"/>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CM-IDLE</a:t>
            </a:r>
            <a:endParaRPr kumimoji="0" lang="en-US" sz="2000" b="0" i="0" u="none" strike="noStrike" cap="none" normalizeH="0" baseline="0" dirty="0">
              <a:ln>
                <a:noFill/>
              </a:ln>
              <a:solidFill>
                <a:schemeClr val="tx1"/>
              </a:solidFill>
              <a:effectLst/>
              <a:latin typeface="Arial" charset="0"/>
            </a:endParaRPr>
          </a:p>
        </p:txBody>
      </p:sp>
      <p:sp>
        <p:nvSpPr>
          <p:cNvPr id="6" name="Oval 5"/>
          <p:cNvSpPr/>
          <p:nvPr/>
        </p:nvSpPr>
        <p:spPr bwMode="auto">
          <a:xfrm>
            <a:off x="1215887" y="4896677"/>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CM-IDLE</a:t>
            </a:r>
            <a:endParaRPr kumimoji="0" lang="en-US" sz="2000" b="0" i="0" u="none" strike="noStrike" cap="none" normalizeH="0" baseline="0" dirty="0">
              <a:ln>
                <a:noFill/>
              </a:ln>
              <a:solidFill>
                <a:schemeClr val="tx1"/>
              </a:solidFill>
              <a:effectLst/>
              <a:latin typeface="Arial" charset="0"/>
            </a:endParaRPr>
          </a:p>
        </p:txBody>
      </p:sp>
      <p:sp>
        <p:nvSpPr>
          <p:cNvPr id="7" name="Oval 6"/>
          <p:cNvSpPr/>
          <p:nvPr/>
        </p:nvSpPr>
        <p:spPr bwMode="auto">
          <a:xfrm>
            <a:off x="6960705" y="4890052"/>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CM-CONNECTED</a:t>
            </a:r>
            <a:endParaRPr kumimoji="0" lang="en-US" sz="2000" b="0" i="0" u="none" strike="noStrike" cap="none" normalizeH="0" baseline="0" dirty="0">
              <a:ln>
                <a:noFill/>
              </a:ln>
              <a:solidFill>
                <a:schemeClr val="tx1"/>
              </a:solidFill>
              <a:effectLst/>
              <a:latin typeface="Arial" charset="0"/>
            </a:endParaRPr>
          </a:p>
        </p:txBody>
      </p:sp>
      <p:cxnSp>
        <p:nvCxnSpPr>
          <p:cNvPr id="12" name="Straight Arrow Connector 11"/>
          <p:cNvCxnSpPr>
            <a:cxnSpLocks/>
          </p:cNvCxnSpPr>
          <p:nvPr/>
        </p:nvCxnSpPr>
        <p:spPr bwMode="auto">
          <a:xfrm>
            <a:off x="4210879" y="2796207"/>
            <a:ext cx="276307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13" name="Oval 12"/>
          <p:cNvSpPr/>
          <p:nvPr/>
        </p:nvSpPr>
        <p:spPr bwMode="auto">
          <a:xfrm>
            <a:off x="6960705" y="2315818"/>
            <a:ext cx="3021496" cy="121920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dirty="0"/>
              <a:t>CM-CONNECTED</a:t>
            </a:r>
            <a:endParaRPr kumimoji="0" lang="en-US" sz="2000" b="0" i="0" u="none" strike="noStrike" cap="none" normalizeH="0" baseline="0" dirty="0">
              <a:ln>
                <a:noFill/>
              </a:ln>
              <a:solidFill>
                <a:schemeClr val="tx1"/>
              </a:solidFill>
              <a:effectLst/>
              <a:latin typeface="Arial" charset="0"/>
            </a:endParaRPr>
          </a:p>
        </p:txBody>
      </p:sp>
      <p:cxnSp>
        <p:nvCxnSpPr>
          <p:cNvPr id="14" name="Straight Arrow Connector 13"/>
          <p:cNvCxnSpPr>
            <a:cxnSpLocks/>
          </p:cNvCxnSpPr>
          <p:nvPr/>
        </p:nvCxnSpPr>
        <p:spPr bwMode="auto">
          <a:xfrm flipH="1">
            <a:off x="4191002" y="5632172"/>
            <a:ext cx="2786271"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cxnSp>
        <p:nvCxnSpPr>
          <p:cNvPr id="15" name="Straight Arrow Connector 14"/>
          <p:cNvCxnSpPr>
            <a:cxnSpLocks/>
          </p:cNvCxnSpPr>
          <p:nvPr/>
        </p:nvCxnSpPr>
        <p:spPr bwMode="auto">
          <a:xfrm>
            <a:off x="4217506" y="5373756"/>
            <a:ext cx="276307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17" name="TextBox 16"/>
          <p:cNvSpPr txBox="1"/>
          <p:nvPr/>
        </p:nvSpPr>
        <p:spPr>
          <a:xfrm>
            <a:off x="4209632" y="3029184"/>
            <a:ext cx="2723823" cy="646331"/>
          </a:xfrm>
          <a:prstGeom prst="rect">
            <a:avLst/>
          </a:prstGeom>
          <a:noFill/>
        </p:spPr>
        <p:txBody>
          <a:bodyPr wrap="none" rtlCol="0">
            <a:spAutoFit/>
          </a:bodyPr>
          <a:lstStyle/>
          <a:p>
            <a:pPr algn="ctr"/>
            <a:r>
              <a:rPr lang="en-US" sz="1800" dirty="0"/>
              <a:t>AN signaling connection </a:t>
            </a:r>
            <a:br>
              <a:rPr lang="en-US" sz="1800" dirty="0"/>
            </a:br>
            <a:r>
              <a:rPr lang="en-US" sz="1800" dirty="0"/>
              <a:t>released</a:t>
            </a:r>
          </a:p>
        </p:txBody>
      </p:sp>
      <p:sp>
        <p:nvSpPr>
          <p:cNvPr id="20" name="TextBox 19"/>
          <p:cNvSpPr txBox="1"/>
          <p:nvPr/>
        </p:nvSpPr>
        <p:spPr>
          <a:xfrm>
            <a:off x="180379" y="1444487"/>
            <a:ext cx="2720617" cy="400110"/>
          </a:xfrm>
          <a:prstGeom prst="rect">
            <a:avLst/>
          </a:prstGeom>
          <a:noFill/>
        </p:spPr>
        <p:txBody>
          <a:bodyPr wrap="none" rtlCol="0">
            <a:spAutoFit/>
          </a:bodyPr>
          <a:lstStyle/>
          <a:p>
            <a:r>
              <a:rPr lang="en-US" dirty="0">
                <a:solidFill>
                  <a:schemeClr val="tx1">
                    <a:lumMod val="50000"/>
                  </a:schemeClr>
                </a:solidFill>
              </a:rPr>
              <a:t>CM State model in UE</a:t>
            </a:r>
          </a:p>
        </p:txBody>
      </p:sp>
      <p:sp>
        <p:nvSpPr>
          <p:cNvPr id="21" name="TextBox 20"/>
          <p:cNvSpPr txBox="1"/>
          <p:nvPr/>
        </p:nvSpPr>
        <p:spPr>
          <a:xfrm>
            <a:off x="180379" y="4059251"/>
            <a:ext cx="2890791" cy="400110"/>
          </a:xfrm>
          <a:prstGeom prst="rect">
            <a:avLst/>
          </a:prstGeom>
          <a:noFill/>
        </p:spPr>
        <p:txBody>
          <a:bodyPr wrap="none" rtlCol="0">
            <a:spAutoFit/>
          </a:bodyPr>
          <a:lstStyle/>
          <a:p>
            <a:r>
              <a:rPr lang="en-US" dirty="0">
                <a:solidFill>
                  <a:schemeClr val="tx1">
                    <a:lumMod val="50000"/>
                  </a:schemeClr>
                </a:solidFill>
              </a:rPr>
              <a:t>CM State model in AMF</a:t>
            </a:r>
          </a:p>
        </p:txBody>
      </p:sp>
      <p:sp>
        <p:nvSpPr>
          <p:cNvPr id="24" name="TextBox 23"/>
          <p:cNvSpPr txBox="1"/>
          <p:nvPr/>
        </p:nvSpPr>
        <p:spPr>
          <a:xfrm>
            <a:off x="4191002" y="4978116"/>
            <a:ext cx="2890535" cy="369332"/>
          </a:xfrm>
          <a:prstGeom prst="rect">
            <a:avLst/>
          </a:prstGeom>
          <a:noFill/>
        </p:spPr>
        <p:txBody>
          <a:bodyPr wrap="none" rtlCol="0">
            <a:spAutoFit/>
          </a:bodyPr>
          <a:lstStyle/>
          <a:p>
            <a:r>
              <a:rPr lang="en-US" sz="1800" dirty="0"/>
              <a:t>N2 connection established</a:t>
            </a:r>
          </a:p>
        </p:txBody>
      </p:sp>
      <p:sp>
        <p:nvSpPr>
          <p:cNvPr id="26" name="TextBox 25"/>
          <p:cNvSpPr txBox="1"/>
          <p:nvPr/>
        </p:nvSpPr>
        <p:spPr>
          <a:xfrm>
            <a:off x="4242765" y="1869620"/>
            <a:ext cx="2723823" cy="923330"/>
          </a:xfrm>
          <a:prstGeom prst="rect">
            <a:avLst/>
          </a:prstGeom>
          <a:noFill/>
        </p:spPr>
        <p:txBody>
          <a:bodyPr wrap="none" rtlCol="0">
            <a:spAutoFit/>
          </a:bodyPr>
          <a:lstStyle/>
          <a:p>
            <a:pPr algn="ctr"/>
            <a:r>
              <a:rPr lang="en-US" sz="1800" dirty="0"/>
              <a:t>AN signaling connection </a:t>
            </a:r>
            <a:br>
              <a:rPr lang="en-US" sz="1800" dirty="0"/>
            </a:br>
            <a:r>
              <a:rPr lang="en-US" sz="1800" dirty="0"/>
              <a:t>established </a:t>
            </a:r>
            <a:br>
              <a:rPr lang="en-US" sz="1800" dirty="0"/>
            </a:br>
            <a:r>
              <a:rPr lang="en-US" sz="1800" dirty="0"/>
              <a:t>(Initial NAS message)</a:t>
            </a:r>
          </a:p>
        </p:txBody>
      </p:sp>
      <p:sp>
        <p:nvSpPr>
          <p:cNvPr id="27" name="TextBox 26"/>
          <p:cNvSpPr txBox="1"/>
          <p:nvPr/>
        </p:nvSpPr>
        <p:spPr>
          <a:xfrm>
            <a:off x="4193533" y="5647350"/>
            <a:ext cx="2608406" cy="369332"/>
          </a:xfrm>
          <a:prstGeom prst="rect">
            <a:avLst/>
          </a:prstGeom>
          <a:noFill/>
        </p:spPr>
        <p:txBody>
          <a:bodyPr wrap="none" rtlCol="0">
            <a:spAutoFit/>
          </a:bodyPr>
          <a:lstStyle/>
          <a:p>
            <a:r>
              <a:rPr lang="en-US" sz="1800" dirty="0"/>
              <a:t>N2 connection released</a:t>
            </a:r>
          </a:p>
        </p:txBody>
      </p:sp>
      <p:grpSp>
        <p:nvGrpSpPr>
          <p:cNvPr id="18" name="Group 17"/>
          <p:cNvGrpSpPr/>
          <p:nvPr/>
        </p:nvGrpSpPr>
        <p:grpSpPr>
          <a:xfrm>
            <a:off x="11399757" y="5717203"/>
            <a:ext cx="697847" cy="920272"/>
            <a:chOff x="4338871" y="2725624"/>
            <a:chExt cx="1199053" cy="1626215"/>
          </a:xfrm>
        </p:grpSpPr>
        <p:sp>
          <p:nvSpPr>
            <p:cNvPr id="1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5"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28"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9"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921555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tal operator addressable Revenues </a:t>
            </a:r>
          </a:p>
        </p:txBody>
      </p:sp>
      <p:graphicFrame>
        <p:nvGraphicFramePr>
          <p:cNvPr id="4" name="Object 138"/>
          <p:cNvGraphicFramePr>
            <a:graphicFrameLocks/>
          </p:cNvGraphicFramePr>
          <p:nvPr>
            <p:custDataLst>
              <p:tags r:id="rId1"/>
            </p:custDataLst>
            <p:extLst/>
          </p:nvPr>
        </p:nvGraphicFramePr>
        <p:xfrm>
          <a:off x="6070600" y="2032000"/>
          <a:ext cx="5689431" cy="3735727"/>
        </p:xfrm>
        <a:graphic>
          <a:graphicData uri="http://schemas.openxmlformats.org/drawingml/2006/chart">
            <c:chart xmlns:c="http://schemas.openxmlformats.org/drawingml/2006/chart" xmlns:r="http://schemas.openxmlformats.org/officeDocument/2006/relationships" r:id="rId32"/>
          </a:graphicData>
        </a:graphic>
      </p:graphicFrame>
      <p:sp>
        <p:nvSpPr>
          <p:cNvPr id="5" name="TextBox 4"/>
          <p:cNvSpPr txBox="1"/>
          <p:nvPr/>
        </p:nvSpPr>
        <p:spPr>
          <a:xfrm>
            <a:off x="524935" y="1375790"/>
            <a:ext cx="5679019" cy="473300"/>
          </a:xfrm>
          <a:prstGeom prst="rect">
            <a:avLst/>
          </a:prstGeom>
          <a:noFill/>
        </p:spPr>
        <p:txBody>
          <a:bodyPr wrap="square" bIns="90000" rtlCol="0" anchor="b">
            <a:noAutofit/>
          </a:bodyPr>
          <a:lstStyle/>
          <a:p>
            <a:r>
              <a:rPr lang="en-US" b="1" dirty="0"/>
              <a:t>Current &amp; 5G addressable revenues</a:t>
            </a:r>
          </a:p>
        </p:txBody>
      </p:sp>
      <p:sp>
        <p:nvSpPr>
          <p:cNvPr id="6" name="TextBox 5"/>
          <p:cNvSpPr txBox="1"/>
          <p:nvPr/>
        </p:nvSpPr>
        <p:spPr>
          <a:xfrm>
            <a:off x="6203954" y="1375790"/>
            <a:ext cx="5456765" cy="473300"/>
          </a:xfrm>
          <a:prstGeom prst="rect">
            <a:avLst/>
          </a:prstGeom>
          <a:noFill/>
        </p:spPr>
        <p:txBody>
          <a:bodyPr wrap="square" bIns="90000" rtlCol="0" anchor="b">
            <a:noAutofit/>
          </a:bodyPr>
          <a:lstStyle/>
          <a:p>
            <a:r>
              <a:rPr lang="en-US" b="1" dirty="0"/>
              <a:t>Split per Industry (2026)</a:t>
            </a:r>
          </a:p>
        </p:txBody>
      </p:sp>
      <p:graphicFrame>
        <p:nvGraphicFramePr>
          <p:cNvPr id="7" name="Object 15"/>
          <p:cNvGraphicFramePr>
            <a:graphicFrameLocks/>
          </p:cNvGraphicFramePr>
          <p:nvPr>
            <p:custDataLst>
              <p:tags r:id="rId2"/>
            </p:custDataLst>
            <p:extLst/>
          </p:nvPr>
        </p:nvGraphicFramePr>
        <p:xfrm>
          <a:off x="1193800" y="2374900"/>
          <a:ext cx="4682608" cy="3550595"/>
        </p:xfrm>
        <a:graphic>
          <a:graphicData uri="http://schemas.openxmlformats.org/drawingml/2006/chart">
            <c:chart xmlns:c="http://schemas.openxmlformats.org/drawingml/2006/chart" xmlns:r="http://schemas.openxmlformats.org/officeDocument/2006/relationships" r:id="rId33"/>
          </a:graphicData>
        </a:graphic>
      </p:graphicFrame>
      <p:cxnSp>
        <p:nvCxnSpPr>
          <p:cNvPr id="8" name="Straight Connector 7"/>
          <p:cNvCxnSpPr/>
          <p:nvPr>
            <p:custDataLst>
              <p:tags r:id="rId3"/>
            </p:custDataLst>
          </p:nvPr>
        </p:nvCxnSpPr>
        <p:spPr bwMode="auto">
          <a:xfrm flipV="1">
            <a:off x="5227638" y="2820988"/>
            <a:ext cx="0" cy="746125"/>
          </a:xfrm>
          <a:prstGeom prst="line">
            <a:avLst/>
          </a:prstGeom>
          <a:solidFill>
            <a:schemeClr val="accent1"/>
          </a:solidFill>
          <a:ln w="25400" cap="flat" cmpd="sng" algn="ctr">
            <a:solidFill>
              <a:srgbClr val="D5E4AF"/>
            </a:solidFill>
            <a:prstDash val="solid"/>
            <a:round/>
            <a:headEnd type="none" w="med" len="med"/>
            <a:tailEnd type="triangle" w="med" len="med"/>
          </a:ln>
          <a:effectLst/>
        </p:spPr>
      </p:cxnSp>
      <p:cxnSp>
        <p:nvCxnSpPr>
          <p:cNvPr id="9" name="Straight Connector 8"/>
          <p:cNvCxnSpPr/>
          <p:nvPr>
            <p:custDataLst>
              <p:tags r:id="rId4"/>
            </p:custDataLst>
          </p:nvPr>
        </p:nvCxnSpPr>
        <p:spPr bwMode="auto">
          <a:xfrm flipH="1">
            <a:off x="5189538" y="2824163"/>
            <a:ext cx="633413" cy="0"/>
          </a:xfrm>
          <a:prstGeom prst="line">
            <a:avLst/>
          </a:prstGeom>
          <a:solidFill>
            <a:schemeClr val="accent1"/>
          </a:solidFill>
          <a:ln w="6350" cap="flat" cmpd="sng" algn="ctr">
            <a:solidFill>
              <a:srgbClr val="89BA17"/>
            </a:solidFill>
            <a:prstDash val="dash"/>
            <a:round/>
            <a:headEnd type="none" w="med" len="med"/>
            <a:tailEnd type="none" w="med" len="med"/>
          </a:ln>
          <a:effectLst/>
        </p:spPr>
      </p:cxnSp>
      <p:cxnSp>
        <p:nvCxnSpPr>
          <p:cNvPr id="10" name="Straight Connector 9"/>
          <p:cNvCxnSpPr/>
          <p:nvPr>
            <p:custDataLst>
              <p:tags r:id="rId5"/>
            </p:custDataLst>
          </p:nvPr>
        </p:nvCxnSpPr>
        <p:spPr bwMode="auto">
          <a:xfrm flipH="1">
            <a:off x="5189538" y="3563938"/>
            <a:ext cx="633413" cy="0"/>
          </a:xfrm>
          <a:prstGeom prst="line">
            <a:avLst/>
          </a:prstGeom>
          <a:solidFill>
            <a:schemeClr val="accent1"/>
          </a:solidFill>
          <a:ln w="6350" cap="flat" cmpd="sng" algn="ctr">
            <a:solidFill>
              <a:srgbClr val="EBF2D9"/>
            </a:solidFill>
            <a:prstDash val="dash"/>
            <a:round/>
            <a:headEnd type="none" w="med" len="med"/>
            <a:tailEnd type="none" w="med" len="med"/>
          </a:ln>
          <a:effectLst/>
        </p:spPr>
      </p:cxnSp>
      <p:sp>
        <p:nvSpPr>
          <p:cNvPr id="11" name="Content_SM"/>
          <p:cNvSpPr>
            <a:spLocks noGrp="1" noChangeArrowheads="1"/>
          </p:cNvSpPr>
          <p:nvPr>
            <p:custDataLst>
              <p:tags r:id="rId6"/>
            </p:custDataLst>
          </p:nvPr>
        </p:nvSpPr>
        <p:spPr bwMode="auto">
          <a:xfrm>
            <a:off x="4976952" y="2256326"/>
            <a:ext cx="522287" cy="499074"/>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p>
            <a:pPr algn="ctr">
              <a:spcBef>
                <a:spcPct val="0"/>
              </a:spcBef>
              <a:buClr>
                <a:srgbClr val="00A9D4"/>
              </a:buClr>
              <a:buFont typeface="Arial" charset="0"/>
              <a:buNone/>
            </a:pPr>
            <a:r>
              <a:rPr lang="en-US" altLang="en-US" sz="1200" b="1" dirty="0">
                <a:latin typeface="+mn-lt"/>
              </a:rPr>
              <a:t>+34%</a:t>
            </a:r>
            <a:endParaRPr lang="en-US" sz="1200" b="1" dirty="0">
              <a:latin typeface="+mn-lt"/>
              <a:sym typeface="+mn-lt"/>
            </a:endParaRPr>
          </a:p>
        </p:txBody>
      </p:sp>
      <p:sp>
        <p:nvSpPr>
          <p:cNvPr id="12" name="Content_SM"/>
          <p:cNvSpPr>
            <a:spLocks noGrp="1" noChangeArrowheads="1"/>
          </p:cNvSpPr>
          <p:nvPr>
            <p:custDataLst>
              <p:tags r:id="rId7"/>
            </p:custDataLst>
          </p:nvPr>
        </p:nvSpPr>
        <p:spPr bwMode="auto">
          <a:xfrm>
            <a:off x="5619750"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0B53A0C7-D758-490B-97B5-4D9843576E4D}" type="datetime'''''''''''''20''''''''''''''''''''''''''''''''''''26'">
              <a:rPr lang="en-GB" altLang="en-US" sz="1400"/>
              <a:pPr/>
              <a:t>2026</a:t>
            </a:fld>
            <a:endParaRPr lang="en-GB" sz="1400" dirty="0">
              <a:sym typeface="+mn-lt"/>
            </a:endParaRPr>
          </a:p>
        </p:txBody>
      </p:sp>
      <p:sp>
        <p:nvSpPr>
          <p:cNvPr id="13" name="Content_SM"/>
          <p:cNvSpPr>
            <a:spLocks noGrp="1" noChangeArrowheads="1"/>
          </p:cNvSpPr>
          <p:nvPr>
            <p:custDataLst>
              <p:tags r:id="rId8"/>
            </p:custDataLst>
          </p:nvPr>
        </p:nvSpPr>
        <p:spPr bwMode="auto">
          <a:xfrm>
            <a:off x="4826000"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BA37523-FA0E-4A78-9015-50D9B877522F}" type="datetime'''2''''''''''''''''0''2''''4'''">
              <a:rPr lang="en-GB" altLang="en-US" sz="1400"/>
              <a:pPr/>
              <a:t>2024</a:t>
            </a:fld>
            <a:endParaRPr lang="en-GB" sz="1400" dirty="0">
              <a:sym typeface="+mn-lt"/>
            </a:endParaRPr>
          </a:p>
        </p:txBody>
      </p:sp>
      <p:sp>
        <p:nvSpPr>
          <p:cNvPr id="14" name="Content_SM"/>
          <p:cNvSpPr>
            <a:spLocks noGrp="1" noChangeArrowheads="1"/>
          </p:cNvSpPr>
          <p:nvPr>
            <p:custDataLst>
              <p:tags r:id="rId9"/>
            </p:custDataLst>
          </p:nvPr>
        </p:nvSpPr>
        <p:spPr bwMode="auto">
          <a:xfrm>
            <a:off x="3241675"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1D21ED6A-8515-41B3-B14F-00DB5BB91B33}" type="datetime'''20''2''''''''''''''''''''''''''''''0'''''''">
              <a:rPr lang="en-GB" altLang="en-US" sz="1400"/>
              <a:pPr/>
              <a:t>2020</a:t>
            </a:fld>
            <a:endParaRPr lang="en-GB" sz="1400" dirty="0">
              <a:sym typeface="+mn-lt"/>
            </a:endParaRPr>
          </a:p>
        </p:txBody>
      </p:sp>
      <p:sp>
        <p:nvSpPr>
          <p:cNvPr id="15" name="Content_SM"/>
          <p:cNvSpPr>
            <a:spLocks noGrp="1" noChangeArrowheads="1"/>
          </p:cNvSpPr>
          <p:nvPr>
            <p:custDataLst>
              <p:tags r:id="rId10"/>
            </p:custDataLst>
          </p:nvPr>
        </p:nvSpPr>
        <p:spPr bwMode="auto">
          <a:xfrm>
            <a:off x="4030663"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C008710E-35F6-4070-8BF7-A6A207EF8885}" type="datetime'''''''20''''''''''''''''''''''''''22'''''''''''''''''''''''">
              <a:rPr lang="en-GB" altLang="en-US" sz="1400"/>
              <a:pPr/>
              <a:t>2022</a:t>
            </a:fld>
            <a:endParaRPr lang="en-GB" sz="1400" dirty="0">
              <a:sym typeface="+mn-lt"/>
            </a:endParaRPr>
          </a:p>
        </p:txBody>
      </p:sp>
      <p:sp>
        <p:nvSpPr>
          <p:cNvPr id="16" name="Content_SM"/>
          <p:cNvSpPr>
            <a:spLocks noGrp="1" noChangeArrowheads="1"/>
          </p:cNvSpPr>
          <p:nvPr>
            <p:custDataLst>
              <p:tags r:id="rId11"/>
            </p:custDataLst>
          </p:nvPr>
        </p:nvSpPr>
        <p:spPr bwMode="auto">
          <a:xfrm>
            <a:off x="1652588"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F484ADE0-4398-426D-A7D1-84D3EB709603}" type="datetime'''''''2''''''''0''''''''''''''''''''''''''''''''16'''''''">
              <a:rPr lang="en-GB" altLang="en-US" sz="1400"/>
              <a:pPr/>
              <a:t>2016</a:t>
            </a:fld>
            <a:endParaRPr lang="en-GB" sz="1400" dirty="0">
              <a:sym typeface="+mn-lt"/>
            </a:endParaRPr>
          </a:p>
        </p:txBody>
      </p:sp>
      <p:sp>
        <p:nvSpPr>
          <p:cNvPr id="17" name="Content_SM"/>
          <p:cNvSpPr>
            <a:spLocks noGrp="1" noChangeArrowheads="1"/>
          </p:cNvSpPr>
          <p:nvPr>
            <p:custDataLst>
              <p:tags r:id="rId12"/>
            </p:custDataLst>
          </p:nvPr>
        </p:nvSpPr>
        <p:spPr bwMode="auto">
          <a:xfrm>
            <a:off x="2446338" y="5757863"/>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11314BB-09D7-4239-90FD-FE0912C3B061}" type="datetime'''''''''''''''''''''''''''''''''2''''''''''''''''0''''1''8'''">
              <a:rPr lang="en-GB" altLang="en-US" sz="1400"/>
              <a:pPr/>
              <a:t>2018</a:t>
            </a:fld>
            <a:endParaRPr lang="en-GB" sz="1400" dirty="0">
              <a:sym typeface="+mn-lt"/>
            </a:endParaRPr>
          </a:p>
        </p:txBody>
      </p:sp>
      <p:sp>
        <p:nvSpPr>
          <p:cNvPr id="18" name="Rectangle 17"/>
          <p:cNvSpPr/>
          <p:nvPr/>
        </p:nvSpPr>
        <p:spPr>
          <a:xfrm rot="16200000">
            <a:off x="-140616" y="3057878"/>
            <a:ext cx="1768014" cy="425758"/>
          </a:xfrm>
          <a:prstGeom prst="rect">
            <a:avLst/>
          </a:prstGeom>
        </p:spPr>
        <p:txBody>
          <a:bodyPr wrap="square">
            <a:spAutoFit/>
          </a:bodyPr>
          <a:lstStyle/>
          <a:p>
            <a:pPr algn="ctr">
              <a:lnSpc>
                <a:spcPts val="1300"/>
              </a:lnSpc>
            </a:pPr>
            <a:r>
              <a:rPr lang="en-GB" sz="1200" dirty="0"/>
              <a:t>New addressable 5G enabled revenues</a:t>
            </a:r>
            <a:r>
              <a:rPr lang="en-GB" sz="1200" baseline="30000" dirty="0"/>
              <a:t> </a:t>
            </a:r>
          </a:p>
        </p:txBody>
      </p:sp>
      <p:sp>
        <p:nvSpPr>
          <p:cNvPr id="19" name="Rectangle 18"/>
          <p:cNvSpPr/>
          <p:nvPr/>
        </p:nvSpPr>
        <p:spPr>
          <a:xfrm rot="16200000">
            <a:off x="-157675" y="4753455"/>
            <a:ext cx="1802132" cy="425758"/>
          </a:xfrm>
          <a:prstGeom prst="rect">
            <a:avLst/>
          </a:prstGeom>
        </p:spPr>
        <p:txBody>
          <a:bodyPr wrap="square">
            <a:spAutoFit/>
          </a:bodyPr>
          <a:lstStyle/>
          <a:p>
            <a:pPr algn="ctr">
              <a:lnSpc>
                <a:spcPts val="1300"/>
              </a:lnSpc>
            </a:pPr>
            <a:r>
              <a:rPr lang="en-GB" sz="1200" dirty="0"/>
              <a:t>Current operator service revenues</a:t>
            </a:r>
          </a:p>
        </p:txBody>
      </p:sp>
      <p:sp>
        <p:nvSpPr>
          <p:cNvPr id="20" name="Pentagon 137"/>
          <p:cNvSpPr/>
          <p:nvPr/>
        </p:nvSpPr>
        <p:spPr>
          <a:xfrm>
            <a:off x="2400512" y="2183650"/>
            <a:ext cx="2425488" cy="644425"/>
          </a:xfrm>
          <a:prstGeom prst="homePlate">
            <a:avLst/>
          </a:prstGeom>
          <a:solidFill>
            <a:srgbClr val="007B78"/>
          </a:solidFill>
          <a:ln w="25400" cap="flat" cmpd="sng" algn="ctr">
            <a:noFill/>
            <a:prstDash val="solid"/>
          </a:ln>
          <a:effectLst/>
          <a:extLst>
            <a:ext uri="{91240B29-F687-4F45-9708-019B960494DF}">
              <a14:hiddenLine xmlns:a14="http://schemas.microsoft.com/office/drawing/2010/main" w="25400" cap="flat" cmpd="sng" algn="ctr">
                <a:solidFill>
                  <a:schemeClr val="tx1">
                    <a:lumMod val="85000"/>
                    <a:lumOff val="1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oAutofit/>
          </a:bodyPr>
          <a:lstStyle/>
          <a:p>
            <a:pPr algn="ctr"/>
            <a:r>
              <a:rPr lang="en-US" sz="1200" dirty="0">
                <a:solidFill>
                  <a:srgbClr val="FFFFFF"/>
                </a:solidFill>
              </a:rPr>
              <a:t>Potential to add 34% growth in revenues in 2026</a:t>
            </a:r>
          </a:p>
        </p:txBody>
      </p:sp>
      <p:cxnSp>
        <p:nvCxnSpPr>
          <p:cNvPr id="21" name="Straight Connector 20"/>
          <p:cNvCxnSpPr/>
          <p:nvPr>
            <p:custDataLst>
              <p:tags r:id="rId13"/>
            </p:custDataLst>
          </p:nvPr>
        </p:nvCxnSpPr>
        <p:spPr bwMode="auto">
          <a:xfrm>
            <a:off x="9723050" y="4800600"/>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2" name="Straight Connector 21"/>
          <p:cNvCxnSpPr/>
          <p:nvPr>
            <p:custDataLst>
              <p:tags r:id="rId14"/>
            </p:custDataLst>
          </p:nvPr>
        </p:nvCxnSpPr>
        <p:spPr bwMode="auto">
          <a:xfrm>
            <a:off x="6695687" y="2401500"/>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3" name="Straight Connector 22"/>
          <p:cNvCxnSpPr/>
          <p:nvPr>
            <p:custDataLst>
              <p:tags r:id="rId15"/>
            </p:custDataLst>
          </p:nvPr>
        </p:nvCxnSpPr>
        <p:spPr bwMode="auto">
          <a:xfrm>
            <a:off x="9127543" y="4429125"/>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4" name="Straight Connector 23"/>
          <p:cNvCxnSpPr/>
          <p:nvPr>
            <p:custDataLst>
              <p:tags r:id="rId16"/>
            </p:custDataLst>
          </p:nvPr>
        </p:nvCxnSpPr>
        <p:spPr bwMode="auto">
          <a:xfrm>
            <a:off x="7300525" y="3052763"/>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5" name="Straight Connector 24"/>
          <p:cNvCxnSpPr/>
          <p:nvPr>
            <p:custDataLst>
              <p:tags r:id="rId17"/>
            </p:custDataLst>
          </p:nvPr>
        </p:nvCxnSpPr>
        <p:spPr bwMode="auto">
          <a:xfrm>
            <a:off x="10323319" y="5114731"/>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6" name="Straight Connector 25"/>
          <p:cNvCxnSpPr/>
          <p:nvPr>
            <p:custDataLst>
              <p:tags r:id="rId18"/>
            </p:custDataLst>
          </p:nvPr>
        </p:nvCxnSpPr>
        <p:spPr bwMode="auto">
          <a:xfrm>
            <a:off x="10935900" y="5462394"/>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7" name="Straight Connector 26"/>
          <p:cNvCxnSpPr/>
          <p:nvPr>
            <p:custDataLst>
              <p:tags r:id="rId19"/>
            </p:custDataLst>
          </p:nvPr>
        </p:nvCxnSpPr>
        <p:spPr bwMode="auto">
          <a:xfrm>
            <a:off x="8514962" y="4027488"/>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cxnSp>
        <p:nvCxnSpPr>
          <p:cNvPr id="28" name="Straight Connector 27"/>
          <p:cNvCxnSpPr/>
          <p:nvPr>
            <p:custDataLst>
              <p:tags r:id="rId20"/>
            </p:custDataLst>
          </p:nvPr>
        </p:nvCxnSpPr>
        <p:spPr bwMode="auto">
          <a:xfrm>
            <a:off x="7900794" y="3575050"/>
            <a:ext cx="266700" cy="0"/>
          </a:xfrm>
          <a:prstGeom prst="line">
            <a:avLst/>
          </a:prstGeom>
          <a:solidFill>
            <a:schemeClr val="accent1"/>
          </a:solidFill>
          <a:ln w="19050" cap="flat" cmpd="sng" algn="ctr">
            <a:solidFill>
              <a:srgbClr val="58585A">
                <a:alpha val="55000"/>
              </a:srgbClr>
            </a:solidFill>
            <a:prstDash val="sysDot"/>
            <a:round/>
            <a:headEnd type="none" w="med" len="med"/>
            <a:tailEnd type="none" w="med" len="med"/>
          </a:ln>
          <a:effectLst/>
        </p:spPr>
      </p:cxnSp>
      <p:sp>
        <p:nvSpPr>
          <p:cNvPr id="29" name="Content_SM"/>
          <p:cNvSpPr>
            <a:spLocks noGrp="1" noChangeArrowheads="1"/>
          </p:cNvSpPr>
          <p:nvPr>
            <p:custDataLst>
              <p:tags r:id="rId21"/>
            </p:custDataLst>
          </p:nvPr>
        </p:nvSpPr>
        <p:spPr bwMode="auto">
          <a:xfrm>
            <a:off x="11072813" y="5762625"/>
            <a:ext cx="560388"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C35BAD35-668D-4DF3-B7F0-4CAC1EDDDDED}" type="datetime'F''i''''n''''a''''''''''n''''''c''''ial'' ''s''er''''vic''es '">
              <a:rPr lang="en-US" altLang="en-US" sz="1000" b="1"/>
              <a:pPr/>
              <a:t>Financial services </a:t>
            </a:fld>
            <a:endParaRPr lang="en-US" sz="1000" b="1" dirty="0">
              <a:sym typeface="+mn-lt"/>
            </a:endParaRPr>
          </a:p>
        </p:txBody>
      </p:sp>
      <p:sp>
        <p:nvSpPr>
          <p:cNvPr id="30" name="Content_SM"/>
          <p:cNvSpPr>
            <a:spLocks noGrp="1" noChangeArrowheads="1"/>
          </p:cNvSpPr>
          <p:nvPr>
            <p:custDataLst>
              <p:tags r:id="rId22"/>
            </p:custDataLst>
          </p:nvPr>
        </p:nvSpPr>
        <p:spPr bwMode="auto">
          <a:xfrm>
            <a:off x="10563224" y="5762625"/>
            <a:ext cx="43200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US" altLang="en-US" sz="1000" b="1" dirty="0"/>
              <a:t>Automotive</a:t>
            </a:r>
            <a:endParaRPr lang="en-US" sz="1000" b="1" dirty="0">
              <a:sym typeface="+mn-lt"/>
            </a:endParaRPr>
          </a:p>
        </p:txBody>
      </p:sp>
      <p:sp>
        <p:nvSpPr>
          <p:cNvPr id="31" name="Content_SM"/>
          <p:cNvSpPr>
            <a:spLocks noGrp="1" noChangeArrowheads="1"/>
          </p:cNvSpPr>
          <p:nvPr>
            <p:custDataLst>
              <p:tags r:id="rId23"/>
            </p:custDataLst>
          </p:nvPr>
        </p:nvSpPr>
        <p:spPr bwMode="auto">
          <a:xfrm>
            <a:off x="8638269" y="5762625"/>
            <a:ext cx="648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US" altLang="en-US" sz="1000" b="1" dirty="0">
                <a:sym typeface="+mn-lt"/>
              </a:rPr>
              <a:t>Healthcare</a:t>
            </a:r>
            <a:endParaRPr lang="en-US" sz="1000" b="1" dirty="0">
              <a:sym typeface="+mn-lt"/>
            </a:endParaRPr>
          </a:p>
        </p:txBody>
      </p:sp>
      <p:sp>
        <p:nvSpPr>
          <p:cNvPr id="32" name="Content_SM"/>
          <p:cNvSpPr>
            <a:spLocks noGrp="1" noChangeArrowheads="1"/>
          </p:cNvSpPr>
          <p:nvPr>
            <p:custDataLst>
              <p:tags r:id="rId24"/>
            </p:custDataLst>
          </p:nvPr>
        </p:nvSpPr>
        <p:spPr bwMode="auto">
          <a:xfrm>
            <a:off x="7997825" y="5762625"/>
            <a:ext cx="6588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US" altLang="en-US" sz="1000" b="1" dirty="0">
                <a:sym typeface="+mn-lt"/>
              </a:rPr>
              <a:t>Public safety</a:t>
            </a:r>
            <a:endParaRPr lang="en-US" sz="1000" b="1" dirty="0">
              <a:sym typeface="+mn-lt"/>
            </a:endParaRPr>
          </a:p>
        </p:txBody>
      </p:sp>
      <p:sp>
        <p:nvSpPr>
          <p:cNvPr id="33" name="Content_SM"/>
          <p:cNvSpPr>
            <a:spLocks noGrp="1" noChangeArrowheads="1"/>
          </p:cNvSpPr>
          <p:nvPr>
            <p:custDataLst>
              <p:tags r:id="rId25"/>
            </p:custDataLst>
          </p:nvPr>
        </p:nvSpPr>
        <p:spPr bwMode="auto">
          <a:xfrm>
            <a:off x="7507288" y="5762625"/>
            <a:ext cx="46800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r>
              <a:rPr lang="en-US" altLang="en-US" sz="1000" b="1" dirty="0">
                <a:sym typeface="+mn-lt"/>
              </a:rPr>
              <a:t>Energy &amp; Utilities</a:t>
            </a:r>
            <a:endParaRPr lang="en-US" sz="1000" b="1" dirty="0">
              <a:sym typeface="+mn-lt"/>
            </a:endParaRPr>
          </a:p>
        </p:txBody>
      </p:sp>
      <p:sp>
        <p:nvSpPr>
          <p:cNvPr id="34" name="Content_SM"/>
          <p:cNvSpPr>
            <a:spLocks noGrp="1" noChangeArrowheads="1"/>
          </p:cNvSpPr>
          <p:nvPr>
            <p:custDataLst>
              <p:tags r:id="rId26"/>
            </p:custDataLst>
          </p:nvPr>
        </p:nvSpPr>
        <p:spPr bwMode="auto">
          <a:xfrm>
            <a:off x="9250363" y="5762625"/>
            <a:ext cx="569913"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D3C98F51-AA87-4434-A962-C567A3506FB6}" type="datetime'P''ubli''''''''''c tr''''ans''''''po''''rt'''''''''''''''''''">
              <a:rPr lang="en-US" altLang="en-US" sz="1000" b="1"/>
              <a:pPr/>
              <a:t>Public transport</a:t>
            </a:fld>
            <a:endParaRPr lang="en-US" sz="1000" b="1" dirty="0">
              <a:sym typeface="+mn-lt"/>
            </a:endParaRPr>
          </a:p>
        </p:txBody>
      </p:sp>
      <p:sp>
        <p:nvSpPr>
          <p:cNvPr id="35" name="Content_SM"/>
          <p:cNvSpPr>
            <a:spLocks noGrp="1" noChangeArrowheads="1"/>
          </p:cNvSpPr>
          <p:nvPr>
            <p:custDataLst>
              <p:tags r:id="rId27"/>
            </p:custDataLst>
          </p:nvPr>
        </p:nvSpPr>
        <p:spPr bwMode="auto">
          <a:xfrm>
            <a:off x="6834188" y="5762625"/>
            <a:ext cx="55562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EE13683D-6ABB-4604-92EE-CAC51A11FF54}" type="datetime'''M''anu''''''''''''''''''''''''''''''-&#10;fa''ct''''urin''''''g'">
              <a:rPr lang="en-US" altLang="en-US" sz="1000" b="1"/>
              <a:pPr/>
              <a:t>Manu-
facturing</a:t>
            </a:fld>
            <a:endParaRPr lang="en-US" sz="1000" b="1" dirty="0">
              <a:sym typeface="+mn-lt"/>
            </a:endParaRPr>
          </a:p>
        </p:txBody>
      </p:sp>
      <p:sp>
        <p:nvSpPr>
          <p:cNvPr id="36" name="Content_SM"/>
          <p:cNvSpPr>
            <a:spLocks noGrp="1" noChangeArrowheads="1"/>
          </p:cNvSpPr>
          <p:nvPr>
            <p:custDataLst>
              <p:tags r:id="rId28"/>
            </p:custDataLst>
          </p:nvPr>
        </p:nvSpPr>
        <p:spPr bwMode="auto">
          <a:xfrm>
            <a:off x="6297613" y="5762625"/>
            <a:ext cx="4222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60DB281C-25CD-47D5-AF15-AEFFE5A5CEE7}" type="datetime'''''''''''''''''T''''''''o''t''''''''''''''''''a''l'''''''''''">
              <a:rPr lang="en-US" altLang="en-US" sz="1400" b="1"/>
              <a:pPr/>
              <a:t>Total</a:t>
            </a:fld>
            <a:endParaRPr lang="en-US" sz="1400" b="1" dirty="0">
              <a:sym typeface="+mn-lt"/>
            </a:endParaRPr>
          </a:p>
        </p:txBody>
      </p:sp>
      <p:sp>
        <p:nvSpPr>
          <p:cNvPr id="37" name="Content_SM"/>
          <p:cNvSpPr>
            <a:spLocks noGrp="1" noChangeArrowheads="1"/>
          </p:cNvSpPr>
          <p:nvPr>
            <p:custDataLst>
              <p:tags r:id="rId29"/>
            </p:custDataLst>
          </p:nvPr>
        </p:nvSpPr>
        <p:spPr bwMode="auto">
          <a:xfrm>
            <a:off x="9786938" y="5762625"/>
            <a:ext cx="7112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C74BC50-EA74-423E-A902-BC9285194B11}" type="datetime'''''''''''M''''e''''''dia ''''''''''''''&amp;'''''' ''ent''''.'">
              <a:rPr lang="en-US" altLang="en-US" sz="1000" b="1"/>
              <a:pPr marL="0" indent="0" algn="ctr">
                <a:spcBef>
                  <a:spcPct val="0"/>
                </a:spcBef>
                <a:buNone/>
              </a:pPr>
              <a:t>Media &amp; ent.</a:t>
            </a:fld>
            <a:endParaRPr lang="en-US" sz="1000" b="1" dirty="0">
              <a:sym typeface="+mn-lt"/>
            </a:endParaRPr>
          </a:p>
          <a:p>
            <a:pPr marL="0" indent="0" algn="ctr">
              <a:spcBef>
                <a:spcPct val="0"/>
              </a:spcBef>
              <a:buNone/>
            </a:pPr>
            <a:endParaRPr lang="en-US" sz="1000" b="1" dirty="0">
              <a:sym typeface="+mn-lt"/>
            </a:endParaRPr>
          </a:p>
        </p:txBody>
      </p:sp>
      <p:sp>
        <p:nvSpPr>
          <p:cNvPr id="38" name="TextBox 37"/>
          <p:cNvSpPr txBox="1"/>
          <p:nvPr/>
        </p:nvSpPr>
        <p:spPr>
          <a:xfrm>
            <a:off x="549275" y="2139376"/>
            <a:ext cx="765175" cy="307777"/>
          </a:xfrm>
          <a:prstGeom prst="rect">
            <a:avLst/>
          </a:prstGeom>
          <a:noFill/>
        </p:spPr>
        <p:txBody>
          <a:bodyPr wrap="square" rtlCol="0">
            <a:spAutoFit/>
          </a:bodyPr>
          <a:lstStyle/>
          <a:p>
            <a:r>
              <a:rPr lang="sv-SE" sz="1400" dirty="0" err="1"/>
              <a:t>USDbn</a:t>
            </a:r>
            <a:endParaRPr lang="sv-SE" sz="1400" dirty="0"/>
          </a:p>
        </p:txBody>
      </p:sp>
      <p:sp>
        <p:nvSpPr>
          <p:cNvPr id="39" name="TextBox 38"/>
          <p:cNvSpPr txBox="1"/>
          <p:nvPr/>
        </p:nvSpPr>
        <p:spPr>
          <a:xfrm>
            <a:off x="5770839" y="2602439"/>
            <a:ext cx="668063" cy="1200329"/>
          </a:xfrm>
          <a:prstGeom prst="rect">
            <a:avLst/>
          </a:prstGeom>
          <a:noFill/>
          <a:extLst>
            <a:ext uri="{909E8E84-426E-40DD-AFC4-6F175D3DCCD1}">
              <a14:hiddenFill xmlns:a14="http://schemas.microsoft.com/office/drawing/2010/main">
                <a:solidFill>
                  <a:srgbClr val="89BA17"/>
                </a:solidFill>
              </a14:hiddenFill>
            </a:ext>
          </a:extLst>
        </p:spPr>
        <p:txBody>
          <a:bodyPr wrap="square" rtlCol="0">
            <a:spAutoFit/>
          </a:bodyPr>
          <a:lstStyle/>
          <a:p>
            <a:r>
              <a:rPr lang="en-US" sz="7200">
                <a:solidFill>
                  <a:srgbClr val="BED682"/>
                </a:solidFill>
                <a:latin typeface="+mj-lt"/>
              </a:rPr>
              <a:t>&gt;</a:t>
            </a:r>
          </a:p>
        </p:txBody>
      </p:sp>
      <p:sp>
        <p:nvSpPr>
          <p:cNvPr id="40" name="Freeform 7"/>
          <p:cNvSpPr>
            <a:spLocks noChangeAspect="1"/>
          </p:cNvSpPr>
          <p:nvPr/>
        </p:nvSpPr>
        <p:spPr bwMode="auto">
          <a:xfrm>
            <a:off x="976071" y="4016375"/>
            <a:ext cx="274637" cy="1670050"/>
          </a:xfrm>
          <a:custGeom>
            <a:avLst/>
            <a:gdLst>
              <a:gd name="T0" fmla="*/ 2147483647 w 73"/>
              <a:gd name="T1" fmla="*/ 2147483647 h 445"/>
              <a:gd name="T2" fmla="*/ 0 w 73"/>
              <a:gd name="T3" fmla="*/ 2147483647 h 445"/>
              <a:gd name="T4" fmla="*/ 0 w 73"/>
              <a:gd name="T5" fmla="*/ 2147483647 h 445"/>
              <a:gd name="T6" fmla="*/ 0 w 73"/>
              <a:gd name="T7" fmla="*/ 2147483647 h 445"/>
              <a:gd name="T8" fmla="*/ 2147483647 w 73"/>
              <a:gd name="T9" fmla="*/ 0 h 445"/>
              <a:gd name="T10" fmla="*/ 2147483647 w 73"/>
              <a:gd name="T11" fmla="*/ 0 h 445"/>
              <a:gd name="T12" fmla="*/ 2147483647 w 73"/>
              <a:gd name="T13" fmla="*/ 0 h 445"/>
              <a:gd name="T14" fmla="*/ 2147483647 w 73"/>
              <a:gd name="T15" fmla="*/ 0 h 445"/>
              <a:gd name="T16" fmla="*/ 2147483647 w 73"/>
              <a:gd name="T17" fmla="*/ 2147483647 h 445"/>
              <a:gd name="T18" fmla="*/ 2147483647 w 73"/>
              <a:gd name="T19" fmla="*/ 2147483647 h 445"/>
              <a:gd name="T20" fmla="*/ 2147483647 w 73"/>
              <a:gd name="T21" fmla="*/ 2147483647 h 445"/>
              <a:gd name="T22" fmla="*/ 2147483647 w 73"/>
              <a:gd name="T23" fmla="*/ 2147483647 h 445"/>
              <a:gd name="T24" fmla="*/ 2147483647 w 73"/>
              <a:gd name="T25" fmla="*/ 2147483647 h 445"/>
              <a:gd name="T26" fmla="*/ 2147483647 w 73"/>
              <a:gd name="T27" fmla="*/ 2147483647 h 445"/>
              <a:gd name="T28" fmla="*/ 2147483647 w 73"/>
              <a:gd name="T29" fmla="*/ 2147483647 h 445"/>
              <a:gd name="T30" fmla="*/ 2147483647 w 73"/>
              <a:gd name="T31" fmla="*/ 2147483647 h 445"/>
              <a:gd name="T32" fmla="*/ 2147483647 w 73"/>
              <a:gd name="T33" fmla="*/ 2147483647 h 445"/>
              <a:gd name="T34" fmla="*/ 2147483647 w 73"/>
              <a:gd name="T35" fmla="*/ 2147483647 h 445"/>
              <a:gd name="T36" fmla="*/ 2147483647 w 73"/>
              <a:gd name="T37" fmla="*/ 2147483647 h 445"/>
              <a:gd name="T38" fmla="*/ 2147483647 w 73"/>
              <a:gd name="T39" fmla="*/ 2147483647 h 445"/>
              <a:gd name="T40" fmla="*/ 2147483647 w 73"/>
              <a:gd name="T41" fmla="*/ 2147483647 h 445"/>
              <a:gd name="T42" fmla="*/ 2147483647 w 73"/>
              <a:gd name="T43" fmla="*/ 2147483647 h 445"/>
              <a:gd name="T44" fmla="*/ 2147483647 w 73"/>
              <a:gd name="T45" fmla="*/ 2147483647 h 445"/>
              <a:gd name="T46" fmla="*/ 2147483647 w 73"/>
              <a:gd name="T47" fmla="*/ 2147483647 h 445"/>
              <a:gd name="T48" fmla="*/ 2147483647 w 73"/>
              <a:gd name="T49" fmla="*/ 2147483647 h 445"/>
              <a:gd name="T50" fmla="*/ 2147483647 w 73"/>
              <a:gd name="T51" fmla="*/ 2147483647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
              <a:gd name="T79" fmla="*/ 0 h 445"/>
              <a:gd name="T80" fmla="*/ 73 w 73"/>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 h="445">
                <a:moveTo>
                  <a:pt x="29" y="445"/>
                </a:moveTo>
                <a:cubicBezTo>
                  <a:pt x="13" y="445"/>
                  <a:pt x="0" y="432"/>
                  <a:pt x="0" y="416"/>
                </a:cubicBezTo>
                <a:cubicBezTo>
                  <a:pt x="0" y="416"/>
                  <a:pt x="0" y="416"/>
                  <a:pt x="0" y="416"/>
                </a:cubicBezTo>
                <a:cubicBezTo>
                  <a:pt x="0" y="30"/>
                  <a:pt x="0" y="30"/>
                  <a:pt x="0" y="30"/>
                </a:cubicBezTo>
                <a:cubicBezTo>
                  <a:pt x="0" y="14"/>
                  <a:pt x="13" y="0"/>
                  <a:pt x="29" y="0"/>
                </a:cubicBezTo>
                <a:cubicBezTo>
                  <a:pt x="29" y="0"/>
                  <a:pt x="29" y="0"/>
                  <a:pt x="29" y="0"/>
                </a:cubicBezTo>
                <a:cubicBezTo>
                  <a:pt x="29" y="0"/>
                  <a:pt x="43" y="0"/>
                  <a:pt x="65" y="0"/>
                </a:cubicBezTo>
                <a:cubicBezTo>
                  <a:pt x="65" y="0"/>
                  <a:pt x="65" y="0"/>
                  <a:pt x="65" y="0"/>
                </a:cubicBezTo>
                <a:cubicBezTo>
                  <a:pt x="69" y="0"/>
                  <a:pt x="73" y="4"/>
                  <a:pt x="73" y="8"/>
                </a:cubicBezTo>
                <a:cubicBezTo>
                  <a:pt x="73" y="8"/>
                  <a:pt x="73" y="8"/>
                  <a:pt x="73" y="8"/>
                </a:cubicBezTo>
                <a:cubicBezTo>
                  <a:pt x="73" y="13"/>
                  <a:pt x="69" y="16"/>
                  <a:pt x="65" y="16"/>
                </a:cubicBezTo>
                <a:cubicBezTo>
                  <a:pt x="65" y="16"/>
                  <a:pt x="65" y="16"/>
                  <a:pt x="65" y="16"/>
                </a:cubicBezTo>
                <a:cubicBezTo>
                  <a:pt x="43" y="16"/>
                  <a:pt x="29" y="16"/>
                  <a:pt x="29" y="16"/>
                </a:cubicBezTo>
                <a:cubicBezTo>
                  <a:pt x="29" y="16"/>
                  <a:pt x="29" y="16"/>
                  <a:pt x="29" y="16"/>
                </a:cubicBezTo>
                <a:cubicBezTo>
                  <a:pt x="22" y="16"/>
                  <a:pt x="16" y="22"/>
                  <a:pt x="16" y="30"/>
                </a:cubicBezTo>
                <a:cubicBezTo>
                  <a:pt x="16" y="30"/>
                  <a:pt x="16" y="30"/>
                  <a:pt x="16" y="30"/>
                </a:cubicBezTo>
                <a:cubicBezTo>
                  <a:pt x="16" y="416"/>
                  <a:pt x="16" y="416"/>
                  <a:pt x="16" y="416"/>
                </a:cubicBezTo>
                <a:cubicBezTo>
                  <a:pt x="16" y="423"/>
                  <a:pt x="22" y="429"/>
                  <a:pt x="29" y="429"/>
                </a:cubicBezTo>
                <a:cubicBezTo>
                  <a:pt x="29" y="429"/>
                  <a:pt x="29" y="429"/>
                  <a:pt x="29" y="429"/>
                </a:cubicBezTo>
                <a:cubicBezTo>
                  <a:pt x="29" y="429"/>
                  <a:pt x="43" y="429"/>
                  <a:pt x="65" y="429"/>
                </a:cubicBezTo>
                <a:cubicBezTo>
                  <a:pt x="65" y="429"/>
                  <a:pt x="65" y="429"/>
                  <a:pt x="65" y="429"/>
                </a:cubicBezTo>
                <a:cubicBezTo>
                  <a:pt x="69" y="429"/>
                  <a:pt x="73" y="433"/>
                  <a:pt x="73" y="437"/>
                </a:cubicBezTo>
                <a:cubicBezTo>
                  <a:pt x="73" y="437"/>
                  <a:pt x="73" y="437"/>
                  <a:pt x="73" y="437"/>
                </a:cubicBezTo>
                <a:cubicBezTo>
                  <a:pt x="73" y="441"/>
                  <a:pt x="69" y="445"/>
                  <a:pt x="65" y="445"/>
                </a:cubicBezTo>
                <a:cubicBezTo>
                  <a:pt x="65" y="445"/>
                  <a:pt x="65" y="445"/>
                  <a:pt x="65" y="445"/>
                </a:cubicBezTo>
                <a:cubicBezTo>
                  <a:pt x="43" y="445"/>
                  <a:pt x="29" y="445"/>
                  <a:pt x="29" y="445"/>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4"/>
          <p:cNvSpPr>
            <a:spLocks noChangeAspect="1"/>
          </p:cNvSpPr>
          <p:nvPr/>
        </p:nvSpPr>
        <p:spPr bwMode="auto">
          <a:xfrm>
            <a:off x="975043" y="2783375"/>
            <a:ext cx="274638" cy="1017587"/>
          </a:xfrm>
          <a:custGeom>
            <a:avLst/>
            <a:gdLst>
              <a:gd name="T0" fmla="*/ 2147483647 w 73"/>
              <a:gd name="T1" fmla="*/ 2147483647 h 271"/>
              <a:gd name="T2" fmla="*/ 0 w 73"/>
              <a:gd name="T3" fmla="*/ 2147483647 h 271"/>
              <a:gd name="T4" fmla="*/ 0 w 73"/>
              <a:gd name="T5" fmla="*/ 2147483647 h 271"/>
              <a:gd name="T6" fmla="*/ 0 w 73"/>
              <a:gd name="T7" fmla="*/ 2147483647 h 271"/>
              <a:gd name="T8" fmla="*/ 2147483647 w 73"/>
              <a:gd name="T9" fmla="*/ 0 h 271"/>
              <a:gd name="T10" fmla="*/ 2147483647 w 73"/>
              <a:gd name="T11" fmla="*/ 0 h 271"/>
              <a:gd name="T12" fmla="*/ 2147483647 w 73"/>
              <a:gd name="T13" fmla="*/ 0 h 271"/>
              <a:gd name="T14" fmla="*/ 2147483647 w 73"/>
              <a:gd name="T15" fmla="*/ 0 h 271"/>
              <a:gd name="T16" fmla="*/ 2147483647 w 73"/>
              <a:gd name="T17" fmla="*/ 0 h 271"/>
              <a:gd name="T18" fmla="*/ 2147483647 w 73"/>
              <a:gd name="T19" fmla="*/ 2147483647 h 271"/>
              <a:gd name="T20" fmla="*/ 2147483647 w 73"/>
              <a:gd name="T21" fmla="*/ 2147483647 h 271"/>
              <a:gd name="T22" fmla="*/ 2147483647 w 73"/>
              <a:gd name="T23" fmla="*/ 2147483647 h 271"/>
              <a:gd name="T24" fmla="*/ 2147483647 w 73"/>
              <a:gd name="T25" fmla="*/ 2147483647 h 271"/>
              <a:gd name="T26" fmla="*/ 2147483647 w 73"/>
              <a:gd name="T27" fmla="*/ 2147483647 h 271"/>
              <a:gd name="T28" fmla="*/ 2147483647 w 73"/>
              <a:gd name="T29" fmla="*/ 2147483647 h 271"/>
              <a:gd name="T30" fmla="*/ 2147483647 w 73"/>
              <a:gd name="T31" fmla="*/ 2147483647 h 271"/>
              <a:gd name="T32" fmla="*/ 2147483647 w 73"/>
              <a:gd name="T33" fmla="*/ 2147483647 h 271"/>
              <a:gd name="T34" fmla="*/ 2147483647 w 73"/>
              <a:gd name="T35" fmla="*/ 2147483647 h 271"/>
              <a:gd name="T36" fmla="*/ 2147483647 w 73"/>
              <a:gd name="T37" fmla="*/ 2147483647 h 271"/>
              <a:gd name="T38" fmla="*/ 2147483647 w 73"/>
              <a:gd name="T39" fmla="*/ 2147483647 h 271"/>
              <a:gd name="T40" fmla="*/ 2147483647 w 73"/>
              <a:gd name="T41" fmla="*/ 2147483647 h 271"/>
              <a:gd name="T42" fmla="*/ 2147483647 w 73"/>
              <a:gd name="T43" fmla="*/ 2147483647 h 271"/>
              <a:gd name="T44" fmla="*/ 2147483647 w 73"/>
              <a:gd name="T45" fmla="*/ 2147483647 h 271"/>
              <a:gd name="T46" fmla="*/ 2147483647 w 73"/>
              <a:gd name="T47" fmla="*/ 2147483647 h 271"/>
              <a:gd name="T48" fmla="*/ 2147483647 w 73"/>
              <a:gd name="T49" fmla="*/ 2147483647 h 271"/>
              <a:gd name="T50" fmla="*/ 2147483647 w 73"/>
              <a:gd name="T51" fmla="*/ 2147483647 h 271"/>
              <a:gd name="T52" fmla="*/ 2147483647 w 73"/>
              <a:gd name="T53" fmla="*/ 2147483647 h 2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3"/>
              <a:gd name="T82" fmla="*/ 0 h 271"/>
              <a:gd name="T83" fmla="*/ 73 w 73"/>
              <a:gd name="T84" fmla="*/ 271 h 2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3" h="271">
                <a:moveTo>
                  <a:pt x="29" y="271"/>
                </a:moveTo>
                <a:cubicBezTo>
                  <a:pt x="13" y="271"/>
                  <a:pt x="0" y="258"/>
                  <a:pt x="0" y="242"/>
                </a:cubicBezTo>
                <a:cubicBezTo>
                  <a:pt x="0" y="242"/>
                  <a:pt x="0" y="242"/>
                  <a:pt x="0" y="242"/>
                </a:cubicBezTo>
                <a:cubicBezTo>
                  <a:pt x="0" y="30"/>
                  <a:pt x="0" y="30"/>
                  <a:pt x="0" y="30"/>
                </a:cubicBezTo>
                <a:cubicBezTo>
                  <a:pt x="0" y="13"/>
                  <a:pt x="13" y="0"/>
                  <a:pt x="29" y="0"/>
                </a:cubicBezTo>
                <a:cubicBezTo>
                  <a:pt x="29" y="0"/>
                  <a:pt x="29" y="0"/>
                  <a:pt x="29" y="0"/>
                </a:cubicBezTo>
                <a:cubicBezTo>
                  <a:pt x="29" y="0"/>
                  <a:pt x="43" y="0"/>
                  <a:pt x="65" y="0"/>
                </a:cubicBezTo>
                <a:cubicBezTo>
                  <a:pt x="65" y="0"/>
                  <a:pt x="65" y="0"/>
                  <a:pt x="65" y="0"/>
                </a:cubicBezTo>
                <a:cubicBezTo>
                  <a:pt x="65" y="0"/>
                  <a:pt x="65" y="0"/>
                  <a:pt x="65" y="0"/>
                </a:cubicBezTo>
                <a:cubicBezTo>
                  <a:pt x="69" y="0"/>
                  <a:pt x="73" y="4"/>
                  <a:pt x="73" y="8"/>
                </a:cubicBezTo>
                <a:cubicBezTo>
                  <a:pt x="73" y="8"/>
                  <a:pt x="73" y="8"/>
                  <a:pt x="73" y="8"/>
                </a:cubicBezTo>
                <a:cubicBezTo>
                  <a:pt x="73" y="13"/>
                  <a:pt x="69" y="16"/>
                  <a:pt x="65" y="16"/>
                </a:cubicBezTo>
                <a:cubicBezTo>
                  <a:pt x="65" y="16"/>
                  <a:pt x="65" y="16"/>
                  <a:pt x="65" y="16"/>
                </a:cubicBezTo>
                <a:cubicBezTo>
                  <a:pt x="43" y="16"/>
                  <a:pt x="29" y="16"/>
                  <a:pt x="29" y="16"/>
                </a:cubicBezTo>
                <a:cubicBezTo>
                  <a:pt x="29" y="16"/>
                  <a:pt x="29" y="16"/>
                  <a:pt x="29" y="16"/>
                </a:cubicBezTo>
                <a:cubicBezTo>
                  <a:pt x="22" y="16"/>
                  <a:pt x="16" y="22"/>
                  <a:pt x="16" y="30"/>
                </a:cubicBezTo>
                <a:cubicBezTo>
                  <a:pt x="16" y="30"/>
                  <a:pt x="16" y="30"/>
                  <a:pt x="16" y="30"/>
                </a:cubicBezTo>
                <a:cubicBezTo>
                  <a:pt x="16" y="242"/>
                  <a:pt x="16" y="242"/>
                  <a:pt x="16" y="242"/>
                </a:cubicBezTo>
                <a:cubicBezTo>
                  <a:pt x="16" y="249"/>
                  <a:pt x="22" y="255"/>
                  <a:pt x="29" y="255"/>
                </a:cubicBezTo>
                <a:cubicBezTo>
                  <a:pt x="29" y="255"/>
                  <a:pt x="29" y="255"/>
                  <a:pt x="29" y="255"/>
                </a:cubicBezTo>
                <a:cubicBezTo>
                  <a:pt x="29" y="255"/>
                  <a:pt x="43" y="255"/>
                  <a:pt x="65" y="255"/>
                </a:cubicBezTo>
                <a:cubicBezTo>
                  <a:pt x="65" y="255"/>
                  <a:pt x="65" y="255"/>
                  <a:pt x="65" y="255"/>
                </a:cubicBezTo>
                <a:cubicBezTo>
                  <a:pt x="69" y="255"/>
                  <a:pt x="73" y="259"/>
                  <a:pt x="73" y="263"/>
                </a:cubicBezTo>
                <a:cubicBezTo>
                  <a:pt x="73" y="263"/>
                  <a:pt x="73" y="263"/>
                  <a:pt x="73" y="263"/>
                </a:cubicBezTo>
                <a:cubicBezTo>
                  <a:pt x="73" y="267"/>
                  <a:pt x="69" y="271"/>
                  <a:pt x="65" y="271"/>
                </a:cubicBezTo>
                <a:cubicBezTo>
                  <a:pt x="65" y="271"/>
                  <a:pt x="65" y="271"/>
                  <a:pt x="65" y="271"/>
                </a:cubicBezTo>
                <a:cubicBezTo>
                  <a:pt x="43" y="271"/>
                  <a:pt x="29" y="271"/>
                  <a:pt x="29" y="271"/>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TextBox 41"/>
          <p:cNvSpPr txBox="1"/>
          <p:nvPr/>
        </p:nvSpPr>
        <p:spPr>
          <a:xfrm>
            <a:off x="3322071" y="4566224"/>
            <a:ext cx="740908" cy="400110"/>
          </a:xfrm>
          <a:prstGeom prst="rect">
            <a:avLst/>
          </a:prstGeom>
          <a:noFill/>
        </p:spPr>
        <p:txBody>
          <a:bodyPr wrap="none" rtlCol="0">
            <a:spAutoFit/>
          </a:bodyPr>
          <a:lstStyle/>
          <a:p>
            <a:r>
              <a:rPr lang="en-US" dirty="0"/>
              <a:t>MBB</a:t>
            </a:r>
          </a:p>
        </p:txBody>
      </p:sp>
      <p:sp>
        <p:nvSpPr>
          <p:cNvPr id="43" name="TextBox 42"/>
          <p:cNvSpPr txBox="1"/>
          <p:nvPr/>
        </p:nvSpPr>
        <p:spPr>
          <a:xfrm>
            <a:off x="4599415" y="3238396"/>
            <a:ext cx="598241" cy="400110"/>
          </a:xfrm>
          <a:prstGeom prst="rect">
            <a:avLst/>
          </a:prstGeom>
          <a:noFill/>
        </p:spPr>
        <p:txBody>
          <a:bodyPr wrap="none" rtlCol="0">
            <a:spAutoFit/>
          </a:bodyPr>
          <a:lstStyle/>
          <a:p>
            <a:r>
              <a:rPr lang="en-US" dirty="0"/>
              <a:t>ICT</a:t>
            </a:r>
          </a:p>
        </p:txBody>
      </p:sp>
      <p:sp>
        <p:nvSpPr>
          <p:cNvPr id="3" name="TextBox 2"/>
          <p:cNvSpPr txBox="1"/>
          <p:nvPr/>
        </p:nvSpPr>
        <p:spPr>
          <a:xfrm>
            <a:off x="362499" y="6175090"/>
            <a:ext cx="4604594" cy="338554"/>
          </a:xfrm>
          <a:prstGeom prst="rect">
            <a:avLst/>
          </a:prstGeom>
          <a:noFill/>
        </p:spPr>
        <p:txBody>
          <a:bodyPr wrap="none" rtlCol="0">
            <a:spAutoFit/>
          </a:bodyPr>
          <a:lstStyle/>
          <a:p>
            <a:r>
              <a:rPr lang="en-US" sz="1600" dirty="0"/>
              <a:t>ICT: Information and Communication Technology</a:t>
            </a:r>
          </a:p>
        </p:txBody>
      </p:sp>
    </p:spTree>
    <p:extLst>
      <p:ext uri="{BB962C8B-B14F-4D97-AF65-F5344CB8AC3E}">
        <p14:creationId xmlns:p14="http://schemas.microsoft.com/office/powerpoint/2010/main" val="40515860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tes page</a:t>
            </a:r>
          </a:p>
        </p:txBody>
      </p:sp>
      <p:sp>
        <p:nvSpPr>
          <p:cNvPr id="3" name="Text Placeholder 2"/>
          <p:cNvSpPr>
            <a:spLocks noGrp="1"/>
          </p:cNvSpPr>
          <p:nvPr>
            <p:ph type="body" idx="1"/>
          </p:nvPr>
        </p:nvSpPr>
        <p:spPr/>
        <p:txBody>
          <a:bodyPr/>
          <a:lstStyle/>
          <a:p>
            <a:r>
              <a:rPr lang="en-US"/>
              <a:t>The content of this page is not seen in the presentation.</a:t>
            </a:r>
          </a:p>
        </p:txBody>
      </p:sp>
    </p:spTree>
    <p:extLst>
      <p:ext uri="{BB962C8B-B14F-4D97-AF65-F5344CB8AC3E}">
        <p14:creationId xmlns:p14="http://schemas.microsoft.com/office/powerpoint/2010/main" val="27441874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E connected over both 3GPP and Non 3GPP access</a:t>
            </a:r>
          </a:p>
        </p:txBody>
      </p:sp>
      <p:sp>
        <p:nvSpPr>
          <p:cNvPr id="3" name="Text Placeholder 2"/>
          <p:cNvSpPr>
            <a:spLocks noGrp="1"/>
          </p:cNvSpPr>
          <p:nvPr>
            <p:ph type="body" idx="1"/>
          </p:nvPr>
        </p:nvSpPr>
        <p:spPr/>
        <p:txBody>
          <a:bodyPr/>
          <a:lstStyle/>
          <a:p>
            <a:r>
              <a:rPr lang="en-US" dirty="0"/>
              <a:t>AMF manages two CM states for an UE:</a:t>
            </a:r>
          </a:p>
          <a:p>
            <a:pPr lvl="1"/>
            <a:r>
              <a:rPr lang="en-US" dirty="0"/>
              <a:t>CM state for 3GPP access</a:t>
            </a:r>
          </a:p>
          <a:p>
            <a:pPr lvl="1"/>
            <a:r>
              <a:rPr lang="en-US" dirty="0"/>
              <a:t>CM state for Non-3GPP access</a:t>
            </a:r>
          </a:p>
          <a:p>
            <a:r>
              <a:rPr lang="en-US" dirty="0"/>
              <a:t>A UE connected over both 3GPP and Non-3GPP access has two N2 interfaces</a:t>
            </a:r>
          </a:p>
          <a:p>
            <a:pPr lvl="1"/>
            <a:r>
              <a:rPr lang="en-US" dirty="0"/>
              <a:t>A UE may be in any combination of CM states between 3GPP and Non-3GPP access</a:t>
            </a:r>
          </a:p>
          <a:p>
            <a:pPr lvl="2"/>
            <a:r>
              <a:rPr lang="en-US" sz="1800" dirty="0"/>
              <a:t>Access1: CM-IDLE		Access2: CM-CONNECTED</a:t>
            </a:r>
          </a:p>
          <a:p>
            <a:pPr lvl="2"/>
            <a:r>
              <a:rPr lang="en-US" sz="1800" dirty="0"/>
              <a:t>Access1: CM-CONNECTED	Access2: CM-IDLE</a:t>
            </a:r>
          </a:p>
          <a:p>
            <a:pPr lvl="2"/>
            <a:r>
              <a:rPr lang="en-US" sz="1800" dirty="0"/>
              <a:t>Access1: CM-IDLE		Access2: CM-IDLE</a:t>
            </a:r>
          </a:p>
          <a:p>
            <a:pPr lvl="2"/>
            <a:r>
              <a:rPr lang="en-US" sz="1800" dirty="0"/>
              <a:t>Access1: CM-CONNECTED	Access2: CM-CONNECTED</a:t>
            </a:r>
          </a:p>
          <a:p>
            <a:pPr lvl="2"/>
            <a:endParaRPr lang="en-US" dirty="0"/>
          </a:p>
        </p:txBody>
      </p:sp>
      <p:grpSp>
        <p:nvGrpSpPr>
          <p:cNvPr id="4" name="Group 3"/>
          <p:cNvGrpSpPr/>
          <p:nvPr/>
        </p:nvGrpSpPr>
        <p:grpSpPr>
          <a:xfrm>
            <a:off x="11399757" y="5717203"/>
            <a:ext cx="697847" cy="920272"/>
            <a:chOff x="4338871" y="2725624"/>
            <a:chExt cx="1199053" cy="1626215"/>
          </a:xfrm>
        </p:grpSpPr>
        <p:sp>
          <p:nvSpPr>
            <p:cNvPr id="5"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9"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429966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dentifiers</a:t>
            </a:r>
            <a:br>
              <a:rPr lang="en-US" dirty="0"/>
            </a:br>
            <a:r>
              <a:rPr lang="en-US" sz="3300" dirty="0">
                <a:latin typeface="+mn-lt"/>
              </a:rPr>
              <a:t>5G Globally unique Temporary Identity (5G-GUTI)</a:t>
            </a:r>
            <a:br>
              <a:rPr lang="en-US" sz="2700" dirty="0">
                <a:latin typeface="+mn-lt"/>
              </a:rPr>
            </a:br>
            <a:endParaRPr lang="en-US" sz="2700" dirty="0">
              <a:latin typeface="+mn-lt"/>
            </a:endParaRPr>
          </a:p>
        </p:txBody>
      </p:sp>
      <p:sp>
        <p:nvSpPr>
          <p:cNvPr id="3" name="Text Placeholder 2"/>
          <p:cNvSpPr>
            <a:spLocks noGrp="1"/>
          </p:cNvSpPr>
          <p:nvPr>
            <p:ph type="body" idx="1"/>
          </p:nvPr>
        </p:nvSpPr>
        <p:spPr/>
        <p:txBody>
          <a:bodyPr/>
          <a:lstStyle/>
          <a:p>
            <a:r>
              <a:rPr lang="en-US" dirty="0"/>
              <a:t>AMF allocates a 5G-GUTI to the UE common for both 3GPP and non-3GPP access</a:t>
            </a:r>
          </a:p>
          <a:p>
            <a:r>
              <a:rPr lang="en-GB" dirty="0"/>
              <a:t>AMF may re-assign a new 5G-GUTI to the UE at any time</a:t>
            </a:r>
          </a:p>
          <a:p>
            <a:r>
              <a:rPr lang="en-GB" dirty="0"/>
              <a:t>The 5G-GUTI shall be structured as:</a:t>
            </a:r>
          </a:p>
          <a:p>
            <a:pPr lvl="1"/>
            <a:r>
              <a:rPr lang="en-GB" dirty="0"/>
              <a:t>&lt;5G-GUTI&gt;=&lt;GUAMI&gt;&lt;5G-TMSI&gt;</a:t>
            </a:r>
          </a:p>
          <a:p>
            <a:pPr lvl="1"/>
            <a:r>
              <a:rPr lang="en-GB" dirty="0"/>
              <a:t>GUAMI identifies the AMF and 5G-TMSI identifies the UE uniquely within the AMF</a:t>
            </a:r>
          </a:p>
          <a:p>
            <a:r>
              <a:rPr lang="en-GB" dirty="0"/>
              <a:t>The Globally Unique AMF ID (GUAMI) shall be structured as:</a:t>
            </a:r>
          </a:p>
          <a:p>
            <a:pPr lvl="1"/>
            <a:r>
              <a:rPr lang="en-GB" dirty="0"/>
              <a:t> &lt;GUAMI&gt;=&lt;MCC&gt;&lt;MNC&gt;&lt;AMF Region ID&gt;&lt;AMF Set ID&gt;&lt;AMF Pointer&gt;</a:t>
            </a:r>
            <a:endParaRPr lang="en-US" dirty="0"/>
          </a:p>
        </p:txBody>
      </p:sp>
      <p:grpSp>
        <p:nvGrpSpPr>
          <p:cNvPr id="20" name="Group 19"/>
          <p:cNvGrpSpPr/>
          <p:nvPr/>
        </p:nvGrpSpPr>
        <p:grpSpPr>
          <a:xfrm>
            <a:off x="11399757" y="5717203"/>
            <a:ext cx="697847" cy="920272"/>
            <a:chOff x="4338871" y="2725624"/>
            <a:chExt cx="1199053" cy="1626215"/>
          </a:xfrm>
        </p:grpSpPr>
        <p:sp>
          <p:nvSpPr>
            <p:cNvPr id="2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2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6"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86635907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Management Function (SMF)</a:t>
            </a:r>
          </a:p>
        </p:txBody>
      </p:sp>
      <p:sp>
        <p:nvSpPr>
          <p:cNvPr id="3" name="Text Placeholder 2"/>
          <p:cNvSpPr>
            <a:spLocks noGrp="1"/>
          </p:cNvSpPr>
          <p:nvPr>
            <p:ph type="body" idx="1"/>
          </p:nvPr>
        </p:nvSpPr>
        <p:spPr>
          <a:xfrm>
            <a:off x="529167" y="1685699"/>
            <a:ext cx="11135785" cy="4791301"/>
          </a:xfrm>
        </p:spPr>
        <p:txBody>
          <a:bodyPr/>
          <a:lstStyle/>
          <a:p>
            <a:pPr marL="0" indent="0">
              <a:buNone/>
            </a:pPr>
            <a:r>
              <a:rPr lang="en-US" sz="2000" dirty="0"/>
              <a:t>Main Functionality</a:t>
            </a:r>
          </a:p>
          <a:p>
            <a:r>
              <a:rPr lang="en-GB" sz="1600" b="1" dirty="0">
                <a:solidFill>
                  <a:srgbClr val="00A9D4"/>
                </a:solidFill>
              </a:rPr>
              <a:t>Session establishment, modify and release, including tunnel maintain between UPF and AN node</a:t>
            </a:r>
            <a:endParaRPr lang="en-US" sz="1600" b="1" dirty="0">
              <a:solidFill>
                <a:srgbClr val="00A9D4"/>
              </a:solidFill>
            </a:endParaRPr>
          </a:p>
          <a:p>
            <a:r>
              <a:rPr lang="en-US" sz="1600" b="1" dirty="0">
                <a:solidFill>
                  <a:srgbClr val="00A9D4"/>
                </a:solidFill>
              </a:rPr>
              <a:t>UE IP address </a:t>
            </a:r>
            <a:r>
              <a:rPr lang="en-US" altLang="en-US" sz="1600" b="1" dirty="0">
                <a:solidFill>
                  <a:srgbClr val="00A9D4"/>
                </a:solidFill>
              </a:rPr>
              <a:t>allocation &amp; </a:t>
            </a:r>
            <a:r>
              <a:rPr lang="en-US" sz="1600" b="1" dirty="0">
                <a:solidFill>
                  <a:srgbClr val="00A9D4"/>
                </a:solidFill>
              </a:rPr>
              <a:t>management</a:t>
            </a:r>
          </a:p>
          <a:p>
            <a:r>
              <a:rPr lang="en-US" sz="1600" b="1" dirty="0">
                <a:solidFill>
                  <a:srgbClr val="00A9D4"/>
                </a:solidFill>
              </a:rPr>
              <a:t>Selection and control of UP function</a:t>
            </a:r>
          </a:p>
          <a:p>
            <a:r>
              <a:rPr lang="en-GB" sz="1600" dirty="0"/>
              <a:t>Configures traffic steering at UPF to route traffic to proper destination.</a:t>
            </a:r>
          </a:p>
          <a:p>
            <a:r>
              <a:rPr lang="en-GB" sz="1600" dirty="0"/>
              <a:t>Termination of interfaces towards Policy control functions.</a:t>
            </a:r>
          </a:p>
          <a:p>
            <a:r>
              <a:rPr lang="x-none" sz="1600" b="1" dirty="0">
                <a:solidFill>
                  <a:srgbClr val="00A9D4"/>
                </a:solidFill>
              </a:rPr>
              <a:t>Control part of policy enforcement and QoS.</a:t>
            </a:r>
            <a:endParaRPr lang="en-US" sz="1600" b="1" dirty="0">
              <a:solidFill>
                <a:srgbClr val="00A9D4"/>
              </a:solidFill>
            </a:endParaRPr>
          </a:p>
          <a:p>
            <a:r>
              <a:rPr lang="x-none" sz="1600" dirty="0"/>
              <a:t>Lawful intercept</a:t>
            </a:r>
            <a:endParaRPr lang="sv-SE" sz="1600" dirty="0"/>
          </a:p>
          <a:p>
            <a:r>
              <a:rPr lang="x-none" sz="1600" b="1" dirty="0">
                <a:solidFill>
                  <a:srgbClr val="00A9D4"/>
                </a:solidFill>
              </a:rPr>
              <a:t>Termination of SM parts of NAS messages.</a:t>
            </a:r>
            <a:endParaRPr lang="en-US" sz="1600" b="1" dirty="0">
              <a:solidFill>
                <a:srgbClr val="00A9D4"/>
              </a:solidFill>
            </a:endParaRPr>
          </a:p>
          <a:p>
            <a:r>
              <a:rPr lang="x-none" sz="1600" dirty="0"/>
              <a:t>Downlink Data Notification.</a:t>
            </a:r>
            <a:endParaRPr lang="en-US" sz="1600" dirty="0"/>
          </a:p>
          <a:p>
            <a:r>
              <a:rPr lang="x-none" sz="1600" dirty="0"/>
              <a:t>Initiator of AN specific SM information, sent via AMF over N2 to AN.</a:t>
            </a:r>
            <a:endParaRPr lang="en-US" sz="1600" dirty="0"/>
          </a:p>
          <a:p>
            <a:r>
              <a:rPr lang="en-GB" sz="1600" b="1" dirty="0">
                <a:solidFill>
                  <a:srgbClr val="00A9D4"/>
                </a:solidFill>
              </a:rPr>
              <a:t>Determine SSC mode of a session.</a:t>
            </a:r>
          </a:p>
          <a:p>
            <a:r>
              <a:rPr lang="en-GB" sz="1600" dirty="0"/>
              <a:t>Roaming functionality:</a:t>
            </a:r>
          </a:p>
          <a:p>
            <a:pPr lvl="1"/>
            <a:r>
              <a:rPr lang="x-none" sz="1400" dirty="0"/>
              <a:t>Handle local enforcement to apply QoS SLAs (VPLMN).</a:t>
            </a:r>
            <a:endParaRPr lang="sv-SE" sz="1400" dirty="0"/>
          </a:p>
          <a:p>
            <a:pPr lvl="1"/>
            <a:r>
              <a:rPr lang="x-none" sz="1400" dirty="0"/>
              <a:t>Charging data collection and charging interface (VPLMN).</a:t>
            </a:r>
            <a:endParaRPr lang="sv-SE" sz="1400" dirty="0"/>
          </a:p>
          <a:p>
            <a:pPr lvl="1"/>
            <a:r>
              <a:rPr lang="x-none" sz="1400" dirty="0"/>
              <a:t>Support for interaction with external DN for transport of signalling for PDU session authorization/authentication by external DN.</a:t>
            </a:r>
            <a:endParaRPr lang="en-US" sz="1400" dirty="0"/>
          </a:p>
          <a:p>
            <a:pPr lvl="1"/>
            <a:endParaRPr lang="en-US" sz="1400" dirty="0"/>
          </a:p>
          <a:p>
            <a:pPr lvl="1"/>
            <a:endParaRPr lang="en-US" sz="1200" dirty="0"/>
          </a:p>
        </p:txBody>
      </p:sp>
      <p:grpSp>
        <p:nvGrpSpPr>
          <p:cNvPr id="18" name="Group 17"/>
          <p:cNvGrpSpPr>
            <a:grpSpLocks noChangeAspect="1"/>
          </p:cNvGrpSpPr>
          <p:nvPr/>
        </p:nvGrpSpPr>
        <p:grpSpPr>
          <a:xfrm>
            <a:off x="10157135" y="4853290"/>
            <a:ext cx="432000" cy="606597"/>
            <a:chOff x="5979156" y="5040856"/>
            <a:chExt cx="1101600" cy="1587600"/>
          </a:xfrm>
        </p:grpSpPr>
        <p:cxnSp>
          <p:nvCxnSpPr>
            <p:cNvPr id="19" name="Straight Connector 18"/>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20"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2"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100" dirty="0"/>
                <a:t>UPF</a:t>
              </a:r>
            </a:p>
          </p:txBody>
        </p:sp>
        <p:sp>
          <p:nvSpPr>
            <p:cNvPr id="23"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4"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grpSp>
        <p:nvGrpSpPr>
          <p:cNvPr id="25" name="Group 24"/>
          <p:cNvGrpSpPr/>
          <p:nvPr/>
        </p:nvGrpSpPr>
        <p:grpSpPr>
          <a:xfrm>
            <a:off x="9894369" y="3137444"/>
            <a:ext cx="920586" cy="1329413"/>
            <a:chOff x="2530204" y="1718022"/>
            <a:chExt cx="1186277" cy="1647323"/>
          </a:xfrm>
        </p:grpSpPr>
        <p:sp>
          <p:nvSpPr>
            <p:cNvPr id="26"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7"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8"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29" name="Group 274"/>
            <p:cNvGrpSpPr>
              <a:grpSpLocks noChangeAspect="1"/>
            </p:cNvGrpSpPr>
            <p:nvPr/>
          </p:nvGrpSpPr>
          <p:grpSpPr bwMode="auto">
            <a:xfrm>
              <a:off x="2590950" y="1853233"/>
              <a:ext cx="1125531" cy="1512112"/>
              <a:chOff x="3147" y="3024"/>
              <a:chExt cx="257" cy="366"/>
            </a:xfrm>
          </p:grpSpPr>
          <p:grpSp>
            <p:nvGrpSpPr>
              <p:cNvPr id="30" name="Group 7"/>
              <p:cNvGrpSpPr>
                <a:grpSpLocks noChangeAspect="1"/>
              </p:cNvGrpSpPr>
              <p:nvPr/>
            </p:nvGrpSpPr>
            <p:grpSpPr bwMode="auto">
              <a:xfrm>
                <a:off x="3147" y="3024"/>
                <a:ext cx="257" cy="366"/>
                <a:chOff x="2284" y="1695"/>
                <a:chExt cx="983" cy="1401"/>
              </a:xfrm>
            </p:grpSpPr>
            <p:pic>
              <p:nvPicPr>
                <p:cNvPr id="32"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31"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SMF</a:t>
                </a:r>
              </a:p>
            </p:txBody>
          </p:sp>
        </p:grpSp>
      </p:grpSp>
      <p:cxnSp>
        <p:nvCxnSpPr>
          <p:cNvPr id="34" name="Straight Connector 33"/>
          <p:cNvCxnSpPr>
            <a:stCxn id="21" idx="0"/>
            <a:endCxn id="32" idx="2"/>
          </p:cNvCxnSpPr>
          <p:nvPr/>
        </p:nvCxnSpPr>
        <p:spPr bwMode="auto">
          <a:xfrm flipV="1">
            <a:off x="10372541" y="4466857"/>
            <a:ext cx="5692" cy="394599"/>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5" name="Text Box 144"/>
          <p:cNvSpPr txBox="1">
            <a:spLocks noChangeAspect="1" noChangeArrowheads="1"/>
          </p:cNvSpPr>
          <p:nvPr/>
        </p:nvSpPr>
        <p:spPr bwMode="auto">
          <a:xfrm>
            <a:off x="10063009" y="4620225"/>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sp>
        <p:nvSpPr>
          <p:cNvPr id="38" name="TextBox 37"/>
          <p:cNvSpPr txBox="1"/>
          <p:nvPr/>
        </p:nvSpPr>
        <p:spPr>
          <a:xfrm>
            <a:off x="9624290" y="2915879"/>
            <a:ext cx="603050" cy="307777"/>
          </a:xfrm>
          <a:prstGeom prst="rect">
            <a:avLst/>
          </a:prstGeom>
          <a:noFill/>
        </p:spPr>
        <p:txBody>
          <a:bodyPr wrap="none" rtlCol="0">
            <a:spAutoFit/>
          </a:bodyPr>
          <a:lstStyle/>
          <a:p>
            <a:r>
              <a:rPr lang="en-US" sz="1400" dirty="0" err="1">
                <a:solidFill>
                  <a:srgbClr val="FF0000"/>
                </a:solidFill>
              </a:rPr>
              <a:t>Nsmf</a:t>
            </a:r>
            <a:endParaRPr lang="en-US" sz="1400" dirty="0">
              <a:solidFill>
                <a:srgbClr val="FF0000"/>
              </a:solidFill>
            </a:endParaRPr>
          </a:p>
        </p:txBody>
      </p:sp>
      <p:grpSp>
        <p:nvGrpSpPr>
          <p:cNvPr id="39" name="Group 38"/>
          <p:cNvGrpSpPr/>
          <p:nvPr/>
        </p:nvGrpSpPr>
        <p:grpSpPr>
          <a:xfrm rot="10800000" flipH="1" flipV="1">
            <a:off x="10277906" y="2985899"/>
            <a:ext cx="145622" cy="280111"/>
            <a:chOff x="7128406" y="1476204"/>
            <a:chExt cx="145622" cy="280111"/>
          </a:xfrm>
        </p:grpSpPr>
        <p:cxnSp>
          <p:nvCxnSpPr>
            <p:cNvPr id="40" name="Straight Connector 39"/>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41" name="Oval 40"/>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30760614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rol Plane Protocol Stacks</a:t>
            </a:r>
            <a:br>
              <a:rPr lang="en-US" dirty="0"/>
            </a:br>
            <a:r>
              <a:rPr lang="en-US" dirty="0"/>
              <a:t>AN-SMF (N2 &amp; N11)</a:t>
            </a:r>
          </a:p>
        </p:txBody>
      </p:sp>
      <p:pic>
        <p:nvPicPr>
          <p:cNvPr id="4" name="Picture 3"/>
          <p:cNvPicPr>
            <a:picLocks noChangeAspect="1"/>
          </p:cNvPicPr>
          <p:nvPr/>
        </p:nvPicPr>
        <p:blipFill>
          <a:blip r:embed="rId3"/>
          <a:stretch>
            <a:fillRect/>
          </a:stretch>
        </p:blipFill>
        <p:spPr>
          <a:xfrm>
            <a:off x="2131503" y="1827004"/>
            <a:ext cx="9155309" cy="4528826"/>
          </a:xfrm>
          <a:prstGeom prst="rect">
            <a:avLst/>
          </a:prstGeom>
        </p:spPr>
      </p:pic>
      <p:sp>
        <p:nvSpPr>
          <p:cNvPr id="5" name="TextBox 4"/>
          <p:cNvSpPr txBox="1"/>
          <p:nvPr/>
        </p:nvSpPr>
        <p:spPr>
          <a:xfrm>
            <a:off x="689549" y="2388056"/>
            <a:ext cx="1367682" cy="400110"/>
          </a:xfrm>
          <a:prstGeom prst="rect">
            <a:avLst/>
          </a:prstGeom>
          <a:noFill/>
        </p:spPr>
        <p:txBody>
          <a:bodyPr wrap="none" rtlCol="0">
            <a:spAutoFit/>
          </a:bodyPr>
          <a:lstStyle/>
          <a:p>
            <a:r>
              <a:rPr lang="en-US" dirty="0"/>
              <a:t>TS 38.413</a:t>
            </a:r>
          </a:p>
        </p:txBody>
      </p:sp>
      <p:grpSp>
        <p:nvGrpSpPr>
          <p:cNvPr id="6" name="Group 5"/>
          <p:cNvGrpSpPr/>
          <p:nvPr/>
        </p:nvGrpSpPr>
        <p:grpSpPr>
          <a:xfrm>
            <a:off x="11399757" y="5717203"/>
            <a:ext cx="697847" cy="920272"/>
            <a:chOff x="4338871" y="2725624"/>
            <a:chExt cx="1199053" cy="1626215"/>
          </a:xfrm>
        </p:grpSpPr>
        <p:sp>
          <p:nvSpPr>
            <p:cNvPr id="7"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11"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2"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3298884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rol Plane Protocol Stacks</a:t>
            </a:r>
            <a:br>
              <a:rPr lang="en-US" dirty="0"/>
            </a:br>
            <a:r>
              <a:rPr lang="en-US" dirty="0"/>
              <a:t>UE-SMF (N1&amp;N11)</a:t>
            </a:r>
          </a:p>
        </p:txBody>
      </p:sp>
      <p:pic>
        <p:nvPicPr>
          <p:cNvPr id="4" name="Picture 3"/>
          <p:cNvPicPr>
            <a:picLocks noChangeAspect="1"/>
          </p:cNvPicPr>
          <p:nvPr/>
        </p:nvPicPr>
        <p:blipFill>
          <a:blip r:embed="rId3"/>
          <a:stretch>
            <a:fillRect/>
          </a:stretch>
        </p:blipFill>
        <p:spPr>
          <a:xfrm>
            <a:off x="697709" y="1724024"/>
            <a:ext cx="10943609" cy="4436933"/>
          </a:xfrm>
          <a:prstGeom prst="rect">
            <a:avLst/>
          </a:prstGeom>
        </p:spPr>
      </p:pic>
      <p:grpSp>
        <p:nvGrpSpPr>
          <p:cNvPr id="5" name="Group 4"/>
          <p:cNvGrpSpPr/>
          <p:nvPr/>
        </p:nvGrpSpPr>
        <p:grpSpPr>
          <a:xfrm>
            <a:off x="11399757" y="5717203"/>
            <a:ext cx="697847" cy="920272"/>
            <a:chOff x="4338871" y="2725624"/>
            <a:chExt cx="1199053" cy="1626215"/>
          </a:xfrm>
        </p:grpSpPr>
        <p:sp>
          <p:nvSpPr>
            <p:cNvPr id="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1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7010635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F and SMF Interaction</a:t>
            </a:r>
            <a:br>
              <a:rPr lang="en-US" dirty="0"/>
            </a:br>
            <a:r>
              <a:rPr lang="en-US" dirty="0"/>
              <a:t>(N1&amp;N11)</a:t>
            </a:r>
          </a:p>
        </p:txBody>
      </p:sp>
      <p:sp>
        <p:nvSpPr>
          <p:cNvPr id="3" name="Text Placeholder 2"/>
          <p:cNvSpPr>
            <a:spLocks noGrp="1"/>
          </p:cNvSpPr>
          <p:nvPr>
            <p:ph type="body" idx="1"/>
          </p:nvPr>
        </p:nvSpPr>
        <p:spPr>
          <a:xfrm>
            <a:off x="529167" y="1879510"/>
            <a:ext cx="11135785" cy="3852000"/>
          </a:xfrm>
        </p:spPr>
        <p:txBody>
          <a:bodyPr/>
          <a:lstStyle/>
          <a:p>
            <a:r>
              <a:rPr lang="en-US" sz="1800" dirty="0"/>
              <a:t>Single N1 NAS is used for RM, CM and</a:t>
            </a:r>
            <a:br>
              <a:rPr lang="en-US" sz="1800" dirty="0"/>
            </a:br>
            <a:r>
              <a:rPr lang="en-US" sz="1800" dirty="0"/>
              <a:t>SM-related procedures for a UE</a:t>
            </a:r>
          </a:p>
          <a:p>
            <a:r>
              <a:rPr lang="en-US" sz="1800" dirty="0"/>
              <a:t>AMF handles NAS-RM and NAS-CM</a:t>
            </a:r>
          </a:p>
          <a:p>
            <a:r>
              <a:rPr lang="en-US" sz="1800" dirty="0"/>
              <a:t>SMF handles NAS-SM</a:t>
            </a:r>
          </a:p>
          <a:p>
            <a:r>
              <a:rPr lang="en-US" sz="1800" dirty="0"/>
              <a:t>AMF forwards NAS-SM to SMF (N11)</a:t>
            </a:r>
          </a:p>
          <a:p>
            <a:r>
              <a:rPr lang="en-US" sz="1800" dirty="0"/>
              <a:t>SMF indicates to AMF if a UP session is</a:t>
            </a:r>
            <a:br>
              <a:rPr lang="en-US" sz="1800" dirty="0"/>
            </a:br>
            <a:r>
              <a:rPr lang="en-US" sz="1800" dirty="0"/>
              <a:t>released</a:t>
            </a:r>
          </a:p>
          <a:p>
            <a:r>
              <a:rPr lang="en-US" sz="1800" dirty="0"/>
              <a:t>Upon successful UP session</a:t>
            </a:r>
            <a:br>
              <a:rPr lang="en-US" sz="1800" dirty="0"/>
            </a:br>
            <a:r>
              <a:rPr lang="en-US" sz="1800" dirty="0"/>
              <a:t>establishment:</a:t>
            </a:r>
          </a:p>
          <a:p>
            <a:pPr lvl="1"/>
            <a:r>
              <a:rPr lang="en-US" sz="1400" dirty="0"/>
              <a:t>AMF stores UE-id and serving SMF-id</a:t>
            </a:r>
          </a:p>
          <a:p>
            <a:pPr lvl="1"/>
            <a:r>
              <a:rPr lang="en-US" sz="1400" dirty="0"/>
              <a:t>SMF stores UE-id and serving AMF-id</a:t>
            </a:r>
          </a:p>
        </p:txBody>
      </p:sp>
      <p:grpSp>
        <p:nvGrpSpPr>
          <p:cNvPr id="4" name="Group 3"/>
          <p:cNvGrpSpPr>
            <a:grpSpLocks noChangeAspect="1"/>
          </p:cNvGrpSpPr>
          <p:nvPr/>
        </p:nvGrpSpPr>
        <p:grpSpPr>
          <a:xfrm>
            <a:off x="5026131" y="1822129"/>
            <a:ext cx="6972453" cy="3332526"/>
            <a:chOff x="453894" y="1290725"/>
            <a:chExt cx="11150562" cy="5329479"/>
          </a:xfrm>
        </p:grpSpPr>
        <p:grpSp>
          <p:nvGrpSpPr>
            <p:cNvPr id="5" name="Group 4"/>
            <p:cNvGrpSpPr/>
            <p:nvPr/>
          </p:nvGrpSpPr>
          <p:grpSpPr>
            <a:xfrm>
              <a:off x="9354059" y="4900926"/>
              <a:ext cx="2250397" cy="1719278"/>
              <a:chOff x="9315422" y="5130211"/>
              <a:chExt cx="2250397" cy="1719278"/>
            </a:xfrm>
          </p:grpSpPr>
          <p:sp>
            <p:nvSpPr>
              <p:cNvPr id="88"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sz="1000"/>
              </a:p>
            </p:txBody>
          </p:sp>
          <p:sp>
            <p:nvSpPr>
              <p:cNvPr id="89" name="Text Box 35"/>
              <p:cNvSpPr txBox="1">
                <a:spLocks noChangeAspect="1" noChangeArrowheads="1"/>
              </p:cNvSpPr>
              <p:nvPr/>
            </p:nvSpPr>
            <p:spPr bwMode="auto">
              <a:xfrm>
                <a:off x="9508328" y="5638453"/>
                <a:ext cx="1808285" cy="85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dirty="0">
                    <a:ea typeface="MS PGothic" pitchFamily="34" charset="-128"/>
                  </a:rPr>
                  <a:t>Data Network </a:t>
                </a:r>
              </a:p>
              <a:p>
                <a:pPr algn="ctr" eaLnBrk="1" hangingPunct="1">
                  <a:lnSpc>
                    <a:spcPct val="80000"/>
                  </a:lnSpc>
                  <a:spcBef>
                    <a:spcPct val="0"/>
                  </a:spcBef>
                  <a:buClrTx/>
                  <a:buFontTx/>
                  <a:buNone/>
                </a:pPr>
                <a:r>
                  <a:rPr lang="en-US" altLang="en-US" sz="1000" dirty="0">
                    <a:ea typeface="MS PGothic" pitchFamily="34" charset="-128"/>
                  </a:rPr>
                  <a:t>(e.g. operator </a:t>
                </a:r>
              </a:p>
              <a:p>
                <a:pPr algn="ctr" eaLnBrk="1" hangingPunct="1">
                  <a:lnSpc>
                    <a:spcPct val="80000"/>
                  </a:lnSpc>
                  <a:spcBef>
                    <a:spcPct val="0"/>
                  </a:spcBef>
                  <a:buClrTx/>
                  <a:buFontTx/>
                  <a:buNone/>
                </a:pPr>
                <a:r>
                  <a:rPr lang="en-US" altLang="en-US" sz="1000" dirty="0">
                    <a:ea typeface="MS PGothic" pitchFamily="34" charset="-128"/>
                  </a:rPr>
                  <a:t>or Internet)</a:t>
                </a:r>
              </a:p>
            </p:txBody>
          </p:sp>
        </p:grpSp>
        <p:cxnSp>
          <p:nvCxnSpPr>
            <p:cNvPr id="6" name="Elbow Connector 59"/>
            <p:cNvCxnSpPr>
              <a:cxnSpLocks/>
              <a:endCxn id="51" idx="2"/>
            </p:cNvCxnSpPr>
            <p:nvPr/>
          </p:nvCxnSpPr>
          <p:spPr bwMode="auto">
            <a:xfrm flipV="1">
              <a:off x="955975" y="3524512"/>
              <a:ext cx="4599173" cy="1425683"/>
            </a:xfrm>
            <a:prstGeom prst="bentConnector3">
              <a:avLst>
                <a:gd name="adj1" fmla="val 557"/>
              </a:avLst>
            </a:prstGeom>
            <a:noFill/>
            <a:ln w="19050">
              <a:solidFill>
                <a:schemeClr val="accent4">
                  <a:lumMod val="50000"/>
                </a:schemeClr>
              </a:solidFill>
              <a:prstDash val="dash"/>
              <a:round/>
              <a:headEnd/>
              <a:tailEnd/>
            </a:ln>
          </p:spPr>
        </p:cxnSp>
        <p:sp>
          <p:nvSpPr>
            <p:cNvPr id="7" name="Freeform 4"/>
            <p:cNvSpPr>
              <a:spLocks noChangeAspect="1" noEditPoints="1"/>
            </p:cNvSpPr>
            <p:nvPr/>
          </p:nvSpPr>
          <p:spPr bwMode="auto">
            <a:xfrm>
              <a:off x="696863" y="4986170"/>
              <a:ext cx="506413" cy="69373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433D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a:p>
          </p:txBody>
        </p:sp>
        <p:sp>
          <p:nvSpPr>
            <p:cNvPr id="8" name="Freeform 88"/>
            <p:cNvSpPr>
              <a:spLocks/>
            </p:cNvSpPr>
            <p:nvPr/>
          </p:nvSpPr>
          <p:spPr bwMode="auto">
            <a:xfrm rot="2583056" flipH="1">
              <a:off x="1412059" y="5165531"/>
              <a:ext cx="929657" cy="640735"/>
            </a:xfrm>
            <a:custGeom>
              <a:avLst/>
              <a:gdLst>
                <a:gd name="T0" fmla="*/ 0 w 902524"/>
                <a:gd name="T1" fmla="*/ 0 h 356260"/>
                <a:gd name="T2" fmla="*/ 514582 w 902524"/>
                <a:gd name="T3" fmla="*/ 413565 h 356260"/>
                <a:gd name="T4" fmla="*/ 456107 w 902524"/>
                <a:gd name="T5" fmla="*/ 132338 h 356260"/>
                <a:gd name="T6" fmla="*/ 888824 w 902524"/>
                <a:gd name="T7" fmla="*/ 496273 h 356260"/>
                <a:gd name="T8" fmla="*/ 888824 w 902524"/>
                <a:gd name="T9" fmla="*/ 496273 h 3562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2524" h="356260">
                  <a:moveTo>
                    <a:pt x="0" y="0"/>
                  </a:moveTo>
                  <a:lnTo>
                    <a:pt x="522514" y="296883"/>
                  </a:lnTo>
                  <a:lnTo>
                    <a:pt x="463137" y="95003"/>
                  </a:lnTo>
                  <a:lnTo>
                    <a:pt x="902524" y="356260"/>
                  </a:lnTo>
                </a:path>
              </a:pathLst>
            </a:custGeom>
            <a:noFill/>
            <a:ln w="50800" cap="flat" cmpd="sng" algn="ctr">
              <a:solidFill>
                <a:schemeClr val="tx1"/>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wrap="none" lIns="71992" tIns="45715" rIns="71992" bIns="45715"/>
            <a:lstStyle/>
            <a:p>
              <a:pPr>
                <a:spcBef>
                  <a:spcPct val="50000"/>
                </a:spcBef>
                <a:defRPr/>
              </a:pPr>
              <a:endParaRPr lang="en-US" sz="1000" b="1" dirty="0">
                <a:cs typeface="+mn-cs"/>
              </a:endParaRPr>
            </a:p>
          </p:txBody>
        </p:sp>
        <p:sp>
          <p:nvSpPr>
            <p:cNvPr id="9" name="Text Box 144"/>
            <p:cNvSpPr txBox="1">
              <a:spLocks noChangeAspect="1" noChangeArrowheads="1"/>
            </p:cNvSpPr>
            <p:nvPr/>
          </p:nvSpPr>
          <p:spPr bwMode="auto">
            <a:xfrm>
              <a:off x="453894" y="5651172"/>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G UE</a:t>
              </a:r>
            </a:p>
          </p:txBody>
        </p:sp>
        <p:sp>
          <p:nvSpPr>
            <p:cNvPr id="10" name="Text Box 144"/>
            <p:cNvSpPr txBox="1">
              <a:spLocks noChangeAspect="1" noChangeArrowheads="1"/>
            </p:cNvSpPr>
            <p:nvPr/>
          </p:nvSpPr>
          <p:spPr bwMode="auto">
            <a:xfrm>
              <a:off x="4004009" y="4522361"/>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2</a:t>
              </a:r>
            </a:p>
          </p:txBody>
        </p:sp>
        <p:sp>
          <p:nvSpPr>
            <p:cNvPr id="11" name="Text Box 144"/>
            <p:cNvSpPr txBox="1">
              <a:spLocks noChangeAspect="1" noChangeArrowheads="1"/>
            </p:cNvSpPr>
            <p:nvPr/>
          </p:nvSpPr>
          <p:spPr bwMode="auto">
            <a:xfrm>
              <a:off x="5022480" y="561005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3</a:t>
              </a:r>
            </a:p>
          </p:txBody>
        </p:sp>
        <p:sp>
          <p:nvSpPr>
            <p:cNvPr id="12" name="Text Box 144"/>
            <p:cNvSpPr txBox="1">
              <a:spLocks noChangeAspect="1" noChangeArrowheads="1"/>
            </p:cNvSpPr>
            <p:nvPr/>
          </p:nvSpPr>
          <p:spPr bwMode="auto">
            <a:xfrm>
              <a:off x="8188449" y="561215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6</a:t>
              </a:r>
            </a:p>
          </p:txBody>
        </p:sp>
        <p:sp>
          <p:nvSpPr>
            <p:cNvPr id="13" name="Text Box 144"/>
            <p:cNvSpPr txBox="1">
              <a:spLocks noChangeAspect="1" noChangeArrowheads="1"/>
            </p:cNvSpPr>
            <p:nvPr/>
          </p:nvSpPr>
          <p:spPr bwMode="auto">
            <a:xfrm>
              <a:off x="7405615" y="271829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7</a:t>
              </a:r>
            </a:p>
          </p:txBody>
        </p:sp>
        <p:sp>
          <p:nvSpPr>
            <p:cNvPr id="14" name="Text Box 144"/>
            <p:cNvSpPr txBox="1">
              <a:spLocks noChangeAspect="1" noChangeArrowheads="1"/>
            </p:cNvSpPr>
            <p:nvPr/>
          </p:nvSpPr>
          <p:spPr bwMode="auto">
            <a:xfrm>
              <a:off x="8303280" y="2720540"/>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5</a:t>
              </a:r>
            </a:p>
          </p:txBody>
        </p:sp>
        <p:sp>
          <p:nvSpPr>
            <p:cNvPr id="15" name="Text Box 144"/>
            <p:cNvSpPr txBox="1">
              <a:spLocks noChangeAspect="1" noChangeArrowheads="1"/>
            </p:cNvSpPr>
            <p:nvPr/>
          </p:nvSpPr>
          <p:spPr bwMode="auto">
            <a:xfrm>
              <a:off x="7174663" y="4654372"/>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4</a:t>
              </a:r>
            </a:p>
          </p:txBody>
        </p:sp>
        <p:grpSp>
          <p:nvGrpSpPr>
            <p:cNvPr id="16" name="Group 15"/>
            <p:cNvGrpSpPr/>
            <p:nvPr/>
          </p:nvGrpSpPr>
          <p:grpSpPr>
            <a:xfrm>
              <a:off x="2780030" y="4934476"/>
              <a:ext cx="886830" cy="1230796"/>
              <a:chOff x="936376" y="2900085"/>
              <a:chExt cx="864096" cy="1240668"/>
            </a:xfrm>
          </p:grpSpPr>
          <p:sp>
            <p:nvSpPr>
              <p:cNvPr id="83"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4"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5"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dirty="0">
                    <a:ea typeface="Segoe UI" panose="020B0502040204020203" pitchFamily="34" charset="0"/>
                    <a:cs typeface="Arial" panose="020B0604020202020204" pitchFamily="34" charset="0"/>
                  </a:rPr>
                  <a:t>5G RAN</a:t>
                </a:r>
              </a:p>
            </p:txBody>
          </p:sp>
          <p:sp>
            <p:nvSpPr>
              <p:cNvPr id="86"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87"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000">
                  <a:solidFill>
                    <a:srgbClr val="58585A"/>
                  </a:solidFill>
                </a:endParaRPr>
              </a:p>
            </p:txBody>
          </p:sp>
        </p:grpSp>
        <p:sp>
          <p:nvSpPr>
            <p:cNvPr id="17" name="Line 30"/>
            <p:cNvSpPr>
              <a:spLocks noChangeShapeType="1"/>
            </p:cNvSpPr>
            <p:nvPr/>
          </p:nvSpPr>
          <p:spPr bwMode="auto">
            <a:xfrm>
              <a:off x="3670915" y="5830687"/>
              <a:ext cx="5705219"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1000">
                <a:ea typeface="ＭＳ Ｐゴシック" charset="0"/>
                <a:cs typeface="Arial" charset="0"/>
              </a:endParaRPr>
            </a:p>
          </p:txBody>
        </p:sp>
        <p:grpSp>
          <p:nvGrpSpPr>
            <p:cNvPr id="18" name="Group 17"/>
            <p:cNvGrpSpPr/>
            <p:nvPr/>
          </p:nvGrpSpPr>
          <p:grpSpPr>
            <a:xfrm>
              <a:off x="7068292" y="4955384"/>
              <a:ext cx="889582" cy="1249115"/>
              <a:chOff x="5979156" y="5040856"/>
              <a:chExt cx="1101600" cy="1587600"/>
            </a:xfrm>
          </p:grpSpPr>
          <p:cxnSp>
            <p:nvCxnSpPr>
              <p:cNvPr id="77" name="Straight Connector 76"/>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78"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9"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0"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UPF</a:t>
                </a:r>
              </a:p>
            </p:txBody>
          </p:sp>
          <p:sp>
            <p:nvSpPr>
              <p:cNvPr id="81"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82"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000"/>
              </a:p>
            </p:txBody>
          </p:sp>
        </p:grpSp>
        <p:grpSp>
          <p:nvGrpSpPr>
            <p:cNvPr id="19" name="Group 18"/>
            <p:cNvGrpSpPr/>
            <p:nvPr/>
          </p:nvGrpSpPr>
          <p:grpSpPr>
            <a:xfrm>
              <a:off x="7085193" y="3084556"/>
              <a:ext cx="948900" cy="1274363"/>
              <a:chOff x="4338871" y="2725624"/>
              <a:chExt cx="1199053" cy="1626215"/>
            </a:xfrm>
          </p:grpSpPr>
          <p:sp>
            <p:nvSpPr>
              <p:cNvPr id="71"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2"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3"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4"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SMF</a:t>
                </a:r>
              </a:p>
            </p:txBody>
          </p:sp>
          <p:sp>
            <p:nvSpPr>
              <p:cNvPr id="75"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76"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nvGrpSpPr>
            <p:cNvPr id="20" name="Group 19"/>
            <p:cNvGrpSpPr/>
            <p:nvPr/>
          </p:nvGrpSpPr>
          <p:grpSpPr>
            <a:xfrm>
              <a:off x="7843880" y="1290725"/>
              <a:ext cx="920586" cy="1329413"/>
              <a:chOff x="2530204" y="1718022"/>
              <a:chExt cx="1186277" cy="1647323"/>
            </a:xfrm>
          </p:grpSpPr>
          <p:sp>
            <p:nvSpPr>
              <p:cNvPr id="6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6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66" name="Group 274"/>
              <p:cNvGrpSpPr>
                <a:grpSpLocks noChangeAspect="1"/>
              </p:cNvGrpSpPr>
              <p:nvPr/>
            </p:nvGrpSpPr>
            <p:grpSpPr bwMode="auto">
              <a:xfrm>
                <a:off x="2590950" y="1853233"/>
                <a:ext cx="1125531" cy="1512112"/>
                <a:chOff x="3147" y="3024"/>
                <a:chExt cx="257" cy="366"/>
              </a:xfrm>
            </p:grpSpPr>
            <p:grpSp>
              <p:nvGrpSpPr>
                <p:cNvPr id="67" name="Group 7"/>
                <p:cNvGrpSpPr>
                  <a:grpSpLocks noChangeAspect="1"/>
                </p:cNvGrpSpPr>
                <p:nvPr/>
              </p:nvGrpSpPr>
              <p:grpSpPr bwMode="auto">
                <a:xfrm>
                  <a:off x="3147" y="3024"/>
                  <a:ext cx="257" cy="366"/>
                  <a:chOff x="2283" y="1698"/>
                  <a:chExt cx="983" cy="1402"/>
                </a:xfrm>
              </p:grpSpPr>
              <p:pic>
                <p:nvPicPr>
                  <p:cNvPr id="69"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charset="-128"/>
                    </a:rPr>
                    <a:t>PCF</a:t>
                  </a:r>
                </a:p>
              </p:txBody>
            </p:sp>
          </p:grpSp>
        </p:grpSp>
        <p:cxnSp>
          <p:nvCxnSpPr>
            <p:cNvPr id="21" name="Straight Connector 20"/>
            <p:cNvCxnSpPr>
              <a:cxnSpLocks/>
              <a:stCxn id="52" idx="1"/>
              <a:endCxn id="84" idx="6"/>
            </p:cNvCxnSpPr>
            <p:nvPr/>
          </p:nvCxnSpPr>
          <p:spPr bwMode="auto">
            <a:xfrm flipH="1">
              <a:off x="3652201" y="4029330"/>
              <a:ext cx="1931766" cy="134184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2" name="Text Box 144"/>
            <p:cNvSpPr txBox="1">
              <a:spLocks noChangeAspect="1" noChangeArrowheads="1"/>
            </p:cNvSpPr>
            <p:nvPr/>
          </p:nvSpPr>
          <p:spPr bwMode="auto">
            <a:xfrm>
              <a:off x="661985" y="3335498"/>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a:t>
              </a:r>
            </a:p>
          </p:txBody>
        </p:sp>
        <p:cxnSp>
          <p:nvCxnSpPr>
            <p:cNvPr id="23" name="Straight Connector 22"/>
            <p:cNvCxnSpPr>
              <a:cxnSpLocks/>
              <a:stCxn id="74" idx="2"/>
              <a:endCxn id="79" idx="0"/>
            </p:cNvCxnSpPr>
            <p:nvPr/>
          </p:nvCxnSpPr>
          <p:spPr bwMode="auto">
            <a:xfrm flipH="1">
              <a:off x="7511859" y="4299948"/>
              <a:ext cx="6822" cy="672251"/>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4" name="Straight Connector 23"/>
            <p:cNvCxnSpPr>
              <a:cxnSpLocks/>
              <a:stCxn id="74" idx="1"/>
              <a:endCxn id="52" idx="3"/>
            </p:cNvCxnSpPr>
            <p:nvPr/>
          </p:nvCxnSpPr>
          <p:spPr bwMode="auto">
            <a:xfrm flipH="1" flipV="1">
              <a:off x="6369288" y="4029330"/>
              <a:ext cx="756732" cy="1462"/>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5" name="Text Box 144"/>
            <p:cNvSpPr txBox="1">
              <a:spLocks noChangeAspect="1" noChangeArrowheads="1"/>
            </p:cNvSpPr>
            <p:nvPr/>
          </p:nvSpPr>
          <p:spPr bwMode="auto">
            <a:xfrm>
              <a:off x="6273553" y="384546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1</a:t>
              </a:r>
            </a:p>
          </p:txBody>
        </p:sp>
        <p:grpSp>
          <p:nvGrpSpPr>
            <p:cNvPr id="26" name="Group 25"/>
            <p:cNvGrpSpPr/>
            <p:nvPr/>
          </p:nvGrpSpPr>
          <p:grpSpPr>
            <a:xfrm>
              <a:off x="6293596" y="1303232"/>
              <a:ext cx="920586" cy="1329413"/>
              <a:chOff x="2530204" y="1718022"/>
              <a:chExt cx="1186277" cy="1647323"/>
            </a:xfrm>
          </p:grpSpPr>
          <p:sp>
            <p:nvSpPr>
              <p:cNvPr id="5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sp>
            <p:nvSpPr>
              <p:cNvPr id="5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p>
            </p:txBody>
          </p:sp>
          <p:grpSp>
            <p:nvGrpSpPr>
              <p:cNvPr id="58" name="Group 274"/>
              <p:cNvGrpSpPr>
                <a:grpSpLocks noChangeAspect="1"/>
              </p:cNvGrpSpPr>
              <p:nvPr/>
            </p:nvGrpSpPr>
            <p:grpSpPr bwMode="auto">
              <a:xfrm>
                <a:off x="2590950" y="1853233"/>
                <a:ext cx="1125531" cy="1512112"/>
                <a:chOff x="3147" y="3024"/>
                <a:chExt cx="257" cy="366"/>
              </a:xfrm>
            </p:grpSpPr>
            <p:grpSp>
              <p:nvGrpSpPr>
                <p:cNvPr id="59" name="Group 7"/>
                <p:cNvGrpSpPr>
                  <a:grpSpLocks noChangeAspect="1"/>
                </p:cNvGrpSpPr>
                <p:nvPr/>
              </p:nvGrpSpPr>
              <p:grpSpPr bwMode="auto">
                <a:xfrm>
                  <a:off x="3147" y="3024"/>
                  <a:ext cx="257" cy="366"/>
                  <a:chOff x="2283" y="1698"/>
                  <a:chExt cx="983" cy="1402"/>
                </a:xfrm>
              </p:grpSpPr>
              <p:pic>
                <p:nvPicPr>
                  <p:cNvPr id="61"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000"/>
                  </a:p>
                </p:txBody>
              </p:sp>
            </p:grpSp>
            <p:sp>
              <p:nvSpPr>
                <p:cNvPr id="6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000" dirty="0">
                      <a:ea typeface="MS PGothic" pitchFamily="34" charset="-128"/>
                    </a:rPr>
                    <a:t>UDM</a:t>
                  </a:r>
                  <a:endParaRPr lang="en-US" altLang="en-US" sz="1000" dirty="0">
                    <a:ea typeface="MS PGothic" charset="-128"/>
                  </a:endParaRPr>
                </a:p>
              </p:txBody>
            </p:sp>
          </p:grpSp>
        </p:grpSp>
        <p:cxnSp>
          <p:nvCxnSpPr>
            <p:cNvPr id="27" name="Straight Connector 26"/>
            <p:cNvCxnSpPr>
              <a:cxnSpLocks/>
              <a:stCxn id="61" idx="2"/>
              <a:endCxn id="51" idx="7"/>
            </p:cNvCxnSpPr>
            <p:nvPr/>
          </p:nvCxnSpPr>
          <p:spPr bwMode="auto">
            <a:xfrm flipH="1">
              <a:off x="6276709" y="2632645"/>
              <a:ext cx="500751" cy="59158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8" name="Straight Connector 27"/>
            <p:cNvCxnSpPr>
              <a:cxnSpLocks/>
              <a:endCxn id="51" idx="1"/>
            </p:cNvCxnSpPr>
            <p:nvPr/>
          </p:nvCxnSpPr>
          <p:spPr bwMode="auto">
            <a:xfrm>
              <a:off x="5247805" y="2624087"/>
              <a:ext cx="431143" cy="60013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9" name="Straight Connector 28"/>
            <p:cNvCxnSpPr>
              <a:cxnSpLocks/>
              <a:endCxn id="60" idx="1"/>
            </p:cNvCxnSpPr>
            <p:nvPr/>
          </p:nvCxnSpPr>
          <p:spPr bwMode="auto">
            <a:xfrm>
              <a:off x="5626751" y="2287338"/>
              <a:ext cx="761567" cy="8558"/>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0" name="Text Box 144"/>
            <p:cNvSpPr txBox="1">
              <a:spLocks noChangeAspect="1" noChangeArrowheads="1"/>
            </p:cNvSpPr>
            <p:nvPr/>
          </p:nvSpPr>
          <p:spPr bwMode="auto">
            <a:xfrm>
              <a:off x="5499691" y="2035119"/>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3</a:t>
              </a:r>
            </a:p>
          </p:txBody>
        </p:sp>
        <p:sp>
          <p:nvSpPr>
            <p:cNvPr id="31" name="Text Box 144"/>
            <p:cNvSpPr txBox="1">
              <a:spLocks noChangeAspect="1" noChangeArrowheads="1"/>
            </p:cNvSpPr>
            <p:nvPr/>
          </p:nvSpPr>
          <p:spPr bwMode="auto">
            <a:xfrm>
              <a:off x="5753154" y="2727914"/>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8</a:t>
              </a:r>
            </a:p>
          </p:txBody>
        </p:sp>
        <p:sp>
          <p:nvSpPr>
            <p:cNvPr id="32" name="Text Box 144"/>
            <p:cNvSpPr txBox="1">
              <a:spLocks noChangeAspect="1" noChangeArrowheads="1"/>
            </p:cNvSpPr>
            <p:nvPr/>
          </p:nvSpPr>
          <p:spPr bwMode="auto">
            <a:xfrm>
              <a:off x="4526304" y="271942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2</a:t>
              </a:r>
            </a:p>
          </p:txBody>
        </p:sp>
        <p:sp>
          <p:nvSpPr>
            <p:cNvPr id="33" name="Text Box 144"/>
            <p:cNvSpPr txBox="1">
              <a:spLocks noChangeAspect="1" noChangeArrowheads="1"/>
            </p:cNvSpPr>
            <p:nvPr/>
          </p:nvSpPr>
          <p:spPr bwMode="auto">
            <a:xfrm>
              <a:off x="6750515" y="2712907"/>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0</a:t>
              </a:r>
            </a:p>
          </p:txBody>
        </p:sp>
        <p:cxnSp>
          <p:nvCxnSpPr>
            <p:cNvPr id="34" name="Straight Connector 33"/>
            <p:cNvCxnSpPr>
              <a:cxnSpLocks/>
              <a:stCxn id="73" idx="1"/>
              <a:endCxn id="61" idx="2"/>
            </p:cNvCxnSpPr>
            <p:nvPr/>
          </p:nvCxnSpPr>
          <p:spPr bwMode="auto">
            <a:xfrm flipH="1" flipV="1">
              <a:off x="6777460" y="2632645"/>
              <a:ext cx="443541" cy="593042"/>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5" name="Straight Connector 34"/>
            <p:cNvCxnSpPr>
              <a:cxnSpLocks/>
              <a:stCxn id="69" idx="2"/>
              <a:endCxn id="73" idx="7"/>
            </p:cNvCxnSpPr>
            <p:nvPr/>
          </p:nvCxnSpPr>
          <p:spPr bwMode="auto">
            <a:xfrm flipH="1">
              <a:off x="7818762" y="2620138"/>
              <a:ext cx="508982" cy="605549"/>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6" name="Straight Connector 35"/>
            <p:cNvCxnSpPr>
              <a:cxnSpLocks/>
              <a:stCxn id="69" idx="2"/>
            </p:cNvCxnSpPr>
            <p:nvPr/>
          </p:nvCxnSpPr>
          <p:spPr bwMode="auto">
            <a:xfrm>
              <a:off x="8327744" y="2620138"/>
              <a:ext cx="1905600" cy="241593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37" name="Straight Connector 95"/>
            <p:cNvCxnSpPr>
              <a:cxnSpLocks/>
              <a:stCxn id="69" idx="2"/>
              <a:endCxn id="52" idx="2"/>
            </p:cNvCxnSpPr>
            <p:nvPr/>
          </p:nvCxnSpPr>
          <p:spPr bwMode="auto">
            <a:xfrm rot="5400000">
              <a:off x="6313012" y="2283754"/>
              <a:ext cx="1678348" cy="2351116"/>
            </a:xfrm>
            <a:prstGeom prst="bentConnector3">
              <a:avLst>
                <a:gd name="adj1" fmla="val 113621"/>
              </a:avLst>
            </a:prstGeom>
            <a:solidFill>
              <a:schemeClr val="accent1"/>
            </a:solidFill>
            <a:ln w="19050" cap="flat" cmpd="sng" algn="ctr">
              <a:solidFill>
                <a:schemeClr val="tx1"/>
              </a:solidFill>
              <a:prstDash val="dash"/>
              <a:round/>
              <a:headEnd type="none" w="med" len="med"/>
              <a:tailEnd type="none" w="med" len="med"/>
            </a:ln>
            <a:effectLst/>
          </p:spPr>
        </p:cxnSp>
        <p:cxnSp>
          <p:nvCxnSpPr>
            <p:cNvPr id="38" name="Straight Connector 95"/>
            <p:cNvCxnSpPr>
              <a:cxnSpLocks/>
              <a:stCxn id="51" idx="3"/>
              <a:endCxn id="52" idx="1"/>
            </p:cNvCxnSpPr>
            <p:nvPr/>
          </p:nvCxnSpPr>
          <p:spPr bwMode="auto">
            <a:xfrm rot="5400000">
              <a:off x="5529192" y="3879574"/>
              <a:ext cx="204532" cy="94981"/>
            </a:xfrm>
            <a:prstGeom prst="bentConnector4">
              <a:avLst>
                <a:gd name="adj1" fmla="val -39"/>
                <a:gd name="adj2" fmla="val 677976"/>
              </a:avLst>
            </a:prstGeom>
            <a:solidFill>
              <a:schemeClr val="accent1"/>
            </a:solidFill>
            <a:ln w="19050" cap="flat" cmpd="sng" algn="ctr">
              <a:solidFill>
                <a:schemeClr val="tx1"/>
              </a:solidFill>
              <a:prstDash val="dash"/>
              <a:round/>
              <a:headEnd type="none" w="med" len="med"/>
              <a:tailEnd type="none" w="med" len="med"/>
            </a:ln>
            <a:effectLst/>
          </p:spPr>
        </p:cxnSp>
        <p:grpSp>
          <p:nvGrpSpPr>
            <p:cNvPr id="39" name="Group 38"/>
            <p:cNvGrpSpPr/>
            <p:nvPr/>
          </p:nvGrpSpPr>
          <p:grpSpPr>
            <a:xfrm>
              <a:off x="5543140" y="3083094"/>
              <a:ext cx="948900" cy="1274363"/>
              <a:chOff x="4338871" y="2725624"/>
              <a:chExt cx="1199053" cy="1626215"/>
            </a:xfrm>
          </p:grpSpPr>
          <p:sp>
            <p:nvSpPr>
              <p:cNvPr id="4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MF</a:t>
                </a:r>
              </a:p>
            </p:txBody>
          </p:sp>
          <p:sp>
            <p:nvSpPr>
              <p:cNvPr id="5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5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sp>
          <p:nvSpPr>
            <p:cNvPr id="40" name="Text Box 144"/>
            <p:cNvSpPr txBox="1">
              <a:spLocks noChangeAspect="1" noChangeArrowheads="1"/>
            </p:cNvSpPr>
            <p:nvPr/>
          </p:nvSpPr>
          <p:spPr bwMode="auto">
            <a:xfrm>
              <a:off x="4655018" y="3639523"/>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4</a:t>
              </a:r>
            </a:p>
          </p:txBody>
        </p:sp>
        <p:sp>
          <p:nvSpPr>
            <p:cNvPr id="41" name="Text Box 144"/>
            <p:cNvSpPr txBox="1">
              <a:spLocks noChangeAspect="1" noChangeArrowheads="1"/>
            </p:cNvSpPr>
            <p:nvPr/>
          </p:nvSpPr>
          <p:spPr bwMode="auto">
            <a:xfrm>
              <a:off x="6273553" y="4350006"/>
              <a:ext cx="992351" cy="2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N15</a:t>
              </a:r>
            </a:p>
          </p:txBody>
        </p:sp>
        <p:grpSp>
          <p:nvGrpSpPr>
            <p:cNvPr id="42" name="Group 41"/>
            <p:cNvGrpSpPr/>
            <p:nvPr/>
          </p:nvGrpSpPr>
          <p:grpSpPr>
            <a:xfrm>
              <a:off x="4837025" y="1387754"/>
              <a:ext cx="948900" cy="1274363"/>
              <a:chOff x="4338871" y="2725624"/>
              <a:chExt cx="1199053" cy="1626215"/>
            </a:xfrm>
          </p:grpSpPr>
          <p:sp>
            <p:nvSpPr>
              <p:cNvPr id="43"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4"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5"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6"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000" dirty="0"/>
                  <a:t>AUSF</a:t>
                </a:r>
              </a:p>
            </p:txBody>
          </p:sp>
          <p:sp>
            <p:nvSpPr>
              <p:cNvPr id="47"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000"/>
              </a:p>
            </p:txBody>
          </p:sp>
          <p:sp>
            <p:nvSpPr>
              <p:cNvPr id="48"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000"/>
              </a:p>
            </p:txBody>
          </p:sp>
        </p:grpSp>
      </p:grpSp>
      <p:sp>
        <p:nvSpPr>
          <p:cNvPr id="90" name="Oval 89"/>
          <p:cNvSpPr/>
          <p:nvPr/>
        </p:nvSpPr>
        <p:spPr bwMode="auto">
          <a:xfrm>
            <a:off x="5353335" y="3032062"/>
            <a:ext cx="226697" cy="258772"/>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1" name="Oval 90"/>
          <p:cNvSpPr/>
          <p:nvPr/>
        </p:nvSpPr>
        <p:spPr bwMode="auto">
          <a:xfrm>
            <a:off x="8805934" y="3329567"/>
            <a:ext cx="331907" cy="313115"/>
          </a:xfrm>
          <a:prstGeom prst="ellipse">
            <a:avLst/>
          </a:prstGeom>
          <a:noFill/>
          <a:ln w="28575" cap="flat" cmpd="sng" algn="ctr">
            <a:solidFill>
              <a:srgbClr val="FF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92" name="TextBox 91"/>
          <p:cNvSpPr txBox="1"/>
          <p:nvPr/>
        </p:nvSpPr>
        <p:spPr>
          <a:xfrm>
            <a:off x="8150568" y="3510966"/>
            <a:ext cx="662361" cy="261610"/>
          </a:xfrm>
          <a:prstGeom prst="rect">
            <a:avLst/>
          </a:prstGeom>
          <a:noFill/>
        </p:spPr>
        <p:txBody>
          <a:bodyPr wrap="none" rtlCol="0">
            <a:spAutoFit/>
          </a:bodyPr>
          <a:lstStyle/>
          <a:p>
            <a:r>
              <a:rPr lang="en-US" sz="1100" dirty="0">
                <a:solidFill>
                  <a:srgbClr val="FF0000"/>
                </a:solidFill>
              </a:rPr>
              <a:t>RM,CM</a:t>
            </a:r>
          </a:p>
        </p:txBody>
      </p:sp>
      <p:sp>
        <p:nvSpPr>
          <p:cNvPr id="93" name="TextBox 92"/>
          <p:cNvSpPr txBox="1"/>
          <p:nvPr/>
        </p:nvSpPr>
        <p:spPr>
          <a:xfrm>
            <a:off x="9243836" y="3505232"/>
            <a:ext cx="396262" cy="261610"/>
          </a:xfrm>
          <a:prstGeom prst="rect">
            <a:avLst/>
          </a:prstGeom>
          <a:noFill/>
        </p:spPr>
        <p:txBody>
          <a:bodyPr wrap="none" rtlCol="0">
            <a:spAutoFit/>
          </a:bodyPr>
          <a:lstStyle/>
          <a:p>
            <a:r>
              <a:rPr lang="en-US" sz="1100" dirty="0">
                <a:solidFill>
                  <a:srgbClr val="FF0000"/>
                </a:solidFill>
              </a:rPr>
              <a:t>SM</a:t>
            </a:r>
          </a:p>
        </p:txBody>
      </p:sp>
      <p:sp>
        <p:nvSpPr>
          <p:cNvPr id="94" name="TextBox 93"/>
          <p:cNvSpPr txBox="1"/>
          <p:nvPr/>
        </p:nvSpPr>
        <p:spPr>
          <a:xfrm>
            <a:off x="5621813" y="2996976"/>
            <a:ext cx="1335622" cy="261610"/>
          </a:xfrm>
          <a:prstGeom prst="rect">
            <a:avLst/>
          </a:prstGeom>
          <a:noFill/>
        </p:spPr>
        <p:txBody>
          <a:bodyPr wrap="none" rtlCol="0">
            <a:spAutoFit/>
          </a:bodyPr>
          <a:lstStyle/>
          <a:p>
            <a:r>
              <a:rPr lang="en-US" sz="1100" dirty="0">
                <a:solidFill>
                  <a:srgbClr val="FF0000"/>
                </a:solidFill>
              </a:rPr>
              <a:t>NAS (RM,CM,SM)</a:t>
            </a:r>
          </a:p>
        </p:txBody>
      </p:sp>
      <p:grpSp>
        <p:nvGrpSpPr>
          <p:cNvPr id="95" name="Group 94"/>
          <p:cNvGrpSpPr/>
          <p:nvPr/>
        </p:nvGrpSpPr>
        <p:grpSpPr>
          <a:xfrm>
            <a:off x="11399757" y="5717203"/>
            <a:ext cx="697847" cy="920272"/>
            <a:chOff x="4338871" y="2725624"/>
            <a:chExt cx="1199053" cy="1626215"/>
          </a:xfrm>
        </p:grpSpPr>
        <p:sp>
          <p:nvSpPr>
            <p:cNvPr id="96"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7"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8"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99"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SMF</a:t>
              </a:r>
            </a:p>
          </p:txBody>
        </p:sp>
        <p:sp>
          <p:nvSpPr>
            <p:cNvPr id="100"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1"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1714584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lane function (UPF)</a:t>
            </a:r>
          </a:p>
        </p:txBody>
      </p:sp>
      <p:sp>
        <p:nvSpPr>
          <p:cNvPr id="3" name="Text Placeholder 2"/>
          <p:cNvSpPr>
            <a:spLocks noGrp="1"/>
          </p:cNvSpPr>
          <p:nvPr>
            <p:ph type="body" idx="1"/>
          </p:nvPr>
        </p:nvSpPr>
        <p:spPr>
          <a:xfrm>
            <a:off x="529167" y="1800000"/>
            <a:ext cx="11135785" cy="4524600"/>
          </a:xfrm>
        </p:spPr>
        <p:txBody>
          <a:bodyPr/>
          <a:lstStyle/>
          <a:p>
            <a:pPr marL="0" indent="0">
              <a:buNone/>
            </a:pPr>
            <a:r>
              <a:rPr lang="en-US" dirty="0"/>
              <a:t>Main Functionality</a:t>
            </a:r>
          </a:p>
          <a:p>
            <a:r>
              <a:rPr lang="en-US" sz="1800" kern="1200" dirty="0">
                <a:latin typeface="Arial" charset="0"/>
              </a:rPr>
              <a:t>Anchor point for Intra-/Inter-RAT mobility (when applicable)</a:t>
            </a:r>
          </a:p>
          <a:p>
            <a:r>
              <a:rPr lang="x-none" sz="1800" b="1" dirty="0">
                <a:solidFill>
                  <a:srgbClr val="00A9D4"/>
                </a:solidFill>
              </a:rPr>
              <a:t>External PDU session point of interconnect to Data Network.</a:t>
            </a:r>
            <a:endParaRPr lang="en-US" sz="1800" b="1" dirty="0">
              <a:solidFill>
                <a:srgbClr val="00A9D4"/>
              </a:solidFill>
            </a:endParaRPr>
          </a:p>
          <a:p>
            <a:r>
              <a:rPr lang="x-none" sz="1800" b="1" dirty="0">
                <a:solidFill>
                  <a:srgbClr val="00A9D4"/>
                </a:solidFill>
              </a:rPr>
              <a:t>Packet routing &amp; forwarding.</a:t>
            </a:r>
            <a:endParaRPr lang="en-US" sz="1800" b="1" dirty="0">
              <a:solidFill>
                <a:srgbClr val="00A9D4"/>
              </a:solidFill>
            </a:endParaRPr>
          </a:p>
          <a:p>
            <a:r>
              <a:rPr lang="x-none" sz="1800" b="1" dirty="0">
                <a:solidFill>
                  <a:srgbClr val="00A9D4"/>
                </a:solidFill>
              </a:rPr>
              <a:t>Packet inspection and User plane part of Policy rule enforcement.</a:t>
            </a:r>
            <a:endParaRPr lang="en-US" sz="1800" b="1" dirty="0">
              <a:solidFill>
                <a:srgbClr val="00A9D4"/>
              </a:solidFill>
            </a:endParaRPr>
          </a:p>
          <a:p>
            <a:r>
              <a:rPr lang="x-none" sz="1800" dirty="0"/>
              <a:t>Lawful intercept (UP collection).</a:t>
            </a:r>
            <a:endParaRPr lang="en-US" sz="1800" dirty="0"/>
          </a:p>
          <a:p>
            <a:r>
              <a:rPr lang="x-none" sz="1800" dirty="0"/>
              <a:t>Traffic usage reporting.</a:t>
            </a:r>
            <a:endParaRPr lang="en-US" sz="1800" dirty="0"/>
          </a:p>
          <a:p>
            <a:r>
              <a:rPr lang="x-none" sz="1800" dirty="0"/>
              <a:t>Uplink classifier to support routing traffic flows to a data network.</a:t>
            </a:r>
            <a:endParaRPr lang="en-US" sz="1800" dirty="0"/>
          </a:p>
          <a:p>
            <a:r>
              <a:rPr lang="x-none" sz="1800" dirty="0"/>
              <a:t>Branching point to support multi-homed PDU session.</a:t>
            </a:r>
            <a:endParaRPr lang="en-US" sz="1800" dirty="0"/>
          </a:p>
          <a:p>
            <a:r>
              <a:rPr lang="x-none" sz="1800" b="1" dirty="0">
                <a:solidFill>
                  <a:srgbClr val="00A9D4"/>
                </a:solidFill>
              </a:rPr>
              <a:t>QoS handling for user plane, e.g. packet filtering, gating, UL/DL rate enforcement</a:t>
            </a:r>
            <a:endParaRPr lang="en-US" sz="1800" b="1" dirty="0">
              <a:solidFill>
                <a:srgbClr val="00A9D4"/>
              </a:solidFill>
            </a:endParaRPr>
          </a:p>
          <a:p>
            <a:r>
              <a:rPr lang="x-none" sz="1800" dirty="0"/>
              <a:t>Uplink Traffic verification (SDF to QoS flow mapping).</a:t>
            </a:r>
            <a:endParaRPr lang="en-US" sz="1800" dirty="0"/>
          </a:p>
          <a:p>
            <a:r>
              <a:rPr lang="x-none" sz="1800" dirty="0"/>
              <a:t>Transport level packet marking in the uplink and downlink.</a:t>
            </a:r>
            <a:endParaRPr lang="en-US" sz="1800" dirty="0"/>
          </a:p>
          <a:p>
            <a:r>
              <a:rPr lang="x-none" sz="1800" b="1" dirty="0">
                <a:solidFill>
                  <a:srgbClr val="00A9D4"/>
                </a:solidFill>
              </a:rPr>
              <a:t>Downlink packet buffering and downlink data notification triggering.</a:t>
            </a:r>
            <a:endParaRPr lang="en-US" sz="1800" b="1" dirty="0">
              <a:solidFill>
                <a:srgbClr val="00A9D4"/>
              </a:solidFill>
            </a:endParaRPr>
          </a:p>
          <a:p>
            <a:endParaRPr lang="en-US" sz="2000" kern="1200" dirty="0">
              <a:latin typeface="Arial" charset="0"/>
            </a:endParaRPr>
          </a:p>
        </p:txBody>
      </p:sp>
      <p:grpSp>
        <p:nvGrpSpPr>
          <p:cNvPr id="11" name="Group 10"/>
          <p:cNvGrpSpPr/>
          <p:nvPr/>
        </p:nvGrpSpPr>
        <p:grpSpPr>
          <a:xfrm>
            <a:off x="10778103" y="3480201"/>
            <a:ext cx="1333500" cy="878943"/>
            <a:chOff x="9315422" y="5130211"/>
            <a:chExt cx="2250397" cy="1719278"/>
          </a:xfrm>
        </p:grpSpPr>
        <p:sp>
          <p:nvSpPr>
            <p:cNvPr id="12"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sz="1100"/>
            </a:p>
          </p:txBody>
        </p:sp>
        <p:sp>
          <p:nvSpPr>
            <p:cNvPr id="13" name="Text Box 35"/>
            <p:cNvSpPr txBox="1">
              <a:spLocks noChangeAspect="1" noChangeArrowheads="1"/>
            </p:cNvSpPr>
            <p:nvPr/>
          </p:nvSpPr>
          <p:spPr bwMode="auto">
            <a:xfrm>
              <a:off x="9508328" y="5716211"/>
              <a:ext cx="1808286" cy="697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100" dirty="0">
                  <a:ea typeface="MS PGothic" pitchFamily="34" charset="-128"/>
                </a:rPr>
                <a:t>Data Network </a:t>
              </a:r>
              <a:endParaRPr lang="en-US" altLang="en-US" sz="1200" dirty="0">
                <a:ea typeface="MS PGothic" pitchFamily="34" charset="-128"/>
              </a:endParaRPr>
            </a:p>
            <a:p>
              <a:pPr algn="ctr" eaLnBrk="1" hangingPunct="1">
                <a:lnSpc>
                  <a:spcPct val="80000"/>
                </a:lnSpc>
                <a:spcBef>
                  <a:spcPct val="0"/>
                </a:spcBef>
                <a:buClrTx/>
                <a:buFontTx/>
                <a:buNone/>
              </a:pPr>
              <a:r>
                <a:rPr lang="en-US" altLang="en-US" sz="1000" dirty="0">
                  <a:ea typeface="MS PGothic" pitchFamily="34" charset="-128"/>
                </a:rPr>
                <a:t>(e.g. operator </a:t>
              </a:r>
            </a:p>
            <a:p>
              <a:pPr algn="ctr" eaLnBrk="1" hangingPunct="1">
                <a:lnSpc>
                  <a:spcPct val="80000"/>
                </a:lnSpc>
                <a:spcBef>
                  <a:spcPct val="0"/>
                </a:spcBef>
                <a:buClrTx/>
                <a:buFontTx/>
                <a:buNone/>
              </a:pPr>
              <a:r>
                <a:rPr lang="en-US" altLang="en-US" sz="1000" dirty="0">
                  <a:ea typeface="MS PGothic" pitchFamily="34" charset="-128"/>
                </a:rPr>
                <a:t>or Internet)</a:t>
              </a:r>
            </a:p>
          </p:txBody>
        </p:sp>
      </p:grpSp>
      <p:grpSp>
        <p:nvGrpSpPr>
          <p:cNvPr id="14" name="Group 13"/>
          <p:cNvGrpSpPr>
            <a:grpSpLocks noChangeAspect="1"/>
          </p:cNvGrpSpPr>
          <p:nvPr/>
        </p:nvGrpSpPr>
        <p:grpSpPr>
          <a:xfrm>
            <a:off x="7603469" y="3619895"/>
            <a:ext cx="432000" cy="599556"/>
            <a:chOff x="936376" y="2900085"/>
            <a:chExt cx="864096" cy="1240668"/>
          </a:xfrm>
        </p:grpSpPr>
        <p:sp>
          <p:nvSpPr>
            <p:cNvPr id="15" name="AutoShape 220"/>
            <p:cNvSpPr>
              <a:spLocks noChangeAspect="1" noChangeArrowheads="1"/>
            </p:cNvSpPr>
            <p:nvPr/>
          </p:nvSpPr>
          <p:spPr bwMode="auto">
            <a:xfrm>
              <a:off x="953039" y="3253198"/>
              <a:ext cx="833150" cy="873239"/>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solidFill>
                  <a:srgbClr val="58585A"/>
                </a:solidFill>
              </a:endParaRPr>
            </a:p>
          </p:txBody>
        </p:sp>
        <p:sp>
          <p:nvSpPr>
            <p:cNvPr id="16" name="Oval 221"/>
            <p:cNvSpPr>
              <a:spLocks noChangeAspect="1" noChangeArrowheads="1"/>
            </p:cNvSpPr>
            <p:nvPr/>
          </p:nvSpPr>
          <p:spPr bwMode="auto">
            <a:xfrm>
              <a:off x="948278" y="2916786"/>
              <a:ext cx="837911" cy="84699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solidFill>
                  <a:srgbClr val="58585A"/>
                </a:solidFill>
              </a:endParaRPr>
            </a:p>
          </p:txBody>
        </p:sp>
        <p:sp>
          <p:nvSpPr>
            <p:cNvPr id="17" name="Text Box 222"/>
            <p:cNvSpPr txBox="1">
              <a:spLocks noChangeAspect="1" noChangeArrowheads="1"/>
            </p:cNvSpPr>
            <p:nvPr/>
          </p:nvSpPr>
          <p:spPr bwMode="auto">
            <a:xfrm>
              <a:off x="976843" y="3575295"/>
              <a:ext cx="778401" cy="53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100" dirty="0">
                  <a:ea typeface="Segoe UI" panose="020B0502040204020203" pitchFamily="34" charset="0"/>
                  <a:cs typeface="Arial" panose="020B0604020202020204" pitchFamily="34" charset="0"/>
                </a:rPr>
                <a:t>5G RAN</a:t>
              </a:r>
            </a:p>
          </p:txBody>
        </p:sp>
        <p:sp>
          <p:nvSpPr>
            <p:cNvPr id="18" name="Rectangle 223"/>
            <p:cNvSpPr>
              <a:spLocks noChangeAspect="1" noChangeArrowheads="1"/>
            </p:cNvSpPr>
            <p:nvPr/>
          </p:nvSpPr>
          <p:spPr bwMode="auto">
            <a:xfrm>
              <a:off x="936376" y="2900085"/>
              <a:ext cx="864096" cy="124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solidFill>
                  <a:srgbClr val="58585A"/>
                </a:solidFill>
              </a:endParaRPr>
            </a:p>
          </p:txBody>
        </p:sp>
        <p:sp>
          <p:nvSpPr>
            <p:cNvPr id="19" name="Freeform 11"/>
            <p:cNvSpPr>
              <a:spLocks noChangeAspect="1" noEditPoints="1"/>
            </p:cNvSpPr>
            <p:nvPr/>
          </p:nvSpPr>
          <p:spPr bwMode="auto">
            <a:xfrm>
              <a:off x="936376" y="2900085"/>
              <a:ext cx="864096" cy="1240668"/>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chemeClr val="tx1"/>
            </a:solidFill>
            <a:ln>
              <a:noFill/>
            </a:ln>
            <a:extLst/>
          </p:spPr>
          <p:txBody>
            <a:bodyPr tIns="1080000" anchor="ctr"/>
            <a:lstStyle/>
            <a:p>
              <a:endParaRPr lang="en-US" sz="1100">
                <a:solidFill>
                  <a:srgbClr val="58585A"/>
                </a:solidFill>
              </a:endParaRPr>
            </a:p>
          </p:txBody>
        </p:sp>
      </p:grpSp>
      <p:sp>
        <p:nvSpPr>
          <p:cNvPr id="20" name="Line 30"/>
          <p:cNvSpPr>
            <a:spLocks noChangeShapeType="1"/>
          </p:cNvSpPr>
          <p:nvPr/>
        </p:nvSpPr>
        <p:spPr bwMode="auto">
          <a:xfrm>
            <a:off x="8016661" y="3922075"/>
            <a:ext cx="2772000" cy="0"/>
          </a:xfrm>
          <a:prstGeom prst="line">
            <a:avLst/>
          </a:prstGeom>
          <a:noFill/>
          <a:ln w="28575">
            <a:solidFill>
              <a:schemeClr val="accent4">
                <a:lumMod val="50000"/>
              </a:schemeClr>
            </a:solidFill>
            <a:round/>
            <a:headEnd/>
            <a:tailEnd/>
          </a:ln>
        </p:spPr>
        <p:txBody>
          <a:bodyPr lIns="91438" tIns="45719" rIns="91438" bIns="45719"/>
          <a:lstStyle/>
          <a:p>
            <a:pPr>
              <a:defRPr/>
            </a:pPr>
            <a:endParaRPr lang="sv-SE" sz="2400">
              <a:ea typeface="ＭＳ Ｐゴシック" charset="0"/>
              <a:cs typeface="Arial" charset="0"/>
            </a:endParaRPr>
          </a:p>
        </p:txBody>
      </p:sp>
      <p:grpSp>
        <p:nvGrpSpPr>
          <p:cNvPr id="21" name="Group 20"/>
          <p:cNvGrpSpPr/>
          <p:nvPr/>
        </p:nvGrpSpPr>
        <p:grpSpPr>
          <a:xfrm>
            <a:off x="8950854" y="3067300"/>
            <a:ext cx="889582" cy="1249115"/>
            <a:chOff x="5979156" y="5040856"/>
            <a:chExt cx="1101600" cy="1587600"/>
          </a:xfrm>
        </p:grpSpPr>
        <p:cxnSp>
          <p:nvCxnSpPr>
            <p:cNvPr id="22" name="Straight Connector 21"/>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23"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4"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5"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26"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7"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grpSp>
        <p:nvGrpSpPr>
          <p:cNvPr id="28" name="Group 27"/>
          <p:cNvGrpSpPr>
            <a:grpSpLocks noChangeAspect="1"/>
          </p:cNvGrpSpPr>
          <p:nvPr/>
        </p:nvGrpSpPr>
        <p:grpSpPr>
          <a:xfrm>
            <a:off x="9175043" y="1816796"/>
            <a:ext cx="432000" cy="623849"/>
            <a:chOff x="2530204" y="1718022"/>
            <a:chExt cx="1186277" cy="1647323"/>
          </a:xfrm>
        </p:grpSpPr>
        <p:sp>
          <p:nvSpPr>
            <p:cNvPr id="29"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p>
          </p:txBody>
        </p:sp>
        <p:sp>
          <p:nvSpPr>
            <p:cNvPr id="3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p>
          </p:txBody>
        </p:sp>
        <p:sp>
          <p:nvSpPr>
            <p:cNvPr id="3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100"/>
            </a:p>
          </p:txBody>
        </p:sp>
        <p:grpSp>
          <p:nvGrpSpPr>
            <p:cNvPr id="32" name="Group 274"/>
            <p:cNvGrpSpPr>
              <a:grpSpLocks noChangeAspect="1"/>
            </p:cNvGrpSpPr>
            <p:nvPr/>
          </p:nvGrpSpPr>
          <p:grpSpPr bwMode="auto">
            <a:xfrm>
              <a:off x="2590950" y="1853233"/>
              <a:ext cx="1125531" cy="1512112"/>
              <a:chOff x="3147" y="3024"/>
              <a:chExt cx="257" cy="366"/>
            </a:xfrm>
          </p:grpSpPr>
          <p:grpSp>
            <p:nvGrpSpPr>
              <p:cNvPr id="33" name="Group 7"/>
              <p:cNvGrpSpPr>
                <a:grpSpLocks noChangeAspect="1"/>
              </p:cNvGrpSpPr>
              <p:nvPr/>
            </p:nvGrpSpPr>
            <p:grpSpPr bwMode="auto">
              <a:xfrm>
                <a:off x="3147" y="3024"/>
                <a:ext cx="257" cy="366"/>
                <a:chOff x="2284" y="1695"/>
                <a:chExt cx="983" cy="1401"/>
              </a:xfrm>
            </p:grpSpPr>
            <p:pic>
              <p:nvPicPr>
                <p:cNvPr id="35" name="Bildobjekt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p>
              </p:txBody>
            </p:sp>
          </p:grpSp>
          <p:sp>
            <p:nvSpPr>
              <p:cNvPr id="3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100" dirty="0">
                    <a:ea typeface="MS PGothic" charset="-128"/>
                  </a:rPr>
                  <a:t>SMF</a:t>
                </a:r>
              </a:p>
            </p:txBody>
          </p:sp>
        </p:grpSp>
      </p:grpSp>
      <p:sp>
        <p:nvSpPr>
          <p:cNvPr id="37" name="Text Box 144"/>
          <p:cNvSpPr txBox="1">
            <a:spLocks noChangeAspect="1" noChangeArrowheads="1"/>
          </p:cNvSpPr>
          <p:nvPr/>
        </p:nvSpPr>
        <p:spPr bwMode="auto">
          <a:xfrm>
            <a:off x="8037919" y="3747318"/>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3</a:t>
            </a:r>
          </a:p>
        </p:txBody>
      </p:sp>
      <p:sp>
        <p:nvSpPr>
          <p:cNvPr id="38" name="Text Box 144"/>
          <p:cNvSpPr txBox="1">
            <a:spLocks noChangeAspect="1" noChangeArrowheads="1"/>
          </p:cNvSpPr>
          <p:nvPr/>
        </p:nvSpPr>
        <p:spPr bwMode="auto">
          <a:xfrm>
            <a:off x="9773275" y="374984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6</a:t>
            </a:r>
          </a:p>
        </p:txBody>
      </p:sp>
      <p:cxnSp>
        <p:nvCxnSpPr>
          <p:cNvPr id="39" name="Straight Connector 38"/>
          <p:cNvCxnSpPr>
            <a:stCxn id="24" idx="0"/>
            <a:endCxn id="35" idx="2"/>
          </p:cNvCxnSpPr>
          <p:nvPr/>
        </p:nvCxnSpPr>
        <p:spPr bwMode="auto">
          <a:xfrm flipV="1">
            <a:off x="9394421" y="2440645"/>
            <a:ext cx="0" cy="64347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40" name="Text Box 144"/>
          <p:cNvSpPr txBox="1">
            <a:spLocks noChangeAspect="1" noChangeArrowheads="1"/>
          </p:cNvSpPr>
          <p:nvPr/>
        </p:nvSpPr>
        <p:spPr bwMode="auto">
          <a:xfrm>
            <a:off x="9080032" y="2672410"/>
            <a:ext cx="992350" cy="17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N4</a:t>
            </a:r>
          </a:p>
        </p:txBody>
      </p:sp>
    </p:spTree>
    <p:extLst>
      <p:ext uri="{BB962C8B-B14F-4D97-AF65-F5344CB8AC3E}">
        <p14:creationId xmlns:p14="http://schemas.microsoft.com/office/powerpoint/2010/main" val="5503602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lane Protocol stack for a PDU session</a:t>
            </a:r>
          </a:p>
        </p:txBody>
      </p:sp>
      <p:pic>
        <p:nvPicPr>
          <p:cNvPr id="3" name="Picture 2"/>
          <p:cNvPicPr>
            <a:picLocks noChangeAspect="1"/>
          </p:cNvPicPr>
          <p:nvPr/>
        </p:nvPicPr>
        <p:blipFill>
          <a:blip r:embed="rId3"/>
          <a:stretch>
            <a:fillRect/>
          </a:stretch>
        </p:blipFill>
        <p:spPr>
          <a:xfrm>
            <a:off x="649772" y="1521423"/>
            <a:ext cx="10532890" cy="4702183"/>
          </a:xfrm>
          <a:prstGeom prst="rect">
            <a:avLst/>
          </a:prstGeom>
        </p:spPr>
      </p:pic>
      <p:grpSp>
        <p:nvGrpSpPr>
          <p:cNvPr id="4" name="Group 3"/>
          <p:cNvGrpSpPr/>
          <p:nvPr/>
        </p:nvGrpSpPr>
        <p:grpSpPr>
          <a:xfrm>
            <a:off x="11301427" y="5710451"/>
            <a:ext cx="715358" cy="935062"/>
            <a:chOff x="5979156" y="5040856"/>
            <a:chExt cx="1101600" cy="1587600"/>
          </a:xfrm>
        </p:grpSpPr>
        <p:cxnSp>
          <p:nvCxnSpPr>
            <p:cNvPr id="5" name="Straight Connector 4"/>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6"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7"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8"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9"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10"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21180750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lane Tunneling</a:t>
            </a:r>
          </a:p>
        </p:txBody>
      </p:sp>
      <p:sp>
        <p:nvSpPr>
          <p:cNvPr id="4" name="Content Placeholder 6"/>
          <p:cNvSpPr txBox="1">
            <a:spLocks/>
          </p:cNvSpPr>
          <p:nvPr/>
        </p:nvSpPr>
        <p:spPr>
          <a:xfrm>
            <a:off x="524934" y="1325085"/>
            <a:ext cx="5900526" cy="4819237"/>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sz="2000" kern="0"/>
              <a:t>UP tunneling between RAN and UPF will be used, to handle mobility, different PDU types, etc</a:t>
            </a:r>
          </a:p>
          <a:p>
            <a:pPr lvl="1"/>
            <a:r>
              <a:rPr lang="en-US" kern="0"/>
              <a:t>Per-PDU-Session tunneling preferred (i.e. per-bearer tunneling not supported)</a:t>
            </a:r>
          </a:p>
          <a:p>
            <a:pPr lvl="1"/>
            <a:r>
              <a:rPr lang="en-US" kern="0"/>
              <a:t>UP tunneling protocol not fully concluded, but 3GPP RAN3 group assumes that GTP-U will be used on N3 also for 5G</a:t>
            </a:r>
          </a:p>
          <a:p>
            <a:endParaRPr lang="en-US" sz="2000" kern="0"/>
          </a:p>
          <a:p>
            <a:r>
              <a:rPr lang="en-US" sz="2000" kern="0"/>
              <a:t>Additional UP options have been discussed in 3GPP, e.g. for fixed access, but are not included in phase 1.</a:t>
            </a:r>
          </a:p>
          <a:p>
            <a:endParaRPr lang="en-US" sz="2000" kern="0" dirty="0"/>
          </a:p>
        </p:txBody>
      </p:sp>
      <p:grpSp>
        <p:nvGrpSpPr>
          <p:cNvPr id="5" name="Group 557"/>
          <p:cNvGrpSpPr>
            <a:grpSpLocks noChangeAspect="1"/>
          </p:cNvGrpSpPr>
          <p:nvPr/>
        </p:nvGrpSpPr>
        <p:grpSpPr bwMode="auto">
          <a:xfrm>
            <a:off x="9035512" y="2327430"/>
            <a:ext cx="713418" cy="994470"/>
            <a:chOff x="3510" y="1858"/>
            <a:chExt cx="363" cy="520"/>
          </a:xfrm>
        </p:grpSpPr>
        <p:sp>
          <p:nvSpPr>
            <p:cNvPr id="6"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7"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8"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SMF</a:t>
              </a:r>
            </a:p>
          </p:txBody>
        </p:sp>
        <p:sp>
          <p:nvSpPr>
            <p:cNvPr id="9"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10"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cxnSp>
        <p:nvCxnSpPr>
          <p:cNvPr id="11" name="Straight Connector 203"/>
          <p:cNvCxnSpPr>
            <a:cxnSpLocks noChangeShapeType="1"/>
          </p:cNvCxnSpPr>
          <p:nvPr/>
        </p:nvCxnSpPr>
        <p:spPr bwMode="auto">
          <a:xfrm>
            <a:off x="7209267" y="4553645"/>
            <a:ext cx="2377097" cy="5896"/>
          </a:xfrm>
          <a:prstGeom prst="bentConnector3">
            <a:avLst>
              <a:gd name="adj1" fmla="val 50000"/>
            </a:avLst>
          </a:prstGeom>
          <a:noFill/>
          <a:ln w="12700" cap="flat" cmpd="sng" algn="ctr">
            <a:solidFill>
              <a:srgbClr val="89BA17"/>
            </a:solidFill>
            <a:prstDash val="solid"/>
            <a:round/>
            <a:headEnd type="none" w="med" len="med"/>
            <a:tailEnd type="none" w="med" len="med"/>
          </a:ln>
          <a:extLst>
            <a:ext uri="{909E8E84-426E-40DD-AFC4-6F175D3DCCD1}">
              <a14:hiddenFill xmlns:a14="http://schemas.microsoft.com/office/drawing/2010/main">
                <a:noFill/>
              </a14:hiddenFill>
            </a:ext>
          </a:extLst>
        </p:spPr>
      </p:cxnSp>
      <p:cxnSp>
        <p:nvCxnSpPr>
          <p:cNvPr id="12" name="Straight Connector 203"/>
          <p:cNvCxnSpPr>
            <a:cxnSpLocks noChangeShapeType="1"/>
          </p:cNvCxnSpPr>
          <p:nvPr/>
        </p:nvCxnSpPr>
        <p:spPr bwMode="auto">
          <a:xfrm>
            <a:off x="9045339" y="4582858"/>
            <a:ext cx="1552213" cy="0"/>
          </a:xfrm>
          <a:prstGeom prst="straightConnector1">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cxnSp>
      <p:cxnSp>
        <p:nvCxnSpPr>
          <p:cNvPr id="13" name="Straight Connector 203"/>
          <p:cNvCxnSpPr>
            <a:cxnSpLocks noChangeShapeType="1"/>
            <a:stCxn id="6" idx="2"/>
            <a:endCxn id="26" idx="0"/>
          </p:cNvCxnSpPr>
          <p:nvPr/>
        </p:nvCxnSpPr>
        <p:spPr bwMode="auto">
          <a:xfrm rot="16200000" flipH="1">
            <a:off x="9171245" y="3532383"/>
            <a:ext cx="447900" cy="3983"/>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14" name="Line 169"/>
          <p:cNvSpPr>
            <a:spLocks noChangeShapeType="1"/>
          </p:cNvSpPr>
          <p:nvPr/>
        </p:nvSpPr>
        <p:spPr bwMode="auto">
          <a:xfrm flipH="1">
            <a:off x="10012530" y="2429964"/>
            <a:ext cx="1" cy="5964"/>
          </a:xfrm>
          <a:prstGeom prst="line">
            <a:avLst/>
          </a:prstGeom>
          <a:noFill/>
          <a:ln w="9525">
            <a:solidFill>
              <a:schemeClr val="accent4">
                <a:lumMod val="50000"/>
              </a:schemeClr>
            </a:solidFill>
            <a:prstDash val="dash"/>
            <a:round/>
            <a:headEnd/>
            <a:tailEnd/>
          </a:ln>
        </p:spPr>
        <p:txBody>
          <a:bodyPr/>
          <a:lstStyle/>
          <a:p>
            <a:pPr>
              <a:defRPr/>
            </a:pPr>
            <a:endParaRPr lang="sv-SE" sz="1200">
              <a:solidFill>
                <a:srgbClr val="58585A"/>
              </a:solidFill>
            </a:endParaRPr>
          </a:p>
        </p:txBody>
      </p:sp>
      <p:sp>
        <p:nvSpPr>
          <p:cNvPr id="15" name="TextBox 14"/>
          <p:cNvSpPr txBox="1"/>
          <p:nvPr/>
        </p:nvSpPr>
        <p:spPr>
          <a:xfrm>
            <a:off x="7427192" y="2748614"/>
            <a:ext cx="465192" cy="338554"/>
          </a:xfrm>
          <a:prstGeom prst="rect">
            <a:avLst/>
          </a:prstGeom>
          <a:noFill/>
        </p:spPr>
        <p:txBody>
          <a:bodyPr wrap="none" rtlCol="0">
            <a:spAutoFit/>
          </a:bodyPr>
          <a:lstStyle/>
          <a:p>
            <a:r>
              <a:rPr lang="en-US" sz="1600" b="1" dirty="0">
                <a:latin typeface="Segoe UI" panose="020B0502040204020203" pitchFamily="34" charset="0"/>
                <a:ea typeface="Segoe UI" panose="020B0502040204020203" pitchFamily="34" charset="0"/>
                <a:cs typeface="Segoe UI" panose="020B0502040204020203" pitchFamily="34" charset="0"/>
              </a:rPr>
              <a:t>N2</a:t>
            </a:r>
          </a:p>
        </p:txBody>
      </p:sp>
      <p:sp>
        <p:nvSpPr>
          <p:cNvPr id="16" name="TextBox 15"/>
          <p:cNvSpPr txBox="1"/>
          <p:nvPr/>
        </p:nvSpPr>
        <p:spPr>
          <a:xfrm>
            <a:off x="7879896" y="4148588"/>
            <a:ext cx="465192" cy="338554"/>
          </a:xfrm>
          <a:prstGeom prst="rect">
            <a:avLst/>
          </a:prstGeom>
          <a:no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txBody>
          <a:bodyPr wrap="none" rtlCol="0">
            <a:spAutoFit/>
          </a:bodyPr>
          <a:lstStyle/>
          <a:p>
            <a:r>
              <a:rPr lang="en-US" sz="1600" b="1" dirty="0">
                <a:solidFill>
                  <a:srgbClr val="89BA17"/>
                </a:solidFill>
                <a:latin typeface="Segoe UI" panose="020B0502040204020203" pitchFamily="34" charset="0"/>
                <a:ea typeface="Segoe UI" panose="020B0502040204020203" pitchFamily="34" charset="0"/>
                <a:cs typeface="Segoe UI" panose="020B0502040204020203" pitchFamily="34" charset="0"/>
              </a:rPr>
              <a:t>N3</a:t>
            </a:r>
          </a:p>
        </p:txBody>
      </p:sp>
      <p:sp>
        <p:nvSpPr>
          <p:cNvPr id="17" name="TextBox 16"/>
          <p:cNvSpPr txBox="1"/>
          <p:nvPr/>
        </p:nvSpPr>
        <p:spPr>
          <a:xfrm>
            <a:off x="9874314" y="4320006"/>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6</a:t>
            </a:r>
          </a:p>
        </p:txBody>
      </p:sp>
      <p:grpSp>
        <p:nvGrpSpPr>
          <p:cNvPr id="18" name="Group 278"/>
          <p:cNvGrpSpPr>
            <a:grpSpLocks noChangeAspect="1"/>
          </p:cNvGrpSpPr>
          <p:nvPr/>
        </p:nvGrpSpPr>
        <p:grpSpPr bwMode="auto">
          <a:xfrm>
            <a:off x="6679140" y="3708461"/>
            <a:ext cx="726971" cy="1043784"/>
            <a:chOff x="3106" y="2389"/>
            <a:chExt cx="363" cy="520"/>
          </a:xfrm>
        </p:grpSpPr>
        <p:sp>
          <p:nvSpPr>
            <p:cNvPr id="19"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0"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1"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400" b="1">
                  <a:solidFill>
                    <a:srgbClr val="8F3F7B"/>
                  </a:solidFill>
                  <a:latin typeface="Segoe UI" panose="020B0502040204020203" pitchFamily="34" charset="0"/>
                  <a:ea typeface="Segoe UI" panose="020B0502040204020203" pitchFamily="34" charset="0"/>
                  <a:cs typeface="Segoe UI" panose="020B0502040204020203" pitchFamily="34" charset="0"/>
                </a:rPr>
                <a:t>5G RAN</a:t>
              </a:r>
              <a:endParaRPr lang="en-US" altLang="en-US" sz="20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23"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24" name="Group 264"/>
          <p:cNvGrpSpPr>
            <a:grpSpLocks noChangeAspect="1"/>
          </p:cNvGrpSpPr>
          <p:nvPr/>
        </p:nvGrpSpPr>
        <p:grpSpPr bwMode="auto">
          <a:xfrm>
            <a:off x="9026994" y="3744079"/>
            <a:ext cx="742431" cy="1058241"/>
            <a:chOff x="644" y="2384"/>
            <a:chExt cx="363" cy="520"/>
          </a:xfrm>
        </p:grpSpPr>
        <p:sp>
          <p:nvSpPr>
            <p:cNvPr id="25"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6"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7" name="Text Box 144"/>
            <p:cNvSpPr txBox="1">
              <a:spLocks noChangeAspect="1" noChangeArrowheads="1"/>
            </p:cNvSpPr>
            <p:nvPr/>
          </p:nvSpPr>
          <p:spPr bwMode="auto">
            <a:xfrm>
              <a:off x="661" y="2667"/>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lnSpc>
                  <a:spcPct val="80000"/>
                </a:lnSpc>
                <a:spcBef>
                  <a:spcPct val="0"/>
                </a:spcBef>
                <a:buClrTx/>
                <a:buFontTx/>
                <a:buNone/>
              </a:pPr>
              <a:endParaRPr lang="en-US" altLang="en-US" sz="1000" dirty="0">
                <a:solidFill>
                  <a:srgbClr val="8F3F7B"/>
                </a:solidFill>
                <a:ea typeface="MS PGothic" pitchFamily="34" charset="-128"/>
                <a:cs typeface="MS PGothic" pitchFamily="34" charset="-128"/>
              </a:endParaRPr>
            </a:p>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UPF</a:t>
              </a:r>
              <a:endParaRPr lang="en-US" altLang="en-US" sz="1100" b="1" dirty="0">
                <a:solidFill>
                  <a:srgbClr val="8F3F7B"/>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9"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30" name="Group 29"/>
          <p:cNvGrpSpPr/>
          <p:nvPr/>
        </p:nvGrpSpPr>
        <p:grpSpPr>
          <a:xfrm>
            <a:off x="10394658" y="2368586"/>
            <a:ext cx="715133" cy="974892"/>
            <a:chOff x="2418855" y="2964540"/>
            <a:chExt cx="428873" cy="582717"/>
          </a:xfrm>
        </p:grpSpPr>
        <p:sp>
          <p:nvSpPr>
            <p:cNvPr id="31"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600" b="1" dirty="0">
                  <a:solidFill>
                    <a:srgbClr val="7B0663"/>
                  </a:solidFill>
                  <a:latin typeface="Segoe UI" panose="020B0502040204020203" pitchFamily="34" charset="0"/>
                  <a:ea typeface="Segoe UI" panose="020B0502040204020203" pitchFamily="34" charset="0"/>
                  <a:cs typeface="Segoe UI" panose="020B0502040204020203" pitchFamily="34" charset="0"/>
                </a:rPr>
                <a:t>PCF</a:t>
              </a:r>
              <a:endParaRPr lang="en-US" altLang="en-US" sz="1200" b="1" dirty="0">
                <a:solidFill>
                  <a:srgbClr val="7B0663"/>
                </a:solidFill>
                <a:latin typeface="Segoe UI" panose="020B0502040204020203" pitchFamily="34" charset="0"/>
                <a:ea typeface="Segoe UI" panose="020B0502040204020203" pitchFamily="34" charset="0"/>
                <a:cs typeface="Segoe UI" panose="020B0502040204020203" pitchFamily="34" charset="0"/>
              </a:endParaRPr>
            </a:p>
          </p:txBody>
        </p:sp>
        <p:sp>
          <p:nvSpPr>
            <p:cNvPr id="34"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36" name="Straight Connector 203"/>
          <p:cNvCxnSpPr>
            <a:cxnSpLocks noChangeShapeType="1"/>
            <a:stCxn id="7" idx="0"/>
            <a:endCxn id="40" idx="2"/>
          </p:cNvCxnSpPr>
          <p:nvPr/>
        </p:nvCxnSpPr>
        <p:spPr bwMode="auto">
          <a:xfrm rot="5400000" flipH="1" flipV="1">
            <a:off x="10253029" y="1345191"/>
            <a:ext cx="133837" cy="1857416"/>
          </a:xfrm>
          <a:prstGeom prst="bentConnector2">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7" name="Straight Connector 203"/>
          <p:cNvCxnSpPr>
            <a:cxnSpLocks noChangeShapeType="1"/>
            <a:stCxn id="7" idx="6"/>
            <a:endCxn id="34" idx="1"/>
          </p:cNvCxnSpPr>
          <p:nvPr/>
        </p:nvCxnSpPr>
        <p:spPr bwMode="auto">
          <a:xfrm>
            <a:off x="9737138" y="2680276"/>
            <a:ext cx="657520" cy="175756"/>
          </a:xfrm>
          <a:prstGeom prst="bentConnector3">
            <a:avLst>
              <a:gd name="adj1" fmla="val 5000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38" name="Group 45"/>
          <p:cNvGrpSpPr>
            <a:grpSpLocks noChangeAspect="1"/>
          </p:cNvGrpSpPr>
          <p:nvPr/>
        </p:nvGrpSpPr>
        <p:grpSpPr bwMode="auto">
          <a:xfrm>
            <a:off x="11238159" y="1826336"/>
            <a:ext cx="762004" cy="1072817"/>
            <a:chOff x="1057" y="1587"/>
            <a:chExt cx="363" cy="520"/>
          </a:xfrm>
        </p:grpSpPr>
        <p:sp>
          <p:nvSpPr>
            <p:cNvPr id="39"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40"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41"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600" b="1" dirty="0">
                  <a:solidFill>
                    <a:srgbClr val="00A9D4"/>
                  </a:solidFill>
                  <a:latin typeface="Segoe UI" panose="020B0502040204020203" pitchFamily="34" charset="0"/>
                  <a:ea typeface="Segoe UI" panose="020B0502040204020203" pitchFamily="34" charset="0"/>
                  <a:cs typeface="Segoe UI" panose="020B0502040204020203" pitchFamily="34" charset="0"/>
                </a:rPr>
                <a:t>UDM</a:t>
              </a:r>
            </a:p>
          </p:txBody>
        </p:sp>
        <p:sp>
          <p:nvSpPr>
            <p:cNvPr id="42"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400">
                <a:solidFill>
                  <a:srgbClr val="58585A"/>
                </a:solidFill>
              </a:endParaRPr>
            </a:p>
          </p:txBody>
        </p:sp>
        <p:sp>
          <p:nvSpPr>
            <p:cNvPr id="43" name="Freeform 11"/>
            <p:cNvSpPr>
              <a:spLocks noChangeAspect="1" noEditPoints="1"/>
            </p:cNvSpPr>
            <p:nvPr/>
          </p:nvSpPr>
          <p:spPr bwMode="auto">
            <a:xfrm>
              <a:off x="1057"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cxnSp>
        <p:nvCxnSpPr>
          <p:cNvPr id="44" name="Straight Connector 203"/>
          <p:cNvCxnSpPr>
            <a:cxnSpLocks noChangeShapeType="1"/>
            <a:stCxn id="8" idx="1"/>
          </p:cNvCxnSpPr>
          <p:nvPr/>
        </p:nvCxnSpPr>
        <p:spPr bwMode="auto">
          <a:xfrm rot="10800000" flipV="1">
            <a:off x="7253419" y="3083800"/>
            <a:ext cx="1815504" cy="1000015"/>
          </a:xfrm>
          <a:prstGeom prst="bentConnector3">
            <a:avLst>
              <a:gd name="adj1" fmla="val 77701"/>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45" name="Group 557"/>
          <p:cNvGrpSpPr>
            <a:grpSpLocks noChangeAspect="1"/>
          </p:cNvGrpSpPr>
          <p:nvPr/>
        </p:nvGrpSpPr>
        <p:grpSpPr bwMode="auto">
          <a:xfrm>
            <a:off x="8195061" y="2340817"/>
            <a:ext cx="713418" cy="994470"/>
            <a:chOff x="3510" y="1858"/>
            <a:chExt cx="363" cy="520"/>
          </a:xfrm>
        </p:grpSpPr>
        <p:sp>
          <p:nvSpPr>
            <p:cNvPr id="46"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47"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48"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AMF</a:t>
              </a:r>
            </a:p>
          </p:txBody>
        </p:sp>
        <p:sp>
          <p:nvSpPr>
            <p:cNvPr id="49"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400">
                <a:solidFill>
                  <a:srgbClr val="58585A"/>
                </a:solidFill>
              </a:endParaRPr>
            </a:p>
          </p:txBody>
        </p:sp>
        <p:sp>
          <p:nvSpPr>
            <p:cNvPr id="50"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100">
                <a:solidFill>
                  <a:srgbClr val="58585A"/>
                </a:solidFill>
              </a:endParaRPr>
            </a:p>
          </p:txBody>
        </p:sp>
      </p:grpSp>
      <p:sp>
        <p:nvSpPr>
          <p:cNvPr id="51" name="TextBox 50"/>
          <p:cNvSpPr txBox="1"/>
          <p:nvPr/>
        </p:nvSpPr>
        <p:spPr>
          <a:xfrm>
            <a:off x="9412694" y="3431462"/>
            <a:ext cx="394660" cy="276999"/>
          </a:xfrm>
          <a:prstGeom prst="rect">
            <a:avLst/>
          </a:prstGeom>
          <a:noFill/>
        </p:spPr>
        <p:txBody>
          <a:bodyPr wrap="none" rtlCol="0">
            <a:spAutoFit/>
          </a:bodyPr>
          <a:lstStyle/>
          <a:p>
            <a:r>
              <a:rPr lang="en-US" sz="1200" b="1" dirty="0">
                <a:latin typeface="Segoe UI" panose="020B0502040204020203" pitchFamily="34" charset="0"/>
                <a:ea typeface="Segoe UI" panose="020B0502040204020203" pitchFamily="34" charset="0"/>
                <a:cs typeface="Segoe UI" panose="020B0502040204020203" pitchFamily="34" charset="0"/>
              </a:rPr>
              <a:t>N4</a:t>
            </a:r>
          </a:p>
        </p:txBody>
      </p:sp>
      <p:grpSp>
        <p:nvGrpSpPr>
          <p:cNvPr id="52" name="Group 51"/>
          <p:cNvGrpSpPr/>
          <p:nvPr/>
        </p:nvGrpSpPr>
        <p:grpSpPr>
          <a:xfrm>
            <a:off x="10581264" y="4060971"/>
            <a:ext cx="1243493" cy="997140"/>
            <a:chOff x="9315422" y="5130211"/>
            <a:chExt cx="2250397" cy="1719278"/>
          </a:xfrm>
        </p:grpSpPr>
        <p:sp>
          <p:nvSpPr>
            <p:cNvPr id="53" name="Freeform 34"/>
            <p:cNvSpPr>
              <a:spLocks noChangeAspect="1"/>
            </p:cNvSpPr>
            <p:nvPr/>
          </p:nvSpPr>
          <p:spPr bwMode="auto">
            <a:xfrm>
              <a:off x="9315422" y="5130211"/>
              <a:ext cx="2250397" cy="1719278"/>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Text Box 35"/>
            <p:cNvSpPr txBox="1">
              <a:spLocks noChangeAspect="1" noChangeArrowheads="1"/>
            </p:cNvSpPr>
            <p:nvPr/>
          </p:nvSpPr>
          <p:spPr bwMode="auto">
            <a:xfrm>
              <a:off x="9508327" y="5624419"/>
              <a:ext cx="1808285" cy="88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rIns="0" anchor="ctr">
              <a:spAutoFit/>
            </a:bodyP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200" b="0" i="0" u="none" strike="noStrike" kern="0" cap="none" spc="0" normalizeH="0" baseline="0" noProof="0">
                  <a:ln>
                    <a:noFill/>
                  </a:ln>
                  <a:solidFill>
                    <a:schemeClr val="tx1"/>
                  </a:solidFill>
                  <a:effectLst/>
                  <a:uLnTx/>
                  <a:uFillTx/>
                  <a:latin typeface="Arial" charset="0"/>
                  <a:ea typeface="MS PGothic" pitchFamily="34" charset="-128"/>
                </a:rPr>
                <a:t>Data Network </a:t>
              </a:r>
              <a:endParaRPr kumimoji="0" lang="en-US" altLang="en-US" sz="1400" b="0" i="0" u="none" strike="noStrike" kern="0" cap="none" spc="0" normalizeH="0" baseline="0" noProof="0" dirty="0">
                <a:ln>
                  <a:noFill/>
                </a:ln>
                <a:solidFill>
                  <a:schemeClr val="tx1"/>
                </a:solidFill>
                <a:effectLst/>
                <a:uLnTx/>
                <a:uFillTx/>
                <a:latin typeface="Arial" charset="0"/>
                <a:ea typeface="MS PGothic" pitchFamily="34" charset="-128"/>
              </a:endParaRP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dirty="0">
                  <a:ln>
                    <a:noFill/>
                  </a:ln>
                  <a:solidFill>
                    <a:schemeClr val="tx1"/>
                  </a:solidFill>
                  <a:effectLst/>
                  <a:uLnTx/>
                  <a:uFillTx/>
                  <a:latin typeface="Arial" charset="0"/>
                  <a:ea typeface="MS PGothic" pitchFamily="34" charset="-128"/>
                </a:rPr>
                <a:t>(e.g. operator </a:t>
              </a:r>
            </a:p>
            <a:p>
              <a:pPr marL="0" marR="0" lvl="0" indent="0" algn="ctr" defTabSz="914400" eaLnBrk="1" fontAlgn="auto" latinLnBrk="0" hangingPunct="1">
                <a:lnSpc>
                  <a:spcPct val="80000"/>
                </a:lnSpc>
                <a:spcBef>
                  <a:spcPct val="0"/>
                </a:spcBef>
                <a:spcAft>
                  <a:spcPts val="0"/>
                </a:spcAft>
                <a:buClrTx/>
                <a:buSzTx/>
                <a:buFontTx/>
                <a:buNone/>
                <a:tabLst/>
                <a:defRPr/>
              </a:pPr>
              <a:r>
                <a:rPr kumimoji="0" lang="en-US" altLang="en-US" sz="1050" b="0" i="0" u="none" strike="noStrike" kern="0" cap="none" spc="0" normalizeH="0" baseline="0" noProof="0" dirty="0">
                  <a:ln>
                    <a:noFill/>
                  </a:ln>
                  <a:solidFill>
                    <a:schemeClr val="tx1"/>
                  </a:solidFill>
                  <a:effectLst/>
                  <a:uLnTx/>
                  <a:uFillTx/>
                  <a:latin typeface="Arial" charset="0"/>
                  <a:ea typeface="MS PGothic" pitchFamily="34" charset="-128"/>
                </a:rPr>
                <a:t>or Internet)</a:t>
              </a:r>
            </a:p>
          </p:txBody>
        </p:sp>
      </p:grpSp>
      <p:sp>
        <p:nvSpPr>
          <p:cNvPr id="55" name="Cylinder 54"/>
          <p:cNvSpPr/>
          <p:nvPr/>
        </p:nvSpPr>
        <p:spPr bwMode="auto">
          <a:xfrm rot="16200000">
            <a:off x="8057343" y="3710332"/>
            <a:ext cx="306843" cy="1716317"/>
          </a:xfrm>
          <a:prstGeom prst="can">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6" name="Group 55"/>
          <p:cNvGrpSpPr/>
          <p:nvPr/>
        </p:nvGrpSpPr>
        <p:grpSpPr>
          <a:xfrm>
            <a:off x="11301427" y="5710451"/>
            <a:ext cx="715358" cy="935062"/>
            <a:chOff x="5979156" y="5040856"/>
            <a:chExt cx="1101600" cy="1587600"/>
          </a:xfrm>
        </p:grpSpPr>
        <p:cxnSp>
          <p:nvCxnSpPr>
            <p:cNvPr id="57" name="Straight Connector 56"/>
            <p:cNvCxnSpPr/>
            <p:nvPr/>
          </p:nvCxnSpPr>
          <p:spPr bwMode="auto">
            <a:xfrm flipV="1">
              <a:off x="6194903" y="5423795"/>
              <a:ext cx="0" cy="161925"/>
            </a:xfrm>
            <a:prstGeom prst="line">
              <a:avLst/>
            </a:prstGeom>
            <a:noFill/>
            <a:ln w="9525">
              <a:solidFill>
                <a:schemeClr val="accent4">
                  <a:lumMod val="50000"/>
                </a:schemeClr>
              </a:solidFill>
              <a:prstDash val="dash"/>
              <a:round/>
              <a:headEnd/>
              <a:tailEnd/>
            </a:ln>
          </p:spPr>
        </p:cxnSp>
        <p:sp>
          <p:nvSpPr>
            <p:cNvPr id="58" name="AutoShape 142"/>
            <p:cNvSpPr>
              <a:spLocks noChangeAspect="1" noChangeArrowheads="1"/>
            </p:cNvSpPr>
            <p:nvPr/>
          </p:nvSpPr>
          <p:spPr bwMode="auto">
            <a:xfrm>
              <a:off x="6000399" y="5492711"/>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59" name="Oval 143"/>
            <p:cNvSpPr>
              <a:spLocks noChangeAspect="1" noChangeArrowheads="1"/>
            </p:cNvSpPr>
            <p:nvPr/>
          </p:nvSpPr>
          <p:spPr bwMode="auto">
            <a:xfrm>
              <a:off x="5994330" y="5062228"/>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0" name="Text Box 144"/>
            <p:cNvSpPr txBox="1">
              <a:spLocks noChangeAspect="1" noChangeArrowheads="1"/>
            </p:cNvSpPr>
            <p:nvPr/>
          </p:nvSpPr>
          <p:spPr bwMode="auto">
            <a:xfrm>
              <a:off x="6030746" y="5904877"/>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UPF</a:t>
              </a:r>
            </a:p>
          </p:txBody>
        </p:sp>
        <p:sp>
          <p:nvSpPr>
            <p:cNvPr id="61" name="Rectangle 145"/>
            <p:cNvSpPr>
              <a:spLocks noChangeAspect="1" noChangeArrowheads="1"/>
            </p:cNvSpPr>
            <p:nvPr/>
          </p:nvSpPr>
          <p:spPr bwMode="auto">
            <a:xfrm>
              <a:off x="5979156" y="5040856"/>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62" name="Freeform 11"/>
            <p:cNvSpPr>
              <a:spLocks noChangeAspect="1" noEditPoints="1"/>
            </p:cNvSpPr>
            <p:nvPr/>
          </p:nvSpPr>
          <p:spPr bwMode="auto">
            <a:xfrm>
              <a:off x="5979156" y="5040856"/>
              <a:ext cx="1101600" cy="1584547"/>
            </a:xfrm>
            <a:custGeom>
              <a:avLst/>
              <a:gdLst>
                <a:gd name="T0" fmla="*/ 233 w 410"/>
                <a:gd name="T1" fmla="*/ 95 h 589"/>
                <a:gd name="T2" fmla="*/ 218 w 410"/>
                <a:gd name="T3" fmla="*/ 231 h 589"/>
                <a:gd name="T4" fmla="*/ 10 w 410"/>
                <a:gd name="T5" fmla="*/ 221 h 589"/>
                <a:gd name="T6" fmla="*/ 120 w 410"/>
                <a:gd name="T7" fmla="*/ 7 h 589"/>
                <a:gd name="T8" fmla="*/ 236 w 410"/>
                <a:gd name="T9" fmla="*/ 87 h 589"/>
                <a:gd name="T10" fmla="*/ 242 w 410"/>
                <a:gd name="T11" fmla="*/ 83 h 589"/>
                <a:gd name="T12" fmla="*/ 0 w 410"/>
                <a:gd name="T13" fmla="*/ 83 h 589"/>
                <a:gd name="T14" fmla="*/ 4 w 410"/>
                <a:gd name="T15" fmla="*/ 221 h 589"/>
                <a:gd name="T16" fmla="*/ 218 w 410"/>
                <a:gd name="T17" fmla="*/ 239 h 589"/>
                <a:gd name="T18" fmla="*/ 242 w 410"/>
                <a:gd name="T19" fmla="*/ 95 h 589"/>
                <a:gd name="T20" fmla="*/ 196 w 410"/>
                <a:gd name="T21" fmla="*/ 65 h 589"/>
                <a:gd name="T22" fmla="*/ 170 w 410"/>
                <a:gd name="T23" fmla="*/ 54 h 589"/>
                <a:gd name="T24" fmla="*/ 180 w 410"/>
                <a:gd name="T25" fmla="*/ 63 h 589"/>
                <a:gd name="T26" fmla="*/ 90 w 410"/>
                <a:gd name="T27" fmla="*/ 69 h 589"/>
                <a:gd name="T28" fmla="*/ 180 w 410"/>
                <a:gd name="T29" fmla="*/ 70 h 589"/>
                <a:gd name="T30" fmla="*/ 170 w 410"/>
                <a:gd name="T31" fmla="*/ 82 h 589"/>
                <a:gd name="T32" fmla="*/ 177 w 410"/>
                <a:gd name="T33" fmla="*/ 82 h 589"/>
                <a:gd name="T34" fmla="*/ 196 w 410"/>
                <a:gd name="T35" fmla="*/ 65 h 589"/>
                <a:gd name="T36" fmla="*/ 65 w 410"/>
                <a:gd name="T37" fmla="*/ 33 h 589"/>
                <a:gd name="T38" fmla="*/ 72 w 410"/>
                <a:gd name="T39" fmla="*/ 38 h 589"/>
                <a:gd name="T40" fmla="*/ 147 w 410"/>
                <a:gd name="T41" fmla="*/ 44 h 589"/>
                <a:gd name="T42" fmla="*/ 147 w 410"/>
                <a:gd name="T43" fmla="*/ 50 h 589"/>
                <a:gd name="T44" fmla="*/ 72 w 410"/>
                <a:gd name="T45" fmla="*/ 57 h 589"/>
                <a:gd name="T46" fmla="*/ 69 w 410"/>
                <a:gd name="T47" fmla="*/ 63 h 589"/>
                <a:gd name="T48" fmla="*/ 47 w 410"/>
                <a:gd name="T49" fmla="*/ 50 h 589"/>
                <a:gd name="T50" fmla="*/ 195 w 410"/>
                <a:gd name="T51" fmla="*/ 105 h 589"/>
                <a:gd name="T52" fmla="*/ 169 w 410"/>
                <a:gd name="T53" fmla="*/ 93 h 589"/>
                <a:gd name="T54" fmla="*/ 180 w 410"/>
                <a:gd name="T55" fmla="*/ 104 h 589"/>
                <a:gd name="T56" fmla="*/ 90 w 410"/>
                <a:gd name="T57" fmla="*/ 107 h 589"/>
                <a:gd name="T58" fmla="*/ 180 w 410"/>
                <a:gd name="T59" fmla="*/ 109 h 589"/>
                <a:gd name="T60" fmla="*/ 169 w 410"/>
                <a:gd name="T61" fmla="*/ 121 h 589"/>
                <a:gd name="T62" fmla="*/ 177 w 410"/>
                <a:gd name="T63" fmla="*/ 121 h 589"/>
                <a:gd name="T64" fmla="*/ 195 w 410"/>
                <a:gd name="T65" fmla="*/ 105 h 589"/>
                <a:gd name="T66" fmla="*/ 65 w 410"/>
                <a:gd name="T67" fmla="*/ 72 h 589"/>
                <a:gd name="T68" fmla="*/ 72 w 410"/>
                <a:gd name="T69" fmla="*/ 78 h 589"/>
                <a:gd name="T70" fmla="*/ 147 w 410"/>
                <a:gd name="T71" fmla="*/ 84 h 589"/>
                <a:gd name="T72" fmla="*/ 147 w 410"/>
                <a:gd name="T73" fmla="*/ 89 h 589"/>
                <a:gd name="T74" fmla="*/ 72 w 410"/>
                <a:gd name="T75" fmla="*/ 96 h 589"/>
                <a:gd name="T76" fmla="*/ 69 w 410"/>
                <a:gd name="T77" fmla="*/ 102 h 589"/>
                <a:gd name="T78" fmla="*/ 47 w 410"/>
                <a:gd name="T79" fmla="*/ 89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chemeClr val="tx1"/>
            </a:solidFill>
            <a:ln>
              <a:noFill/>
            </a:ln>
            <a:extLst/>
          </p:spPr>
          <p:txBody>
            <a:bodyPr tIns="1080000" anchor="ctr"/>
            <a:lstStyle/>
            <a:p>
              <a:endParaRPr lang="en-US" sz="1400"/>
            </a:p>
          </p:txBody>
        </p:sp>
      </p:grpSp>
    </p:spTree>
    <p:extLst>
      <p:ext uri="{BB962C8B-B14F-4D97-AF65-F5344CB8AC3E}">
        <p14:creationId xmlns:p14="http://schemas.microsoft.com/office/powerpoint/2010/main" val="1555280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ization revenues</a:t>
            </a:r>
          </a:p>
        </p:txBody>
      </p:sp>
      <p:graphicFrame>
        <p:nvGraphicFramePr>
          <p:cNvPr id="4" name="Object 1"/>
          <p:cNvGraphicFramePr>
            <a:graphicFrameLocks/>
          </p:cNvGraphicFramePr>
          <p:nvPr>
            <p:custDataLst>
              <p:tags r:id="rId1"/>
            </p:custDataLst>
            <p:extLst/>
          </p:nvPr>
        </p:nvGraphicFramePr>
        <p:xfrm>
          <a:off x="469901" y="1908783"/>
          <a:ext cx="7137189" cy="3240239"/>
        </p:xfrm>
        <a:graphic>
          <a:graphicData uri="http://schemas.openxmlformats.org/drawingml/2006/chart">
            <c:chart xmlns:c="http://schemas.openxmlformats.org/drawingml/2006/chart" xmlns:r="http://schemas.openxmlformats.org/officeDocument/2006/relationships" r:id="rId56"/>
          </a:graphicData>
        </a:graphic>
      </p:graphicFrame>
      <p:cxnSp>
        <p:nvCxnSpPr>
          <p:cNvPr id="5" name="Straight Connector 4"/>
          <p:cNvCxnSpPr/>
          <p:nvPr>
            <p:custDataLst>
              <p:tags r:id="rId2"/>
            </p:custDataLst>
          </p:nvPr>
        </p:nvCxnSpPr>
        <p:spPr bwMode="auto">
          <a:xfrm flipV="1">
            <a:off x="836613" y="1457933"/>
            <a:ext cx="6396038" cy="2209800"/>
          </a:xfrm>
          <a:prstGeom prst="line">
            <a:avLst/>
          </a:prstGeom>
          <a:solidFill>
            <a:schemeClr val="accent1"/>
          </a:solidFill>
          <a:ln w="25400" cap="rnd" cmpd="sng" algn="ctr">
            <a:solidFill>
              <a:srgbClr val="B1B3B4"/>
            </a:solidFill>
            <a:prstDash val="solid"/>
            <a:round/>
            <a:headEnd type="none" w="med" len="med"/>
            <a:tailEnd type="triangle" w="med" len="med"/>
          </a:ln>
          <a:effectLst/>
        </p:spPr>
      </p:cxnSp>
      <p:cxnSp>
        <p:nvCxnSpPr>
          <p:cNvPr id="6" name="Straight Connector 5"/>
          <p:cNvCxnSpPr/>
          <p:nvPr>
            <p:custDataLst>
              <p:tags r:id="rId3"/>
            </p:custDataLst>
          </p:nvPr>
        </p:nvCxnSpPr>
        <p:spPr bwMode="auto">
          <a:xfrm flipV="1">
            <a:off x="3395663" y="1610333"/>
            <a:ext cx="3836988" cy="1720850"/>
          </a:xfrm>
          <a:prstGeom prst="line">
            <a:avLst/>
          </a:prstGeom>
          <a:solidFill>
            <a:schemeClr val="accent1"/>
          </a:solidFill>
          <a:ln w="25400" cap="rnd" cmpd="sng" algn="ctr">
            <a:solidFill>
              <a:srgbClr val="B1B3B4"/>
            </a:solidFill>
            <a:prstDash val="solid"/>
            <a:round/>
            <a:headEnd type="none" w="med" len="med"/>
            <a:tailEnd type="triangle" w="med" len="med"/>
          </a:ln>
          <a:effectLst/>
        </p:spPr>
      </p:cxnSp>
      <p:cxnSp>
        <p:nvCxnSpPr>
          <p:cNvPr id="7" name="Straight Connector 6"/>
          <p:cNvCxnSpPr/>
          <p:nvPr>
            <p:custDataLst>
              <p:tags r:id="rId4"/>
            </p:custDataLst>
          </p:nvPr>
        </p:nvCxnSpPr>
        <p:spPr bwMode="auto">
          <a:xfrm flipV="1">
            <a:off x="836613" y="3331183"/>
            <a:ext cx="2559050" cy="488950"/>
          </a:xfrm>
          <a:prstGeom prst="line">
            <a:avLst/>
          </a:prstGeom>
          <a:solidFill>
            <a:schemeClr val="accent1"/>
          </a:solidFill>
          <a:ln w="25400" cap="rnd" cmpd="sng" algn="ctr">
            <a:solidFill>
              <a:srgbClr val="B1B3B4"/>
            </a:solidFill>
            <a:prstDash val="solid"/>
            <a:round/>
            <a:headEnd type="none" w="med" len="med"/>
            <a:tailEnd type="triangle" w="med" len="med"/>
          </a:ln>
          <a:effectLst/>
        </p:spPr>
      </p:cxnSp>
      <p:cxnSp>
        <p:nvCxnSpPr>
          <p:cNvPr id="8" name="Straight Connector 7"/>
          <p:cNvCxnSpPr/>
          <p:nvPr>
            <p:custDataLst>
              <p:tags r:id="rId5"/>
            </p:custDataLst>
          </p:nvPr>
        </p:nvCxnSpPr>
        <p:spPr bwMode="auto">
          <a:xfrm flipH="1">
            <a:off x="2889251" y="3955071"/>
            <a:ext cx="95249" cy="0"/>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9" name="Straight Connector 8"/>
          <p:cNvCxnSpPr/>
          <p:nvPr>
            <p:custDataLst>
              <p:tags r:id="rId6"/>
            </p:custDataLst>
          </p:nvPr>
        </p:nvCxnSpPr>
        <p:spPr bwMode="auto">
          <a:xfrm flipH="1">
            <a:off x="1005652" y="4104278"/>
            <a:ext cx="68262" cy="128116"/>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10" name="Straight Connector 9"/>
          <p:cNvCxnSpPr/>
          <p:nvPr>
            <p:custDataLst>
              <p:tags r:id="rId7"/>
            </p:custDataLst>
          </p:nvPr>
        </p:nvCxnSpPr>
        <p:spPr bwMode="auto">
          <a:xfrm flipH="1">
            <a:off x="4808539" y="3316193"/>
            <a:ext cx="103186" cy="32453"/>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11" name="Straight Connector 10"/>
          <p:cNvCxnSpPr/>
          <p:nvPr>
            <p:custDataLst>
              <p:tags r:id="rId8"/>
            </p:custDataLst>
          </p:nvPr>
        </p:nvCxnSpPr>
        <p:spPr bwMode="auto">
          <a:xfrm flipH="1">
            <a:off x="5446715" y="3092450"/>
            <a:ext cx="112710" cy="8546"/>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12" name="Straight Connector 11"/>
          <p:cNvCxnSpPr/>
          <p:nvPr>
            <p:custDataLst>
              <p:tags r:id="rId9"/>
            </p:custDataLst>
          </p:nvPr>
        </p:nvCxnSpPr>
        <p:spPr bwMode="auto">
          <a:xfrm flipH="1" flipV="1">
            <a:off x="4167189" y="3653446"/>
            <a:ext cx="106361" cy="1587"/>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13" name="Straight Connector 12"/>
          <p:cNvCxnSpPr/>
          <p:nvPr>
            <p:custDataLst>
              <p:tags r:id="rId10"/>
            </p:custDataLst>
          </p:nvPr>
        </p:nvCxnSpPr>
        <p:spPr bwMode="auto">
          <a:xfrm flipH="1" flipV="1">
            <a:off x="2249489" y="4134459"/>
            <a:ext cx="104879" cy="55722"/>
          </a:xfrm>
          <a:prstGeom prst="line">
            <a:avLst/>
          </a:prstGeom>
          <a:solidFill>
            <a:schemeClr val="accent1"/>
          </a:solidFill>
          <a:ln w="6350" cap="flat" cmpd="sng" algn="ctr">
            <a:solidFill>
              <a:srgbClr val="00285F"/>
            </a:solidFill>
            <a:prstDash val="solid"/>
            <a:round/>
            <a:headEnd type="none" w="med" len="med"/>
            <a:tailEnd type="none" w="med" len="med"/>
          </a:ln>
          <a:effectLst/>
        </p:spPr>
      </p:cxnSp>
      <p:cxnSp>
        <p:nvCxnSpPr>
          <p:cNvPr id="14" name="Straight Connector 13"/>
          <p:cNvCxnSpPr/>
          <p:nvPr>
            <p:custDataLst>
              <p:tags r:id="rId11"/>
            </p:custDataLst>
          </p:nvPr>
        </p:nvCxnSpPr>
        <p:spPr bwMode="auto">
          <a:xfrm flipH="1" flipV="1">
            <a:off x="4167189" y="3774279"/>
            <a:ext cx="106361" cy="36486"/>
          </a:xfrm>
          <a:prstGeom prst="line">
            <a:avLst/>
          </a:prstGeom>
          <a:solidFill>
            <a:schemeClr val="accent1"/>
          </a:solidFill>
          <a:ln w="6350" cap="flat" cmpd="sng" algn="ctr">
            <a:solidFill>
              <a:srgbClr val="00285F"/>
            </a:solidFill>
            <a:prstDash val="solid"/>
            <a:round/>
            <a:headEnd type="none" w="med" len="med"/>
            <a:tailEnd type="none" w="med" len="med"/>
          </a:ln>
          <a:effectLst/>
        </p:spPr>
      </p:cxnSp>
      <p:cxnSp>
        <p:nvCxnSpPr>
          <p:cNvPr id="15" name="Straight Connector 14"/>
          <p:cNvCxnSpPr/>
          <p:nvPr>
            <p:custDataLst>
              <p:tags r:id="rId12"/>
            </p:custDataLst>
          </p:nvPr>
        </p:nvCxnSpPr>
        <p:spPr bwMode="auto">
          <a:xfrm flipH="1">
            <a:off x="1002506" y="4245583"/>
            <a:ext cx="68263" cy="31750"/>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16" name="Straight Connector 15"/>
          <p:cNvCxnSpPr/>
          <p:nvPr>
            <p:custDataLst>
              <p:tags r:id="rId13"/>
            </p:custDataLst>
          </p:nvPr>
        </p:nvCxnSpPr>
        <p:spPr bwMode="auto">
          <a:xfrm flipH="1" flipV="1">
            <a:off x="2889251" y="4031271"/>
            <a:ext cx="95249" cy="59346"/>
          </a:xfrm>
          <a:prstGeom prst="line">
            <a:avLst/>
          </a:prstGeom>
          <a:solidFill>
            <a:schemeClr val="accent1"/>
          </a:solidFill>
          <a:ln w="6350" cap="flat" cmpd="sng" algn="ctr">
            <a:solidFill>
              <a:srgbClr val="00285F"/>
            </a:solidFill>
            <a:prstDash val="solid"/>
            <a:round/>
            <a:headEnd type="none" w="med" len="med"/>
            <a:tailEnd type="none" w="med" len="med"/>
          </a:ln>
          <a:effectLst/>
        </p:spPr>
      </p:cxnSp>
      <p:cxnSp>
        <p:nvCxnSpPr>
          <p:cNvPr id="17" name="Straight Connector 16"/>
          <p:cNvCxnSpPr/>
          <p:nvPr>
            <p:custDataLst>
              <p:tags r:id="rId14"/>
            </p:custDataLst>
          </p:nvPr>
        </p:nvCxnSpPr>
        <p:spPr bwMode="auto">
          <a:xfrm flipH="1">
            <a:off x="2249489" y="4066196"/>
            <a:ext cx="104879" cy="0"/>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18" name="Straight Connector 17"/>
          <p:cNvCxnSpPr/>
          <p:nvPr>
            <p:custDataLst>
              <p:tags r:id="rId15"/>
            </p:custDataLst>
          </p:nvPr>
        </p:nvCxnSpPr>
        <p:spPr bwMode="auto">
          <a:xfrm flipH="1">
            <a:off x="4167189" y="3518357"/>
            <a:ext cx="106361" cy="47776"/>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19" name="Straight Connector 18"/>
          <p:cNvCxnSpPr/>
          <p:nvPr>
            <p:custDataLst>
              <p:tags r:id="rId16"/>
            </p:custDataLst>
          </p:nvPr>
        </p:nvCxnSpPr>
        <p:spPr bwMode="auto">
          <a:xfrm flipH="1">
            <a:off x="2262188" y="3940175"/>
            <a:ext cx="100012" cy="84746"/>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20" name="Straight Connector 19"/>
          <p:cNvCxnSpPr/>
          <p:nvPr>
            <p:custDataLst>
              <p:tags r:id="rId17"/>
            </p:custDataLst>
          </p:nvPr>
        </p:nvCxnSpPr>
        <p:spPr bwMode="auto">
          <a:xfrm flipH="1" flipV="1">
            <a:off x="971551" y="4396396"/>
            <a:ext cx="92060" cy="67282"/>
          </a:xfrm>
          <a:prstGeom prst="line">
            <a:avLst/>
          </a:prstGeom>
          <a:solidFill>
            <a:schemeClr val="accent1"/>
          </a:solidFill>
          <a:ln w="6350" cap="flat" cmpd="sng" algn="ctr">
            <a:solidFill>
              <a:srgbClr val="B1B3B4"/>
            </a:solidFill>
            <a:prstDash val="solid"/>
            <a:round/>
            <a:headEnd type="none" w="med" len="med"/>
            <a:tailEnd type="none" w="med" len="med"/>
          </a:ln>
          <a:effectLst/>
        </p:spPr>
      </p:cxnSp>
      <p:cxnSp>
        <p:nvCxnSpPr>
          <p:cNvPr id="21" name="Straight Connector 20"/>
          <p:cNvCxnSpPr/>
          <p:nvPr>
            <p:custDataLst>
              <p:tags r:id="rId18"/>
            </p:custDataLst>
          </p:nvPr>
        </p:nvCxnSpPr>
        <p:spPr bwMode="auto">
          <a:xfrm flipH="1">
            <a:off x="2917826" y="3836008"/>
            <a:ext cx="66674" cy="73025"/>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22" name="Straight Connector 21"/>
          <p:cNvCxnSpPr/>
          <p:nvPr>
            <p:custDataLst>
              <p:tags r:id="rId19"/>
            </p:custDataLst>
          </p:nvPr>
        </p:nvCxnSpPr>
        <p:spPr bwMode="auto">
          <a:xfrm flipH="1" flipV="1">
            <a:off x="4808539" y="3455009"/>
            <a:ext cx="103186" cy="20840"/>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23" name="Straight Connector 22"/>
          <p:cNvCxnSpPr/>
          <p:nvPr>
            <p:custDataLst>
              <p:tags r:id="rId20"/>
            </p:custDataLst>
          </p:nvPr>
        </p:nvCxnSpPr>
        <p:spPr bwMode="auto">
          <a:xfrm flipH="1" flipV="1">
            <a:off x="3541713" y="3818547"/>
            <a:ext cx="77786" cy="1586"/>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24" name="Straight Connector 23"/>
          <p:cNvCxnSpPr/>
          <p:nvPr>
            <p:custDataLst>
              <p:tags r:id="rId21"/>
            </p:custDataLst>
          </p:nvPr>
        </p:nvCxnSpPr>
        <p:spPr bwMode="auto">
          <a:xfrm flipH="1" flipV="1">
            <a:off x="1609726" y="4228122"/>
            <a:ext cx="98424" cy="17461"/>
          </a:xfrm>
          <a:prstGeom prst="line">
            <a:avLst/>
          </a:prstGeom>
          <a:solidFill>
            <a:schemeClr val="accent1"/>
          </a:solidFill>
          <a:ln w="6350" cap="flat" cmpd="sng" algn="ctr">
            <a:solidFill>
              <a:srgbClr val="00285F"/>
            </a:solidFill>
            <a:prstDash val="solid"/>
            <a:round/>
            <a:headEnd type="none" w="med" len="med"/>
            <a:tailEnd type="none" w="med" len="med"/>
          </a:ln>
          <a:effectLst/>
        </p:spPr>
      </p:cxnSp>
      <p:cxnSp>
        <p:nvCxnSpPr>
          <p:cNvPr id="25" name="Straight Connector 24"/>
          <p:cNvCxnSpPr/>
          <p:nvPr>
            <p:custDataLst>
              <p:tags r:id="rId22"/>
            </p:custDataLst>
          </p:nvPr>
        </p:nvCxnSpPr>
        <p:spPr bwMode="auto">
          <a:xfrm flipH="1">
            <a:off x="3545787" y="3695700"/>
            <a:ext cx="61013" cy="63413"/>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26" name="Straight Connector 25"/>
          <p:cNvCxnSpPr/>
          <p:nvPr>
            <p:custDataLst>
              <p:tags r:id="rId23"/>
            </p:custDataLst>
          </p:nvPr>
        </p:nvCxnSpPr>
        <p:spPr bwMode="auto">
          <a:xfrm flipH="1">
            <a:off x="1609726" y="4176342"/>
            <a:ext cx="98424" cy="0"/>
          </a:xfrm>
          <a:prstGeom prst="line">
            <a:avLst/>
          </a:prstGeom>
          <a:solidFill>
            <a:schemeClr val="accent1"/>
          </a:solidFill>
          <a:ln w="6350" cap="flat" cmpd="sng" algn="ctr">
            <a:solidFill>
              <a:srgbClr val="0066CB"/>
            </a:solidFill>
            <a:prstDash val="solid"/>
            <a:round/>
            <a:headEnd type="none" w="med" len="med"/>
            <a:tailEnd type="none" w="med" len="med"/>
          </a:ln>
          <a:effectLst/>
        </p:spPr>
      </p:cxnSp>
      <p:cxnSp>
        <p:nvCxnSpPr>
          <p:cNvPr id="27" name="Straight Connector 26"/>
          <p:cNvCxnSpPr/>
          <p:nvPr>
            <p:custDataLst>
              <p:tags r:id="rId24"/>
            </p:custDataLst>
          </p:nvPr>
        </p:nvCxnSpPr>
        <p:spPr bwMode="auto">
          <a:xfrm flipH="1">
            <a:off x="1651000" y="4071033"/>
            <a:ext cx="56774" cy="53530"/>
          </a:xfrm>
          <a:prstGeom prst="line">
            <a:avLst/>
          </a:prstGeom>
          <a:solidFill>
            <a:schemeClr val="accent1"/>
          </a:solidFill>
          <a:ln w="6350" cap="flat" cmpd="sng" algn="ctr">
            <a:solidFill>
              <a:srgbClr val="CCCCFE"/>
            </a:solidFill>
            <a:prstDash val="solid"/>
            <a:round/>
            <a:headEnd type="none" w="med" len="med"/>
            <a:tailEnd type="none" w="med" len="med"/>
          </a:ln>
          <a:effectLst/>
        </p:spPr>
      </p:cxnSp>
      <p:cxnSp>
        <p:nvCxnSpPr>
          <p:cNvPr id="28" name="Straight Connector 27"/>
          <p:cNvCxnSpPr/>
          <p:nvPr>
            <p:custDataLst>
              <p:tags r:id="rId25"/>
            </p:custDataLst>
          </p:nvPr>
        </p:nvCxnSpPr>
        <p:spPr bwMode="auto">
          <a:xfrm flipH="1">
            <a:off x="964393" y="4334481"/>
            <a:ext cx="99218" cy="1589"/>
          </a:xfrm>
          <a:prstGeom prst="line">
            <a:avLst/>
          </a:prstGeom>
          <a:solidFill>
            <a:schemeClr val="accent1"/>
          </a:solidFill>
          <a:ln w="6350" cap="flat" cmpd="sng" algn="ctr">
            <a:solidFill>
              <a:srgbClr val="00285F"/>
            </a:solidFill>
            <a:prstDash val="solid"/>
            <a:round/>
            <a:headEnd type="none" w="med" len="med"/>
            <a:tailEnd type="none" w="med" len="med"/>
          </a:ln>
          <a:effectLst/>
        </p:spPr>
      </p:cxnSp>
      <p:cxnSp>
        <p:nvCxnSpPr>
          <p:cNvPr id="29" name="Straight Connector 28"/>
          <p:cNvCxnSpPr/>
          <p:nvPr>
            <p:custDataLst>
              <p:tags r:id="rId26"/>
            </p:custDataLst>
          </p:nvPr>
        </p:nvCxnSpPr>
        <p:spPr bwMode="auto">
          <a:xfrm flipH="1" flipV="1">
            <a:off x="3529014" y="3909033"/>
            <a:ext cx="90485" cy="45402"/>
          </a:xfrm>
          <a:prstGeom prst="line">
            <a:avLst/>
          </a:prstGeom>
          <a:solidFill>
            <a:schemeClr val="accent1"/>
          </a:solidFill>
          <a:ln w="6350" cap="flat" cmpd="sng" algn="ctr">
            <a:solidFill>
              <a:srgbClr val="00285F"/>
            </a:solidFill>
            <a:prstDash val="solid"/>
            <a:round/>
            <a:headEnd type="none" w="med" len="med"/>
            <a:tailEnd type="none" w="med" len="med"/>
          </a:ln>
          <a:effectLst/>
        </p:spPr>
      </p:cxnSp>
      <p:sp>
        <p:nvSpPr>
          <p:cNvPr id="30" name="Content_SM"/>
          <p:cNvSpPr>
            <a:spLocks noGrp="1" noChangeArrowheads="1"/>
          </p:cNvSpPr>
          <p:nvPr>
            <p:custDataLst>
              <p:tags r:id="rId27"/>
            </p:custDataLst>
          </p:nvPr>
        </p:nvSpPr>
        <p:spPr bwMode="auto">
          <a:xfrm>
            <a:off x="2609850"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931C3DD2-8F52-4342-B888-6193DA4C9BD8}" type="datetime'''2''''''0''''''''''''''''''''''19'''''''''''''''''''''''''">
              <a:rPr lang="en-GB" altLang="en-US" sz="1000">
                <a:sym typeface="+mn-lt"/>
              </a:rPr>
              <a:pPr/>
              <a:t>2019</a:t>
            </a:fld>
            <a:endParaRPr lang="en-GB" sz="1000" dirty="0">
              <a:sym typeface="+mn-lt"/>
            </a:endParaRPr>
          </a:p>
        </p:txBody>
      </p:sp>
      <p:sp>
        <p:nvSpPr>
          <p:cNvPr id="31" name="Content_SM"/>
          <p:cNvSpPr>
            <a:spLocks noGrp="1" noChangeArrowheads="1"/>
          </p:cNvSpPr>
          <p:nvPr>
            <p:custDataLst>
              <p:tags r:id="rId28"/>
            </p:custDataLst>
          </p:nvPr>
        </p:nvSpPr>
        <p:spPr bwMode="gray">
          <a:xfrm>
            <a:off x="2581275" y="3688371"/>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C6B55CEE-BA1F-4736-BBFC-D2D8FD1F6320}" type="datetime'''''1'''',''''''''2''''''9''''''''''''''''''''''''''5'''''''''">
              <a:rPr lang="en-GB" altLang="en-US" sz="1000" b="1"/>
              <a:pPr/>
              <a:t>1,295</a:t>
            </a:fld>
            <a:endParaRPr lang="en-GB" sz="1000" b="1" dirty="0">
              <a:sym typeface="+mn-lt"/>
            </a:endParaRPr>
          </a:p>
        </p:txBody>
      </p:sp>
      <p:sp>
        <p:nvSpPr>
          <p:cNvPr id="32" name="Content_SM"/>
          <p:cNvSpPr>
            <a:spLocks noGrp="1" noChangeArrowheads="1"/>
          </p:cNvSpPr>
          <p:nvPr>
            <p:custDataLst>
              <p:tags r:id="rId29"/>
            </p:custDataLst>
          </p:nvPr>
        </p:nvSpPr>
        <p:spPr bwMode="gray">
          <a:xfrm>
            <a:off x="3859213" y="335023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D386B644-5EA8-46E6-B860-DF786EF97AF0}" type="datetime'''''''''''''''''1'',''''''''''''''''''''6''''''''''''''5''''4'">
              <a:rPr lang="en-GB" altLang="en-US" sz="1000" b="1"/>
              <a:pPr/>
              <a:t>1,654</a:t>
            </a:fld>
            <a:endParaRPr lang="en-GB" sz="1000" b="1" dirty="0">
              <a:sym typeface="+mn-lt"/>
            </a:endParaRPr>
          </a:p>
        </p:txBody>
      </p:sp>
      <p:sp>
        <p:nvSpPr>
          <p:cNvPr id="33" name="Content_SM"/>
          <p:cNvSpPr>
            <a:spLocks noGrp="1" noChangeArrowheads="1"/>
          </p:cNvSpPr>
          <p:nvPr>
            <p:custDataLst>
              <p:tags r:id="rId30"/>
            </p:custDataLst>
          </p:nvPr>
        </p:nvSpPr>
        <p:spPr bwMode="auto">
          <a:xfrm>
            <a:off x="3249613"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E380BD5D-96F1-4EF2-8B79-A9BEAF186949}" type="datetime'''''''''''''''20''2''''''''''''''''''0'''''">
              <a:rPr lang="en-GB" altLang="en-US" sz="1000">
                <a:sym typeface="+mn-lt"/>
              </a:rPr>
              <a:pPr/>
              <a:t>2020</a:t>
            </a:fld>
            <a:endParaRPr lang="en-GB" sz="1000" dirty="0">
              <a:sym typeface="+mn-lt"/>
            </a:endParaRPr>
          </a:p>
        </p:txBody>
      </p:sp>
      <p:sp>
        <p:nvSpPr>
          <p:cNvPr id="34" name="Content_SM"/>
          <p:cNvSpPr>
            <a:spLocks noGrp="1" noChangeArrowheads="1"/>
          </p:cNvSpPr>
          <p:nvPr>
            <p:custDataLst>
              <p:tags r:id="rId31"/>
            </p:custDataLst>
          </p:nvPr>
        </p:nvSpPr>
        <p:spPr bwMode="gray">
          <a:xfrm>
            <a:off x="3221038" y="3535971"/>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E8D68E05-3306-47DB-AD4D-BDD3437FDA5D}" type="datetime'1'''''''''',''''''''''4''''''''5''''''''''''6'''''''''">
              <a:rPr lang="en-GB" altLang="en-US" sz="1000" b="1"/>
              <a:pPr/>
              <a:t>1,456</a:t>
            </a:fld>
            <a:endParaRPr lang="en-GB" sz="1000" b="1" dirty="0">
              <a:sym typeface="+mn-lt"/>
            </a:endParaRPr>
          </a:p>
        </p:txBody>
      </p:sp>
      <p:sp>
        <p:nvSpPr>
          <p:cNvPr id="35" name="Content_SM"/>
          <p:cNvSpPr>
            <a:spLocks noGrp="1" noChangeArrowheads="1"/>
          </p:cNvSpPr>
          <p:nvPr>
            <p:custDataLst>
              <p:tags r:id="rId32"/>
            </p:custDataLst>
          </p:nvPr>
        </p:nvSpPr>
        <p:spPr bwMode="gray">
          <a:xfrm>
            <a:off x="714375" y="4024921"/>
            <a:ext cx="244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10643FE-074D-4AD0-AEC5-8899F94B0D5E}" type="datetime'''''''''''''''''''''''9''''''''''''''''''39'''''''''''''''">
              <a:rPr lang="en-GB" altLang="en-US" sz="1000" b="1"/>
              <a:pPr/>
              <a:t>939</a:t>
            </a:fld>
            <a:endParaRPr lang="en-GB" sz="1000" b="1" dirty="0">
              <a:sym typeface="+mn-lt"/>
            </a:endParaRPr>
          </a:p>
        </p:txBody>
      </p:sp>
      <p:sp>
        <p:nvSpPr>
          <p:cNvPr id="36" name="Content_SM"/>
          <p:cNvSpPr>
            <a:spLocks noGrp="1" noChangeArrowheads="1"/>
          </p:cNvSpPr>
          <p:nvPr>
            <p:custDataLst>
              <p:tags r:id="rId33"/>
            </p:custDataLst>
          </p:nvPr>
        </p:nvSpPr>
        <p:spPr bwMode="gray">
          <a:xfrm>
            <a:off x="1301750" y="392173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81B55656-24E6-4142-B292-EA167D19C40A}" type="datetime'''''''''1'''''''''''''''''''',''04''''''''''''''''''''9'''''''">
              <a:rPr lang="en-GB" altLang="en-US" sz="1000" b="1"/>
              <a:pPr/>
              <a:t>1,049</a:t>
            </a:fld>
            <a:endParaRPr lang="en-GB" sz="1000" b="1" dirty="0">
              <a:sym typeface="+mn-lt"/>
            </a:endParaRPr>
          </a:p>
        </p:txBody>
      </p:sp>
      <p:sp>
        <p:nvSpPr>
          <p:cNvPr id="37" name="Content_SM"/>
          <p:cNvSpPr>
            <a:spLocks noGrp="1" noChangeArrowheads="1"/>
          </p:cNvSpPr>
          <p:nvPr>
            <p:custDataLst>
              <p:tags r:id="rId34"/>
            </p:custDataLst>
          </p:nvPr>
        </p:nvSpPr>
        <p:spPr bwMode="auto">
          <a:xfrm>
            <a:off x="1330325"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FBB767BC-8DD3-4130-AFCB-099976B19192}" type="datetime'''''''''''''''''201''''''''''''''''7'''''''''''">
              <a:rPr lang="en-GB" altLang="en-US" sz="1000">
                <a:sym typeface="+mn-lt"/>
              </a:rPr>
              <a:pPr/>
              <a:t>2017</a:t>
            </a:fld>
            <a:endParaRPr lang="en-GB" sz="1000" dirty="0">
              <a:sym typeface="+mn-lt"/>
            </a:endParaRPr>
          </a:p>
        </p:txBody>
      </p:sp>
      <p:sp>
        <p:nvSpPr>
          <p:cNvPr id="38" name="Content_SM"/>
          <p:cNvSpPr>
            <a:spLocks noGrp="1" noChangeArrowheads="1"/>
          </p:cNvSpPr>
          <p:nvPr>
            <p:custDataLst>
              <p:tags r:id="rId35"/>
            </p:custDataLst>
          </p:nvPr>
        </p:nvSpPr>
        <p:spPr bwMode="auto">
          <a:xfrm>
            <a:off x="1970088"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88CA005-0E8E-48B1-81A2-AE9054C664CB}" type="datetime'''''''''''20''''''''''1''''''''''''''''''''8'''''''''''">
              <a:rPr lang="en-GB" altLang="en-US" sz="1000">
                <a:sym typeface="+mn-lt"/>
              </a:rPr>
              <a:pPr/>
              <a:t>2018</a:t>
            </a:fld>
            <a:endParaRPr lang="en-GB" sz="1000" dirty="0">
              <a:sym typeface="+mn-lt"/>
            </a:endParaRPr>
          </a:p>
        </p:txBody>
      </p:sp>
      <p:sp>
        <p:nvSpPr>
          <p:cNvPr id="39" name="Content_SM"/>
          <p:cNvSpPr>
            <a:spLocks noGrp="1" noChangeArrowheads="1"/>
          </p:cNvSpPr>
          <p:nvPr>
            <p:custDataLst>
              <p:tags r:id="rId36"/>
            </p:custDataLst>
          </p:nvPr>
        </p:nvSpPr>
        <p:spPr bwMode="gray">
          <a:xfrm>
            <a:off x="1354138" y="4239233"/>
            <a:ext cx="244475" cy="152400"/>
          </a:xfrm>
          <a:prstGeom prst="rect">
            <a:avLst/>
          </a:prstGeom>
          <a:noFill/>
          <a:ln w="9525">
            <a:noFill/>
            <a:miter lim="800000"/>
            <a:headEnd/>
            <a:tailEnd/>
          </a:ln>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726438C3-8CB1-42CA-9030-3BAE754F9544}" type="datetime'1''''''1''''''''''''''''8'''''''''''''''''''''''''''''''''">
              <a:rPr lang="en-GB" altLang="en-US" sz="1000">
                <a:solidFill>
                  <a:schemeClr val="bg1"/>
                </a:solidFill>
                <a:sym typeface="+mn-lt"/>
              </a:rPr>
              <a:pPr marL="0" indent="0" algn="ctr">
                <a:spcBef>
                  <a:spcPct val="0"/>
                </a:spcBef>
                <a:buNone/>
              </a:pPr>
              <a:t>118</a:t>
            </a:fld>
            <a:endParaRPr lang="en-GB" sz="1000" dirty="0">
              <a:solidFill>
                <a:schemeClr val="bg1"/>
              </a:solidFill>
              <a:sym typeface="+mn-lt"/>
            </a:endParaRPr>
          </a:p>
        </p:txBody>
      </p:sp>
      <p:sp>
        <p:nvSpPr>
          <p:cNvPr id="40" name="Content_SM"/>
          <p:cNvSpPr>
            <a:spLocks noGrp="1" noChangeArrowheads="1"/>
          </p:cNvSpPr>
          <p:nvPr>
            <p:custDataLst>
              <p:tags r:id="rId37"/>
            </p:custDataLst>
          </p:nvPr>
        </p:nvSpPr>
        <p:spPr bwMode="gray">
          <a:xfrm>
            <a:off x="1941513" y="381378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FF1856F7-CE5F-498D-BDE3-436477B7843D}" type="datetime'''''''''''''''''''''''''''''''''''''1'',''''''''''166'''">
              <a:rPr lang="en-GB" altLang="en-US" sz="1000" b="1"/>
              <a:pPr/>
              <a:t>1,166</a:t>
            </a:fld>
            <a:endParaRPr lang="en-GB" sz="1000" b="1" dirty="0">
              <a:sym typeface="+mn-lt"/>
            </a:endParaRPr>
          </a:p>
        </p:txBody>
      </p:sp>
      <p:sp>
        <p:nvSpPr>
          <p:cNvPr id="41" name="Content_SM"/>
          <p:cNvSpPr>
            <a:spLocks noGrp="1" noChangeArrowheads="1"/>
          </p:cNvSpPr>
          <p:nvPr>
            <p:custDataLst>
              <p:tags r:id="rId38"/>
            </p:custDataLst>
          </p:nvPr>
        </p:nvSpPr>
        <p:spPr bwMode="auto">
          <a:xfrm>
            <a:off x="690563"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AC0E850-FB8E-4B87-B1D8-6C26C44612D9}" type="datetime'''''''''''''2''''''''''''''01''''''''''''''6'''''''''''">
              <a:rPr lang="en-GB" altLang="en-US" sz="1000">
                <a:sym typeface="+mn-lt"/>
              </a:rPr>
              <a:pPr/>
              <a:t>2016</a:t>
            </a:fld>
            <a:endParaRPr lang="en-GB" sz="1000" dirty="0">
              <a:sym typeface="+mn-lt"/>
            </a:endParaRPr>
          </a:p>
        </p:txBody>
      </p:sp>
      <p:sp>
        <p:nvSpPr>
          <p:cNvPr id="42" name="Content_SM"/>
          <p:cNvSpPr>
            <a:spLocks noGrp="1" noChangeArrowheads="1"/>
          </p:cNvSpPr>
          <p:nvPr>
            <p:custDataLst>
              <p:tags r:id="rId39"/>
            </p:custDataLst>
          </p:nvPr>
        </p:nvSpPr>
        <p:spPr bwMode="gray">
          <a:xfrm>
            <a:off x="1993900" y="4153508"/>
            <a:ext cx="244475" cy="152400"/>
          </a:xfrm>
          <a:prstGeom prst="rect">
            <a:avLst/>
          </a:prstGeom>
          <a:noFill/>
          <a:ln w="9525">
            <a:noFill/>
            <a:miter lim="800000"/>
            <a:headEnd/>
            <a:tailEnd/>
          </a:ln>
        </p:spPr>
        <p:txBody>
          <a:bodyPr vert="horz" wrap="none" lIns="17463" tIns="0" rIns="17463"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6C412DD3-748A-479E-91AD-B9C5D108ED86}" type="datetime'''''''''''''1''''''''''2''''''''''''''''''''''''''''''''9'''">
              <a:rPr lang="en-GB" altLang="en-US" sz="1000">
                <a:solidFill>
                  <a:schemeClr val="bg1"/>
                </a:solidFill>
                <a:sym typeface="+mn-lt"/>
              </a:rPr>
              <a:pPr marL="0" indent="0" algn="ctr">
                <a:spcBef>
                  <a:spcPct val="0"/>
                </a:spcBef>
                <a:buNone/>
              </a:pPr>
              <a:t>129</a:t>
            </a:fld>
            <a:endParaRPr lang="en-GB" sz="1000" dirty="0">
              <a:solidFill>
                <a:schemeClr val="bg1"/>
              </a:solidFill>
              <a:sym typeface="+mn-lt"/>
            </a:endParaRPr>
          </a:p>
        </p:txBody>
      </p:sp>
      <p:sp>
        <p:nvSpPr>
          <p:cNvPr id="43" name="Content_SM"/>
          <p:cNvSpPr>
            <a:spLocks noGrp="1" noChangeArrowheads="1"/>
          </p:cNvSpPr>
          <p:nvPr>
            <p:custDataLst>
              <p:tags r:id="rId40"/>
            </p:custDataLst>
          </p:nvPr>
        </p:nvSpPr>
        <p:spPr bwMode="auto">
          <a:xfrm>
            <a:off x="6446838"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EA5917B5-AC9D-459A-91FC-0277A8E2A8F9}" type="datetime'''''''''''''''''''''2''0''2''''''''5'">
              <a:rPr lang="en-GB" altLang="en-US" sz="1000">
                <a:sym typeface="+mn-lt"/>
              </a:rPr>
              <a:pPr/>
              <a:t>2025</a:t>
            </a:fld>
            <a:endParaRPr lang="en-GB" sz="1000" dirty="0">
              <a:sym typeface="+mn-lt"/>
            </a:endParaRPr>
          </a:p>
        </p:txBody>
      </p:sp>
      <p:sp>
        <p:nvSpPr>
          <p:cNvPr id="44" name="Content_SM"/>
          <p:cNvSpPr>
            <a:spLocks noGrp="1" noChangeArrowheads="1"/>
          </p:cNvSpPr>
          <p:nvPr>
            <p:custDataLst>
              <p:tags r:id="rId41"/>
            </p:custDataLst>
          </p:nvPr>
        </p:nvSpPr>
        <p:spPr bwMode="gray">
          <a:xfrm>
            <a:off x="6418263" y="2218346"/>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E7CA15D8-3483-42D9-ACCD-7CE4B1A0DAE0}" type="datetime'''''''''''''''2'''''''''',''''''''''8''''''''''''''''5''''''2'">
              <a:rPr lang="en-GB" altLang="en-US" sz="1000" b="1"/>
              <a:pPr/>
              <a:t>2,852</a:t>
            </a:fld>
            <a:endParaRPr lang="en-GB" sz="1000" b="1" dirty="0">
              <a:sym typeface="+mn-lt"/>
            </a:endParaRPr>
          </a:p>
        </p:txBody>
      </p:sp>
      <p:sp>
        <p:nvSpPr>
          <p:cNvPr id="45" name="Content_SM"/>
          <p:cNvSpPr>
            <a:spLocks noGrp="1" noChangeArrowheads="1"/>
          </p:cNvSpPr>
          <p:nvPr>
            <p:custDataLst>
              <p:tags r:id="rId42"/>
            </p:custDataLst>
          </p:nvPr>
        </p:nvSpPr>
        <p:spPr bwMode="auto">
          <a:xfrm>
            <a:off x="5072123" y="2202691"/>
            <a:ext cx="569912" cy="553159"/>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7AE46FD-DCA2-4EA3-B3CF-884567977E1C}" type="datetime'+''''''1''''''4''''''''''''''''''''''''''''''''''''''%'''''">
              <a:rPr lang="en-GB" altLang="en-US" sz="1200" b="1"/>
              <a:pPr marL="0" indent="0" algn="ctr">
                <a:spcBef>
                  <a:spcPct val="0"/>
                </a:spcBef>
                <a:buNone/>
              </a:pPr>
              <a:t>+14%</a:t>
            </a:fld>
            <a:endParaRPr lang="en-GB" sz="1200" b="1" dirty="0">
              <a:sym typeface="+mn-lt"/>
            </a:endParaRPr>
          </a:p>
        </p:txBody>
      </p:sp>
      <p:sp>
        <p:nvSpPr>
          <p:cNvPr id="46" name="Content_SM"/>
          <p:cNvSpPr>
            <a:spLocks noGrp="1" noChangeArrowheads="1"/>
          </p:cNvSpPr>
          <p:nvPr>
            <p:custDataLst>
              <p:tags r:id="rId43"/>
            </p:custDataLst>
          </p:nvPr>
        </p:nvSpPr>
        <p:spPr bwMode="auto">
          <a:xfrm>
            <a:off x="7086600"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563BF1D-BF61-4D54-87F0-7BD9F6B9951D}" type="datetime'2''''''''''''''''''''0''''''''''''''''2''6'''''''''''''''">
              <a:rPr lang="en-GB" altLang="en-US" sz="1000">
                <a:sym typeface="+mn-lt"/>
              </a:rPr>
              <a:pPr/>
              <a:t>2026</a:t>
            </a:fld>
            <a:endParaRPr lang="en-GB" sz="1000" dirty="0">
              <a:sym typeface="+mn-lt"/>
            </a:endParaRPr>
          </a:p>
        </p:txBody>
      </p:sp>
      <p:sp>
        <p:nvSpPr>
          <p:cNvPr id="47" name="Content_SM"/>
          <p:cNvSpPr>
            <a:spLocks noGrp="1" noChangeArrowheads="1"/>
          </p:cNvSpPr>
          <p:nvPr>
            <p:custDataLst>
              <p:tags r:id="rId44"/>
            </p:custDataLst>
          </p:nvPr>
        </p:nvSpPr>
        <p:spPr bwMode="auto">
          <a:xfrm>
            <a:off x="3697542" y="2302178"/>
            <a:ext cx="550608" cy="545797"/>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6915445B-A6EA-4A54-B204-B831EB50E8C5}" type="datetime'''''''''+1''''''''''3''''''''''''''%'''''''''''''''''">
              <a:rPr lang="en-GB" altLang="en-US" sz="1200" b="1"/>
              <a:pPr marL="0" indent="0" algn="ctr">
                <a:spcBef>
                  <a:spcPct val="0"/>
                </a:spcBef>
                <a:buNone/>
              </a:pPr>
              <a:t>+13%</a:t>
            </a:fld>
            <a:endParaRPr lang="en-GB" sz="1200" b="1" dirty="0">
              <a:sym typeface="+mn-lt"/>
            </a:endParaRPr>
          </a:p>
        </p:txBody>
      </p:sp>
      <p:sp>
        <p:nvSpPr>
          <p:cNvPr id="48" name="Content_SM"/>
          <p:cNvSpPr>
            <a:spLocks noGrp="1" noChangeArrowheads="1"/>
          </p:cNvSpPr>
          <p:nvPr>
            <p:custDataLst>
              <p:tags r:id="rId45"/>
            </p:custDataLst>
          </p:nvPr>
        </p:nvSpPr>
        <p:spPr bwMode="auto">
          <a:xfrm>
            <a:off x="1993900" y="3279608"/>
            <a:ext cx="508509" cy="492900"/>
          </a:xfrm>
          <a:prstGeom prst="ellipse">
            <a:avLst/>
          </a:prstGeom>
          <a:solidFill>
            <a:schemeClr val="bg1"/>
          </a:solidFill>
          <a:ln w="25400" cap="flat" cmpd="sng" algn="ctr">
            <a:solidFill>
              <a:srgbClr val="B1B3B4"/>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p>
            <a:pPr algn="ctr">
              <a:spcBef>
                <a:spcPct val="0"/>
              </a:spcBef>
              <a:buClr>
                <a:srgbClr val="00A9D4"/>
              </a:buClr>
              <a:buFont typeface="Arial" charset="0"/>
              <a:buNone/>
            </a:pPr>
            <a:fld id="{3012058E-C9B3-4E0D-A5EE-FA4A76D655E1}" type="datetime'''''''''''''+''''''1''''''''''''''''''''2%'''''''">
              <a:rPr lang="en-GB" altLang="en-US" sz="1200" b="1">
                <a:latin typeface="+mn-lt"/>
              </a:rPr>
              <a:pPr algn="ctr">
                <a:spcBef>
                  <a:spcPct val="0"/>
                </a:spcBef>
                <a:buClr>
                  <a:srgbClr val="00A9D4"/>
                </a:buClr>
                <a:buFont typeface="Arial" charset="0"/>
                <a:buNone/>
              </a:pPr>
              <a:t>+12%</a:t>
            </a:fld>
            <a:endParaRPr lang="en-GB" sz="1200" b="1" dirty="0">
              <a:latin typeface="+mn-lt"/>
              <a:sym typeface="+mn-lt"/>
            </a:endParaRPr>
          </a:p>
        </p:txBody>
      </p:sp>
      <p:sp>
        <p:nvSpPr>
          <p:cNvPr id="49" name="Content_SM"/>
          <p:cNvSpPr>
            <a:spLocks noGrp="1" noChangeArrowheads="1"/>
          </p:cNvSpPr>
          <p:nvPr>
            <p:custDataLst>
              <p:tags r:id="rId46"/>
            </p:custDataLst>
          </p:nvPr>
        </p:nvSpPr>
        <p:spPr bwMode="auto">
          <a:xfrm>
            <a:off x="3887788"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890BAAA1-5576-4C5B-9D7B-4DE81B6A17F0}" type="datetime'''2''''''''''''''0''''2''''''''''''''''''''''''''''1'''''''''">
              <a:rPr lang="en-GB" altLang="en-US" sz="1000">
                <a:sym typeface="+mn-lt"/>
              </a:rPr>
              <a:pPr/>
              <a:t>2021</a:t>
            </a:fld>
            <a:endParaRPr lang="en-GB" sz="1000" dirty="0">
              <a:sym typeface="+mn-lt"/>
            </a:endParaRPr>
          </a:p>
        </p:txBody>
      </p:sp>
      <p:sp>
        <p:nvSpPr>
          <p:cNvPr id="50" name="Content_SM"/>
          <p:cNvSpPr>
            <a:spLocks noGrp="1" noChangeArrowheads="1"/>
          </p:cNvSpPr>
          <p:nvPr>
            <p:custDataLst>
              <p:tags r:id="rId47"/>
            </p:custDataLst>
          </p:nvPr>
        </p:nvSpPr>
        <p:spPr bwMode="gray">
          <a:xfrm>
            <a:off x="7058025" y="1815121"/>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DA36108-D44E-4C28-92BD-41EA830E8CA5}" type="datetime'''''''''''3'''',''''''28''''''''1'''''''''''''''''''''">
              <a:rPr lang="en-GB" altLang="en-US" sz="1000" b="1"/>
              <a:pPr/>
              <a:t>3,281</a:t>
            </a:fld>
            <a:endParaRPr lang="en-GB" sz="1000" b="1" dirty="0">
              <a:sym typeface="+mn-lt"/>
            </a:endParaRPr>
          </a:p>
        </p:txBody>
      </p:sp>
      <p:sp>
        <p:nvSpPr>
          <p:cNvPr id="51" name="Content_SM"/>
          <p:cNvSpPr>
            <a:spLocks noGrp="1" noChangeArrowheads="1"/>
          </p:cNvSpPr>
          <p:nvPr>
            <p:custDataLst>
              <p:tags r:id="rId48"/>
            </p:custDataLst>
          </p:nvPr>
        </p:nvSpPr>
        <p:spPr bwMode="gray">
          <a:xfrm>
            <a:off x="5778500" y="2572358"/>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370C0903-F903-4A3B-9E46-50C1F3B3B47D}" type="datetime'''''''''''''2'''',''''48''''''''''''''''''''''0'''''">
              <a:rPr lang="en-GB" altLang="en-US" sz="1000" b="1"/>
              <a:pPr/>
              <a:t>2,480</a:t>
            </a:fld>
            <a:endParaRPr lang="en-GB" sz="1000" b="1" dirty="0">
              <a:sym typeface="+mn-lt"/>
            </a:endParaRPr>
          </a:p>
        </p:txBody>
      </p:sp>
      <p:sp>
        <p:nvSpPr>
          <p:cNvPr id="52" name="Content_SM"/>
          <p:cNvSpPr>
            <a:spLocks noGrp="1" noChangeArrowheads="1"/>
          </p:cNvSpPr>
          <p:nvPr>
            <p:custDataLst>
              <p:tags r:id="rId49"/>
            </p:custDataLst>
          </p:nvPr>
        </p:nvSpPr>
        <p:spPr bwMode="auto">
          <a:xfrm>
            <a:off x="5167313"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AE2BC578-BA5A-4B75-9E4E-707BC9AEDA66}" type="datetime'''''''''''''2''''0''2''3'''''''''''''''''''''''''''''''''">
              <a:rPr lang="en-GB" altLang="en-US" sz="1000">
                <a:sym typeface="+mn-lt"/>
              </a:rPr>
              <a:pPr/>
              <a:t>2023</a:t>
            </a:fld>
            <a:endParaRPr lang="en-GB" sz="1000" dirty="0">
              <a:sym typeface="+mn-lt"/>
            </a:endParaRPr>
          </a:p>
        </p:txBody>
      </p:sp>
      <p:sp>
        <p:nvSpPr>
          <p:cNvPr id="53" name="Content_SM"/>
          <p:cNvSpPr>
            <a:spLocks noGrp="1" noChangeArrowheads="1"/>
          </p:cNvSpPr>
          <p:nvPr>
            <p:custDataLst>
              <p:tags r:id="rId50"/>
            </p:custDataLst>
          </p:nvPr>
        </p:nvSpPr>
        <p:spPr bwMode="auto">
          <a:xfrm>
            <a:off x="4529138"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4CB72C58-3162-4522-87AC-E68577BEFAD4}" type="datetime'''''''20''''''''''''''''22'''''''''''''''''''''''''''''''">
              <a:rPr lang="en-GB" altLang="en-US" sz="1000">
                <a:sym typeface="+mn-lt"/>
              </a:rPr>
              <a:pPr/>
              <a:t>2022</a:t>
            </a:fld>
            <a:endParaRPr lang="en-GB" sz="1000" dirty="0">
              <a:sym typeface="+mn-lt"/>
            </a:endParaRPr>
          </a:p>
        </p:txBody>
      </p:sp>
      <p:sp>
        <p:nvSpPr>
          <p:cNvPr id="54" name="Content_SM"/>
          <p:cNvSpPr>
            <a:spLocks noGrp="1" noChangeArrowheads="1"/>
          </p:cNvSpPr>
          <p:nvPr>
            <p:custDataLst>
              <p:tags r:id="rId51"/>
            </p:custDataLst>
          </p:nvPr>
        </p:nvSpPr>
        <p:spPr bwMode="auto">
          <a:xfrm>
            <a:off x="5807075" y="5164746"/>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65BFB4E9-70FE-4ACC-A834-D47B5FF5571C}" type="datetime'2''''''''''''''''''''''0''''2''4'''''''''''''''''''''''''''''">
              <a:rPr lang="en-GB" altLang="en-US" sz="1000">
                <a:sym typeface="+mn-lt"/>
              </a:rPr>
              <a:pPr/>
              <a:t>2024</a:t>
            </a:fld>
            <a:endParaRPr lang="en-GB" sz="1000" dirty="0">
              <a:sym typeface="+mn-lt"/>
            </a:endParaRPr>
          </a:p>
        </p:txBody>
      </p:sp>
      <p:sp>
        <p:nvSpPr>
          <p:cNvPr id="55" name="Content_SM"/>
          <p:cNvSpPr>
            <a:spLocks noGrp="1" noChangeArrowheads="1"/>
          </p:cNvSpPr>
          <p:nvPr>
            <p:custDataLst>
              <p:tags r:id="rId52"/>
            </p:custDataLst>
          </p:nvPr>
        </p:nvSpPr>
        <p:spPr bwMode="gray">
          <a:xfrm>
            <a:off x="5138738" y="2866046"/>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3FC04506-F544-4E50-9A06-3516190B752D}" type="datetime'''''''''''''''''''''2'''''''''''''''''''',''''''1''''''67'''''">
              <a:rPr lang="en-GB" altLang="en-US" sz="1000" b="1"/>
              <a:pPr/>
              <a:t>2,167</a:t>
            </a:fld>
            <a:endParaRPr lang="en-GB" sz="1000" b="1" dirty="0">
              <a:sym typeface="+mn-lt"/>
            </a:endParaRPr>
          </a:p>
        </p:txBody>
      </p:sp>
      <p:sp>
        <p:nvSpPr>
          <p:cNvPr id="56" name="Content_SM"/>
          <p:cNvSpPr>
            <a:spLocks noGrp="1" noChangeArrowheads="1"/>
          </p:cNvSpPr>
          <p:nvPr>
            <p:custDataLst>
              <p:tags r:id="rId53"/>
            </p:custDataLst>
          </p:nvPr>
        </p:nvSpPr>
        <p:spPr bwMode="gray">
          <a:xfrm>
            <a:off x="4500563" y="3121633"/>
            <a:ext cx="349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spcCol="0" anchor="b" anchorCtr="0" compatLnSpc="1">
            <a:prstTxWarp prst="textNoShape">
              <a:avLst/>
            </a:prstTxWarp>
            <a:noAutofit/>
          </a:bodyPr>
          <a:lstStyle>
            <a:lvl1pPr marL="176213" indent="-176213" algn="l" rtl="0" eaLnBrk="1" fontAlgn="base" hangingPunct="1">
              <a:spcBef>
                <a:spcPct val="20000"/>
              </a:spcBef>
              <a:spcAft>
                <a:spcPct val="0"/>
              </a:spcAft>
              <a:buClr>
                <a:srgbClr val="00A9D4"/>
              </a:buClr>
              <a:buFont typeface="Arial" charset="0"/>
              <a:buChar char="›"/>
              <a:defRPr sz="20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18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18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ctr">
              <a:spcBef>
                <a:spcPct val="0"/>
              </a:spcBef>
              <a:buNone/>
            </a:pPr>
            <a:fld id="{5F32BB6F-033C-43AA-BF9B-1135CBC7D03C}" type="datetime'''''''''''''''''''''''''''''''''''''''1,''''8''9''''''''''6'''">
              <a:rPr lang="en-GB" altLang="en-US" sz="1000" b="1"/>
              <a:pPr/>
              <a:t>1,896</a:t>
            </a:fld>
            <a:endParaRPr lang="en-GB" sz="1000" b="1" dirty="0">
              <a:sym typeface="+mn-lt"/>
            </a:endParaRPr>
          </a:p>
        </p:txBody>
      </p:sp>
      <p:sp>
        <p:nvSpPr>
          <p:cNvPr id="57" name="Rectangle 3"/>
          <p:cNvSpPr>
            <a:spLocks noChangeArrowheads="1"/>
          </p:cNvSpPr>
          <p:nvPr/>
        </p:nvSpPr>
        <p:spPr bwMode="auto">
          <a:xfrm>
            <a:off x="1254849" y="5489065"/>
            <a:ext cx="9682303" cy="924435"/>
          </a:xfrm>
          <a:prstGeom prst="roundRect">
            <a:avLst>
              <a:gd name="adj" fmla="val 5620"/>
            </a:avLst>
          </a:prstGeom>
          <a:blipFill>
            <a:blip r:embed="rId57"/>
            <a:stretch>
              <a:fillRect/>
            </a:stretch>
          </a:blipFill>
          <a:ln w="12700">
            <a:noFill/>
            <a:miter lim="800000"/>
            <a:headEnd/>
            <a:tailEnd/>
          </a:ln>
          <a:effectLst/>
          <a:extLst/>
        </p:spPr>
        <p:txBody>
          <a:bodyPr lIns="90000" tIns="91440" bIns="91440" anchor="ctr">
            <a:noAutofit/>
          </a:bodyPr>
          <a:lstStyle/>
          <a:p>
            <a:pPr marL="914400">
              <a:spcBef>
                <a:spcPts val="0"/>
              </a:spcBef>
            </a:pPr>
            <a:r>
              <a:rPr lang="en-US" sz="1600" b="1" dirty="0">
                <a:solidFill>
                  <a:srgbClr val="FFFFFF"/>
                </a:solidFill>
              </a:rPr>
              <a:t>Industry digitalization revenues</a:t>
            </a:r>
          </a:p>
          <a:p>
            <a:pPr marL="914400">
              <a:spcBef>
                <a:spcPts val="0"/>
              </a:spcBef>
            </a:pPr>
            <a:r>
              <a:rPr lang="en-US" sz="1400" dirty="0">
                <a:solidFill>
                  <a:srgbClr val="FFFFFF"/>
                </a:solidFill>
              </a:rPr>
              <a:t>Revenues obtained from the adoption and integration of digital technologies and </a:t>
            </a:r>
            <a:r>
              <a:rPr lang="en-US" sz="1400" dirty="0" err="1">
                <a:solidFill>
                  <a:srgbClr val="FFFFFF"/>
                </a:solidFill>
              </a:rPr>
              <a:t>IoT</a:t>
            </a:r>
            <a:r>
              <a:rPr lang="en-US" sz="1400" dirty="0">
                <a:solidFill>
                  <a:srgbClr val="FFFFFF"/>
                </a:solidFill>
              </a:rPr>
              <a:t> into a specific industry which lead to new value-producing opportunities and revenue streams</a:t>
            </a:r>
          </a:p>
        </p:txBody>
      </p:sp>
      <p:sp>
        <p:nvSpPr>
          <p:cNvPr id="58" name="Freeform 3"/>
          <p:cNvSpPr>
            <a:spLocks noChangeAspect="1" noEditPoints="1"/>
          </p:cNvSpPr>
          <p:nvPr/>
        </p:nvSpPr>
        <p:spPr bwMode="auto">
          <a:xfrm>
            <a:off x="1456282" y="5710745"/>
            <a:ext cx="672012" cy="541192"/>
          </a:xfrm>
          <a:custGeom>
            <a:avLst/>
            <a:gdLst>
              <a:gd name="T0" fmla="*/ 2147483646 w 524"/>
              <a:gd name="T1" fmla="*/ 2147483646 h 422"/>
              <a:gd name="T2" fmla="*/ 2147483646 w 524"/>
              <a:gd name="T3" fmla="*/ 2147483646 h 422"/>
              <a:gd name="T4" fmla="*/ 2147483646 w 524"/>
              <a:gd name="T5" fmla="*/ 2147483646 h 422"/>
              <a:gd name="T6" fmla="*/ 2147483646 w 524"/>
              <a:gd name="T7" fmla="*/ 2147483646 h 422"/>
              <a:gd name="T8" fmla="*/ 2147483646 w 524"/>
              <a:gd name="T9" fmla="*/ 2147483646 h 422"/>
              <a:gd name="T10" fmla="*/ 2147483646 w 524"/>
              <a:gd name="T11" fmla="*/ 2147483646 h 422"/>
              <a:gd name="T12" fmla="*/ 2147483646 w 524"/>
              <a:gd name="T13" fmla="*/ 2147483646 h 422"/>
              <a:gd name="T14" fmla="*/ 2147483646 w 524"/>
              <a:gd name="T15" fmla="*/ 2147483646 h 422"/>
              <a:gd name="T16" fmla="*/ 2147483646 w 524"/>
              <a:gd name="T17" fmla="*/ 2147483646 h 422"/>
              <a:gd name="T18" fmla="*/ 2147483646 w 524"/>
              <a:gd name="T19" fmla="*/ 2147483646 h 422"/>
              <a:gd name="T20" fmla="*/ 2147483646 w 524"/>
              <a:gd name="T21" fmla="*/ 2147483646 h 422"/>
              <a:gd name="T22" fmla="*/ 2147483646 w 524"/>
              <a:gd name="T23" fmla="*/ 2147483646 h 422"/>
              <a:gd name="T24" fmla="*/ 2147483646 w 524"/>
              <a:gd name="T25" fmla="*/ 2147483646 h 422"/>
              <a:gd name="T26" fmla="*/ 2147483646 w 524"/>
              <a:gd name="T27" fmla="*/ 2147483646 h 422"/>
              <a:gd name="T28" fmla="*/ 2147483646 w 524"/>
              <a:gd name="T29" fmla="*/ 2147483646 h 422"/>
              <a:gd name="T30" fmla="*/ 2147483646 w 524"/>
              <a:gd name="T31" fmla="*/ 2147483646 h 422"/>
              <a:gd name="T32" fmla="*/ 2147483646 w 524"/>
              <a:gd name="T33" fmla="*/ 2147483646 h 422"/>
              <a:gd name="T34" fmla="*/ 2147483646 w 524"/>
              <a:gd name="T35" fmla="*/ 2147483646 h 422"/>
              <a:gd name="T36" fmla="*/ 2147483646 w 524"/>
              <a:gd name="T37" fmla="*/ 2147483646 h 422"/>
              <a:gd name="T38" fmla="*/ 2147483646 w 524"/>
              <a:gd name="T39" fmla="*/ 2147483646 h 422"/>
              <a:gd name="T40" fmla="*/ 2147483646 w 524"/>
              <a:gd name="T41" fmla="*/ 2147483646 h 422"/>
              <a:gd name="T42" fmla="*/ 2147483646 w 524"/>
              <a:gd name="T43" fmla="*/ 2147483646 h 422"/>
              <a:gd name="T44" fmla="*/ 2147483646 w 524"/>
              <a:gd name="T45" fmla="*/ 2147483646 h 422"/>
              <a:gd name="T46" fmla="*/ 2147483646 w 524"/>
              <a:gd name="T47" fmla="*/ 2147483646 h 422"/>
              <a:gd name="T48" fmla="*/ 2147483646 w 524"/>
              <a:gd name="T49" fmla="*/ 2147483646 h 422"/>
              <a:gd name="T50" fmla="*/ 2147483646 w 524"/>
              <a:gd name="T51" fmla="*/ 2147483646 h 422"/>
              <a:gd name="T52" fmla="*/ 2147483646 w 524"/>
              <a:gd name="T53" fmla="*/ 2147483646 h 422"/>
              <a:gd name="T54" fmla="*/ 2147483646 w 524"/>
              <a:gd name="T55" fmla="*/ 2147483646 h 422"/>
              <a:gd name="T56" fmla="*/ 2147483646 w 524"/>
              <a:gd name="T57" fmla="*/ 2147483646 h 422"/>
              <a:gd name="T58" fmla="*/ 2147483646 w 524"/>
              <a:gd name="T59" fmla="*/ 2147483646 h 422"/>
              <a:gd name="T60" fmla="*/ 2147483646 w 524"/>
              <a:gd name="T61" fmla="*/ 2147483646 h 422"/>
              <a:gd name="T62" fmla="*/ 2147483646 w 524"/>
              <a:gd name="T63" fmla="*/ 2147483646 h 422"/>
              <a:gd name="T64" fmla="*/ 2147483646 w 524"/>
              <a:gd name="T65" fmla="*/ 2147483646 h 422"/>
              <a:gd name="T66" fmla="*/ 2147483646 w 524"/>
              <a:gd name="T67" fmla="*/ 2147483646 h 422"/>
              <a:gd name="T68" fmla="*/ 2147483646 w 524"/>
              <a:gd name="T69" fmla="*/ 2147483646 h 422"/>
              <a:gd name="T70" fmla="*/ 2147483646 w 524"/>
              <a:gd name="T71" fmla="*/ 2147483646 h 422"/>
              <a:gd name="T72" fmla="*/ 2147483646 w 524"/>
              <a:gd name="T73" fmla="*/ 2147483646 h 422"/>
              <a:gd name="T74" fmla="*/ 2147483646 w 524"/>
              <a:gd name="T75" fmla="*/ 2147483646 h 422"/>
              <a:gd name="T76" fmla="*/ 2147483646 w 524"/>
              <a:gd name="T77" fmla="*/ 2147483646 h 422"/>
              <a:gd name="T78" fmla="*/ 2147483646 w 524"/>
              <a:gd name="T79" fmla="*/ 2147483646 h 422"/>
              <a:gd name="T80" fmla="*/ 2147483646 w 524"/>
              <a:gd name="T81" fmla="*/ 2147483646 h 422"/>
              <a:gd name="T82" fmla="*/ 2147483646 w 524"/>
              <a:gd name="T83" fmla="*/ 2147483646 h 422"/>
              <a:gd name="T84" fmla="*/ 2147483646 w 524"/>
              <a:gd name="T85" fmla="*/ 2147483646 h 422"/>
              <a:gd name="T86" fmla="*/ 2147483646 w 524"/>
              <a:gd name="T87" fmla="*/ 2147483646 h 422"/>
              <a:gd name="T88" fmla="*/ 2147483646 w 524"/>
              <a:gd name="T89" fmla="*/ 2147483646 h 422"/>
              <a:gd name="T90" fmla="*/ 2147483646 w 524"/>
              <a:gd name="T91" fmla="*/ 2147483646 h 422"/>
              <a:gd name="T92" fmla="*/ 2147483646 w 524"/>
              <a:gd name="T93" fmla="*/ 2147483646 h 422"/>
              <a:gd name="T94" fmla="*/ 2147483646 w 524"/>
              <a:gd name="T95" fmla="*/ 2147483646 h 422"/>
              <a:gd name="T96" fmla="*/ 2147483646 w 524"/>
              <a:gd name="T97" fmla="*/ 2147483646 h 422"/>
              <a:gd name="T98" fmla="*/ 2147483646 w 524"/>
              <a:gd name="T99" fmla="*/ 2147483646 h 422"/>
              <a:gd name="T100" fmla="*/ 2147483646 w 524"/>
              <a:gd name="T101" fmla="*/ 2147483646 h 422"/>
              <a:gd name="T102" fmla="*/ 2147483646 w 524"/>
              <a:gd name="T103" fmla="*/ 2147483646 h 422"/>
              <a:gd name="T104" fmla="*/ 2147483646 w 524"/>
              <a:gd name="T105" fmla="*/ 2147483646 h 422"/>
              <a:gd name="T106" fmla="*/ 2147483646 w 524"/>
              <a:gd name="T107" fmla="*/ 2147483646 h 422"/>
              <a:gd name="T108" fmla="*/ 2147483646 w 524"/>
              <a:gd name="T109" fmla="*/ 2147483646 h 422"/>
              <a:gd name="T110" fmla="*/ 2147483646 w 524"/>
              <a:gd name="T111" fmla="*/ 2147483646 h 422"/>
              <a:gd name="T112" fmla="*/ 2147483646 w 524"/>
              <a:gd name="T113" fmla="*/ 2147483646 h 422"/>
              <a:gd name="T114" fmla="*/ 2147483646 w 524"/>
              <a:gd name="T115" fmla="*/ 2147483646 h 422"/>
              <a:gd name="T116" fmla="*/ 2147483646 w 524"/>
              <a:gd name="T117" fmla="*/ 2147483646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6" y="191"/>
                  <a:pt x="441" y="189"/>
                </a:cubicBezTo>
                <a:cubicBezTo>
                  <a:pt x="435" y="186"/>
                  <a:pt x="435" y="186"/>
                  <a:pt x="435" y="186"/>
                </a:cubicBezTo>
                <a:cubicBezTo>
                  <a:pt x="446" y="173"/>
                  <a:pt x="446" y="173"/>
                  <a:pt x="446" y="173"/>
                </a:cubicBezTo>
                <a:cubicBezTo>
                  <a:pt x="448" y="171"/>
                  <a:pt x="449" y="168"/>
                  <a:pt x="449" y="165"/>
                </a:cubicBezTo>
                <a:cubicBezTo>
                  <a:pt x="449" y="160"/>
                  <a:pt x="446" y="156"/>
                  <a:pt x="441" y="154"/>
                </a:cubicBezTo>
                <a:cubicBezTo>
                  <a:pt x="435" y="151"/>
                  <a:pt x="435" y="151"/>
                  <a:pt x="435" y="151"/>
                </a:cubicBezTo>
                <a:cubicBezTo>
                  <a:pt x="446" y="138"/>
                  <a:pt x="446" y="138"/>
                  <a:pt x="446" y="138"/>
                </a:cubicBezTo>
                <a:cubicBezTo>
                  <a:pt x="448" y="136"/>
                  <a:pt x="449" y="133"/>
                  <a:pt x="449" y="130"/>
                </a:cubicBezTo>
                <a:cubicBezTo>
                  <a:pt x="449" y="125"/>
                  <a:pt x="445" y="120"/>
                  <a:pt x="441" y="119"/>
                </a:cubicBezTo>
                <a:cubicBezTo>
                  <a:pt x="340" y="80"/>
                  <a:pt x="340" y="80"/>
                  <a:pt x="340" y="80"/>
                </a:cubicBezTo>
                <a:cubicBezTo>
                  <a:pt x="338" y="80"/>
                  <a:pt x="336" y="79"/>
                  <a:pt x="334" y="79"/>
                </a:cubicBezTo>
                <a:cubicBezTo>
                  <a:pt x="330" y="80"/>
                  <a:pt x="325" y="81"/>
                  <a:pt x="322" y="85"/>
                </a:cubicBezTo>
                <a:cubicBezTo>
                  <a:pt x="290" y="122"/>
                  <a:pt x="290" y="122"/>
                  <a:pt x="290" y="122"/>
                </a:cubicBezTo>
                <a:cubicBezTo>
                  <a:pt x="288" y="124"/>
                  <a:pt x="287" y="127"/>
                  <a:pt x="287" y="130"/>
                </a:cubicBezTo>
                <a:cubicBezTo>
                  <a:pt x="287" y="135"/>
                  <a:pt x="291" y="140"/>
                  <a:pt x="295" y="141"/>
                </a:cubicBezTo>
                <a:cubicBezTo>
                  <a:pt x="303" y="144"/>
                  <a:pt x="303" y="144"/>
                  <a:pt x="303" y="144"/>
                </a:cubicBezTo>
                <a:cubicBezTo>
                  <a:pt x="290" y="157"/>
                  <a:pt x="290" y="157"/>
                  <a:pt x="290" y="157"/>
                </a:cubicBezTo>
                <a:cubicBezTo>
                  <a:pt x="290" y="157"/>
                  <a:pt x="290" y="157"/>
                  <a:pt x="290" y="157"/>
                </a:cubicBezTo>
                <a:cubicBezTo>
                  <a:pt x="288" y="159"/>
                  <a:pt x="287" y="162"/>
                  <a:pt x="287" y="165"/>
                </a:cubicBezTo>
                <a:cubicBezTo>
                  <a:pt x="287" y="170"/>
                  <a:pt x="291" y="175"/>
                  <a:pt x="295" y="176"/>
                </a:cubicBezTo>
                <a:cubicBezTo>
                  <a:pt x="303" y="179"/>
                  <a:pt x="303" y="179"/>
                  <a:pt x="303" y="179"/>
                </a:cubicBezTo>
                <a:cubicBezTo>
                  <a:pt x="290" y="192"/>
                  <a:pt x="290" y="192"/>
                  <a:pt x="290" y="192"/>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235"/>
                </a:moveTo>
                <a:cubicBezTo>
                  <a:pt x="402" y="235"/>
                  <a:pt x="402" y="235"/>
                  <a:pt x="402" y="235"/>
                </a:cubicBezTo>
                <a:cubicBezTo>
                  <a:pt x="306" y="199"/>
                  <a:pt x="306" y="199"/>
                  <a:pt x="306" y="199"/>
                </a:cubicBezTo>
                <a:cubicBezTo>
                  <a:pt x="319" y="186"/>
                  <a:pt x="319" y="186"/>
                  <a:pt x="319" y="186"/>
                </a:cubicBezTo>
                <a:cubicBezTo>
                  <a:pt x="396" y="215"/>
                  <a:pt x="396" y="215"/>
                  <a:pt x="396" y="215"/>
                </a:cubicBezTo>
                <a:cubicBezTo>
                  <a:pt x="398" y="215"/>
                  <a:pt x="400" y="216"/>
                  <a:pt x="401" y="216"/>
                </a:cubicBezTo>
                <a:cubicBezTo>
                  <a:pt x="406" y="216"/>
                  <a:pt x="411" y="214"/>
                  <a:pt x="414" y="210"/>
                </a:cubicBezTo>
                <a:cubicBezTo>
                  <a:pt x="424" y="198"/>
                  <a:pt x="424" y="198"/>
                  <a:pt x="424" y="198"/>
                </a:cubicBezTo>
                <a:cubicBezTo>
                  <a:pt x="430" y="202"/>
                  <a:pt x="430" y="202"/>
                  <a:pt x="430" y="202"/>
                </a:cubicBezTo>
                <a:lnTo>
                  <a:pt x="402" y="235"/>
                </a:lnTo>
                <a:close/>
                <a:moveTo>
                  <a:pt x="430" y="237"/>
                </a:moveTo>
                <a:cubicBezTo>
                  <a:pt x="402" y="270"/>
                  <a:pt x="402" y="270"/>
                  <a:pt x="402" y="270"/>
                </a:cubicBez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24" y="234"/>
                  <a:pt x="424" y="234"/>
                  <a:pt x="424" y="234"/>
                </a:cubicBezTo>
                <a:lnTo>
                  <a:pt x="430" y="237"/>
                </a:lnTo>
                <a:close/>
                <a:moveTo>
                  <a:pt x="402" y="199"/>
                </a:moveTo>
                <a:cubicBezTo>
                  <a:pt x="402" y="199"/>
                  <a:pt x="402" y="200"/>
                  <a:pt x="402" y="200"/>
                </a:cubicBezTo>
                <a:cubicBezTo>
                  <a:pt x="306" y="164"/>
                  <a:pt x="306" y="164"/>
                  <a:pt x="306" y="164"/>
                </a:cubicBezTo>
                <a:cubicBezTo>
                  <a:pt x="319" y="150"/>
                  <a:pt x="319" y="150"/>
                  <a:pt x="319" y="150"/>
                </a:cubicBezTo>
                <a:cubicBezTo>
                  <a:pt x="396" y="179"/>
                  <a:pt x="396" y="179"/>
                  <a:pt x="396" y="179"/>
                </a:cubicBezTo>
                <a:cubicBezTo>
                  <a:pt x="398" y="180"/>
                  <a:pt x="400" y="180"/>
                  <a:pt x="401" y="180"/>
                </a:cubicBezTo>
                <a:cubicBezTo>
                  <a:pt x="406" y="180"/>
                  <a:pt x="411" y="179"/>
                  <a:pt x="414" y="175"/>
                </a:cubicBezTo>
                <a:cubicBezTo>
                  <a:pt x="408" y="169"/>
                  <a:pt x="408" y="169"/>
                  <a:pt x="408" y="169"/>
                </a:cubicBezTo>
                <a:cubicBezTo>
                  <a:pt x="414" y="175"/>
                  <a:pt x="414" y="175"/>
                  <a:pt x="414" y="175"/>
                </a:cubicBezTo>
                <a:cubicBezTo>
                  <a:pt x="424" y="163"/>
                  <a:pt x="424" y="163"/>
                  <a:pt x="424" y="163"/>
                </a:cubicBezTo>
                <a:cubicBezTo>
                  <a:pt x="430" y="166"/>
                  <a:pt x="430" y="166"/>
                  <a:pt x="430" y="166"/>
                </a:cubicBezTo>
                <a:lnTo>
                  <a:pt x="402" y="199"/>
                </a:lnTo>
                <a:close/>
                <a:moveTo>
                  <a:pt x="334" y="96"/>
                </a:moveTo>
                <a:cubicBezTo>
                  <a:pt x="334" y="96"/>
                  <a:pt x="334" y="96"/>
                  <a:pt x="334" y="95"/>
                </a:cubicBezTo>
                <a:cubicBezTo>
                  <a:pt x="430" y="132"/>
                  <a:pt x="430" y="132"/>
                  <a:pt x="430" y="132"/>
                </a:cubicBezTo>
                <a:cubicBezTo>
                  <a:pt x="402" y="164"/>
                  <a:pt x="402" y="164"/>
                  <a:pt x="402" y="164"/>
                </a:cubicBezTo>
                <a:cubicBezTo>
                  <a:pt x="402" y="164"/>
                  <a:pt x="402" y="164"/>
                  <a:pt x="402" y="164"/>
                </a:cubicBezTo>
                <a:cubicBezTo>
                  <a:pt x="306" y="128"/>
                  <a:pt x="306" y="128"/>
                  <a:pt x="306" y="128"/>
                </a:cubicBezTo>
                <a:lnTo>
                  <a:pt x="334" y="96"/>
                </a:lnTo>
                <a:close/>
                <a:moveTo>
                  <a:pt x="319" y="256"/>
                </a:move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306" y="269"/>
                  <a:pt x="306" y="269"/>
                  <a:pt x="306" y="269"/>
                </a:cubicBezTo>
                <a:lnTo>
                  <a:pt x="319" y="25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101" y="111"/>
                </a:moveTo>
                <a:cubicBezTo>
                  <a:pt x="101" y="111"/>
                  <a:pt x="102" y="111"/>
                  <a:pt x="103" y="111"/>
                </a:cubicBezTo>
                <a:cubicBezTo>
                  <a:pt x="414" y="37"/>
                  <a:pt x="414" y="37"/>
                  <a:pt x="414" y="37"/>
                </a:cubicBezTo>
                <a:cubicBezTo>
                  <a:pt x="416" y="46"/>
                  <a:pt x="416" y="46"/>
                  <a:pt x="416" y="46"/>
                </a:cubicBezTo>
                <a:cubicBezTo>
                  <a:pt x="417" y="48"/>
                  <a:pt x="419" y="51"/>
                  <a:pt x="421" y="51"/>
                </a:cubicBezTo>
                <a:cubicBezTo>
                  <a:pt x="422" y="52"/>
                  <a:pt x="423" y="52"/>
                  <a:pt x="424" y="52"/>
                </a:cubicBezTo>
                <a:cubicBezTo>
                  <a:pt x="426" y="52"/>
                  <a:pt x="427" y="52"/>
                  <a:pt x="428" y="51"/>
                </a:cubicBezTo>
                <a:cubicBezTo>
                  <a:pt x="472" y="22"/>
                  <a:pt x="472" y="22"/>
                  <a:pt x="472" y="22"/>
                </a:cubicBezTo>
                <a:cubicBezTo>
                  <a:pt x="475" y="20"/>
                  <a:pt x="477" y="17"/>
                  <a:pt x="476" y="14"/>
                </a:cubicBezTo>
                <a:cubicBezTo>
                  <a:pt x="475" y="10"/>
                  <a:pt x="472" y="8"/>
                  <a:pt x="469" y="7"/>
                </a:cubicBezTo>
                <a:cubicBezTo>
                  <a:pt x="417" y="2"/>
                  <a:pt x="417" y="2"/>
                  <a:pt x="417" y="2"/>
                </a:cubicBezTo>
                <a:cubicBezTo>
                  <a:pt x="414" y="2"/>
                  <a:pt x="412" y="3"/>
                  <a:pt x="410" y="5"/>
                </a:cubicBezTo>
                <a:cubicBezTo>
                  <a:pt x="408" y="7"/>
                  <a:pt x="408" y="10"/>
                  <a:pt x="408" y="12"/>
                </a:cubicBezTo>
                <a:cubicBezTo>
                  <a:pt x="410" y="21"/>
                  <a:pt x="410" y="21"/>
                  <a:pt x="410" y="21"/>
                </a:cubicBezTo>
                <a:cubicBezTo>
                  <a:pt x="99" y="95"/>
                  <a:pt x="99" y="95"/>
                  <a:pt x="99" y="95"/>
                </a:cubicBezTo>
                <a:cubicBezTo>
                  <a:pt x="95" y="96"/>
                  <a:pt x="92" y="101"/>
                  <a:pt x="93" y="105"/>
                </a:cubicBezTo>
                <a:cubicBezTo>
                  <a:pt x="94" y="109"/>
                  <a:pt x="97" y="111"/>
                  <a:pt x="101" y="111"/>
                </a:cubicBezTo>
                <a:close/>
                <a:moveTo>
                  <a:pt x="379" y="125"/>
                </a:moveTo>
                <a:cubicBezTo>
                  <a:pt x="379" y="125"/>
                  <a:pt x="379" y="124"/>
                  <a:pt x="377" y="123"/>
                </a:cubicBezTo>
                <a:cubicBezTo>
                  <a:pt x="378" y="122"/>
                  <a:pt x="378" y="120"/>
                  <a:pt x="377" y="119"/>
                </a:cubicBezTo>
                <a:cubicBezTo>
                  <a:pt x="376" y="118"/>
                  <a:pt x="375" y="118"/>
                  <a:pt x="374" y="119"/>
                </a:cubicBezTo>
                <a:cubicBezTo>
                  <a:pt x="373" y="120"/>
                  <a:pt x="373" y="120"/>
                  <a:pt x="373" y="120"/>
                </a:cubicBezTo>
                <a:cubicBezTo>
                  <a:pt x="372" y="120"/>
                  <a:pt x="371" y="120"/>
                  <a:pt x="370" y="120"/>
                </a:cubicBezTo>
                <a:cubicBezTo>
                  <a:pt x="369" y="120"/>
                  <a:pt x="366" y="121"/>
                  <a:pt x="364" y="123"/>
                </a:cubicBezTo>
                <a:cubicBezTo>
                  <a:pt x="363" y="124"/>
                  <a:pt x="363" y="125"/>
                  <a:pt x="363" y="126"/>
                </a:cubicBezTo>
                <a:cubicBezTo>
                  <a:pt x="363" y="128"/>
                  <a:pt x="364" y="130"/>
                  <a:pt x="365" y="130"/>
                </a:cubicBezTo>
                <a:cubicBezTo>
                  <a:pt x="366" y="131"/>
                  <a:pt x="366" y="132"/>
                  <a:pt x="367" y="132"/>
                </a:cubicBezTo>
                <a:cubicBezTo>
                  <a:pt x="367" y="132"/>
                  <a:pt x="368" y="133"/>
                  <a:pt x="368" y="133"/>
                </a:cubicBezTo>
                <a:cubicBezTo>
                  <a:pt x="369" y="133"/>
                  <a:pt x="369" y="133"/>
                  <a:pt x="369" y="133"/>
                </a:cubicBezTo>
                <a:cubicBezTo>
                  <a:pt x="369" y="133"/>
                  <a:pt x="369" y="133"/>
                  <a:pt x="369" y="133"/>
                </a:cubicBezTo>
                <a:cubicBezTo>
                  <a:pt x="369" y="133"/>
                  <a:pt x="369" y="133"/>
                  <a:pt x="369" y="133"/>
                </a:cubicBezTo>
                <a:cubicBezTo>
                  <a:pt x="369" y="133"/>
                  <a:pt x="369" y="134"/>
                  <a:pt x="368" y="134"/>
                </a:cubicBezTo>
                <a:cubicBezTo>
                  <a:pt x="368" y="135"/>
                  <a:pt x="367" y="135"/>
                  <a:pt x="366" y="135"/>
                </a:cubicBezTo>
                <a:cubicBezTo>
                  <a:pt x="365" y="135"/>
                  <a:pt x="364" y="135"/>
                  <a:pt x="364" y="135"/>
                </a:cubicBezTo>
                <a:cubicBezTo>
                  <a:pt x="363" y="135"/>
                  <a:pt x="363" y="135"/>
                  <a:pt x="363" y="134"/>
                </a:cubicBezTo>
                <a:cubicBezTo>
                  <a:pt x="363" y="134"/>
                  <a:pt x="363" y="134"/>
                  <a:pt x="363" y="134"/>
                </a:cubicBezTo>
                <a:cubicBezTo>
                  <a:pt x="363" y="134"/>
                  <a:pt x="363" y="134"/>
                  <a:pt x="363" y="134"/>
                </a:cubicBezTo>
                <a:cubicBezTo>
                  <a:pt x="362" y="134"/>
                  <a:pt x="362" y="134"/>
                  <a:pt x="361" y="133"/>
                </a:cubicBezTo>
                <a:cubicBezTo>
                  <a:pt x="361" y="133"/>
                  <a:pt x="361" y="132"/>
                  <a:pt x="361" y="132"/>
                </a:cubicBezTo>
                <a:cubicBezTo>
                  <a:pt x="361" y="132"/>
                  <a:pt x="361" y="132"/>
                  <a:pt x="361" y="132"/>
                </a:cubicBezTo>
                <a:cubicBezTo>
                  <a:pt x="360" y="131"/>
                  <a:pt x="359" y="130"/>
                  <a:pt x="357" y="131"/>
                </a:cubicBezTo>
                <a:cubicBezTo>
                  <a:pt x="356" y="131"/>
                  <a:pt x="356" y="133"/>
                  <a:pt x="356" y="134"/>
                </a:cubicBezTo>
                <a:cubicBezTo>
                  <a:pt x="356" y="134"/>
                  <a:pt x="357" y="136"/>
                  <a:pt x="358" y="137"/>
                </a:cubicBezTo>
                <a:cubicBezTo>
                  <a:pt x="358" y="137"/>
                  <a:pt x="358" y="137"/>
                  <a:pt x="358" y="137"/>
                </a:cubicBezTo>
                <a:cubicBezTo>
                  <a:pt x="357" y="138"/>
                  <a:pt x="358" y="140"/>
                  <a:pt x="359" y="141"/>
                </a:cubicBezTo>
                <a:cubicBezTo>
                  <a:pt x="359" y="141"/>
                  <a:pt x="360" y="141"/>
                  <a:pt x="360" y="141"/>
                </a:cubicBezTo>
                <a:cubicBezTo>
                  <a:pt x="361" y="141"/>
                  <a:pt x="362" y="141"/>
                  <a:pt x="362" y="141"/>
                </a:cubicBezTo>
                <a:cubicBezTo>
                  <a:pt x="363" y="139"/>
                  <a:pt x="363" y="139"/>
                  <a:pt x="363" y="139"/>
                </a:cubicBezTo>
                <a:cubicBezTo>
                  <a:pt x="364" y="140"/>
                  <a:pt x="365" y="140"/>
                  <a:pt x="366" y="140"/>
                </a:cubicBezTo>
                <a:cubicBezTo>
                  <a:pt x="366" y="140"/>
                  <a:pt x="366" y="140"/>
                  <a:pt x="366" y="140"/>
                </a:cubicBezTo>
                <a:cubicBezTo>
                  <a:pt x="368" y="140"/>
                  <a:pt x="370" y="139"/>
                  <a:pt x="372" y="137"/>
                </a:cubicBezTo>
                <a:cubicBezTo>
                  <a:pt x="373" y="136"/>
                  <a:pt x="373" y="136"/>
                  <a:pt x="373" y="135"/>
                </a:cubicBezTo>
                <a:cubicBezTo>
                  <a:pt x="373" y="134"/>
                  <a:pt x="374" y="134"/>
                  <a:pt x="374" y="133"/>
                </a:cubicBezTo>
                <a:cubicBezTo>
                  <a:pt x="374" y="132"/>
                  <a:pt x="373" y="130"/>
                  <a:pt x="372" y="129"/>
                </a:cubicBezTo>
                <a:cubicBezTo>
                  <a:pt x="371" y="129"/>
                  <a:pt x="370" y="128"/>
                  <a:pt x="370" y="128"/>
                </a:cubicBezTo>
                <a:cubicBezTo>
                  <a:pt x="369" y="127"/>
                  <a:pt x="368" y="127"/>
                  <a:pt x="368" y="127"/>
                </a:cubicBezTo>
                <a:cubicBezTo>
                  <a:pt x="368" y="127"/>
                  <a:pt x="368" y="126"/>
                  <a:pt x="368" y="126"/>
                </a:cubicBezTo>
                <a:cubicBezTo>
                  <a:pt x="368" y="126"/>
                  <a:pt x="368" y="126"/>
                  <a:pt x="368" y="126"/>
                </a:cubicBezTo>
                <a:cubicBezTo>
                  <a:pt x="368" y="125"/>
                  <a:pt x="369" y="125"/>
                  <a:pt x="370" y="125"/>
                </a:cubicBezTo>
                <a:cubicBezTo>
                  <a:pt x="371" y="125"/>
                  <a:pt x="372" y="125"/>
                  <a:pt x="372" y="125"/>
                </a:cubicBezTo>
                <a:cubicBezTo>
                  <a:pt x="372" y="125"/>
                  <a:pt x="372" y="125"/>
                  <a:pt x="373" y="125"/>
                </a:cubicBezTo>
                <a:cubicBezTo>
                  <a:pt x="373" y="125"/>
                  <a:pt x="373" y="125"/>
                  <a:pt x="373" y="125"/>
                </a:cubicBezTo>
                <a:cubicBezTo>
                  <a:pt x="373" y="125"/>
                  <a:pt x="373" y="125"/>
                  <a:pt x="373" y="125"/>
                </a:cubicBezTo>
                <a:cubicBezTo>
                  <a:pt x="374" y="126"/>
                  <a:pt x="374" y="126"/>
                  <a:pt x="375" y="126"/>
                </a:cubicBezTo>
                <a:cubicBezTo>
                  <a:pt x="375" y="127"/>
                  <a:pt x="375" y="127"/>
                  <a:pt x="375" y="127"/>
                </a:cubicBezTo>
                <a:cubicBezTo>
                  <a:pt x="375" y="128"/>
                  <a:pt x="376" y="128"/>
                  <a:pt x="378" y="128"/>
                </a:cubicBezTo>
                <a:cubicBezTo>
                  <a:pt x="379" y="128"/>
                  <a:pt x="380" y="126"/>
                  <a:pt x="379" y="125"/>
                </a:cubicBezTo>
                <a:close/>
                <a:moveTo>
                  <a:pt x="185" y="196"/>
                </a:moveTo>
                <a:cubicBezTo>
                  <a:pt x="185" y="195"/>
                  <a:pt x="184" y="194"/>
                  <a:pt x="183" y="193"/>
                </a:cubicBezTo>
                <a:cubicBezTo>
                  <a:pt x="184" y="192"/>
                  <a:pt x="184" y="191"/>
                  <a:pt x="183" y="190"/>
                </a:cubicBezTo>
                <a:cubicBezTo>
                  <a:pt x="182" y="189"/>
                  <a:pt x="180" y="189"/>
                  <a:pt x="179" y="190"/>
                </a:cubicBezTo>
                <a:cubicBezTo>
                  <a:pt x="179" y="191"/>
                  <a:pt x="179" y="191"/>
                  <a:pt x="179" y="191"/>
                </a:cubicBezTo>
                <a:cubicBezTo>
                  <a:pt x="178" y="191"/>
                  <a:pt x="177" y="191"/>
                  <a:pt x="176" y="191"/>
                </a:cubicBezTo>
                <a:cubicBezTo>
                  <a:pt x="174" y="191"/>
                  <a:pt x="172" y="191"/>
                  <a:pt x="170" y="193"/>
                </a:cubicBezTo>
                <a:cubicBezTo>
                  <a:pt x="169" y="194"/>
                  <a:pt x="168" y="196"/>
                  <a:pt x="168" y="197"/>
                </a:cubicBezTo>
                <a:cubicBezTo>
                  <a:pt x="168" y="199"/>
                  <a:pt x="170" y="200"/>
                  <a:pt x="170" y="201"/>
                </a:cubicBezTo>
                <a:cubicBezTo>
                  <a:pt x="171" y="202"/>
                  <a:pt x="172" y="202"/>
                  <a:pt x="173" y="202"/>
                </a:cubicBezTo>
                <a:cubicBezTo>
                  <a:pt x="173" y="203"/>
                  <a:pt x="174" y="203"/>
                  <a:pt x="174" y="203"/>
                </a:cubicBezTo>
                <a:cubicBezTo>
                  <a:pt x="174" y="204"/>
                  <a:pt x="174" y="204"/>
                  <a:pt x="174" y="204"/>
                </a:cubicBezTo>
                <a:cubicBezTo>
                  <a:pt x="174" y="204"/>
                  <a:pt x="174" y="204"/>
                  <a:pt x="174" y="204"/>
                </a:cubicBezTo>
                <a:cubicBezTo>
                  <a:pt x="174" y="204"/>
                  <a:pt x="174" y="204"/>
                  <a:pt x="174" y="204"/>
                </a:cubicBezTo>
                <a:cubicBezTo>
                  <a:pt x="174" y="204"/>
                  <a:pt x="174" y="204"/>
                  <a:pt x="174" y="204"/>
                </a:cubicBezTo>
                <a:cubicBezTo>
                  <a:pt x="173" y="205"/>
                  <a:pt x="173" y="205"/>
                  <a:pt x="171" y="205"/>
                </a:cubicBezTo>
                <a:cubicBezTo>
                  <a:pt x="171" y="205"/>
                  <a:pt x="170" y="205"/>
                  <a:pt x="170" y="205"/>
                </a:cubicBezTo>
                <a:cubicBezTo>
                  <a:pt x="169" y="205"/>
                  <a:pt x="169" y="205"/>
                  <a:pt x="169" y="205"/>
                </a:cubicBezTo>
                <a:cubicBezTo>
                  <a:pt x="169" y="205"/>
                  <a:pt x="169" y="205"/>
                  <a:pt x="169" y="205"/>
                </a:cubicBezTo>
                <a:cubicBezTo>
                  <a:pt x="169" y="205"/>
                  <a:pt x="169" y="205"/>
                  <a:pt x="169" y="205"/>
                </a:cubicBezTo>
                <a:cubicBezTo>
                  <a:pt x="168" y="205"/>
                  <a:pt x="167" y="204"/>
                  <a:pt x="167" y="203"/>
                </a:cubicBezTo>
                <a:cubicBezTo>
                  <a:pt x="167" y="203"/>
                  <a:pt x="167" y="203"/>
                  <a:pt x="166" y="203"/>
                </a:cubicBezTo>
                <a:cubicBezTo>
                  <a:pt x="166" y="203"/>
                  <a:pt x="166" y="203"/>
                  <a:pt x="166" y="203"/>
                </a:cubicBezTo>
                <a:cubicBezTo>
                  <a:pt x="166" y="201"/>
                  <a:pt x="164" y="201"/>
                  <a:pt x="163" y="201"/>
                </a:cubicBezTo>
                <a:cubicBezTo>
                  <a:pt x="162" y="202"/>
                  <a:pt x="161" y="203"/>
                  <a:pt x="162" y="204"/>
                </a:cubicBezTo>
                <a:cubicBezTo>
                  <a:pt x="162" y="204"/>
                  <a:pt x="162" y="206"/>
                  <a:pt x="164" y="208"/>
                </a:cubicBezTo>
                <a:cubicBezTo>
                  <a:pt x="164" y="208"/>
                  <a:pt x="164" y="208"/>
                  <a:pt x="164" y="208"/>
                </a:cubicBezTo>
                <a:cubicBezTo>
                  <a:pt x="163" y="209"/>
                  <a:pt x="163" y="210"/>
                  <a:pt x="164" y="211"/>
                </a:cubicBezTo>
                <a:cubicBezTo>
                  <a:pt x="165" y="212"/>
                  <a:pt x="165" y="212"/>
                  <a:pt x="166" y="212"/>
                </a:cubicBezTo>
                <a:cubicBezTo>
                  <a:pt x="167" y="212"/>
                  <a:pt x="167" y="212"/>
                  <a:pt x="168" y="211"/>
                </a:cubicBezTo>
                <a:cubicBezTo>
                  <a:pt x="169" y="210"/>
                  <a:pt x="169" y="210"/>
                  <a:pt x="169" y="210"/>
                </a:cubicBezTo>
                <a:cubicBezTo>
                  <a:pt x="169" y="210"/>
                  <a:pt x="170" y="210"/>
                  <a:pt x="171" y="210"/>
                </a:cubicBezTo>
                <a:cubicBezTo>
                  <a:pt x="172" y="210"/>
                  <a:pt x="172" y="210"/>
                  <a:pt x="172" y="210"/>
                </a:cubicBezTo>
                <a:cubicBezTo>
                  <a:pt x="173" y="210"/>
                  <a:pt x="176" y="210"/>
                  <a:pt x="178" y="208"/>
                </a:cubicBezTo>
                <a:cubicBezTo>
                  <a:pt x="178" y="207"/>
                  <a:pt x="179" y="206"/>
                  <a:pt x="179" y="205"/>
                </a:cubicBezTo>
                <a:cubicBezTo>
                  <a:pt x="179" y="205"/>
                  <a:pt x="179" y="204"/>
                  <a:pt x="179" y="204"/>
                </a:cubicBezTo>
                <a:cubicBezTo>
                  <a:pt x="179" y="202"/>
                  <a:pt x="178" y="201"/>
                  <a:pt x="178" y="200"/>
                </a:cubicBezTo>
                <a:cubicBezTo>
                  <a:pt x="177" y="199"/>
                  <a:pt x="176" y="199"/>
                  <a:pt x="175" y="198"/>
                </a:cubicBezTo>
                <a:cubicBezTo>
                  <a:pt x="175" y="198"/>
                  <a:pt x="174" y="197"/>
                  <a:pt x="174" y="197"/>
                </a:cubicBezTo>
                <a:cubicBezTo>
                  <a:pt x="174" y="197"/>
                  <a:pt x="173" y="197"/>
                  <a:pt x="173" y="197"/>
                </a:cubicBezTo>
                <a:cubicBezTo>
                  <a:pt x="173" y="197"/>
                  <a:pt x="174" y="197"/>
                  <a:pt x="174" y="196"/>
                </a:cubicBezTo>
                <a:cubicBezTo>
                  <a:pt x="174" y="196"/>
                  <a:pt x="175" y="196"/>
                  <a:pt x="176" y="196"/>
                </a:cubicBezTo>
                <a:cubicBezTo>
                  <a:pt x="177" y="196"/>
                  <a:pt x="177" y="196"/>
                  <a:pt x="178" y="196"/>
                </a:cubicBezTo>
                <a:cubicBezTo>
                  <a:pt x="178" y="196"/>
                  <a:pt x="178" y="196"/>
                  <a:pt x="178" y="196"/>
                </a:cubicBezTo>
                <a:cubicBezTo>
                  <a:pt x="178" y="196"/>
                  <a:pt x="178" y="196"/>
                  <a:pt x="178" y="196"/>
                </a:cubicBezTo>
                <a:cubicBezTo>
                  <a:pt x="178" y="196"/>
                  <a:pt x="178" y="196"/>
                  <a:pt x="178" y="196"/>
                </a:cubicBezTo>
                <a:cubicBezTo>
                  <a:pt x="180" y="196"/>
                  <a:pt x="180" y="197"/>
                  <a:pt x="180" y="197"/>
                </a:cubicBezTo>
                <a:cubicBezTo>
                  <a:pt x="180" y="197"/>
                  <a:pt x="180" y="197"/>
                  <a:pt x="180" y="197"/>
                </a:cubicBezTo>
                <a:cubicBezTo>
                  <a:pt x="181" y="198"/>
                  <a:pt x="182" y="199"/>
                  <a:pt x="183" y="199"/>
                </a:cubicBezTo>
                <a:cubicBezTo>
                  <a:pt x="185" y="198"/>
                  <a:pt x="185" y="197"/>
                  <a:pt x="185" y="196"/>
                </a:cubicBezTo>
                <a:close/>
                <a:moveTo>
                  <a:pt x="101" y="212"/>
                </a:move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1"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1"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1" y="317"/>
                </a:cubicBezTo>
                <a:cubicBezTo>
                  <a:pt x="202" y="356"/>
                  <a:pt x="202" y="356"/>
                  <a:pt x="202" y="356"/>
                </a:cubicBezTo>
                <a:cubicBezTo>
                  <a:pt x="204" y="356"/>
                  <a:pt x="206"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145" y="151"/>
                  <a:pt x="145" y="151"/>
                  <a:pt x="145" y="151"/>
                </a:cubicBezTo>
                <a:cubicBezTo>
                  <a:pt x="144" y="150"/>
                  <a:pt x="142" y="150"/>
                  <a:pt x="140" y="150"/>
                </a:cubicBezTo>
                <a:cubicBezTo>
                  <a:pt x="135" y="150"/>
                  <a:pt x="131" y="152"/>
                  <a:pt x="127" y="156"/>
                </a:cubicBezTo>
                <a:cubicBezTo>
                  <a:pt x="96" y="192"/>
                  <a:pt x="96" y="192"/>
                  <a:pt x="96" y="192"/>
                </a:cubicBezTo>
                <a:cubicBezTo>
                  <a:pt x="94" y="195"/>
                  <a:pt x="93" y="197"/>
                  <a:pt x="93" y="201"/>
                </a:cubicBezTo>
                <a:cubicBezTo>
                  <a:pt x="93" y="206"/>
                  <a:pt x="96" y="210"/>
                  <a:pt x="101" y="212"/>
                </a:cubicBezTo>
                <a:close/>
                <a:moveTo>
                  <a:pt x="208" y="340"/>
                </a:moveTo>
                <a:cubicBezTo>
                  <a:pt x="208" y="340"/>
                  <a:pt x="208" y="340"/>
                  <a:pt x="208" y="340"/>
                </a:cubicBezTo>
                <a:cubicBezTo>
                  <a:pt x="208" y="340"/>
                  <a:pt x="208" y="341"/>
                  <a:pt x="207" y="341"/>
                </a:cubicBezTo>
                <a:cubicBezTo>
                  <a:pt x="112" y="305"/>
                  <a:pt x="112" y="305"/>
                  <a:pt x="112" y="305"/>
                </a:cubicBezTo>
                <a:cubicBezTo>
                  <a:pt x="125" y="291"/>
                  <a:pt x="125" y="291"/>
                  <a:pt x="125" y="291"/>
                </a:cubicBezTo>
                <a:cubicBezTo>
                  <a:pt x="202" y="320"/>
                  <a:pt x="202" y="320"/>
                  <a:pt x="202" y="320"/>
                </a:cubicBezTo>
                <a:cubicBezTo>
                  <a:pt x="204" y="321"/>
                  <a:pt x="206"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8" y="305"/>
                  <a:pt x="207" y="305"/>
                </a:cubicBezTo>
                <a:cubicBezTo>
                  <a:pt x="112" y="269"/>
                  <a:pt x="112" y="269"/>
                  <a:pt x="112" y="269"/>
                </a:cubicBezTo>
                <a:cubicBezTo>
                  <a:pt x="125" y="256"/>
                  <a:pt x="125" y="256"/>
                  <a:pt x="125" y="256"/>
                </a:cubicBezTo>
                <a:cubicBezTo>
                  <a:pt x="202" y="285"/>
                  <a:pt x="202" y="285"/>
                  <a:pt x="202" y="285"/>
                </a:cubicBezTo>
                <a:cubicBezTo>
                  <a:pt x="204" y="286"/>
                  <a:pt x="206"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7" y="270"/>
                </a:cubicBezTo>
                <a:cubicBezTo>
                  <a:pt x="112" y="234"/>
                  <a:pt x="112" y="234"/>
                  <a:pt x="112" y="234"/>
                </a:cubicBezTo>
                <a:cubicBezTo>
                  <a:pt x="125" y="221"/>
                  <a:pt x="125" y="221"/>
                  <a:pt x="125" y="221"/>
                </a:cubicBezTo>
                <a:cubicBezTo>
                  <a:pt x="202" y="250"/>
                  <a:pt x="202" y="250"/>
                  <a:pt x="202" y="250"/>
                </a:cubicBezTo>
                <a:cubicBezTo>
                  <a:pt x="204" y="251"/>
                  <a:pt x="206" y="251"/>
                  <a:pt x="207" y="251"/>
                </a:cubicBezTo>
                <a:cubicBezTo>
                  <a:pt x="212" y="251"/>
                  <a:pt x="216" y="249"/>
                  <a:pt x="220" y="245"/>
                </a:cubicBezTo>
                <a:cubicBezTo>
                  <a:pt x="214" y="240"/>
                  <a:pt x="214" y="240"/>
                  <a:pt x="214" y="240"/>
                </a:cubicBezTo>
                <a:cubicBezTo>
                  <a:pt x="220" y="245"/>
                  <a:pt x="220" y="245"/>
                  <a:pt x="220" y="245"/>
                </a:cubicBezTo>
                <a:cubicBezTo>
                  <a:pt x="230" y="234"/>
                  <a:pt x="230" y="234"/>
                  <a:pt x="230" y="234"/>
                </a:cubicBezTo>
                <a:cubicBezTo>
                  <a:pt x="236" y="237"/>
                  <a:pt x="236" y="237"/>
                  <a:pt x="236" y="237"/>
                </a:cubicBezTo>
                <a:lnTo>
                  <a:pt x="208" y="270"/>
                </a:lnTo>
                <a:close/>
                <a:moveTo>
                  <a:pt x="139" y="166"/>
                </a:moveTo>
                <a:cubicBezTo>
                  <a:pt x="139" y="166"/>
                  <a:pt x="139" y="166"/>
                  <a:pt x="139" y="166"/>
                </a:cubicBezTo>
                <a:cubicBezTo>
                  <a:pt x="140" y="166"/>
                  <a:pt x="140" y="166"/>
                  <a:pt x="140" y="166"/>
                </a:cubicBezTo>
                <a:cubicBezTo>
                  <a:pt x="236" y="202"/>
                  <a:pt x="236" y="202"/>
                  <a:pt x="236" y="202"/>
                </a:cubicBezTo>
                <a:cubicBezTo>
                  <a:pt x="208" y="235"/>
                  <a:pt x="208" y="235"/>
                  <a:pt x="208" y="235"/>
                </a:cubicBezTo>
                <a:cubicBezTo>
                  <a:pt x="208" y="235"/>
                  <a:pt x="208" y="235"/>
                  <a:pt x="208" y="235"/>
                </a:cubicBezTo>
                <a:cubicBezTo>
                  <a:pt x="208" y="235"/>
                  <a:pt x="208" y="235"/>
                  <a:pt x="207" y="235"/>
                </a:cubicBezTo>
                <a:cubicBezTo>
                  <a:pt x="112" y="199"/>
                  <a:pt x="112" y="199"/>
                  <a:pt x="112" y="199"/>
                </a:cubicBezTo>
                <a:lnTo>
                  <a:pt x="139" y="166"/>
                </a:lnTo>
                <a:close/>
                <a:moveTo>
                  <a:pt x="386" y="388"/>
                </a:moveTo>
                <a:cubicBezTo>
                  <a:pt x="37" y="388"/>
                  <a:pt x="37" y="388"/>
                  <a:pt x="37" y="388"/>
                </a:cubicBez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9" y="65"/>
                  <a:pt x="9" y="65"/>
                  <a:pt x="9" y="65"/>
                </a:cubicBezTo>
                <a:cubicBezTo>
                  <a:pt x="18" y="65"/>
                  <a:pt x="18" y="65"/>
                  <a:pt x="18" y="65"/>
                </a:cubicBezTo>
                <a:cubicBezTo>
                  <a:pt x="18" y="385"/>
                  <a:pt x="18" y="385"/>
                  <a:pt x="18" y="385"/>
                </a:cubicBezTo>
                <a:cubicBezTo>
                  <a:pt x="18" y="396"/>
                  <a:pt x="27" y="404"/>
                  <a:pt x="37" y="404"/>
                </a:cubicBezTo>
                <a:cubicBezTo>
                  <a:pt x="37" y="404"/>
                  <a:pt x="37" y="404"/>
                  <a:pt x="37" y="404"/>
                </a:cubicBezTo>
                <a:cubicBezTo>
                  <a:pt x="386" y="404"/>
                  <a:pt x="386" y="404"/>
                  <a:pt x="386" y="404"/>
                </a:cubicBezTo>
                <a:cubicBezTo>
                  <a:pt x="391" y="404"/>
                  <a:pt x="394" y="401"/>
                  <a:pt x="394" y="396"/>
                </a:cubicBezTo>
                <a:cubicBezTo>
                  <a:pt x="394" y="392"/>
                  <a:pt x="391" y="388"/>
                  <a:pt x="386" y="3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aphicFrame>
        <p:nvGraphicFramePr>
          <p:cNvPr id="59" name="Table 58"/>
          <p:cNvGraphicFramePr>
            <a:graphicFrameLocks noGrp="1"/>
          </p:cNvGraphicFramePr>
          <p:nvPr>
            <p:extLst/>
          </p:nvPr>
        </p:nvGraphicFramePr>
        <p:xfrm>
          <a:off x="7802561" y="1197003"/>
          <a:ext cx="4213282" cy="762000"/>
        </p:xfrm>
        <a:graphic>
          <a:graphicData uri="http://schemas.openxmlformats.org/drawingml/2006/table">
            <a:tbl>
              <a:tblPr firstRow="1" bandRow="1">
                <a:tableStyleId>{2D5ABB26-0587-4C30-8999-92F81FD0307C}</a:tableStyleId>
              </a:tblPr>
              <a:tblGrid>
                <a:gridCol w="1989139">
                  <a:extLst>
                    <a:ext uri="{9D8B030D-6E8A-4147-A177-3AD203B41FA5}">
                      <a16:colId xmlns:a16="http://schemas.microsoft.com/office/drawing/2014/main" val="73062193"/>
                    </a:ext>
                  </a:extLst>
                </a:gridCol>
                <a:gridCol w="815340">
                  <a:extLst>
                    <a:ext uri="{9D8B030D-6E8A-4147-A177-3AD203B41FA5}">
                      <a16:colId xmlns:a16="http://schemas.microsoft.com/office/drawing/2014/main" val="3800178941"/>
                    </a:ext>
                  </a:extLst>
                </a:gridCol>
                <a:gridCol w="686317">
                  <a:extLst>
                    <a:ext uri="{9D8B030D-6E8A-4147-A177-3AD203B41FA5}">
                      <a16:colId xmlns:a16="http://schemas.microsoft.com/office/drawing/2014/main" val="785088219"/>
                    </a:ext>
                  </a:extLst>
                </a:gridCol>
                <a:gridCol w="722486">
                  <a:extLst>
                    <a:ext uri="{9D8B030D-6E8A-4147-A177-3AD203B41FA5}">
                      <a16:colId xmlns:a16="http://schemas.microsoft.com/office/drawing/2014/main" val="1525830629"/>
                    </a:ext>
                  </a:extLst>
                </a:gridCol>
              </a:tblGrid>
              <a:tr h="436185">
                <a:tc>
                  <a:txBody>
                    <a:bodyPr/>
                    <a:lstStyle/>
                    <a:p>
                      <a:endParaRPr lang="en-US" sz="1400"/>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200" b="1"/>
                        <a:t>CAGR</a:t>
                      </a:r>
                    </a:p>
                  </a:txBody>
                  <a:tcPr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gridSpan="2">
                  <a:txBody>
                    <a:bodyPr/>
                    <a:lstStyle/>
                    <a:p>
                      <a:pPr algn="ctr"/>
                      <a:r>
                        <a:rPr lang="en-US" sz="1200" b="1"/>
                        <a:t>% digitalization of total rev</a:t>
                      </a:r>
                      <a:endParaRPr lang="en-US" sz="1200" b="1" dirty="0"/>
                    </a:p>
                  </a:txBody>
                  <a:tcPr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dirty="0"/>
                    </a:p>
                  </a:txBody>
                  <a:tcPr/>
                </a:tc>
                <a:extLst>
                  <a:ext uri="{0D108BD9-81ED-4DB2-BD59-A6C34878D82A}">
                    <a16:rowId xmlns:a16="http://schemas.microsoft.com/office/drawing/2014/main" val="2737545590"/>
                  </a:ext>
                </a:extLst>
              </a:tr>
              <a:tr h="290790">
                <a:tc>
                  <a:txBody>
                    <a:bodyPr/>
                    <a:lstStyle/>
                    <a:p>
                      <a:endParaRPr lang="en-US" sz="1400"/>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400" b="1"/>
                        <a:t>‘16-’26</a:t>
                      </a:r>
                    </a:p>
                  </a:txBody>
                  <a:tcPr anchor="ct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t>20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20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318900"/>
                  </a:ext>
                </a:extLst>
              </a:tr>
            </a:tbl>
          </a:graphicData>
        </a:graphic>
      </p:graphicFrame>
      <p:graphicFrame>
        <p:nvGraphicFramePr>
          <p:cNvPr id="60" name="Table 59"/>
          <p:cNvGraphicFramePr>
            <a:graphicFrameLocks noGrp="1"/>
          </p:cNvGraphicFramePr>
          <p:nvPr>
            <p:extLst/>
          </p:nvPr>
        </p:nvGraphicFramePr>
        <p:xfrm>
          <a:off x="7793636" y="1942858"/>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1027505580"/>
                    </a:ext>
                  </a:extLst>
                </a:gridCol>
                <a:gridCol w="690880">
                  <a:extLst>
                    <a:ext uri="{9D8B030D-6E8A-4147-A177-3AD203B41FA5}">
                      <a16:colId xmlns:a16="http://schemas.microsoft.com/office/drawing/2014/main" val="2247799464"/>
                    </a:ext>
                  </a:extLst>
                </a:gridCol>
                <a:gridCol w="689815">
                  <a:extLst>
                    <a:ext uri="{9D8B030D-6E8A-4147-A177-3AD203B41FA5}">
                      <a16:colId xmlns:a16="http://schemas.microsoft.com/office/drawing/2014/main" val="3044737416"/>
                    </a:ext>
                  </a:extLst>
                </a:gridCol>
                <a:gridCol w="738276">
                  <a:extLst>
                    <a:ext uri="{9D8B030D-6E8A-4147-A177-3AD203B41FA5}">
                      <a16:colId xmlns:a16="http://schemas.microsoft.com/office/drawing/2014/main" val="3447397597"/>
                    </a:ext>
                  </a:extLst>
                </a:gridCol>
              </a:tblGrid>
              <a:tr h="274320">
                <a:tc>
                  <a:txBody>
                    <a:bodyPr/>
                    <a:lstStyle/>
                    <a:p>
                      <a:r>
                        <a:rPr lang="en-US" sz="1400" dirty="0"/>
                        <a:t>Automotive</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20%</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11.2%</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8139136"/>
                  </a:ext>
                </a:extLst>
              </a:tr>
            </a:tbl>
          </a:graphicData>
        </a:graphic>
      </p:graphicFrame>
      <p:graphicFrame>
        <p:nvGraphicFramePr>
          <p:cNvPr id="61" name="Table 60"/>
          <p:cNvGraphicFramePr>
            <a:graphicFrameLocks noGrp="1"/>
          </p:cNvGraphicFramePr>
          <p:nvPr>
            <p:extLst/>
          </p:nvPr>
        </p:nvGraphicFramePr>
        <p:xfrm>
          <a:off x="7787320" y="2148045"/>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3701654469"/>
                    </a:ext>
                  </a:extLst>
                </a:gridCol>
                <a:gridCol w="690880">
                  <a:extLst>
                    <a:ext uri="{9D8B030D-6E8A-4147-A177-3AD203B41FA5}">
                      <a16:colId xmlns:a16="http://schemas.microsoft.com/office/drawing/2014/main" val="1618293217"/>
                    </a:ext>
                  </a:extLst>
                </a:gridCol>
                <a:gridCol w="689815">
                  <a:extLst>
                    <a:ext uri="{9D8B030D-6E8A-4147-A177-3AD203B41FA5}">
                      <a16:colId xmlns:a16="http://schemas.microsoft.com/office/drawing/2014/main" val="3306942486"/>
                    </a:ext>
                  </a:extLst>
                </a:gridCol>
                <a:gridCol w="738276">
                  <a:extLst>
                    <a:ext uri="{9D8B030D-6E8A-4147-A177-3AD203B41FA5}">
                      <a16:colId xmlns:a16="http://schemas.microsoft.com/office/drawing/2014/main" val="993425424"/>
                    </a:ext>
                  </a:extLst>
                </a:gridCol>
              </a:tblGrid>
              <a:tr h="142267">
                <a:tc>
                  <a:txBody>
                    <a:bodyPr/>
                    <a:lstStyle/>
                    <a:p>
                      <a:r>
                        <a:rPr lang="en-US" sz="1400" dirty="0"/>
                        <a:t>Media &amp; Entertainment</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15%</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3.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10.6%</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6579783"/>
                  </a:ext>
                </a:extLst>
              </a:tr>
            </a:tbl>
          </a:graphicData>
        </a:graphic>
      </p:graphicFrame>
      <p:graphicFrame>
        <p:nvGraphicFramePr>
          <p:cNvPr id="62" name="Table 61"/>
          <p:cNvGraphicFramePr>
            <a:graphicFrameLocks noGrp="1"/>
          </p:cNvGraphicFramePr>
          <p:nvPr>
            <p:extLst/>
          </p:nvPr>
        </p:nvGraphicFramePr>
        <p:xfrm>
          <a:off x="7787319" y="2412985"/>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490328516"/>
                    </a:ext>
                  </a:extLst>
                </a:gridCol>
                <a:gridCol w="690880">
                  <a:extLst>
                    <a:ext uri="{9D8B030D-6E8A-4147-A177-3AD203B41FA5}">
                      <a16:colId xmlns:a16="http://schemas.microsoft.com/office/drawing/2014/main" val="340714643"/>
                    </a:ext>
                  </a:extLst>
                </a:gridCol>
                <a:gridCol w="689815">
                  <a:extLst>
                    <a:ext uri="{9D8B030D-6E8A-4147-A177-3AD203B41FA5}">
                      <a16:colId xmlns:a16="http://schemas.microsoft.com/office/drawing/2014/main" val="1918309300"/>
                    </a:ext>
                  </a:extLst>
                </a:gridCol>
                <a:gridCol w="738276">
                  <a:extLst>
                    <a:ext uri="{9D8B030D-6E8A-4147-A177-3AD203B41FA5}">
                      <a16:colId xmlns:a16="http://schemas.microsoft.com/office/drawing/2014/main" val="4187919105"/>
                    </a:ext>
                  </a:extLst>
                </a:gridCol>
              </a:tblGrid>
              <a:tr h="274320">
                <a:tc>
                  <a:txBody>
                    <a:bodyPr/>
                    <a:lstStyle/>
                    <a:p>
                      <a:r>
                        <a:rPr lang="en-US" sz="1400" dirty="0"/>
                        <a:t>Public Transport</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17%</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7.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22.4%</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8539109"/>
                  </a:ext>
                </a:extLst>
              </a:tr>
            </a:tbl>
          </a:graphicData>
        </a:graphic>
      </p:graphicFrame>
      <p:graphicFrame>
        <p:nvGraphicFramePr>
          <p:cNvPr id="63" name="Table 62"/>
          <p:cNvGraphicFramePr>
            <a:graphicFrameLocks noGrp="1"/>
          </p:cNvGraphicFramePr>
          <p:nvPr/>
        </p:nvGraphicFramePr>
        <p:xfrm>
          <a:off x="7787318" y="2670642"/>
          <a:ext cx="4203509"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3320708686"/>
                    </a:ext>
                  </a:extLst>
                </a:gridCol>
                <a:gridCol w="681101">
                  <a:extLst>
                    <a:ext uri="{9D8B030D-6E8A-4147-A177-3AD203B41FA5}">
                      <a16:colId xmlns:a16="http://schemas.microsoft.com/office/drawing/2014/main" val="1956093049"/>
                    </a:ext>
                  </a:extLst>
                </a:gridCol>
                <a:gridCol w="689815">
                  <a:extLst>
                    <a:ext uri="{9D8B030D-6E8A-4147-A177-3AD203B41FA5}">
                      <a16:colId xmlns:a16="http://schemas.microsoft.com/office/drawing/2014/main" val="2121972068"/>
                    </a:ext>
                  </a:extLst>
                </a:gridCol>
                <a:gridCol w="738276">
                  <a:extLst>
                    <a:ext uri="{9D8B030D-6E8A-4147-A177-3AD203B41FA5}">
                      <a16:colId xmlns:a16="http://schemas.microsoft.com/office/drawing/2014/main" val="3662434376"/>
                    </a:ext>
                  </a:extLst>
                </a:gridCol>
              </a:tblGrid>
              <a:tr h="274320">
                <a:tc>
                  <a:txBody>
                    <a:bodyPr/>
                    <a:lstStyle/>
                    <a:p>
                      <a:r>
                        <a:rPr lang="en-US" sz="1400"/>
                        <a:t>Healthcare</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11%</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1.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2.3%</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5893758"/>
                  </a:ext>
                </a:extLst>
              </a:tr>
            </a:tbl>
          </a:graphicData>
        </a:graphic>
      </p:graphicFrame>
      <p:graphicFrame>
        <p:nvGraphicFramePr>
          <p:cNvPr id="64" name="Table 63"/>
          <p:cNvGraphicFramePr>
            <a:graphicFrameLocks noGrp="1"/>
          </p:cNvGraphicFramePr>
          <p:nvPr/>
        </p:nvGraphicFramePr>
        <p:xfrm>
          <a:off x="7787317" y="3016235"/>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792414478"/>
                    </a:ext>
                  </a:extLst>
                </a:gridCol>
                <a:gridCol w="690880">
                  <a:extLst>
                    <a:ext uri="{9D8B030D-6E8A-4147-A177-3AD203B41FA5}">
                      <a16:colId xmlns:a16="http://schemas.microsoft.com/office/drawing/2014/main" val="4042120477"/>
                    </a:ext>
                  </a:extLst>
                </a:gridCol>
                <a:gridCol w="689815">
                  <a:extLst>
                    <a:ext uri="{9D8B030D-6E8A-4147-A177-3AD203B41FA5}">
                      <a16:colId xmlns:a16="http://schemas.microsoft.com/office/drawing/2014/main" val="1606721743"/>
                    </a:ext>
                  </a:extLst>
                </a:gridCol>
                <a:gridCol w="738276">
                  <a:extLst>
                    <a:ext uri="{9D8B030D-6E8A-4147-A177-3AD203B41FA5}">
                      <a16:colId xmlns:a16="http://schemas.microsoft.com/office/drawing/2014/main" val="4084239851"/>
                    </a:ext>
                  </a:extLst>
                </a:gridCol>
              </a:tblGrid>
              <a:tr h="274320">
                <a:tc>
                  <a:txBody>
                    <a:bodyPr/>
                    <a:lstStyle/>
                    <a:p>
                      <a:r>
                        <a:rPr lang="en-US" sz="1400"/>
                        <a:t>Financial Servic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t>+10%</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2.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3.4%</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596897"/>
                  </a:ext>
                </a:extLst>
              </a:tr>
            </a:tbl>
          </a:graphicData>
        </a:graphic>
      </p:graphicFrame>
      <p:graphicFrame>
        <p:nvGraphicFramePr>
          <p:cNvPr id="65" name="Table 64"/>
          <p:cNvGraphicFramePr>
            <a:graphicFrameLocks noGrp="1"/>
          </p:cNvGraphicFramePr>
          <p:nvPr/>
        </p:nvGraphicFramePr>
        <p:xfrm>
          <a:off x="7787316" y="3463640"/>
          <a:ext cx="4203509"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1384665877"/>
                    </a:ext>
                  </a:extLst>
                </a:gridCol>
                <a:gridCol w="681101">
                  <a:extLst>
                    <a:ext uri="{9D8B030D-6E8A-4147-A177-3AD203B41FA5}">
                      <a16:colId xmlns:a16="http://schemas.microsoft.com/office/drawing/2014/main" val="216163048"/>
                    </a:ext>
                  </a:extLst>
                </a:gridCol>
                <a:gridCol w="689815">
                  <a:extLst>
                    <a:ext uri="{9D8B030D-6E8A-4147-A177-3AD203B41FA5}">
                      <a16:colId xmlns:a16="http://schemas.microsoft.com/office/drawing/2014/main" val="4251401019"/>
                    </a:ext>
                  </a:extLst>
                </a:gridCol>
                <a:gridCol w="738276">
                  <a:extLst>
                    <a:ext uri="{9D8B030D-6E8A-4147-A177-3AD203B41FA5}">
                      <a16:colId xmlns:a16="http://schemas.microsoft.com/office/drawing/2014/main" val="1141430156"/>
                    </a:ext>
                  </a:extLst>
                </a:gridCol>
              </a:tblGrid>
              <a:tr h="274320">
                <a:tc>
                  <a:txBody>
                    <a:bodyPr/>
                    <a:lstStyle/>
                    <a:p>
                      <a:r>
                        <a:rPr lang="en-US" sz="1400"/>
                        <a:t>Manufacturing</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t>+11%</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1.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2.9%</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2723143"/>
                  </a:ext>
                </a:extLst>
              </a:tr>
            </a:tbl>
          </a:graphicData>
        </a:graphic>
      </p:graphicFrame>
      <p:graphicFrame>
        <p:nvGraphicFramePr>
          <p:cNvPr id="66" name="Table 65"/>
          <p:cNvGraphicFramePr>
            <a:graphicFrameLocks noGrp="1"/>
          </p:cNvGraphicFramePr>
          <p:nvPr>
            <p:extLst/>
          </p:nvPr>
        </p:nvGraphicFramePr>
        <p:xfrm>
          <a:off x="7787315" y="3992191"/>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2923979567"/>
                    </a:ext>
                  </a:extLst>
                </a:gridCol>
                <a:gridCol w="690880">
                  <a:extLst>
                    <a:ext uri="{9D8B030D-6E8A-4147-A177-3AD203B41FA5}">
                      <a16:colId xmlns:a16="http://schemas.microsoft.com/office/drawing/2014/main" val="3237805894"/>
                    </a:ext>
                  </a:extLst>
                </a:gridCol>
                <a:gridCol w="689815">
                  <a:extLst>
                    <a:ext uri="{9D8B030D-6E8A-4147-A177-3AD203B41FA5}">
                      <a16:colId xmlns:a16="http://schemas.microsoft.com/office/drawing/2014/main" val="608472243"/>
                    </a:ext>
                  </a:extLst>
                </a:gridCol>
                <a:gridCol w="738276">
                  <a:extLst>
                    <a:ext uri="{9D8B030D-6E8A-4147-A177-3AD203B41FA5}">
                      <a16:colId xmlns:a16="http://schemas.microsoft.com/office/drawing/2014/main" val="1816440993"/>
                    </a:ext>
                  </a:extLst>
                </a:gridCol>
              </a:tblGrid>
              <a:tr h="274320">
                <a:tc>
                  <a:txBody>
                    <a:bodyPr/>
                    <a:lstStyle/>
                    <a:p>
                      <a:r>
                        <a:rPr lang="en-US" sz="1400" dirty="0"/>
                        <a:t>Public Safety</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t>+16%</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10.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30.0%</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9733830"/>
                  </a:ext>
                </a:extLst>
              </a:tr>
            </a:tbl>
          </a:graphicData>
        </a:graphic>
      </p:graphicFrame>
      <p:graphicFrame>
        <p:nvGraphicFramePr>
          <p:cNvPr id="67" name="Table 66"/>
          <p:cNvGraphicFramePr>
            <a:graphicFrameLocks noGrp="1"/>
          </p:cNvGraphicFramePr>
          <p:nvPr/>
        </p:nvGraphicFramePr>
        <p:xfrm>
          <a:off x="7787314" y="4595441"/>
          <a:ext cx="4213288" cy="304800"/>
        </p:xfrm>
        <a:graphic>
          <a:graphicData uri="http://schemas.openxmlformats.org/drawingml/2006/table">
            <a:tbl>
              <a:tblPr firstRow="1" bandRow="1">
                <a:tableStyleId>{2D5ABB26-0587-4C30-8999-92F81FD0307C}</a:tableStyleId>
              </a:tblPr>
              <a:tblGrid>
                <a:gridCol w="2094317">
                  <a:extLst>
                    <a:ext uri="{9D8B030D-6E8A-4147-A177-3AD203B41FA5}">
                      <a16:colId xmlns:a16="http://schemas.microsoft.com/office/drawing/2014/main" val="97522106"/>
                    </a:ext>
                  </a:extLst>
                </a:gridCol>
                <a:gridCol w="690880">
                  <a:extLst>
                    <a:ext uri="{9D8B030D-6E8A-4147-A177-3AD203B41FA5}">
                      <a16:colId xmlns:a16="http://schemas.microsoft.com/office/drawing/2014/main" val="1307236482"/>
                    </a:ext>
                  </a:extLst>
                </a:gridCol>
                <a:gridCol w="689815">
                  <a:extLst>
                    <a:ext uri="{9D8B030D-6E8A-4147-A177-3AD203B41FA5}">
                      <a16:colId xmlns:a16="http://schemas.microsoft.com/office/drawing/2014/main" val="415917380"/>
                    </a:ext>
                  </a:extLst>
                </a:gridCol>
                <a:gridCol w="738276">
                  <a:extLst>
                    <a:ext uri="{9D8B030D-6E8A-4147-A177-3AD203B41FA5}">
                      <a16:colId xmlns:a16="http://schemas.microsoft.com/office/drawing/2014/main" val="132723337"/>
                    </a:ext>
                  </a:extLst>
                </a:gridCol>
              </a:tblGrid>
              <a:tr h="274320">
                <a:tc>
                  <a:txBody>
                    <a:bodyPr/>
                    <a:lstStyle/>
                    <a:p>
                      <a:r>
                        <a:rPr lang="en-US" sz="1400"/>
                        <a:t>Utilities</a:t>
                      </a: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a:t>+14%</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t>10.9%</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8580926"/>
                  </a:ext>
                </a:extLst>
              </a:tr>
            </a:tbl>
          </a:graphicData>
        </a:graphic>
      </p:graphicFrame>
      <p:sp>
        <p:nvSpPr>
          <p:cNvPr id="68" name="Oval 67"/>
          <p:cNvSpPr/>
          <p:nvPr/>
        </p:nvSpPr>
        <p:spPr bwMode="auto">
          <a:xfrm>
            <a:off x="7743555" y="4704083"/>
            <a:ext cx="87516" cy="87516"/>
          </a:xfrm>
          <a:prstGeom prst="ellipse">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69" name="Oval 68"/>
          <p:cNvSpPr/>
          <p:nvPr/>
        </p:nvSpPr>
        <p:spPr bwMode="auto">
          <a:xfrm>
            <a:off x="7743555" y="4104278"/>
            <a:ext cx="87516" cy="87516"/>
          </a:xfrm>
          <a:prstGeom prst="ellipse">
            <a:avLst/>
          </a:prstGeom>
          <a:solidFill>
            <a:srgbClr val="F08A0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0" name="Oval 69"/>
          <p:cNvSpPr/>
          <p:nvPr/>
        </p:nvSpPr>
        <p:spPr bwMode="auto">
          <a:xfrm>
            <a:off x="7743555" y="3578444"/>
            <a:ext cx="87516" cy="87516"/>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1" name="Oval 70"/>
          <p:cNvSpPr/>
          <p:nvPr/>
        </p:nvSpPr>
        <p:spPr bwMode="auto">
          <a:xfrm>
            <a:off x="7743555" y="3132130"/>
            <a:ext cx="87516" cy="87516"/>
          </a:xfrm>
          <a:prstGeom prst="ellipse">
            <a:avLst/>
          </a:prstGeom>
          <a:solidFill>
            <a:srgbClr val="007B78"/>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2" name="Oval 71"/>
          <p:cNvSpPr/>
          <p:nvPr/>
        </p:nvSpPr>
        <p:spPr bwMode="auto">
          <a:xfrm>
            <a:off x="7743555" y="2784850"/>
            <a:ext cx="87516" cy="87516"/>
          </a:xfrm>
          <a:prstGeom prst="ellipse">
            <a:avLst/>
          </a:prstGeom>
          <a:solidFill>
            <a:srgbClr val="B1B3B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3" name="Oval 72"/>
          <p:cNvSpPr/>
          <p:nvPr/>
        </p:nvSpPr>
        <p:spPr bwMode="auto">
          <a:xfrm>
            <a:off x="7743555" y="2528037"/>
            <a:ext cx="87516" cy="87516"/>
          </a:xfrm>
          <a:prstGeom prst="ellipse">
            <a:avLst/>
          </a:prstGeom>
          <a:solidFill>
            <a:srgbClr val="00285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4" name="Oval 73"/>
          <p:cNvSpPr/>
          <p:nvPr/>
        </p:nvSpPr>
        <p:spPr bwMode="auto">
          <a:xfrm>
            <a:off x="7743555" y="2255147"/>
            <a:ext cx="87516" cy="87516"/>
          </a:xfrm>
          <a:prstGeom prst="ellipse">
            <a:avLst/>
          </a:prstGeom>
          <a:solidFill>
            <a:srgbClr val="0066CB"/>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5" name="Oval 74"/>
          <p:cNvSpPr/>
          <p:nvPr/>
        </p:nvSpPr>
        <p:spPr bwMode="auto">
          <a:xfrm>
            <a:off x="7743555" y="2047568"/>
            <a:ext cx="87516" cy="87516"/>
          </a:xfrm>
          <a:prstGeom prst="ellipse">
            <a:avLst/>
          </a:prstGeom>
          <a:solidFill>
            <a:srgbClr val="CCCCFE"/>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6" name="TextBox 75"/>
          <p:cNvSpPr txBox="1"/>
          <p:nvPr/>
        </p:nvSpPr>
        <p:spPr>
          <a:xfrm>
            <a:off x="524934" y="1473398"/>
            <a:ext cx="763351" cy="307777"/>
          </a:xfrm>
          <a:prstGeom prst="rect">
            <a:avLst/>
          </a:prstGeom>
          <a:noFill/>
        </p:spPr>
        <p:txBody>
          <a:bodyPr wrap="none" rtlCol="0">
            <a:spAutoFit/>
          </a:bodyPr>
          <a:lstStyle/>
          <a:p>
            <a:r>
              <a:rPr lang="sv-SE" sz="1400" dirty="0" err="1"/>
              <a:t>USDbn</a:t>
            </a:r>
            <a:endParaRPr lang="sv-SE" sz="1400" dirty="0"/>
          </a:p>
        </p:txBody>
      </p:sp>
    </p:spTree>
    <p:extLst>
      <p:ext uri="{BB962C8B-B14F-4D97-AF65-F5344CB8AC3E}">
        <p14:creationId xmlns:p14="http://schemas.microsoft.com/office/powerpoint/2010/main" val="29357839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 Control Function (PCF)</a:t>
            </a:r>
          </a:p>
        </p:txBody>
      </p:sp>
      <p:sp>
        <p:nvSpPr>
          <p:cNvPr id="3" name="Text Placeholder 2"/>
          <p:cNvSpPr>
            <a:spLocks noGrp="1"/>
          </p:cNvSpPr>
          <p:nvPr>
            <p:ph type="body" idx="1"/>
          </p:nvPr>
        </p:nvSpPr>
        <p:spPr/>
        <p:txBody>
          <a:bodyPr/>
          <a:lstStyle/>
          <a:p>
            <a:pPr marL="0" indent="0">
              <a:buNone/>
            </a:pPr>
            <a:r>
              <a:rPr lang="en-US" dirty="0"/>
              <a:t>Main Functionality</a:t>
            </a:r>
          </a:p>
          <a:p>
            <a:r>
              <a:rPr lang="x-none" sz="2000" dirty="0"/>
              <a:t>Supports unified policy framework to govern network behaviour.</a:t>
            </a:r>
            <a:endParaRPr lang="en-US" sz="2000" dirty="0"/>
          </a:p>
          <a:p>
            <a:r>
              <a:rPr lang="x-none" sz="2000" dirty="0"/>
              <a:t>Provides policy rules to </a:t>
            </a:r>
            <a:r>
              <a:rPr lang="en-US" sz="2000" dirty="0"/>
              <a:t>C</a:t>
            </a:r>
            <a:r>
              <a:rPr lang="x-none" sz="2000" dirty="0"/>
              <a:t>ontrol </a:t>
            </a:r>
            <a:r>
              <a:rPr lang="en-US" sz="2000" dirty="0"/>
              <a:t>P</a:t>
            </a:r>
            <a:r>
              <a:rPr lang="x-none" sz="2000" dirty="0"/>
              <a:t>lane function(s) to enforce them.</a:t>
            </a:r>
            <a:endParaRPr lang="en-US" sz="2000" dirty="0"/>
          </a:p>
          <a:p>
            <a:r>
              <a:rPr lang="x-none" sz="2000" dirty="0"/>
              <a:t>Implements a Front End to access subscription information relevant for policy decisions in a User Data Repository (UDR).</a:t>
            </a:r>
            <a:endParaRPr lang="en-US" sz="2000" dirty="0"/>
          </a:p>
          <a:p>
            <a:endParaRPr lang="en-US" dirty="0"/>
          </a:p>
          <a:p>
            <a:pPr marL="0" indent="0">
              <a:buNone/>
            </a:pPr>
            <a:endParaRPr lang="en-US" dirty="0"/>
          </a:p>
        </p:txBody>
      </p:sp>
      <p:grpSp>
        <p:nvGrpSpPr>
          <p:cNvPr id="4" name="Group 3"/>
          <p:cNvGrpSpPr/>
          <p:nvPr/>
        </p:nvGrpSpPr>
        <p:grpSpPr>
          <a:xfrm>
            <a:off x="11125559" y="5724729"/>
            <a:ext cx="804261" cy="964759"/>
            <a:chOff x="2530204" y="1718022"/>
            <a:chExt cx="1186277" cy="1647323"/>
          </a:xfrm>
        </p:grpSpPr>
        <p:sp>
          <p:nvSpPr>
            <p:cNvPr id="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8" name="Group 274"/>
            <p:cNvGrpSpPr>
              <a:grpSpLocks noChangeAspect="1"/>
            </p:cNvGrpSpPr>
            <p:nvPr/>
          </p:nvGrpSpPr>
          <p:grpSpPr bwMode="auto">
            <a:xfrm>
              <a:off x="2590950" y="1853233"/>
              <a:ext cx="1125531" cy="1512112"/>
              <a:chOff x="3147" y="3024"/>
              <a:chExt cx="257" cy="366"/>
            </a:xfrm>
          </p:grpSpPr>
          <p:grpSp>
            <p:nvGrpSpPr>
              <p:cNvPr id="9" name="Group 7"/>
              <p:cNvGrpSpPr>
                <a:grpSpLocks noChangeAspect="1"/>
              </p:cNvGrpSpPr>
              <p:nvPr/>
            </p:nvGrpSpPr>
            <p:grpSpPr bwMode="auto">
              <a:xfrm>
                <a:off x="3147" y="3024"/>
                <a:ext cx="257" cy="366"/>
                <a:chOff x="2283" y="1698"/>
                <a:chExt cx="983" cy="1402"/>
              </a:xfrm>
            </p:grpSpPr>
            <p:pic>
              <p:nvPicPr>
                <p:cNvPr id="11"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spTree>
    <p:extLst>
      <p:ext uri="{BB962C8B-B14F-4D97-AF65-F5344CB8AC3E}">
        <p14:creationId xmlns:p14="http://schemas.microsoft.com/office/powerpoint/2010/main" val="31968158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E Context Establishment during registration</a:t>
            </a:r>
          </a:p>
        </p:txBody>
      </p:sp>
      <p:pic>
        <p:nvPicPr>
          <p:cNvPr id="3" name="Picture 2"/>
          <p:cNvPicPr>
            <a:picLocks noChangeAspect="1"/>
          </p:cNvPicPr>
          <p:nvPr/>
        </p:nvPicPr>
        <p:blipFill>
          <a:blip r:embed="rId3"/>
          <a:stretch>
            <a:fillRect/>
          </a:stretch>
        </p:blipFill>
        <p:spPr>
          <a:xfrm>
            <a:off x="4251662" y="1328737"/>
            <a:ext cx="7255407" cy="5377537"/>
          </a:xfrm>
          <a:prstGeom prst="rect">
            <a:avLst/>
          </a:prstGeom>
        </p:spPr>
      </p:pic>
      <p:sp>
        <p:nvSpPr>
          <p:cNvPr id="4" name="Oval 3"/>
          <p:cNvSpPr/>
          <p:nvPr/>
        </p:nvSpPr>
        <p:spPr bwMode="auto">
          <a:xfrm>
            <a:off x="5786203" y="3552669"/>
            <a:ext cx="104931" cy="1379095"/>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6" name="Straight Connector 5"/>
          <p:cNvCxnSpPr>
            <a:stCxn id="4" idx="4"/>
          </p:cNvCxnSpPr>
          <p:nvPr/>
        </p:nvCxnSpPr>
        <p:spPr bwMode="auto">
          <a:xfrm flipH="1">
            <a:off x="4796852" y="4931764"/>
            <a:ext cx="104181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 name="TextBox 8"/>
          <p:cNvSpPr txBox="1"/>
          <p:nvPr/>
        </p:nvSpPr>
        <p:spPr>
          <a:xfrm>
            <a:off x="4200863" y="4731709"/>
            <a:ext cx="655949" cy="400110"/>
          </a:xfrm>
          <a:prstGeom prst="rect">
            <a:avLst/>
          </a:prstGeom>
          <a:noFill/>
        </p:spPr>
        <p:txBody>
          <a:bodyPr wrap="none" rtlCol="0">
            <a:spAutoFit/>
          </a:bodyPr>
          <a:lstStyle/>
          <a:p>
            <a:r>
              <a:rPr lang="en-US" dirty="0"/>
              <a:t>N15</a:t>
            </a:r>
          </a:p>
        </p:txBody>
      </p:sp>
      <p:grpSp>
        <p:nvGrpSpPr>
          <p:cNvPr id="7" name="Group 6"/>
          <p:cNvGrpSpPr/>
          <p:nvPr/>
        </p:nvGrpSpPr>
        <p:grpSpPr>
          <a:xfrm>
            <a:off x="2420496" y="3151202"/>
            <a:ext cx="920586" cy="1329413"/>
            <a:chOff x="2530204" y="1718022"/>
            <a:chExt cx="1186277" cy="1647323"/>
          </a:xfrm>
        </p:grpSpPr>
        <p:sp>
          <p:nvSpPr>
            <p:cNvPr id="8"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0"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1"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2" name="Group 274"/>
            <p:cNvGrpSpPr>
              <a:grpSpLocks noChangeAspect="1"/>
            </p:cNvGrpSpPr>
            <p:nvPr/>
          </p:nvGrpSpPr>
          <p:grpSpPr bwMode="auto">
            <a:xfrm>
              <a:off x="2590950" y="1853233"/>
              <a:ext cx="1125531" cy="1512112"/>
              <a:chOff x="3147" y="3024"/>
              <a:chExt cx="257" cy="366"/>
            </a:xfrm>
          </p:grpSpPr>
          <p:grpSp>
            <p:nvGrpSpPr>
              <p:cNvPr id="13" name="Group 7"/>
              <p:cNvGrpSpPr>
                <a:grpSpLocks noChangeAspect="1"/>
              </p:cNvGrpSpPr>
              <p:nvPr/>
            </p:nvGrpSpPr>
            <p:grpSpPr bwMode="auto">
              <a:xfrm>
                <a:off x="3147" y="3024"/>
                <a:ext cx="257" cy="366"/>
                <a:chOff x="2283" y="1698"/>
                <a:chExt cx="983" cy="1402"/>
              </a:xfrm>
            </p:grpSpPr>
            <p:pic>
              <p:nvPicPr>
                <p:cNvPr id="15"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grpSp>
        <p:nvGrpSpPr>
          <p:cNvPr id="18" name="Group 17"/>
          <p:cNvGrpSpPr/>
          <p:nvPr/>
        </p:nvGrpSpPr>
        <p:grpSpPr>
          <a:xfrm>
            <a:off x="397348" y="3197777"/>
            <a:ext cx="948900" cy="1274363"/>
            <a:chOff x="4338871" y="2725624"/>
            <a:chExt cx="1199053" cy="1626215"/>
          </a:xfrm>
        </p:grpSpPr>
        <p:sp>
          <p:nvSpPr>
            <p:cNvPr id="19" name="Rectangle 241"/>
            <p:cNvSpPr>
              <a:spLocks noChangeAspect="1" noChangeArrowheads="1"/>
            </p:cNvSpPr>
            <p:nvPr/>
          </p:nvSpPr>
          <p:spPr bwMode="auto">
            <a:xfrm>
              <a:off x="4656108" y="3080987"/>
              <a:ext cx="881816" cy="127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0" name="AutoShape 238"/>
            <p:cNvSpPr>
              <a:spLocks noChangeAspect="1" noChangeArrowheads="1"/>
            </p:cNvSpPr>
            <p:nvPr/>
          </p:nvSpPr>
          <p:spPr bwMode="auto">
            <a:xfrm>
              <a:off x="4360114" y="3177479"/>
              <a:ext cx="1062149" cy="111742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1" name="Oval 239"/>
            <p:cNvSpPr>
              <a:spLocks noChangeAspect="1" noChangeArrowheads="1"/>
            </p:cNvSpPr>
            <p:nvPr/>
          </p:nvSpPr>
          <p:spPr bwMode="auto">
            <a:xfrm>
              <a:off x="4354045" y="2746996"/>
              <a:ext cx="1068218" cy="1083842"/>
            </a:xfrm>
            <a:prstGeom prst="ellipse">
              <a:avLst/>
            </a:prstGeom>
            <a:solidFill>
              <a:schemeClr val="bg1"/>
            </a:solidFill>
            <a:ln w="12700">
              <a:solidFill>
                <a:schemeClr val="bg1"/>
              </a:solidFill>
              <a:round/>
              <a:headEnd/>
              <a:tailEnd/>
            </a:ln>
          </p:spPr>
          <p:txBody>
            <a:bodyPr wrap="none" lIns="0" r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2" name="Text Box 240"/>
            <p:cNvSpPr txBox="1">
              <a:spLocks noChangeAspect="1" noChangeArrowheads="1"/>
            </p:cNvSpPr>
            <p:nvPr/>
          </p:nvSpPr>
          <p:spPr bwMode="auto">
            <a:xfrm>
              <a:off x="4390461" y="3589645"/>
              <a:ext cx="992350" cy="68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algn="ctr" eaLnBrk="1" hangingPunct="1">
                <a:lnSpc>
                  <a:spcPct val="80000"/>
                </a:lnSpc>
              </a:pPr>
              <a:r>
                <a:rPr lang="en-US" altLang="en-US" sz="1400" dirty="0"/>
                <a:t>AMF</a:t>
              </a:r>
            </a:p>
          </p:txBody>
        </p:sp>
        <p:sp>
          <p:nvSpPr>
            <p:cNvPr id="23" name="Rectangle 241"/>
            <p:cNvSpPr>
              <a:spLocks noChangeAspect="1" noChangeArrowheads="1"/>
            </p:cNvSpPr>
            <p:nvPr/>
          </p:nvSpPr>
          <p:spPr bwMode="auto">
            <a:xfrm>
              <a:off x="4338871" y="2725624"/>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ea typeface="MS PGothic" charset="-128"/>
                </a:defRPr>
              </a:lvl1pPr>
              <a:lvl2pPr marL="742950" indent="-285750" eaLnBrk="0" hangingPunct="0">
                <a:defRPr sz="2000">
                  <a:solidFill>
                    <a:schemeClr val="tx1"/>
                  </a:solidFill>
                  <a:latin typeface="Arial" charset="0"/>
                  <a:ea typeface="MS PGothic" charset="-128"/>
                </a:defRPr>
              </a:lvl2pPr>
              <a:lvl3pPr marL="1143000" indent="-228600" eaLnBrk="0" hangingPunct="0">
                <a:defRPr sz="2000">
                  <a:solidFill>
                    <a:schemeClr val="tx1"/>
                  </a:solidFill>
                  <a:latin typeface="Arial" charset="0"/>
                  <a:ea typeface="MS PGothic" charset="-128"/>
                </a:defRPr>
              </a:lvl3pPr>
              <a:lvl4pPr marL="1600200" indent="-228600" eaLnBrk="0" hangingPunct="0">
                <a:defRPr sz="2000">
                  <a:solidFill>
                    <a:schemeClr val="tx1"/>
                  </a:solidFill>
                  <a:latin typeface="Arial" charset="0"/>
                  <a:ea typeface="MS PGothic" charset="-128"/>
                </a:defRPr>
              </a:lvl4pPr>
              <a:lvl5pPr marL="2057400" indent="-228600" eaLnBrk="0" hangingPunct="0">
                <a:defRPr sz="2000">
                  <a:solidFill>
                    <a:schemeClr val="tx1"/>
                  </a:solidFill>
                  <a:latin typeface="Arial" charset="0"/>
                  <a:ea typeface="MS PGothic" charset="-128"/>
                </a:defRPr>
              </a:lvl5pPr>
              <a:lvl6pPr marL="2514600" indent="-228600" eaLnBrk="0" fontAlgn="base" hangingPunct="0">
                <a:spcBef>
                  <a:spcPct val="0"/>
                </a:spcBef>
                <a:spcAft>
                  <a:spcPct val="0"/>
                </a:spcAft>
                <a:defRPr sz="2000">
                  <a:solidFill>
                    <a:schemeClr val="tx1"/>
                  </a:solidFill>
                  <a:latin typeface="Arial" charset="0"/>
                  <a:ea typeface="MS PGothic" charset="-128"/>
                </a:defRPr>
              </a:lvl6pPr>
              <a:lvl7pPr marL="2971800" indent="-228600" eaLnBrk="0" fontAlgn="base" hangingPunct="0">
                <a:spcBef>
                  <a:spcPct val="0"/>
                </a:spcBef>
                <a:spcAft>
                  <a:spcPct val="0"/>
                </a:spcAft>
                <a:defRPr sz="2000">
                  <a:solidFill>
                    <a:schemeClr val="tx1"/>
                  </a:solidFill>
                  <a:latin typeface="Arial" charset="0"/>
                  <a:ea typeface="MS PGothic" charset="-128"/>
                </a:defRPr>
              </a:lvl7pPr>
              <a:lvl8pPr marL="3429000" indent="-228600" eaLnBrk="0" fontAlgn="base" hangingPunct="0">
                <a:spcBef>
                  <a:spcPct val="0"/>
                </a:spcBef>
                <a:spcAft>
                  <a:spcPct val="0"/>
                </a:spcAft>
                <a:defRPr sz="2000">
                  <a:solidFill>
                    <a:schemeClr val="tx1"/>
                  </a:solidFill>
                  <a:latin typeface="Arial" charset="0"/>
                  <a:ea typeface="MS PGothic" charset="-128"/>
                </a:defRPr>
              </a:lvl8pPr>
              <a:lvl9pPr marL="3886200" indent="-228600" eaLnBrk="0" fontAlgn="base" hangingPunct="0">
                <a:spcBef>
                  <a:spcPct val="0"/>
                </a:spcBef>
                <a:spcAft>
                  <a:spcPct val="0"/>
                </a:spcAft>
                <a:defRPr sz="2000">
                  <a:solidFill>
                    <a:schemeClr val="tx1"/>
                  </a:solidFill>
                  <a:latin typeface="Arial" charset="0"/>
                  <a:ea typeface="MS PGothic" charset="-128"/>
                </a:defRPr>
              </a:lvl9pPr>
            </a:lstStyle>
            <a:p>
              <a:pPr eaLnBrk="1" hangingPunct="1"/>
              <a:endParaRPr lang="sv-SE" altLang="en-US" sz="1400"/>
            </a:p>
          </p:txBody>
        </p:sp>
        <p:sp>
          <p:nvSpPr>
            <p:cNvPr id="24" name="Freeform 11"/>
            <p:cNvSpPr>
              <a:spLocks noChangeAspect="1" noEditPoints="1"/>
            </p:cNvSpPr>
            <p:nvPr/>
          </p:nvSpPr>
          <p:spPr bwMode="auto">
            <a:xfrm>
              <a:off x="4338871" y="2725624"/>
              <a:ext cx="1101600" cy="1584547"/>
            </a:xfrm>
            <a:custGeom>
              <a:avLst/>
              <a:gdLst>
                <a:gd name="T0" fmla="*/ 236 w 410"/>
                <a:gd name="T1" fmla="*/ 93 h 589"/>
                <a:gd name="T2" fmla="*/ 233 w 410"/>
                <a:gd name="T3" fmla="*/ 95 h 589"/>
                <a:gd name="T4" fmla="*/ 233 w 410"/>
                <a:gd name="T5" fmla="*/ 221 h 589"/>
                <a:gd name="T6" fmla="*/ 218 w 410"/>
                <a:gd name="T7" fmla="*/ 231 h 589"/>
                <a:gd name="T8" fmla="*/ 24 w 410"/>
                <a:gd name="T9" fmla="*/ 231 h 589"/>
                <a:gd name="T10" fmla="*/ 10 w 410"/>
                <a:gd name="T11" fmla="*/ 221 h 589"/>
                <a:gd name="T12" fmla="*/ 10 w 410"/>
                <a:gd name="T13" fmla="*/ 83 h 589"/>
                <a:gd name="T14" fmla="*/ 120 w 410"/>
                <a:gd name="T15" fmla="*/ 7 h 589"/>
                <a:gd name="T16" fmla="*/ 233 w 410"/>
                <a:gd name="T17" fmla="*/ 83 h 589"/>
                <a:gd name="T18" fmla="*/ 236 w 410"/>
                <a:gd name="T19" fmla="*/ 87 h 589"/>
                <a:gd name="T20" fmla="*/ 242 w 410"/>
                <a:gd name="T21" fmla="*/ 83 h 589"/>
                <a:gd name="T22" fmla="*/ 242 w 410"/>
                <a:gd name="T23" fmla="*/ 83 h 589"/>
                <a:gd name="T24" fmla="*/ 120 w 410"/>
                <a:gd name="T25" fmla="*/ 0 h 589"/>
                <a:gd name="T26" fmla="*/ 0 w 410"/>
                <a:gd name="T27" fmla="*/ 83 h 589"/>
                <a:gd name="T28" fmla="*/ 0 w 410"/>
                <a:gd name="T29" fmla="*/ 83 h 589"/>
                <a:gd name="T30" fmla="*/ 4 w 410"/>
                <a:gd name="T31" fmla="*/ 221 h 589"/>
                <a:gd name="T32" fmla="*/ 24 w 410"/>
                <a:gd name="T33" fmla="*/ 239 h 589"/>
                <a:gd name="T34" fmla="*/ 218 w 410"/>
                <a:gd name="T35" fmla="*/ 239 h 589"/>
                <a:gd name="T36" fmla="*/ 242 w 410"/>
                <a:gd name="T37" fmla="*/ 221 h 589"/>
                <a:gd name="T38" fmla="*/ 242 w 410"/>
                <a:gd name="T39" fmla="*/ 95 h 589"/>
                <a:gd name="T40" fmla="*/ 236 w 410"/>
                <a:gd name="T41" fmla="*/ 93 h 589"/>
                <a:gd name="T42" fmla="*/ 120 w 410"/>
                <a:gd name="T43" fmla="*/ 22 h 589"/>
                <a:gd name="T44" fmla="*/ 117 w 410"/>
                <a:gd name="T45" fmla="*/ 23 h 589"/>
                <a:gd name="T46" fmla="*/ 45 w 410"/>
                <a:gd name="T47" fmla="*/ 118 h 589"/>
                <a:gd name="T48" fmla="*/ 45 w 410"/>
                <a:gd name="T49" fmla="*/ 121 h 589"/>
                <a:gd name="T50" fmla="*/ 50 w 410"/>
                <a:gd name="T51" fmla="*/ 123 h 589"/>
                <a:gd name="T52" fmla="*/ 192 w 410"/>
                <a:gd name="T53" fmla="*/ 123 h 589"/>
                <a:gd name="T54" fmla="*/ 197 w 410"/>
                <a:gd name="T55" fmla="*/ 121 h 589"/>
                <a:gd name="T56" fmla="*/ 197 w 410"/>
                <a:gd name="T57" fmla="*/ 118 h 589"/>
                <a:gd name="T58" fmla="*/ 125 w 410"/>
                <a:gd name="T59" fmla="*/ 23 h 589"/>
                <a:gd name="T60" fmla="*/ 120 w 410"/>
                <a:gd name="T61" fmla="*/ 22 h 589"/>
                <a:gd name="T62" fmla="*/ 57 w 410"/>
                <a:gd name="T63" fmla="*/ 116 h 589"/>
                <a:gd name="T64" fmla="*/ 120 w 410"/>
                <a:gd name="T65" fmla="*/ 33 h 589"/>
                <a:gd name="T66" fmla="*/ 185 w 410"/>
                <a:gd name="T67" fmla="*/ 116 h 589"/>
                <a:gd name="T68" fmla="*/ 57 w 410"/>
                <a:gd name="T69" fmla="*/ 116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chemeClr val="tx1"/>
            </a:solidFill>
            <a:ln>
              <a:noFill/>
            </a:ln>
            <a:extLst/>
          </p:spPr>
          <p:txBody>
            <a:bodyPr tIns="1080000" anchor="ctr"/>
            <a:lstStyle/>
            <a:p>
              <a:endParaRPr lang="en-US" sz="1400"/>
            </a:p>
          </p:txBody>
        </p:sp>
      </p:grpSp>
      <p:cxnSp>
        <p:nvCxnSpPr>
          <p:cNvPr id="25" name="Straight Connector 24"/>
          <p:cNvCxnSpPr>
            <a:stCxn id="22" idx="3"/>
            <a:endCxn id="14" idx="1"/>
          </p:cNvCxnSpPr>
          <p:nvPr/>
        </p:nvCxnSpPr>
        <p:spPr bwMode="auto">
          <a:xfrm flipV="1">
            <a:off x="1223496" y="4143866"/>
            <a:ext cx="1291722" cy="147"/>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30" name="TextBox 29"/>
          <p:cNvSpPr txBox="1"/>
          <p:nvPr/>
        </p:nvSpPr>
        <p:spPr>
          <a:xfrm>
            <a:off x="1601243" y="3852825"/>
            <a:ext cx="559769" cy="338554"/>
          </a:xfrm>
          <a:prstGeom prst="rect">
            <a:avLst/>
          </a:prstGeom>
          <a:noFill/>
        </p:spPr>
        <p:txBody>
          <a:bodyPr wrap="none" rtlCol="0">
            <a:spAutoFit/>
          </a:bodyPr>
          <a:lstStyle/>
          <a:p>
            <a:r>
              <a:rPr lang="en-US" sz="1600" dirty="0"/>
              <a:t>N15</a:t>
            </a:r>
          </a:p>
        </p:txBody>
      </p:sp>
      <p:sp>
        <p:nvSpPr>
          <p:cNvPr id="31" name="Rectangle 30"/>
          <p:cNvSpPr/>
          <p:nvPr/>
        </p:nvSpPr>
        <p:spPr bwMode="auto">
          <a:xfrm>
            <a:off x="190500" y="2952750"/>
            <a:ext cx="3352800" cy="1778959"/>
          </a:xfrm>
          <a:prstGeom prst="rect">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26" name="Group 25"/>
          <p:cNvGrpSpPr/>
          <p:nvPr/>
        </p:nvGrpSpPr>
        <p:grpSpPr>
          <a:xfrm>
            <a:off x="11125559" y="5724729"/>
            <a:ext cx="804261" cy="964759"/>
            <a:chOff x="2530204" y="1718022"/>
            <a:chExt cx="1186277" cy="1647323"/>
          </a:xfrm>
        </p:grpSpPr>
        <p:sp>
          <p:nvSpPr>
            <p:cNvPr id="27"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8"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29"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32" name="Group 274"/>
            <p:cNvGrpSpPr>
              <a:grpSpLocks noChangeAspect="1"/>
            </p:cNvGrpSpPr>
            <p:nvPr/>
          </p:nvGrpSpPr>
          <p:grpSpPr bwMode="auto">
            <a:xfrm>
              <a:off x="2590950" y="1853233"/>
              <a:ext cx="1125531" cy="1512112"/>
              <a:chOff x="3147" y="3024"/>
              <a:chExt cx="257" cy="366"/>
            </a:xfrm>
          </p:grpSpPr>
          <p:grpSp>
            <p:nvGrpSpPr>
              <p:cNvPr id="33" name="Group 7"/>
              <p:cNvGrpSpPr>
                <a:grpSpLocks noChangeAspect="1"/>
              </p:cNvGrpSpPr>
              <p:nvPr/>
            </p:nvGrpSpPr>
            <p:grpSpPr bwMode="auto">
              <a:xfrm>
                <a:off x="3147" y="3024"/>
                <a:ext cx="257" cy="366"/>
                <a:chOff x="2283" y="1698"/>
                <a:chExt cx="983" cy="1402"/>
              </a:xfrm>
            </p:grpSpPr>
            <p:pic>
              <p:nvPicPr>
                <p:cNvPr id="35"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34"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spTree>
    <p:extLst>
      <p:ext uri="{BB962C8B-B14F-4D97-AF65-F5344CB8AC3E}">
        <p14:creationId xmlns:p14="http://schemas.microsoft.com/office/powerpoint/2010/main" val="402002746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F-Initiated UE Context Termination</a:t>
            </a:r>
          </a:p>
        </p:txBody>
      </p:sp>
      <p:pic>
        <p:nvPicPr>
          <p:cNvPr id="4" name="Picture 3"/>
          <p:cNvPicPr>
            <a:picLocks noChangeAspect="1"/>
          </p:cNvPicPr>
          <p:nvPr/>
        </p:nvPicPr>
        <p:blipFill>
          <a:blip r:embed="rId3"/>
          <a:stretch>
            <a:fillRect/>
          </a:stretch>
        </p:blipFill>
        <p:spPr>
          <a:xfrm>
            <a:off x="3960863" y="1409135"/>
            <a:ext cx="7296750" cy="5276478"/>
          </a:xfrm>
          <a:prstGeom prst="rect">
            <a:avLst/>
          </a:prstGeom>
        </p:spPr>
      </p:pic>
      <p:sp>
        <p:nvSpPr>
          <p:cNvPr id="5" name="TextBox 4"/>
          <p:cNvSpPr txBox="1"/>
          <p:nvPr/>
        </p:nvSpPr>
        <p:spPr>
          <a:xfrm>
            <a:off x="195151" y="6190938"/>
            <a:ext cx="4895379" cy="307777"/>
          </a:xfrm>
          <a:prstGeom prst="rect">
            <a:avLst/>
          </a:prstGeom>
          <a:noFill/>
        </p:spPr>
        <p:txBody>
          <a:bodyPr wrap="none" rtlCol="0">
            <a:spAutoFit/>
          </a:bodyPr>
          <a:lstStyle/>
          <a:p>
            <a:r>
              <a:rPr lang="en-US" sz="1400" dirty="0"/>
              <a:t>A MPEF: Access and Mobility Policy Enforcement Function </a:t>
            </a:r>
          </a:p>
        </p:txBody>
      </p:sp>
      <p:sp>
        <p:nvSpPr>
          <p:cNvPr id="6" name="Oval 5"/>
          <p:cNvSpPr/>
          <p:nvPr/>
        </p:nvSpPr>
        <p:spPr bwMode="auto">
          <a:xfrm>
            <a:off x="5786203" y="3552669"/>
            <a:ext cx="104931" cy="1379095"/>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7" name="Straight Connector 6"/>
          <p:cNvCxnSpPr>
            <a:stCxn id="6" idx="4"/>
          </p:cNvCxnSpPr>
          <p:nvPr/>
        </p:nvCxnSpPr>
        <p:spPr bwMode="auto">
          <a:xfrm flipH="1">
            <a:off x="4796852" y="4931764"/>
            <a:ext cx="104181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 name="TextBox 7"/>
          <p:cNvSpPr txBox="1"/>
          <p:nvPr/>
        </p:nvSpPr>
        <p:spPr>
          <a:xfrm>
            <a:off x="4200863" y="4731709"/>
            <a:ext cx="655949" cy="400110"/>
          </a:xfrm>
          <a:prstGeom prst="rect">
            <a:avLst/>
          </a:prstGeom>
          <a:noFill/>
        </p:spPr>
        <p:txBody>
          <a:bodyPr wrap="none" rtlCol="0">
            <a:spAutoFit/>
          </a:bodyPr>
          <a:lstStyle/>
          <a:p>
            <a:r>
              <a:rPr lang="en-US" dirty="0"/>
              <a:t>N15</a:t>
            </a:r>
          </a:p>
        </p:txBody>
      </p:sp>
      <p:grpSp>
        <p:nvGrpSpPr>
          <p:cNvPr id="9" name="Group 8"/>
          <p:cNvGrpSpPr/>
          <p:nvPr/>
        </p:nvGrpSpPr>
        <p:grpSpPr>
          <a:xfrm>
            <a:off x="11125559" y="5724729"/>
            <a:ext cx="804261" cy="964759"/>
            <a:chOff x="2530204" y="1718022"/>
            <a:chExt cx="1186277" cy="1647323"/>
          </a:xfrm>
        </p:grpSpPr>
        <p:sp>
          <p:nvSpPr>
            <p:cNvPr id="1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3" name="Group 274"/>
            <p:cNvGrpSpPr>
              <a:grpSpLocks noChangeAspect="1"/>
            </p:cNvGrpSpPr>
            <p:nvPr/>
          </p:nvGrpSpPr>
          <p:grpSpPr bwMode="auto">
            <a:xfrm>
              <a:off x="2590950" y="1853233"/>
              <a:ext cx="1125531" cy="1512112"/>
              <a:chOff x="3147" y="3024"/>
              <a:chExt cx="257" cy="366"/>
            </a:xfrm>
          </p:grpSpPr>
          <p:grpSp>
            <p:nvGrpSpPr>
              <p:cNvPr id="14" name="Group 7"/>
              <p:cNvGrpSpPr>
                <a:grpSpLocks noChangeAspect="1"/>
              </p:cNvGrpSpPr>
              <p:nvPr/>
            </p:nvGrpSpPr>
            <p:grpSpPr bwMode="auto">
              <a:xfrm>
                <a:off x="3147" y="3024"/>
                <a:ext cx="257" cy="366"/>
                <a:chOff x="2283" y="1698"/>
                <a:chExt cx="983" cy="1402"/>
              </a:xfrm>
            </p:grpSpPr>
            <p:pic>
              <p:nvPicPr>
                <p:cNvPr id="16" name="Bildobjekt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PCF</a:t>
                </a:r>
              </a:p>
            </p:txBody>
          </p:sp>
        </p:grpSp>
      </p:grpSp>
    </p:spTree>
    <p:extLst>
      <p:ext uri="{BB962C8B-B14F-4D97-AF65-F5344CB8AC3E}">
        <p14:creationId xmlns:p14="http://schemas.microsoft.com/office/powerpoint/2010/main" val="45792406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10522816" cy="1085371"/>
          </a:xfrm>
        </p:spPr>
        <p:txBody>
          <a:bodyPr/>
          <a:lstStyle/>
          <a:p>
            <a:r>
              <a:rPr lang="en-US" dirty="0"/>
              <a:t>Unified Data Management (UDM)</a:t>
            </a:r>
          </a:p>
        </p:txBody>
      </p:sp>
      <p:sp>
        <p:nvSpPr>
          <p:cNvPr id="3" name="Text Placeholder 2"/>
          <p:cNvSpPr>
            <a:spLocks noGrp="1"/>
          </p:cNvSpPr>
          <p:nvPr>
            <p:ph type="body" idx="1"/>
          </p:nvPr>
        </p:nvSpPr>
        <p:spPr>
          <a:xfrm>
            <a:off x="529167" y="1425245"/>
            <a:ext cx="11135785" cy="4915595"/>
          </a:xfrm>
        </p:spPr>
        <p:txBody>
          <a:bodyPr/>
          <a:lstStyle/>
          <a:p>
            <a:r>
              <a:rPr lang="en-US" dirty="0"/>
              <a:t>Includes two parts located in HPLMN:</a:t>
            </a:r>
          </a:p>
          <a:p>
            <a:pPr lvl="1"/>
            <a:r>
              <a:rPr lang="en-US" dirty="0"/>
              <a:t>UDM front end (FE)</a:t>
            </a:r>
          </a:p>
          <a:p>
            <a:pPr lvl="1"/>
            <a:r>
              <a:rPr lang="en-US" dirty="0"/>
              <a:t>User Data Repository (UDR)</a:t>
            </a:r>
          </a:p>
          <a:p>
            <a:r>
              <a:rPr lang="en-US" dirty="0"/>
              <a:t>UDM FE main functionality</a:t>
            </a:r>
          </a:p>
          <a:p>
            <a:pPr lvl="1"/>
            <a:r>
              <a:rPr lang="x-none" dirty="0"/>
              <a:t>Authentication Credential Processing</a:t>
            </a:r>
            <a:endParaRPr lang="sv-SE" dirty="0"/>
          </a:p>
          <a:p>
            <a:pPr lvl="1"/>
            <a:r>
              <a:rPr lang="en-US" dirty="0"/>
              <a:t>User Identification Handling</a:t>
            </a:r>
          </a:p>
          <a:p>
            <a:pPr lvl="1"/>
            <a:r>
              <a:rPr lang="en-US" dirty="0"/>
              <a:t>Access Authorization</a:t>
            </a:r>
          </a:p>
          <a:p>
            <a:pPr lvl="1"/>
            <a:r>
              <a:rPr lang="en-US" dirty="0"/>
              <a:t>Registration/Mobility management</a:t>
            </a:r>
          </a:p>
          <a:p>
            <a:pPr lvl="1"/>
            <a:r>
              <a:rPr lang="en-US" dirty="0"/>
              <a:t>Subscription management</a:t>
            </a:r>
          </a:p>
          <a:p>
            <a:r>
              <a:rPr lang="en-US" dirty="0"/>
              <a:t>UDR main functionality</a:t>
            </a:r>
          </a:p>
          <a:p>
            <a:pPr lvl="1"/>
            <a:r>
              <a:rPr lang="en-US" dirty="0"/>
              <a:t>Stores subscription data for UDM-FE</a:t>
            </a:r>
          </a:p>
          <a:p>
            <a:pPr lvl="1"/>
            <a:r>
              <a:rPr lang="en-US" dirty="0"/>
              <a:t>Stores policy profiles required by PCF</a:t>
            </a:r>
          </a:p>
          <a:p>
            <a:pPr lvl="1"/>
            <a:r>
              <a:rPr lang="en-US" dirty="0"/>
              <a:t>Stores application and location data for NEF</a:t>
            </a:r>
          </a:p>
        </p:txBody>
      </p:sp>
      <p:grpSp>
        <p:nvGrpSpPr>
          <p:cNvPr id="6" name="Group 5"/>
          <p:cNvGrpSpPr/>
          <p:nvPr/>
        </p:nvGrpSpPr>
        <p:grpSpPr>
          <a:xfrm>
            <a:off x="8961845" y="1159863"/>
            <a:ext cx="920586" cy="1329413"/>
            <a:chOff x="2530204" y="1718022"/>
            <a:chExt cx="1186277" cy="1647323"/>
          </a:xfrm>
        </p:grpSpPr>
        <p:sp>
          <p:nvSpPr>
            <p:cNvPr id="7"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8"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9"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0" name="Group 274"/>
            <p:cNvGrpSpPr>
              <a:grpSpLocks noChangeAspect="1"/>
            </p:cNvGrpSpPr>
            <p:nvPr/>
          </p:nvGrpSpPr>
          <p:grpSpPr bwMode="auto">
            <a:xfrm>
              <a:off x="2590950" y="1853233"/>
              <a:ext cx="1125531" cy="1512112"/>
              <a:chOff x="3147" y="3024"/>
              <a:chExt cx="257" cy="366"/>
            </a:xfrm>
          </p:grpSpPr>
          <p:grpSp>
            <p:nvGrpSpPr>
              <p:cNvPr id="11" name="Group 7"/>
              <p:cNvGrpSpPr>
                <a:grpSpLocks noChangeAspect="1"/>
              </p:cNvGrpSpPr>
              <p:nvPr/>
            </p:nvGrpSpPr>
            <p:grpSpPr bwMode="auto">
              <a:xfrm>
                <a:off x="3147" y="3024"/>
                <a:ext cx="257" cy="366"/>
                <a:chOff x="2283" y="1698"/>
                <a:chExt cx="983" cy="1402"/>
              </a:xfrm>
            </p:grpSpPr>
            <p:pic>
              <p:nvPicPr>
                <p:cNvPr id="13"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2"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UDM</a:t>
                </a:r>
                <a:endParaRPr lang="en-US" altLang="en-US" sz="1400" dirty="0">
                  <a:ea typeface="MS PGothic" charset="-128"/>
                </a:endParaRPr>
              </a:p>
            </p:txBody>
          </p:sp>
        </p:grpSp>
      </p:grpSp>
      <p:cxnSp>
        <p:nvCxnSpPr>
          <p:cNvPr id="16" name="Straight Connector 15"/>
          <p:cNvCxnSpPr>
            <a:cxnSpLocks/>
          </p:cNvCxnSpPr>
          <p:nvPr/>
        </p:nvCxnSpPr>
        <p:spPr bwMode="auto">
          <a:xfrm flipH="1">
            <a:off x="7090348" y="2489276"/>
            <a:ext cx="2350264" cy="733609"/>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20" name="Straight Connector 19"/>
          <p:cNvCxnSpPr>
            <a:cxnSpLocks/>
          </p:cNvCxnSpPr>
          <p:nvPr/>
        </p:nvCxnSpPr>
        <p:spPr bwMode="auto">
          <a:xfrm>
            <a:off x="9440612" y="2489276"/>
            <a:ext cx="2355125" cy="733609"/>
          </a:xfrm>
          <a:prstGeom prst="line">
            <a:avLst/>
          </a:prstGeom>
          <a:solidFill>
            <a:schemeClr val="accent1"/>
          </a:solidFill>
          <a:ln w="12700" cap="flat" cmpd="sng" algn="ctr">
            <a:solidFill>
              <a:schemeClr val="tx1"/>
            </a:solidFill>
            <a:prstDash val="dash"/>
            <a:round/>
            <a:headEnd type="none" w="med" len="med"/>
            <a:tailEnd type="none" w="med" len="med"/>
          </a:ln>
          <a:effectLst/>
        </p:spPr>
      </p:cxnSp>
      <p:pic>
        <p:nvPicPr>
          <p:cNvPr id="4" name="Picture 3"/>
          <p:cNvPicPr>
            <a:picLocks noChangeAspect="1"/>
          </p:cNvPicPr>
          <p:nvPr/>
        </p:nvPicPr>
        <p:blipFill>
          <a:blip r:embed="rId4"/>
          <a:stretch>
            <a:fillRect/>
          </a:stretch>
        </p:blipFill>
        <p:spPr>
          <a:xfrm>
            <a:off x="6940445" y="3180481"/>
            <a:ext cx="5065152" cy="3368969"/>
          </a:xfrm>
          <a:prstGeom prst="rect">
            <a:avLst/>
          </a:prstGeom>
        </p:spPr>
      </p:pic>
      <p:sp>
        <p:nvSpPr>
          <p:cNvPr id="15" name="Rectangle 14"/>
          <p:cNvSpPr/>
          <p:nvPr/>
        </p:nvSpPr>
        <p:spPr bwMode="auto">
          <a:xfrm>
            <a:off x="6760565" y="4302177"/>
            <a:ext cx="2296002" cy="2428407"/>
          </a:xfrm>
          <a:prstGeom prst="rect">
            <a:avLst/>
          </a:prstGeom>
          <a:solidFill>
            <a:schemeClr val="bg1">
              <a:alpha val="62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Rectangle 17"/>
          <p:cNvSpPr/>
          <p:nvPr/>
        </p:nvSpPr>
        <p:spPr bwMode="auto">
          <a:xfrm>
            <a:off x="9016094" y="4900775"/>
            <a:ext cx="610394" cy="1780065"/>
          </a:xfrm>
          <a:prstGeom prst="rect">
            <a:avLst/>
          </a:prstGeom>
          <a:solidFill>
            <a:schemeClr val="bg1">
              <a:alpha val="62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96673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934" y="239714"/>
            <a:ext cx="10461513" cy="1085371"/>
          </a:xfrm>
        </p:spPr>
        <p:txBody>
          <a:bodyPr>
            <a:normAutofit/>
          </a:bodyPr>
          <a:lstStyle/>
          <a:p>
            <a:r>
              <a:rPr lang="en-US" dirty="0"/>
              <a:t>IDENTIFIERS</a:t>
            </a:r>
            <a:br>
              <a:rPr lang="en-US" dirty="0"/>
            </a:br>
            <a:r>
              <a:rPr lang="en-US" sz="3000" dirty="0">
                <a:latin typeface="+mn-lt"/>
              </a:rPr>
              <a:t>Subscriber Permanent Identifier (SUPI)</a:t>
            </a:r>
          </a:p>
        </p:txBody>
      </p:sp>
      <p:sp>
        <p:nvSpPr>
          <p:cNvPr id="3" name="Text Placeholder 2"/>
          <p:cNvSpPr>
            <a:spLocks noGrp="1"/>
          </p:cNvSpPr>
          <p:nvPr>
            <p:ph type="body" idx="1"/>
          </p:nvPr>
        </p:nvSpPr>
        <p:spPr>
          <a:xfrm>
            <a:off x="524934" y="1622576"/>
            <a:ext cx="11135785" cy="4628098"/>
          </a:xfrm>
        </p:spPr>
        <p:txBody>
          <a:bodyPr/>
          <a:lstStyle/>
          <a:p>
            <a:r>
              <a:rPr lang="en-US" dirty="0"/>
              <a:t>A globally unique SUPI shall be allocated to each subscriber in the 5GS</a:t>
            </a:r>
          </a:p>
          <a:p>
            <a:r>
              <a:rPr lang="en-US" dirty="0"/>
              <a:t>The following has been identified a valid SUPI types:</a:t>
            </a:r>
          </a:p>
          <a:p>
            <a:pPr lvl="1"/>
            <a:r>
              <a:rPr lang="en-US" dirty="0"/>
              <a:t>IMSI as defined by TS 23.003</a:t>
            </a:r>
          </a:p>
          <a:p>
            <a:pPr lvl="1"/>
            <a:r>
              <a:rPr lang="en-US" dirty="0"/>
              <a:t>Network Access Identifier (NAI) defined by RFC 4282 and applied according to TS 23.003</a:t>
            </a:r>
          </a:p>
          <a:p>
            <a:pPr lvl="2"/>
            <a:r>
              <a:rPr lang="en-US" sz="1800" dirty="0"/>
              <a:t>By using NAI it will be possible to also use non-IMSI based SUPIs</a:t>
            </a:r>
          </a:p>
          <a:p>
            <a:r>
              <a:rPr lang="en-US" dirty="0"/>
              <a:t>It is possible for a representation of the IMSI to be contained within the NAI for the SUPI</a:t>
            </a:r>
          </a:p>
          <a:p>
            <a:pPr lvl="1"/>
            <a:r>
              <a:rPr lang="en-US" dirty="0"/>
              <a:t>To be used over a non-3GPP Access</a:t>
            </a:r>
          </a:p>
          <a:p>
            <a:r>
              <a:rPr lang="en-US" dirty="0"/>
              <a:t>SUPI shall contain the address of the home network in order to enable roaming</a:t>
            </a:r>
          </a:p>
          <a:p>
            <a:pPr lvl="1"/>
            <a:r>
              <a:rPr lang="en-US" dirty="0"/>
              <a:t>MCC and MNC in case of IMSI based SUPI</a:t>
            </a:r>
          </a:p>
          <a:p>
            <a:r>
              <a:rPr lang="en-US" dirty="0"/>
              <a:t>SUPI allocated for a 3GPP UE shall always be based on an IMSI</a:t>
            </a:r>
          </a:p>
          <a:p>
            <a:pPr lvl="1"/>
            <a:r>
              <a:rPr lang="en-US" dirty="0"/>
              <a:t>To enable EPC interworking</a:t>
            </a:r>
          </a:p>
          <a:p>
            <a:pPr lvl="1"/>
            <a:endParaRPr lang="en-US" dirty="0"/>
          </a:p>
        </p:txBody>
      </p:sp>
      <p:grpSp>
        <p:nvGrpSpPr>
          <p:cNvPr id="11" name="Group 10"/>
          <p:cNvGrpSpPr/>
          <p:nvPr/>
        </p:nvGrpSpPr>
        <p:grpSpPr>
          <a:xfrm>
            <a:off x="11125210" y="5774552"/>
            <a:ext cx="766913" cy="952243"/>
            <a:chOff x="2530204" y="1718022"/>
            <a:chExt cx="1186277" cy="1647323"/>
          </a:xfrm>
        </p:grpSpPr>
        <p:sp>
          <p:nvSpPr>
            <p:cNvPr id="12"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3"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5" name="Group 274"/>
            <p:cNvGrpSpPr>
              <a:grpSpLocks noChangeAspect="1"/>
            </p:cNvGrpSpPr>
            <p:nvPr/>
          </p:nvGrpSpPr>
          <p:grpSpPr bwMode="auto">
            <a:xfrm>
              <a:off x="2590950" y="1853233"/>
              <a:ext cx="1125531" cy="1512112"/>
              <a:chOff x="3147" y="3024"/>
              <a:chExt cx="257" cy="366"/>
            </a:xfrm>
          </p:grpSpPr>
          <p:grpSp>
            <p:nvGrpSpPr>
              <p:cNvPr id="16" name="Group 7"/>
              <p:cNvGrpSpPr>
                <a:grpSpLocks noChangeAspect="1"/>
              </p:cNvGrpSpPr>
              <p:nvPr/>
            </p:nvGrpSpPr>
            <p:grpSpPr bwMode="auto">
              <a:xfrm>
                <a:off x="3147" y="3024"/>
                <a:ext cx="257" cy="366"/>
                <a:chOff x="2283" y="1698"/>
                <a:chExt cx="983" cy="1402"/>
              </a:xfrm>
            </p:grpSpPr>
            <p:pic>
              <p:nvPicPr>
                <p:cNvPr id="18"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7"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UDM</a:t>
                </a:r>
                <a:endParaRPr lang="en-US" altLang="en-US" sz="1400" dirty="0">
                  <a:ea typeface="MS PGothic" charset="-128"/>
                </a:endParaRPr>
              </a:p>
            </p:txBody>
          </p:sp>
        </p:grpSp>
      </p:grpSp>
    </p:spTree>
    <p:extLst>
      <p:ext uri="{BB962C8B-B14F-4D97-AF65-F5344CB8AC3E}">
        <p14:creationId xmlns:p14="http://schemas.microsoft.com/office/powerpoint/2010/main" val="38292969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DENTIFIERS</a:t>
            </a:r>
            <a:br>
              <a:rPr lang="en-US" dirty="0"/>
            </a:br>
            <a:r>
              <a:rPr lang="en-US" sz="3000" dirty="0">
                <a:latin typeface="+mn-lt"/>
              </a:rPr>
              <a:t>Permanent Equipment Identifier (PEI)</a:t>
            </a:r>
          </a:p>
        </p:txBody>
      </p:sp>
      <p:sp>
        <p:nvSpPr>
          <p:cNvPr id="3" name="Text Placeholder 2"/>
          <p:cNvSpPr>
            <a:spLocks noGrp="1"/>
          </p:cNvSpPr>
          <p:nvPr>
            <p:ph type="body" idx="1"/>
          </p:nvPr>
        </p:nvSpPr>
        <p:spPr>
          <a:xfrm>
            <a:off x="529167" y="1800000"/>
            <a:ext cx="11330737" cy="3852000"/>
          </a:xfrm>
        </p:spPr>
        <p:txBody>
          <a:bodyPr/>
          <a:lstStyle/>
          <a:p>
            <a:r>
              <a:rPr lang="en-US" dirty="0"/>
              <a:t>A PEI is defined for the 3GPP UE accessing the 5GS</a:t>
            </a:r>
          </a:p>
          <a:p>
            <a:r>
              <a:rPr lang="en-US" dirty="0"/>
              <a:t>PEI can assume different formats for different UE types and use cases</a:t>
            </a:r>
          </a:p>
          <a:p>
            <a:pPr lvl="1"/>
            <a:r>
              <a:rPr lang="en-US" dirty="0"/>
              <a:t>The UE shall present the PEI to the network together with an indication of the PEI format used</a:t>
            </a:r>
          </a:p>
          <a:p>
            <a:r>
              <a:rPr lang="en-US" dirty="0"/>
              <a:t>If the UE supports at least one 3GPP access, the PEI must be allocated in IMEI format</a:t>
            </a:r>
          </a:p>
          <a:p>
            <a:pPr marL="0" indent="0">
              <a:buNone/>
            </a:pPr>
            <a:endParaRPr lang="en-US" dirty="0"/>
          </a:p>
        </p:txBody>
      </p:sp>
      <p:grpSp>
        <p:nvGrpSpPr>
          <p:cNvPr id="11" name="Group 10"/>
          <p:cNvGrpSpPr/>
          <p:nvPr/>
        </p:nvGrpSpPr>
        <p:grpSpPr>
          <a:xfrm>
            <a:off x="11125210" y="5774552"/>
            <a:ext cx="766913" cy="952243"/>
            <a:chOff x="2530204" y="1718022"/>
            <a:chExt cx="1186277" cy="1647323"/>
          </a:xfrm>
        </p:grpSpPr>
        <p:sp>
          <p:nvSpPr>
            <p:cNvPr id="12"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3"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5" name="Group 274"/>
            <p:cNvGrpSpPr>
              <a:grpSpLocks noChangeAspect="1"/>
            </p:cNvGrpSpPr>
            <p:nvPr/>
          </p:nvGrpSpPr>
          <p:grpSpPr bwMode="auto">
            <a:xfrm>
              <a:off x="2590950" y="1853233"/>
              <a:ext cx="1125531" cy="1512112"/>
              <a:chOff x="3147" y="3024"/>
              <a:chExt cx="257" cy="366"/>
            </a:xfrm>
          </p:grpSpPr>
          <p:grpSp>
            <p:nvGrpSpPr>
              <p:cNvPr id="16" name="Group 7"/>
              <p:cNvGrpSpPr>
                <a:grpSpLocks noChangeAspect="1"/>
              </p:cNvGrpSpPr>
              <p:nvPr/>
            </p:nvGrpSpPr>
            <p:grpSpPr bwMode="auto">
              <a:xfrm>
                <a:off x="3147" y="3024"/>
                <a:ext cx="257" cy="366"/>
                <a:chOff x="2283" y="1698"/>
                <a:chExt cx="983" cy="1402"/>
              </a:xfrm>
            </p:grpSpPr>
            <p:pic>
              <p:nvPicPr>
                <p:cNvPr id="18"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7"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pitchFamily="34" charset="-128"/>
                  </a:rPr>
                  <a:t>UDM</a:t>
                </a:r>
                <a:endParaRPr lang="en-US" altLang="en-US" sz="1400" dirty="0">
                  <a:ea typeface="MS PGothic" charset="-128"/>
                </a:endParaRPr>
              </a:p>
            </p:txBody>
          </p:sp>
        </p:grpSp>
      </p:grpSp>
    </p:spTree>
    <p:extLst>
      <p:ext uri="{BB962C8B-B14F-4D97-AF65-F5344CB8AC3E}">
        <p14:creationId xmlns:p14="http://schemas.microsoft.com/office/powerpoint/2010/main" val="13520207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557" y="266218"/>
            <a:ext cx="10813774" cy="1085371"/>
          </a:xfrm>
        </p:spPr>
        <p:txBody>
          <a:bodyPr/>
          <a:lstStyle/>
          <a:p>
            <a:r>
              <a:rPr lang="en-US" dirty="0"/>
              <a:t>Authentication Server Function</a:t>
            </a:r>
            <a:br>
              <a:rPr lang="en-US" dirty="0"/>
            </a:br>
            <a:r>
              <a:rPr lang="en-US" dirty="0"/>
              <a:t>(AUSF)</a:t>
            </a:r>
          </a:p>
        </p:txBody>
      </p:sp>
      <p:sp>
        <p:nvSpPr>
          <p:cNvPr id="3" name="Text Placeholder 2"/>
          <p:cNvSpPr>
            <a:spLocks noGrp="1"/>
          </p:cNvSpPr>
          <p:nvPr>
            <p:ph type="body" idx="1"/>
          </p:nvPr>
        </p:nvSpPr>
        <p:spPr>
          <a:xfrm>
            <a:off x="529167" y="2144771"/>
            <a:ext cx="11135785" cy="3852000"/>
          </a:xfrm>
        </p:spPr>
        <p:txBody>
          <a:bodyPr/>
          <a:lstStyle/>
          <a:p>
            <a:pPr marL="0" indent="0">
              <a:buNone/>
            </a:pPr>
            <a:r>
              <a:rPr lang="en-US" dirty="0"/>
              <a:t>Main Functionality</a:t>
            </a:r>
          </a:p>
          <a:p>
            <a:r>
              <a:rPr lang="en-US" dirty="0"/>
              <a:t>Contains EAP Authentication server functionality</a:t>
            </a:r>
          </a:p>
          <a:p>
            <a:pPr lvl="1"/>
            <a:r>
              <a:rPr lang="en-US" dirty="0"/>
              <a:t>Choosing EAP authentication method to authenticate the UE</a:t>
            </a:r>
          </a:p>
          <a:p>
            <a:pPr lvl="2"/>
            <a:r>
              <a:rPr lang="en-US" sz="1800" dirty="0"/>
              <a:t>Based on UE subscription information and information included in </a:t>
            </a:r>
            <a:br>
              <a:rPr lang="en-US" sz="1800" dirty="0"/>
            </a:br>
            <a:r>
              <a:rPr lang="en-US" sz="1800" dirty="0"/>
              <a:t>the 5G </a:t>
            </a:r>
            <a:r>
              <a:rPr lang="en-GB" sz="1800" dirty="0"/>
              <a:t>globally unique 5G Subscriber Permanent Identifier (SUPI)</a:t>
            </a:r>
            <a:endParaRPr lang="en-US" sz="1800" dirty="0"/>
          </a:p>
          <a:p>
            <a:pPr lvl="1"/>
            <a:r>
              <a:rPr lang="en-US" dirty="0"/>
              <a:t>May retrieve UE subscription information from UDM</a:t>
            </a:r>
          </a:p>
          <a:p>
            <a:pPr lvl="1"/>
            <a:r>
              <a:rPr lang="en-US" dirty="0"/>
              <a:t>Sends security information to the AMF</a:t>
            </a:r>
          </a:p>
          <a:p>
            <a:pPr marL="0" indent="0">
              <a:buNone/>
            </a:pPr>
            <a:endParaRPr lang="en-US" dirty="0"/>
          </a:p>
        </p:txBody>
      </p:sp>
      <p:sp>
        <p:nvSpPr>
          <p:cNvPr id="11" name="TextBox 10"/>
          <p:cNvSpPr txBox="1"/>
          <p:nvPr/>
        </p:nvSpPr>
        <p:spPr>
          <a:xfrm>
            <a:off x="344557" y="5765938"/>
            <a:ext cx="2932919" cy="461665"/>
          </a:xfrm>
          <a:prstGeom prst="rect">
            <a:avLst/>
          </a:prstGeom>
          <a:noFill/>
        </p:spPr>
        <p:txBody>
          <a:bodyPr wrap="none" rtlCol="0">
            <a:spAutoFit/>
          </a:bodyPr>
          <a:lstStyle/>
          <a:p>
            <a:r>
              <a:rPr lang="en-US" sz="1200" dirty="0"/>
              <a:t>EAP: Extensible Authentication Protocol</a:t>
            </a:r>
            <a:br>
              <a:rPr lang="en-US" sz="1200" dirty="0"/>
            </a:br>
            <a:r>
              <a:rPr lang="en-US" sz="1200" dirty="0"/>
              <a:t>AKA: Authentication and Key Agreement</a:t>
            </a:r>
          </a:p>
        </p:txBody>
      </p:sp>
      <p:grpSp>
        <p:nvGrpSpPr>
          <p:cNvPr id="12" name="Group 11"/>
          <p:cNvGrpSpPr/>
          <p:nvPr/>
        </p:nvGrpSpPr>
        <p:grpSpPr>
          <a:xfrm>
            <a:off x="9641080" y="3069025"/>
            <a:ext cx="920586" cy="1329413"/>
            <a:chOff x="2530204" y="1718022"/>
            <a:chExt cx="1186277" cy="1647323"/>
          </a:xfrm>
        </p:grpSpPr>
        <p:sp>
          <p:nvSpPr>
            <p:cNvPr id="13"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4"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15"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16" name="Group 274"/>
            <p:cNvGrpSpPr>
              <a:grpSpLocks noChangeAspect="1"/>
            </p:cNvGrpSpPr>
            <p:nvPr/>
          </p:nvGrpSpPr>
          <p:grpSpPr bwMode="auto">
            <a:xfrm>
              <a:off x="2590950" y="1853233"/>
              <a:ext cx="1125531" cy="1512112"/>
              <a:chOff x="3147" y="3024"/>
              <a:chExt cx="257" cy="366"/>
            </a:xfrm>
          </p:grpSpPr>
          <p:grpSp>
            <p:nvGrpSpPr>
              <p:cNvPr id="17" name="Group 7"/>
              <p:cNvGrpSpPr>
                <a:grpSpLocks noChangeAspect="1"/>
              </p:cNvGrpSpPr>
              <p:nvPr/>
            </p:nvGrpSpPr>
            <p:grpSpPr bwMode="auto">
              <a:xfrm>
                <a:off x="3147" y="3024"/>
                <a:ext cx="257" cy="366"/>
                <a:chOff x="2284" y="1695"/>
                <a:chExt cx="983" cy="1401"/>
              </a:xfrm>
            </p:grpSpPr>
            <p:pic>
              <p:nvPicPr>
                <p:cNvPr id="19"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8"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AUSF</a:t>
                </a:r>
              </a:p>
            </p:txBody>
          </p:sp>
        </p:grpSp>
      </p:grpSp>
      <p:sp>
        <p:nvSpPr>
          <p:cNvPr id="23" name="TextBox 22"/>
          <p:cNvSpPr txBox="1"/>
          <p:nvPr/>
        </p:nvSpPr>
        <p:spPr>
          <a:xfrm>
            <a:off x="9384449" y="2825940"/>
            <a:ext cx="652743" cy="307777"/>
          </a:xfrm>
          <a:prstGeom prst="rect">
            <a:avLst/>
          </a:prstGeom>
          <a:noFill/>
        </p:spPr>
        <p:txBody>
          <a:bodyPr wrap="none" rtlCol="0">
            <a:spAutoFit/>
          </a:bodyPr>
          <a:lstStyle/>
          <a:p>
            <a:r>
              <a:rPr lang="en-US" sz="1400" dirty="0" err="1">
                <a:solidFill>
                  <a:srgbClr val="FF0000"/>
                </a:solidFill>
              </a:rPr>
              <a:t>Nausf</a:t>
            </a:r>
            <a:endParaRPr lang="en-US" sz="1400" dirty="0">
              <a:solidFill>
                <a:srgbClr val="FF0000"/>
              </a:solidFill>
            </a:endParaRPr>
          </a:p>
        </p:txBody>
      </p:sp>
      <p:grpSp>
        <p:nvGrpSpPr>
          <p:cNvPr id="24" name="Group 23"/>
          <p:cNvGrpSpPr/>
          <p:nvPr/>
        </p:nvGrpSpPr>
        <p:grpSpPr>
          <a:xfrm rot="10800000" flipH="1" flipV="1">
            <a:off x="10038065" y="2895960"/>
            <a:ext cx="145622" cy="280111"/>
            <a:chOff x="7128406" y="1476204"/>
            <a:chExt cx="145622" cy="280111"/>
          </a:xfrm>
        </p:grpSpPr>
        <p:cxnSp>
          <p:nvCxnSpPr>
            <p:cNvPr id="25" name="Straight Connector 24"/>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26" name="Oval 25"/>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258126701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hentication Architecture </a:t>
            </a:r>
            <a:r>
              <a:rPr lang="en-US" sz="2800" dirty="0">
                <a:latin typeface="+mn-lt"/>
              </a:rPr>
              <a:t>Overview</a:t>
            </a:r>
          </a:p>
        </p:txBody>
      </p:sp>
      <p:cxnSp>
        <p:nvCxnSpPr>
          <p:cNvPr id="5" name="Straight Connector 4"/>
          <p:cNvCxnSpPr/>
          <p:nvPr/>
        </p:nvCxnSpPr>
        <p:spPr bwMode="auto">
          <a:xfrm flipV="1">
            <a:off x="9577346" y="4663248"/>
            <a:ext cx="0" cy="507357"/>
          </a:xfrm>
          <a:prstGeom prst="line">
            <a:avLst/>
          </a:prstGeom>
          <a:noFill/>
          <a:ln w="25400">
            <a:solidFill>
              <a:schemeClr val="accent2"/>
            </a:solidFill>
            <a:prstDash val="sysDash"/>
            <a:round/>
            <a:headEnd/>
            <a:tailEnd/>
          </a:ln>
          <a:extLst>
            <a:ext uri="{909E8E84-426E-40DD-AFC4-6F175D3DCCD1}">
              <a14:hiddenFill xmlns:a14="http://schemas.microsoft.com/office/drawing/2010/main">
                <a:noFill/>
              </a14:hiddenFill>
            </a:ext>
          </a:extLst>
        </p:spPr>
      </p:cxnSp>
      <p:sp>
        <p:nvSpPr>
          <p:cNvPr id="6" name="Rounded Rectangle 4"/>
          <p:cNvSpPr/>
          <p:nvPr/>
        </p:nvSpPr>
        <p:spPr bwMode="auto">
          <a:xfrm>
            <a:off x="5472774" y="1885961"/>
            <a:ext cx="3072941" cy="3533150"/>
          </a:xfrm>
          <a:prstGeom prst="roundRect">
            <a:avLst/>
          </a:prstGeom>
          <a:solidFill>
            <a:schemeClr val="tx2">
              <a:lumMod val="10000"/>
              <a:lumOff val="90000"/>
            </a:schemeClr>
          </a:solidFill>
          <a:ln w="31750" cap="flat" cmpd="sng" algn="ctr">
            <a:solidFill>
              <a:srgbClr val="00B0F0"/>
            </a:solidFill>
            <a:prstDash val="solid"/>
            <a:round/>
            <a:headEnd type="none" w="med" len="med"/>
            <a:tailEnd type="none" w="med" len="med"/>
          </a:ln>
          <a:effectLst/>
        </p:spPr>
        <p:txBody>
          <a:bodyPr vert="horz" wrap="square" lIns="18000" tIns="45720" rIns="18000" bIns="45720" numCol="1" rtlCol="0" anchor="t" anchorCtr="0" compatLnSpc="1">
            <a:prstTxWarp prst="textNoShape">
              <a:avLst/>
            </a:prstTxWarp>
          </a:bodyPr>
          <a:lstStyle/>
          <a:p>
            <a:r>
              <a:rPr lang="en-US" sz="1600" b="1" dirty="0">
                <a:solidFill>
                  <a:schemeClr val="tx2"/>
                </a:solidFill>
                <a:latin typeface="+mj-lt"/>
              </a:rPr>
              <a:t>5G Core</a:t>
            </a:r>
          </a:p>
        </p:txBody>
      </p:sp>
      <p:cxnSp>
        <p:nvCxnSpPr>
          <p:cNvPr id="7" name="Straight Connector 203"/>
          <p:cNvCxnSpPr>
            <a:cxnSpLocks noChangeShapeType="1"/>
          </p:cNvCxnSpPr>
          <p:nvPr/>
        </p:nvCxnSpPr>
        <p:spPr bwMode="auto">
          <a:xfrm rot="5400000" flipH="1" flipV="1">
            <a:off x="6928688" y="3080940"/>
            <a:ext cx="1102409" cy="993293"/>
          </a:xfrm>
          <a:prstGeom prst="bentConnector3">
            <a:avLst>
              <a:gd name="adj1" fmla="val -545"/>
            </a:avLst>
          </a:prstGeom>
          <a:noFill/>
          <a:ln w="25400">
            <a:solidFill>
              <a:srgbClr val="C00000"/>
            </a:solidFill>
            <a:prstDash val="sysDash"/>
            <a:round/>
            <a:headEnd/>
            <a:tailEnd/>
          </a:ln>
          <a:extLst>
            <a:ext uri="{909E8E84-426E-40DD-AFC4-6F175D3DCCD1}">
              <a14:hiddenFill xmlns:a14="http://schemas.microsoft.com/office/drawing/2010/main">
                <a:noFill/>
              </a14:hiddenFill>
            </a:ext>
          </a:extLst>
        </p:spPr>
      </p:cxnSp>
      <p:cxnSp>
        <p:nvCxnSpPr>
          <p:cNvPr id="8" name="Straight Connector 7"/>
          <p:cNvCxnSpPr/>
          <p:nvPr/>
        </p:nvCxnSpPr>
        <p:spPr bwMode="auto">
          <a:xfrm>
            <a:off x="3359581" y="2615567"/>
            <a:ext cx="0" cy="3079697"/>
          </a:xfrm>
          <a:prstGeom prst="line">
            <a:avLst/>
          </a:prstGeom>
          <a:solidFill>
            <a:schemeClr val="accent1"/>
          </a:solidFill>
          <a:ln w="28575" cap="flat" cmpd="sng" algn="ctr">
            <a:solidFill>
              <a:schemeClr val="tx1"/>
            </a:solidFill>
            <a:prstDash val="lgDashDot"/>
            <a:round/>
            <a:headEnd type="none" w="med" len="med"/>
            <a:tailEnd type="none" w="med" len="med"/>
          </a:ln>
          <a:effectLst/>
        </p:spPr>
      </p:cxnSp>
      <p:cxnSp>
        <p:nvCxnSpPr>
          <p:cNvPr id="9" name="Straight Connector 8"/>
          <p:cNvCxnSpPr/>
          <p:nvPr/>
        </p:nvCxnSpPr>
        <p:spPr bwMode="auto">
          <a:xfrm>
            <a:off x="2511133" y="2626943"/>
            <a:ext cx="0" cy="3079697"/>
          </a:xfrm>
          <a:prstGeom prst="line">
            <a:avLst/>
          </a:prstGeom>
          <a:solidFill>
            <a:schemeClr val="accent1"/>
          </a:solidFill>
          <a:ln w="28575" cap="flat" cmpd="sng" algn="ctr">
            <a:solidFill>
              <a:schemeClr val="tx1"/>
            </a:solidFill>
            <a:prstDash val="lgDashDot"/>
            <a:round/>
            <a:headEnd type="none" w="med" len="med"/>
            <a:tailEnd type="none" w="med" len="med"/>
          </a:ln>
          <a:effectLst/>
        </p:spPr>
      </p:cxnSp>
      <p:sp>
        <p:nvSpPr>
          <p:cNvPr id="10" name="Line 169"/>
          <p:cNvSpPr>
            <a:spLocks noChangeShapeType="1"/>
          </p:cNvSpPr>
          <p:nvPr/>
        </p:nvSpPr>
        <p:spPr bwMode="auto">
          <a:xfrm flipH="1">
            <a:off x="8121996" y="3575102"/>
            <a:ext cx="1" cy="7602"/>
          </a:xfrm>
          <a:prstGeom prst="line">
            <a:avLst/>
          </a:prstGeom>
          <a:noFill/>
          <a:ln w="9525">
            <a:solidFill>
              <a:schemeClr val="accent4">
                <a:lumMod val="50000"/>
              </a:schemeClr>
            </a:solidFill>
            <a:prstDash val="dash"/>
            <a:round/>
            <a:headEnd/>
            <a:tailEnd/>
          </a:ln>
        </p:spPr>
        <p:txBody>
          <a:bodyPr/>
          <a:lstStyle/>
          <a:p>
            <a:pPr>
              <a:defRPr/>
            </a:pPr>
            <a:endParaRPr lang="sv-SE" sz="1600">
              <a:solidFill>
                <a:srgbClr val="58585A"/>
              </a:solidFill>
            </a:endParaRPr>
          </a:p>
        </p:txBody>
      </p:sp>
      <p:sp>
        <p:nvSpPr>
          <p:cNvPr id="11" name="TextBox 10"/>
          <p:cNvSpPr txBox="1"/>
          <p:nvPr/>
        </p:nvSpPr>
        <p:spPr>
          <a:xfrm>
            <a:off x="1937343" y="2210544"/>
            <a:ext cx="1078090" cy="461665"/>
          </a:xfrm>
          <a:prstGeom prst="rect">
            <a:avLst/>
          </a:prstGeom>
          <a:solidFill>
            <a:schemeClr val="bg1"/>
          </a:solidFill>
          <a:ln w="25400">
            <a:solidFill>
              <a:srgbClr val="7030A0"/>
            </a:solidFill>
          </a:ln>
        </p:spPr>
        <p:txBody>
          <a:bodyPr wrap="square" lIns="0" rIns="0" rtlCol="0">
            <a:spAutoFit/>
          </a:bodyPr>
          <a:lstStyle/>
          <a:p>
            <a:pPr algn="ctr">
              <a:spcBef>
                <a:spcPts val="0"/>
              </a:spcBef>
            </a:pPr>
            <a:r>
              <a:rPr lang="en-US" sz="1200" b="1" dirty="0">
                <a:solidFill>
                  <a:srgbClr val="7030A0"/>
                </a:solidFill>
              </a:rPr>
              <a:t>SIM based UE (IMSI+AKA)</a:t>
            </a:r>
          </a:p>
        </p:txBody>
      </p:sp>
      <p:sp>
        <p:nvSpPr>
          <p:cNvPr id="12" name="Freeform 34"/>
          <p:cNvSpPr>
            <a:spLocks noChangeAspect="1"/>
          </p:cNvSpPr>
          <p:nvPr/>
        </p:nvSpPr>
        <p:spPr bwMode="auto">
          <a:xfrm>
            <a:off x="3558627" y="4467842"/>
            <a:ext cx="1859399" cy="1251107"/>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13" name="Line 169"/>
          <p:cNvSpPr>
            <a:spLocks noChangeShapeType="1"/>
          </p:cNvSpPr>
          <p:nvPr/>
        </p:nvSpPr>
        <p:spPr bwMode="auto">
          <a:xfrm flipH="1">
            <a:off x="8121996" y="3575102"/>
            <a:ext cx="1" cy="7602"/>
          </a:xfrm>
          <a:prstGeom prst="line">
            <a:avLst/>
          </a:prstGeom>
          <a:noFill/>
          <a:ln w="9525">
            <a:solidFill>
              <a:schemeClr val="accent4">
                <a:lumMod val="50000"/>
              </a:schemeClr>
            </a:solidFill>
            <a:prstDash val="dash"/>
            <a:round/>
            <a:headEnd/>
            <a:tailEnd/>
          </a:ln>
        </p:spPr>
        <p:txBody>
          <a:bodyPr/>
          <a:lstStyle/>
          <a:p>
            <a:pPr>
              <a:defRPr/>
            </a:pPr>
            <a:endParaRPr lang="sv-SE" sz="1600">
              <a:solidFill>
                <a:srgbClr val="58585A"/>
              </a:solidFill>
            </a:endParaRPr>
          </a:p>
        </p:txBody>
      </p:sp>
      <p:grpSp>
        <p:nvGrpSpPr>
          <p:cNvPr id="14" name="Group 557"/>
          <p:cNvGrpSpPr>
            <a:grpSpLocks noChangeAspect="1"/>
          </p:cNvGrpSpPr>
          <p:nvPr/>
        </p:nvGrpSpPr>
        <p:grpSpPr bwMode="auto">
          <a:xfrm>
            <a:off x="7391564" y="3524581"/>
            <a:ext cx="1002724" cy="1375807"/>
            <a:chOff x="3510" y="1858"/>
            <a:chExt cx="363" cy="528"/>
          </a:xfrm>
        </p:grpSpPr>
        <p:sp>
          <p:nvSpPr>
            <p:cNvPr id="15"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6"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7" name="Text Box 240"/>
            <p:cNvSpPr txBox="1">
              <a:spLocks noChangeAspect="1" noChangeArrowheads="1"/>
            </p:cNvSpPr>
            <p:nvPr/>
          </p:nvSpPr>
          <p:spPr bwMode="auto">
            <a:xfrm>
              <a:off x="3525" y="215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FF0000"/>
                  </a:solidFill>
                  <a:latin typeface="Segoe UI" panose="020B0502040204020203" pitchFamily="34" charset="0"/>
                  <a:ea typeface="Segoe UI" panose="020B0502040204020203" pitchFamily="34" charset="0"/>
                  <a:cs typeface="Segoe UI" panose="020B0502040204020203" pitchFamily="34" charset="0"/>
                </a:rPr>
                <a:t>AUSF</a:t>
              </a:r>
            </a:p>
          </p:txBody>
        </p:sp>
        <p:sp>
          <p:nvSpPr>
            <p:cNvPr id="18"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19" name="Freeform 11"/>
            <p:cNvSpPr>
              <a:spLocks noChangeAspect="1" noEditPoints="1"/>
            </p:cNvSpPr>
            <p:nvPr/>
          </p:nvSpPr>
          <p:spPr bwMode="auto">
            <a:xfrm>
              <a:off x="3510" y="1867"/>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20" name="Freeform 34"/>
          <p:cNvSpPr>
            <a:spLocks noChangeAspect="1"/>
          </p:cNvSpPr>
          <p:nvPr/>
        </p:nvSpPr>
        <p:spPr bwMode="auto">
          <a:xfrm>
            <a:off x="3534455" y="2850152"/>
            <a:ext cx="1832534" cy="1400036"/>
          </a:xfrm>
          <a:custGeom>
            <a:avLst/>
            <a:gdLst>
              <a:gd name="T0" fmla="*/ 15322411 w 522"/>
              <a:gd name="T1" fmla="*/ 59674397 h 399"/>
              <a:gd name="T2" fmla="*/ 4342078 w 522"/>
              <a:gd name="T3" fmla="*/ 44798810 h 399"/>
              <a:gd name="T4" fmla="*/ 0 w 522"/>
              <a:gd name="T5" fmla="*/ 34281387 h 399"/>
              <a:gd name="T6" fmla="*/ 13445428 w 522"/>
              <a:gd name="T7" fmla="*/ 18556182 h 399"/>
              <a:gd name="T8" fmla="*/ 25222172 w 522"/>
              <a:gd name="T9" fmla="*/ 6870450 h 399"/>
              <a:gd name="T10" fmla="*/ 46815215 w 522"/>
              <a:gd name="T11" fmla="*/ 0 h 399"/>
              <a:gd name="T12" fmla="*/ 63288766 w 522"/>
              <a:gd name="T13" fmla="*/ 12029493 h 399"/>
              <a:gd name="T14" fmla="*/ 72398755 w 522"/>
              <a:gd name="T15" fmla="*/ 14239600 h 399"/>
              <a:gd name="T16" fmla="*/ 72664127 w 522"/>
              <a:gd name="T17" fmla="*/ 16070027 h 399"/>
              <a:gd name="T18" fmla="*/ 70827127 w 522"/>
              <a:gd name="T19" fmla="*/ 16343079 h 399"/>
              <a:gd name="T20" fmla="*/ 62629961 w 522"/>
              <a:gd name="T21" fmla="*/ 14718417 h 399"/>
              <a:gd name="T22" fmla="*/ 61056958 w 522"/>
              <a:gd name="T23" fmla="*/ 13728968 h 399"/>
              <a:gd name="T24" fmla="*/ 33482122 w 522"/>
              <a:gd name="T25" fmla="*/ 11543714 h 399"/>
              <a:gd name="T26" fmla="*/ 32488820 w 522"/>
              <a:gd name="T27" fmla="*/ 12179925 h 399"/>
              <a:gd name="T28" fmla="*/ 25222172 w 522"/>
              <a:gd name="T29" fmla="*/ 9566315 h 399"/>
              <a:gd name="T30" fmla="*/ 16166319 w 522"/>
              <a:gd name="T31" fmla="*/ 18556182 h 399"/>
              <a:gd name="T32" fmla="*/ 16166319 w 522"/>
              <a:gd name="T33" fmla="*/ 21233511 h 399"/>
              <a:gd name="T34" fmla="*/ 15171460 w 522"/>
              <a:gd name="T35" fmla="*/ 21746290 h 399"/>
              <a:gd name="T36" fmla="*/ 6693185 w 522"/>
              <a:gd name="T37" fmla="*/ 43474041 h 399"/>
              <a:gd name="T38" fmla="*/ 7061207 w 522"/>
              <a:gd name="T39" fmla="*/ 44949086 h 399"/>
              <a:gd name="T40" fmla="*/ 15322411 w 522"/>
              <a:gd name="T41" fmla="*/ 57005579 h 399"/>
              <a:gd name="T42" fmla="*/ 18890363 w 522"/>
              <a:gd name="T43" fmla="*/ 56345442 h 399"/>
              <a:gd name="T44" fmla="*/ 20728615 w 522"/>
              <a:gd name="T45" fmla="*/ 57005579 h 399"/>
              <a:gd name="T46" fmla="*/ 31006315 w 522"/>
              <a:gd name="T47" fmla="*/ 63989791 h 399"/>
              <a:gd name="T48" fmla="*/ 40750026 w 522"/>
              <a:gd name="T49" fmla="*/ 58986125 h 399"/>
              <a:gd name="T50" fmla="*/ 41749956 w 522"/>
              <a:gd name="T51" fmla="*/ 59314265 h 399"/>
              <a:gd name="T52" fmla="*/ 57914511 w 522"/>
              <a:gd name="T53" fmla="*/ 56495062 h 399"/>
              <a:gd name="T54" fmla="*/ 58910619 w 522"/>
              <a:gd name="T55" fmla="*/ 55859731 h 399"/>
              <a:gd name="T56" fmla="*/ 66484669 w 522"/>
              <a:gd name="T57" fmla="*/ 58324971 h 399"/>
              <a:gd name="T58" fmla="*/ 76585036 w 522"/>
              <a:gd name="T59" fmla="*/ 48279962 h 399"/>
              <a:gd name="T60" fmla="*/ 77737381 w 522"/>
              <a:gd name="T61" fmla="*/ 46806105 h 399"/>
              <a:gd name="T62" fmla="*/ 85155076 w 522"/>
              <a:gd name="T63" fmla="*/ 38294923 h 399"/>
              <a:gd name="T64" fmla="*/ 76585036 w 522"/>
              <a:gd name="T65" fmla="*/ 29241337 h 399"/>
              <a:gd name="T66" fmla="*/ 76228470 w 522"/>
              <a:gd name="T67" fmla="*/ 28249952 h 399"/>
              <a:gd name="T68" fmla="*/ 74390161 w 522"/>
              <a:gd name="T69" fmla="*/ 19880759 h 399"/>
              <a:gd name="T70" fmla="*/ 74747809 w 522"/>
              <a:gd name="T71" fmla="*/ 17899842 h 399"/>
              <a:gd name="T72" fmla="*/ 79087081 w 522"/>
              <a:gd name="T73" fmla="*/ 26420054 h 399"/>
              <a:gd name="T74" fmla="*/ 79087081 w 522"/>
              <a:gd name="T75" fmla="*/ 27411003 h 399"/>
              <a:gd name="T76" fmla="*/ 79304899 w 522"/>
              <a:gd name="T77" fmla="*/ 49118805 h 399"/>
              <a:gd name="T78" fmla="*/ 66484669 w 522"/>
              <a:gd name="T79" fmla="*/ 61019112 h 399"/>
              <a:gd name="T80" fmla="*/ 48438070 w 522"/>
              <a:gd name="T81" fmla="*/ 64343038 h 399"/>
              <a:gd name="T82" fmla="*/ 41262602 w 522"/>
              <a:gd name="T83" fmla="*/ 62160644 h 399"/>
              <a:gd name="T84" fmla="*/ 18668376 w 522"/>
              <a:gd name="T85" fmla="*/ 59190764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chemeClr val="tx1"/>
          </a:solidFill>
          <a:ln>
            <a:noFill/>
          </a:ln>
          <a:extLst/>
        </p:spPr>
        <p:txBody>
          <a:bodyPr anchor="ctr"/>
          <a:lstStyle/>
          <a:p>
            <a:endParaRPr lang="en-US"/>
          </a:p>
        </p:txBody>
      </p:sp>
      <p:sp>
        <p:nvSpPr>
          <p:cNvPr id="21" name="TextBox 20"/>
          <p:cNvSpPr txBox="1"/>
          <p:nvPr/>
        </p:nvSpPr>
        <p:spPr>
          <a:xfrm>
            <a:off x="3889126" y="3176367"/>
            <a:ext cx="1069524" cy="369332"/>
          </a:xfrm>
          <a:prstGeom prst="rect">
            <a:avLst/>
          </a:prstGeom>
          <a:solidFill>
            <a:schemeClr val="bg1"/>
          </a:solidFill>
        </p:spPr>
        <p:txBody>
          <a:bodyPr wrap="none" rtlCol="0">
            <a:spAutoFit/>
          </a:bodyPr>
          <a:lstStyle/>
          <a:p>
            <a:r>
              <a:rPr lang="en-US" sz="1800" b="1" dirty="0"/>
              <a:t>5G-RAN</a:t>
            </a:r>
          </a:p>
        </p:txBody>
      </p:sp>
      <p:sp>
        <p:nvSpPr>
          <p:cNvPr id="22" name="TextBox 21"/>
          <p:cNvSpPr txBox="1"/>
          <p:nvPr/>
        </p:nvSpPr>
        <p:spPr>
          <a:xfrm>
            <a:off x="3956566" y="5197109"/>
            <a:ext cx="1141338" cy="276999"/>
          </a:xfrm>
          <a:prstGeom prst="rect">
            <a:avLst/>
          </a:prstGeom>
          <a:solidFill>
            <a:schemeClr val="bg1"/>
          </a:solidFill>
        </p:spPr>
        <p:txBody>
          <a:bodyPr wrap="none" lIns="0" tIns="0" rIns="0" bIns="0" rtlCol="0">
            <a:spAutoFit/>
          </a:bodyPr>
          <a:lstStyle/>
          <a:p>
            <a:r>
              <a:rPr lang="en-US" sz="1800" b="1" dirty="0"/>
              <a:t>Non-3GPP</a:t>
            </a:r>
          </a:p>
        </p:txBody>
      </p:sp>
      <p:grpSp>
        <p:nvGrpSpPr>
          <p:cNvPr id="23" name="Group 22"/>
          <p:cNvGrpSpPr/>
          <p:nvPr/>
        </p:nvGrpSpPr>
        <p:grpSpPr>
          <a:xfrm>
            <a:off x="3055245" y="4067129"/>
            <a:ext cx="606616" cy="573708"/>
            <a:chOff x="1321949" y="4162027"/>
            <a:chExt cx="606616" cy="573708"/>
          </a:xfrm>
        </p:grpSpPr>
        <p:sp>
          <p:nvSpPr>
            <p:cNvPr id="24" name="Oval 23"/>
            <p:cNvSpPr/>
            <p:nvPr/>
          </p:nvSpPr>
          <p:spPr bwMode="auto">
            <a:xfrm>
              <a:off x="1360169" y="4189886"/>
              <a:ext cx="513648" cy="492010"/>
            </a:xfrm>
            <a:prstGeom prst="ellipse">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25" name="Freeform 6"/>
            <p:cNvSpPr>
              <a:spLocks noChangeAspect="1" noEditPoints="1"/>
            </p:cNvSpPr>
            <p:nvPr/>
          </p:nvSpPr>
          <p:spPr bwMode="auto">
            <a:xfrm>
              <a:off x="1321949" y="4162027"/>
              <a:ext cx="606616" cy="573708"/>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C00000"/>
            </a:solidFill>
            <a:ln>
              <a:noFill/>
            </a:ln>
            <a:extLst/>
          </p:spPr>
          <p:txBody>
            <a:bodyPr/>
            <a:lstStyle/>
            <a:p>
              <a:endParaRPr lang="sv-SE" sz="1000" dirty="0"/>
            </a:p>
          </p:txBody>
        </p:sp>
      </p:grpSp>
      <p:grpSp>
        <p:nvGrpSpPr>
          <p:cNvPr id="26" name="Group 25"/>
          <p:cNvGrpSpPr/>
          <p:nvPr/>
        </p:nvGrpSpPr>
        <p:grpSpPr>
          <a:xfrm>
            <a:off x="2248122" y="3909395"/>
            <a:ext cx="535060" cy="868157"/>
            <a:chOff x="514826" y="3932856"/>
            <a:chExt cx="535060" cy="868157"/>
          </a:xfrm>
        </p:grpSpPr>
        <p:sp>
          <p:nvSpPr>
            <p:cNvPr id="27" name="Rounded Rectangle 25"/>
            <p:cNvSpPr/>
            <p:nvPr/>
          </p:nvSpPr>
          <p:spPr bwMode="auto">
            <a:xfrm>
              <a:off x="541824" y="3958568"/>
              <a:ext cx="480766" cy="842445"/>
            </a:xfrm>
            <a:prstGeom prst="round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GB" sz="2000" b="0" i="0" u="none" strike="noStrike" cap="none" normalizeH="0" baseline="0">
                <a:ln>
                  <a:noFill/>
                </a:ln>
                <a:solidFill>
                  <a:schemeClr val="tx1"/>
                </a:solidFill>
                <a:effectLst/>
                <a:latin typeface="Arial" charset="0"/>
              </a:endParaRPr>
            </a:p>
          </p:txBody>
        </p:sp>
        <p:sp>
          <p:nvSpPr>
            <p:cNvPr id="28" name="Freeform 4"/>
            <p:cNvSpPr>
              <a:spLocks noChangeAspect="1" noEditPoints="1"/>
            </p:cNvSpPr>
            <p:nvPr/>
          </p:nvSpPr>
          <p:spPr bwMode="auto">
            <a:xfrm>
              <a:off x="514826" y="3932856"/>
              <a:ext cx="535060" cy="86815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7030A0"/>
            </a:solidFill>
            <a:ln w="9525">
              <a:solidFill>
                <a:srgbClr val="7030A0"/>
              </a:solidFill>
              <a:round/>
              <a:headEnd/>
              <a:tailEnd/>
            </a:ln>
            <a:extLst/>
          </p:spPr>
          <p:txBody>
            <a:bodyPr/>
            <a:lstStyle/>
            <a:p>
              <a:endParaRPr lang="en-US" dirty="0"/>
            </a:p>
          </p:txBody>
        </p:sp>
        <p:grpSp>
          <p:nvGrpSpPr>
            <p:cNvPr id="29" name="Group 28"/>
            <p:cNvGrpSpPr/>
            <p:nvPr/>
          </p:nvGrpSpPr>
          <p:grpSpPr>
            <a:xfrm>
              <a:off x="569120" y="4211983"/>
              <a:ext cx="424114" cy="301558"/>
              <a:chOff x="338562" y="2307666"/>
              <a:chExt cx="424114" cy="301558"/>
            </a:xfrm>
          </p:grpSpPr>
          <p:sp>
            <p:nvSpPr>
              <p:cNvPr id="30" name="Freeform 3"/>
              <p:cNvSpPr>
                <a:spLocks noChangeAspect="1"/>
              </p:cNvSpPr>
              <p:nvPr/>
            </p:nvSpPr>
            <p:spPr bwMode="auto">
              <a:xfrm rot="5400000">
                <a:off x="399840" y="2246388"/>
                <a:ext cx="301558" cy="424114"/>
              </a:xfrm>
              <a:custGeom>
                <a:avLst/>
                <a:gdLst>
                  <a:gd name="T0" fmla="*/ 2147483647 w 215"/>
                  <a:gd name="T1" fmla="*/ 2147483647 h 292"/>
                  <a:gd name="T2" fmla="*/ 2147483647 w 215"/>
                  <a:gd name="T3" fmla="*/ 2147483647 h 292"/>
                  <a:gd name="T4" fmla="*/ 2147483647 w 215"/>
                  <a:gd name="T5" fmla="*/ 0 h 292"/>
                  <a:gd name="T6" fmla="*/ 2147483647 w 215"/>
                  <a:gd name="T7" fmla="*/ 0 h 292"/>
                  <a:gd name="T8" fmla="*/ 0 w 215"/>
                  <a:gd name="T9" fmla="*/ 2147483647 h 292"/>
                  <a:gd name="T10" fmla="*/ 0 w 215"/>
                  <a:gd name="T11" fmla="*/ 2147483647 h 292"/>
                  <a:gd name="T12" fmla="*/ 2147483647 w 215"/>
                  <a:gd name="T13" fmla="*/ 2147483647 h 292"/>
                  <a:gd name="T14" fmla="*/ 2147483647 w 215"/>
                  <a:gd name="T15" fmla="*/ 2147483647 h 292"/>
                  <a:gd name="T16" fmla="*/ 2147483647 w 215"/>
                  <a:gd name="T17" fmla="*/ 2147483647 h 292"/>
                  <a:gd name="T18" fmla="*/ 2147483647 w 215"/>
                  <a:gd name="T19" fmla="*/ 2147483647 h 292"/>
                  <a:gd name="T20" fmla="*/ 2147483647 w 215"/>
                  <a:gd name="T21" fmla="*/ 2147483647 h 292"/>
                  <a:gd name="T22" fmla="*/ 2147483647 w 215"/>
                  <a:gd name="T23" fmla="*/ 2147483647 h 292"/>
                  <a:gd name="T24" fmla="*/ 2147483647 w 215"/>
                  <a:gd name="T25" fmla="*/ 2147483647 h 292"/>
                  <a:gd name="T26" fmla="*/ 2147483647 w 215"/>
                  <a:gd name="T27" fmla="*/ 2147483647 h 292"/>
                  <a:gd name="T28" fmla="*/ 2147483647 w 215"/>
                  <a:gd name="T29" fmla="*/ 2147483647 h 292"/>
                  <a:gd name="T30" fmla="*/ 2147483647 w 215"/>
                  <a:gd name="T31" fmla="*/ 2147483647 h 292"/>
                  <a:gd name="T32" fmla="*/ 2147483647 w 215"/>
                  <a:gd name="T33" fmla="*/ 2147483647 h 292"/>
                  <a:gd name="T34" fmla="*/ 2147483647 w 215"/>
                  <a:gd name="T35" fmla="*/ 2147483647 h 292"/>
                  <a:gd name="T36" fmla="*/ 2147483647 w 215"/>
                  <a:gd name="T37" fmla="*/ 2147483647 h 292"/>
                  <a:gd name="T38" fmla="*/ 2147483647 w 215"/>
                  <a:gd name="T39" fmla="*/ 2147483647 h 292"/>
                  <a:gd name="T40" fmla="*/ 2147483647 w 215"/>
                  <a:gd name="T41" fmla="*/ 2147483647 h 292"/>
                  <a:gd name="T42" fmla="*/ 2147483647 w 215"/>
                  <a:gd name="T43" fmla="*/ 2147483647 h 292"/>
                  <a:gd name="T44" fmla="*/ 2147483647 w 215"/>
                  <a:gd name="T45" fmla="*/ 2147483647 h 292"/>
                  <a:gd name="T46" fmla="*/ 2147483647 w 215"/>
                  <a:gd name="T47" fmla="*/ 2147483647 h 292"/>
                  <a:gd name="T48" fmla="*/ 2147483647 w 215"/>
                  <a:gd name="T49" fmla="*/ 2147483647 h 292"/>
                  <a:gd name="T50" fmla="*/ 2147483647 w 215"/>
                  <a:gd name="T51" fmla="*/ 2147483647 h 292"/>
                  <a:gd name="T52" fmla="*/ 2147483647 w 215"/>
                  <a:gd name="T53" fmla="*/ 2147483647 h 292"/>
                  <a:gd name="T54" fmla="*/ 2147483647 w 215"/>
                  <a:gd name="T55" fmla="*/ 2147483647 h 292"/>
                  <a:gd name="T56" fmla="*/ 2147483647 w 215"/>
                  <a:gd name="T57" fmla="*/ 2147483647 h 2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5"/>
                  <a:gd name="T88" fmla="*/ 0 h 292"/>
                  <a:gd name="T89" fmla="*/ 215 w 215"/>
                  <a:gd name="T90" fmla="*/ 292 h 2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5" h="292">
                    <a:moveTo>
                      <a:pt x="208" y="73"/>
                    </a:moveTo>
                    <a:cubicBezTo>
                      <a:pt x="139" y="7"/>
                      <a:pt x="139" y="7"/>
                      <a:pt x="139" y="7"/>
                    </a:cubicBezTo>
                    <a:cubicBezTo>
                      <a:pt x="136" y="4"/>
                      <a:pt x="129" y="0"/>
                      <a:pt x="124" y="0"/>
                    </a:cubicBezTo>
                    <a:cubicBezTo>
                      <a:pt x="41" y="0"/>
                      <a:pt x="41" y="0"/>
                      <a:pt x="41" y="0"/>
                    </a:cubicBezTo>
                    <a:cubicBezTo>
                      <a:pt x="18" y="0"/>
                      <a:pt x="0" y="19"/>
                      <a:pt x="0" y="42"/>
                    </a:cubicBezTo>
                    <a:cubicBezTo>
                      <a:pt x="0" y="251"/>
                      <a:pt x="0" y="251"/>
                      <a:pt x="0" y="251"/>
                    </a:cubicBezTo>
                    <a:cubicBezTo>
                      <a:pt x="0" y="273"/>
                      <a:pt x="18" y="292"/>
                      <a:pt x="41" y="292"/>
                    </a:cubicBezTo>
                    <a:cubicBezTo>
                      <a:pt x="132" y="292"/>
                      <a:pt x="132" y="292"/>
                      <a:pt x="132" y="292"/>
                    </a:cubicBezTo>
                    <a:cubicBezTo>
                      <a:pt x="136" y="292"/>
                      <a:pt x="140" y="288"/>
                      <a:pt x="140" y="284"/>
                    </a:cubicBezTo>
                    <a:cubicBezTo>
                      <a:pt x="140" y="280"/>
                      <a:pt x="136" y="276"/>
                      <a:pt x="132" y="276"/>
                    </a:cubicBezTo>
                    <a:cubicBezTo>
                      <a:pt x="132" y="276"/>
                      <a:pt x="132" y="276"/>
                      <a:pt x="132" y="276"/>
                    </a:cubicBezTo>
                    <a:cubicBezTo>
                      <a:pt x="41" y="276"/>
                      <a:pt x="41" y="276"/>
                      <a:pt x="41" y="276"/>
                    </a:cubicBezTo>
                    <a:cubicBezTo>
                      <a:pt x="27" y="276"/>
                      <a:pt x="16" y="265"/>
                      <a:pt x="16" y="251"/>
                    </a:cubicBezTo>
                    <a:cubicBezTo>
                      <a:pt x="16" y="42"/>
                      <a:pt x="16" y="42"/>
                      <a:pt x="16" y="42"/>
                    </a:cubicBezTo>
                    <a:cubicBezTo>
                      <a:pt x="16" y="28"/>
                      <a:pt x="27" y="16"/>
                      <a:pt x="41" y="16"/>
                    </a:cubicBezTo>
                    <a:cubicBezTo>
                      <a:pt x="113" y="16"/>
                      <a:pt x="113" y="16"/>
                      <a:pt x="113" y="16"/>
                    </a:cubicBezTo>
                    <a:cubicBezTo>
                      <a:pt x="113" y="90"/>
                      <a:pt x="113" y="90"/>
                      <a:pt x="113" y="90"/>
                    </a:cubicBezTo>
                    <a:cubicBezTo>
                      <a:pt x="113" y="93"/>
                      <a:pt x="114" y="96"/>
                      <a:pt x="116" y="98"/>
                    </a:cubicBezTo>
                    <a:cubicBezTo>
                      <a:pt x="119" y="100"/>
                      <a:pt x="122" y="101"/>
                      <a:pt x="125" y="101"/>
                    </a:cubicBezTo>
                    <a:cubicBezTo>
                      <a:pt x="199" y="101"/>
                      <a:pt x="199" y="101"/>
                      <a:pt x="199" y="101"/>
                    </a:cubicBezTo>
                    <a:cubicBezTo>
                      <a:pt x="199" y="251"/>
                      <a:pt x="199" y="251"/>
                      <a:pt x="199" y="251"/>
                    </a:cubicBezTo>
                    <a:cubicBezTo>
                      <a:pt x="199" y="265"/>
                      <a:pt x="188" y="276"/>
                      <a:pt x="174" y="276"/>
                    </a:cubicBezTo>
                    <a:cubicBezTo>
                      <a:pt x="155" y="276"/>
                      <a:pt x="155" y="276"/>
                      <a:pt x="155" y="276"/>
                    </a:cubicBezTo>
                    <a:cubicBezTo>
                      <a:pt x="150" y="276"/>
                      <a:pt x="147" y="280"/>
                      <a:pt x="147" y="284"/>
                    </a:cubicBezTo>
                    <a:cubicBezTo>
                      <a:pt x="147" y="288"/>
                      <a:pt x="150" y="292"/>
                      <a:pt x="155" y="292"/>
                    </a:cubicBezTo>
                    <a:cubicBezTo>
                      <a:pt x="174" y="292"/>
                      <a:pt x="174" y="292"/>
                      <a:pt x="174" y="292"/>
                    </a:cubicBezTo>
                    <a:cubicBezTo>
                      <a:pt x="197" y="292"/>
                      <a:pt x="215" y="273"/>
                      <a:pt x="215" y="251"/>
                    </a:cubicBezTo>
                    <a:cubicBezTo>
                      <a:pt x="215" y="92"/>
                      <a:pt x="215" y="92"/>
                      <a:pt x="215" y="92"/>
                    </a:cubicBezTo>
                    <a:cubicBezTo>
                      <a:pt x="215" y="86"/>
                      <a:pt x="215" y="80"/>
                      <a:pt x="208" y="73"/>
                    </a:cubicBezTo>
                    <a:close/>
                  </a:path>
                </a:pathLst>
              </a:custGeom>
              <a:solidFill>
                <a:srgbClr val="7030A0"/>
              </a:solidFill>
              <a:ln w="9525">
                <a:solidFill>
                  <a:srgbClr val="7030A0"/>
                </a:solidFill>
                <a:round/>
                <a:headEnd/>
                <a:tailEnd/>
              </a:ln>
              <a:extLst/>
            </p:spPr>
            <p:txBody>
              <a:bodyPr/>
              <a:lstStyle/>
              <a:p>
                <a:endParaRPr lang="en-US"/>
              </a:p>
            </p:txBody>
          </p:sp>
          <p:sp>
            <p:nvSpPr>
              <p:cNvPr id="31" name="Isosceles Triangle 30"/>
              <p:cNvSpPr/>
              <p:nvPr/>
            </p:nvSpPr>
            <p:spPr bwMode="auto">
              <a:xfrm rot="18852164">
                <a:off x="514112" y="2367659"/>
                <a:ext cx="181685" cy="196357"/>
              </a:xfrm>
              <a:prstGeom prst="triangle">
                <a:avLst/>
              </a:prstGeom>
              <a:solidFill>
                <a:schemeClr val="bg1"/>
              </a:solidFill>
              <a:ln w="12700"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32" name="Rounded Rectangle 30"/>
              <p:cNvSpPr/>
              <p:nvPr/>
            </p:nvSpPr>
            <p:spPr bwMode="auto">
              <a:xfrm>
                <a:off x="403306" y="2345124"/>
                <a:ext cx="249067" cy="199456"/>
              </a:xfrm>
              <a:prstGeom prst="roundRect">
                <a:avLst/>
              </a:prstGeom>
              <a:solidFill>
                <a:schemeClr val="bg1"/>
              </a:solidFill>
              <a:ln w="19050"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33" name="Straight Connector 32"/>
              <p:cNvCxnSpPr/>
              <p:nvPr/>
            </p:nvCxnSpPr>
            <p:spPr bwMode="auto">
              <a:xfrm>
                <a:off x="481991" y="2345124"/>
                <a:ext cx="0" cy="199456"/>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4" name="Straight Connector 33"/>
              <p:cNvCxnSpPr/>
              <p:nvPr/>
            </p:nvCxnSpPr>
            <p:spPr bwMode="auto">
              <a:xfrm>
                <a:off x="403306" y="2412530"/>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5" name="Straight Connector 34"/>
              <p:cNvCxnSpPr/>
              <p:nvPr/>
            </p:nvCxnSpPr>
            <p:spPr bwMode="auto">
              <a:xfrm>
                <a:off x="400354" y="2476641"/>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6" name="Straight Connector 35"/>
              <p:cNvCxnSpPr/>
              <p:nvPr/>
            </p:nvCxnSpPr>
            <p:spPr bwMode="auto">
              <a:xfrm>
                <a:off x="481606" y="2362666"/>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7" name="Straight Connector 36"/>
              <p:cNvCxnSpPr/>
              <p:nvPr/>
            </p:nvCxnSpPr>
            <p:spPr bwMode="auto">
              <a:xfrm>
                <a:off x="564772" y="2416358"/>
                <a:ext cx="0" cy="128222"/>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8" name="Straight Connector 37"/>
              <p:cNvCxnSpPr/>
              <p:nvPr/>
            </p:nvCxnSpPr>
            <p:spPr bwMode="auto">
              <a:xfrm>
                <a:off x="569120" y="2412530"/>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39" name="Straight Connector 38"/>
              <p:cNvCxnSpPr/>
              <p:nvPr/>
            </p:nvCxnSpPr>
            <p:spPr bwMode="auto">
              <a:xfrm>
                <a:off x="566167" y="2476641"/>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cxnSp>
            <p:nvCxnSpPr>
              <p:cNvPr id="40" name="Straight Connector 39"/>
              <p:cNvCxnSpPr/>
              <p:nvPr/>
            </p:nvCxnSpPr>
            <p:spPr bwMode="auto">
              <a:xfrm>
                <a:off x="485299" y="2526504"/>
                <a:ext cx="78685" cy="0"/>
              </a:xfrm>
              <a:prstGeom prst="line">
                <a:avLst/>
              </a:prstGeom>
              <a:solidFill>
                <a:schemeClr val="accent1"/>
              </a:solidFill>
              <a:ln w="12700" cap="flat" cmpd="sng" algn="ctr">
                <a:solidFill>
                  <a:srgbClr val="7030A0"/>
                </a:solidFill>
                <a:prstDash val="solid"/>
                <a:round/>
                <a:headEnd type="none" w="med" len="med"/>
                <a:tailEnd type="none" w="med" len="med"/>
              </a:ln>
              <a:effectLst/>
            </p:spPr>
          </p:cxnSp>
        </p:grpSp>
      </p:grpSp>
      <p:sp>
        <p:nvSpPr>
          <p:cNvPr id="41" name="Left-Right Arrow 39"/>
          <p:cNvSpPr/>
          <p:nvPr/>
        </p:nvSpPr>
        <p:spPr bwMode="auto">
          <a:xfrm>
            <a:off x="2539505" y="4778200"/>
            <a:ext cx="5012872" cy="545068"/>
          </a:xfrm>
          <a:prstGeom prst="leftRightArrow">
            <a:avLst/>
          </a:prstGeom>
          <a:solidFill>
            <a:schemeClr val="bg1"/>
          </a:solidFill>
          <a:ln w="28575"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GB" sz="1600" b="1" dirty="0">
                <a:solidFill>
                  <a:srgbClr val="7030A0"/>
                </a:solidFill>
              </a:rPr>
              <a:t>EAP-AKA’</a:t>
            </a:r>
          </a:p>
        </p:txBody>
      </p:sp>
      <p:sp>
        <p:nvSpPr>
          <p:cNvPr id="42" name="TextBox 41"/>
          <p:cNvSpPr txBox="1"/>
          <p:nvPr/>
        </p:nvSpPr>
        <p:spPr>
          <a:xfrm>
            <a:off x="3105451" y="2212222"/>
            <a:ext cx="1518875" cy="461665"/>
          </a:xfrm>
          <a:prstGeom prst="rect">
            <a:avLst/>
          </a:prstGeom>
          <a:solidFill>
            <a:schemeClr val="bg1"/>
          </a:solidFill>
          <a:ln w="25400">
            <a:solidFill>
              <a:srgbClr val="C00000"/>
            </a:solidFill>
          </a:ln>
        </p:spPr>
        <p:txBody>
          <a:bodyPr wrap="square" lIns="0" rIns="0" rtlCol="0">
            <a:spAutoFit/>
          </a:bodyPr>
          <a:lstStyle/>
          <a:p>
            <a:pPr algn="ctr">
              <a:spcBef>
                <a:spcPts val="0"/>
              </a:spcBef>
            </a:pPr>
            <a:r>
              <a:rPr lang="en-US" sz="1200" b="1" dirty="0">
                <a:solidFill>
                  <a:srgbClr val="C00000"/>
                </a:solidFill>
              </a:rPr>
              <a:t>SIM-less UE </a:t>
            </a:r>
          </a:p>
          <a:p>
            <a:pPr algn="ctr">
              <a:spcBef>
                <a:spcPts val="0"/>
              </a:spcBef>
            </a:pPr>
            <a:r>
              <a:rPr lang="en-US" sz="1200" b="1" dirty="0">
                <a:solidFill>
                  <a:srgbClr val="C00000"/>
                </a:solidFill>
              </a:rPr>
              <a:t>(Id/IMSI +  non-AKA)</a:t>
            </a:r>
          </a:p>
        </p:txBody>
      </p:sp>
      <p:grpSp>
        <p:nvGrpSpPr>
          <p:cNvPr id="43" name="Group 274"/>
          <p:cNvGrpSpPr>
            <a:grpSpLocks noChangeAspect="1"/>
          </p:cNvGrpSpPr>
          <p:nvPr/>
        </p:nvGrpSpPr>
        <p:grpSpPr bwMode="auto">
          <a:xfrm>
            <a:off x="9185702" y="3634996"/>
            <a:ext cx="863738" cy="1168797"/>
            <a:chOff x="3147" y="3024"/>
            <a:chExt cx="257" cy="366"/>
          </a:xfrm>
        </p:grpSpPr>
        <p:grpSp>
          <p:nvGrpSpPr>
            <p:cNvPr id="44" name="Group 7"/>
            <p:cNvGrpSpPr>
              <a:grpSpLocks noChangeAspect="1"/>
            </p:cNvGrpSpPr>
            <p:nvPr/>
          </p:nvGrpSpPr>
          <p:grpSpPr bwMode="auto">
            <a:xfrm>
              <a:off x="3147" y="3024"/>
              <a:ext cx="257" cy="366"/>
              <a:chOff x="2283" y="1698"/>
              <a:chExt cx="983" cy="1402"/>
            </a:xfrm>
          </p:grpSpPr>
          <p:pic>
            <p:nvPicPr>
              <p:cNvPr id="4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4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0"/>
                </a:spcBef>
                <a:buClrTx/>
                <a:buFontTx/>
                <a:buNone/>
              </a:pPr>
              <a:endParaRPr lang="en-US" altLang="en-US" sz="1200" dirty="0">
                <a:solidFill>
                  <a:schemeClr val="accent2"/>
                </a:solidFill>
                <a:ea typeface="MS PGothic" pitchFamily="34" charset="-128"/>
              </a:endParaRPr>
            </a:p>
            <a:p>
              <a:pPr algn="ctr" eaLnBrk="1" hangingPunct="1">
                <a:spcBef>
                  <a:spcPct val="0"/>
                </a:spcBef>
                <a:buClrTx/>
                <a:buFontTx/>
                <a:buNone/>
              </a:pPr>
              <a:r>
                <a:rPr lang="en-US" altLang="en-US" sz="1200" dirty="0">
                  <a:solidFill>
                    <a:schemeClr val="accent2"/>
                  </a:solidFill>
                  <a:ea typeface="MS PGothic" pitchFamily="34" charset="-128"/>
                </a:rPr>
                <a:t>External ID Provider</a:t>
              </a:r>
            </a:p>
          </p:txBody>
        </p:sp>
      </p:grpSp>
      <p:sp>
        <p:nvSpPr>
          <p:cNvPr id="48" name="Left-Right Arrow 46"/>
          <p:cNvSpPr/>
          <p:nvPr/>
        </p:nvSpPr>
        <p:spPr bwMode="auto">
          <a:xfrm>
            <a:off x="8261873" y="4001544"/>
            <a:ext cx="1085513" cy="545068"/>
          </a:xfrm>
          <a:prstGeom prst="leftRightArrow">
            <a:avLst/>
          </a:prstGeom>
          <a:solidFill>
            <a:schemeClr val="bg1"/>
          </a:solidFill>
          <a:ln w="28575" cap="flat" cmpd="sng" algn="ctr">
            <a:solidFill>
              <a:schemeClr val="accent2"/>
            </a:solidFill>
            <a:prstDash val="solid"/>
            <a:round/>
            <a:headEnd type="none" w="med" len="med"/>
            <a:tailEnd type="none" w="med" len="med"/>
          </a:ln>
          <a:effectLst/>
        </p:spPr>
        <p:txBody>
          <a:bodyPr vert="horz" wrap="none" lIns="0" tIns="45720" rIns="0" bIns="45720" numCol="1" rtlCol="0" anchor="t" anchorCtr="0" compatLnSpc="1">
            <a:prstTxWarp prst="textNoShape">
              <a:avLst/>
            </a:prstTxWarp>
          </a:bodyPr>
          <a:lstStyle/>
          <a:p>
            <a:pPr algn="ctr">
              <a:spcBef>
                <a:spcPts val="0"/>
              </a:spcBef>
            </a:pPr>
            <a:r>
              <a:rPr lang="en-GB" sz="1200" b="1" dirty="0">
                <a:solidFill>
                  <a:schemeClr val="accent2"/>
                </a:solidFill>
              </a:rPr>
              <a:t>EAP-Method</a:t>
            </a:r>
            <a:endParaRPr lang="en-GB" sz="1600" b="1" dirty="0">
              <a:solidFill>
                <a:schemeClr val="accent2"/>
              </a:solidFill>
            </a:endParaRPr>
          </a:p>
        </p:txBody>
      </p:sp>
      <p:cxnSp>
        <p:nvCxnSpPr>
          <p:cNvPr id="49" name="Straight Connector 203"/>
          <p:cNvCxnSpPr>
            <a:cxnSpLocks noChangeShapeType="1"/>
          </p:cNvCxnSpPr>
          <p:nvPr/>
        </p:nvCxnSpPr>
        <p:spPr bwMode="auto">
          <a:xfrm rot="10800000" flipV="1">
            <a:off x="6338655" y="2554768"/>
            <a:ext cx="1321415" cy="822477"/>
          </a:xfrm>
          <a:prstGeom prst="bentConnector3">
            <a:avLst>
              <a:gd name="adj1" fmla="val 99736"/>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cxnSp>
      <p:grpSp>
        <p:nvGrpSpPr>
          <p:cNvPr id="50" name="Group 49"/>
          <p:cNvGrpSpPr/>
          <p:nvPr/>
        </p:nvGrpSpPr>
        <p:grpSpPr>
          <a:xfrm>
            <a:off x="5676221" y="3414599"/>
            <a:ext cx="1298575" cy="1617764"/>
            <a:chOff x="4378382" y="3335168"/>
            <a:chExt cx="1442644" cy="1879101"/>
          </a:xfrm>
        </p:grpSpPr>
        <p:sp>
          <p:nvSpPr>
            <p:cNvPr id="51" name="AutoShape 238"/>
            <p:cNvSpPr>
              <a:spLocks noChangeAspect="1" noChangeArrowheads="1"/>
            </p:cNvSpPr>
            <p:nvPr/>
          </p:nvSpPr>
          <p:spPr bwMode="auto">
            <a:xfrm>
              <a:off x="4437219" y="3835240"/>
              <a:ext cx="1351652" cy="1236665"/>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52" name="Oval 239"/>
            <p:cNvSpPr>
              <a:spLocks noChangeAspect="1" noChangeArrowheads="1"/>
            </p:cNvSpPr>
            <p:nvPr/>
          </p:nvSpPr>
          <p:spPr bwMode="auto">
            <a:xfrm>
              <a:off x="4429495" y="3358820"/>
              <a:ext cx="1359375" cy="1199497"/>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53" name="Text Box 240"/>
            <p:cNvSpPr txBox="1">
              <a:spLocks noChangeAspect="1" noChangeArrowheads="1"/>
            </p:cNvSpPr>
            <p:nvPr/>
          </p:nvSpPr>
          <p:spPr bwMode="auto">
            <a:xfrm>
              <a:off x="4444034" y="4423800"/>
              <a:ext cx="1313034" cy="79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600" b="1" dirty="0">
                  <a:solidFill>
                    <a:srgbClr val="8F3F7B"/>
                  </a:solidFill>
                  <a:latin typeface="Segoe UI" panose="020B0502040204020203" pitchFamily="34" charset="0"/>
                  <a:ea typeface="Segoe UI" panose="020B0502040204020203" pitchFamily="34" charset="0"/>
                  <a:cs typeface="Segoe UI" panose="020B0502040204020203" pitchFamily="34" charset="0"/>
                </a:rPr>
                <a:t>AMF</a:t>
              </a:r>
            </a:p>
          </p:txBody>
        </p:sp>
        <p:sp>
          <p:nvSpPr>
            <p:cNvPr id="54" name="Rectangle 241"/>
            <p:cNvSpPr>
              <a:spLocks noChangeAspect="1" noChangeArrowheads="1"/>
            </p:cNvSpPr>
            <p:nvPr/>
          </p:nvSpPr>
          <p:spPr bwMode="auto">
            <a:xfrm>
              <a:off x="4378382" y="3335168"/>
              <a:ext cx="1401856" cy="175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600">
                <a:solidFill>
                  <a:srgbClr val="58585A"/>
                </a:solidFill>
              </a:endParaRPr>
            </a:p>
          </p:txBody>
        </p:sp>
        <p:sp>
          <p:nvSpPr>
            <p:cNvPr id="55" name="Freeform 11"/>
            <p:cNvSpPr>
              <a:spLocks noChangeAspect="1" noEditPoints="1"/>
            </p:cNvSpPr>
            <p:nvPr/>
          </p:nvSpPr>
          <p:spPr bwMode="auto">
            <a:xfrm>
              <a:off x="4419170" y="3335168"/>
              <a:ext cx="1401856" cy="1753631"/>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56" name="Left-Right Arrow 60"/>
          <p:cNvSpPr/>
          <p:nvPr/>
        </p:nvSpPr>
        <p:spPr bwMode="auto">
          <a:xfrm>
            <a:off x="3696206" y="4138532"/>
            <a:ext cx="3665353" cy="545068"/>
          </a:xfrm>
          <a:prstGeom prst="leftRightArrow">
            <a:avLst/>
          </a:prstGeom>
          <a:solidFill>
            <a:schemeClr val="bg1"/>
          </a:solidFill>
          <a:ln w="28575" cap="flat" cmpd="sng" algn="ctr">
            <a:solidFill>
              <a:srgbClr val="C000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GB" sz="1600" b="1" dirty="0">
                <a:solidFill>
                  <a:srgbClr val="C00000"/>
                </a:solidFill>
              </a:rPr>
              <a:t>EAP-Method</a:t>
            </a:r>
          </a:p>
        </p:txBody>
      </p:sp>
      <p:sp>
        <p:nvSpPr>
          <p:cNvPr id="57" name="Left-Right Arrow 61"/>
          <p:cNvSpPr/>
          <p:nvPr/>
        </p:nvSpPr>
        <p:spPr bwMode="auto">
          <a:xfrm>
            <a:off x="2539505" y="3384466"/>
            <a:ext cx="5012872" cy="559550"/>
          </a:xfrm>
          <a:prstGeom prst="leftRightArrow">
            <a:avLst/>
          </a:prstGeom>
          <a:solidFill>
            <a:schemeClr val="bg1"/>
          </a:solidFill>
          <a:ln w="28575" cap="flat" cmpd="sng" algn="ctr">
            <a:solidFill>
              <a:srgbClr val="7030A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r>
              <a:rPr kumimoji="0" lang="en-GB" sz="1600" b="1" i="0" u="none" strike="noStrike" cap="none" normalizeH="0" baseline="0" dirty="0">
                <a:ln>
                  <a:noFill/>
                </a:ln>
                <a:solidFill>
                  <a:srgbClr val="7030A0"/>
                </a:solidFill>
                <a:effectLst/>
                <a:latin typeface="Arial" charset="0"/>
              </a:rPr>
              <a:t>EAP-AKA’</a:t>
            </a:r>
          </a:p>
        </p:txBody>
      </p:sp>
      <p:sp>
        <p:nvSpPr>
          <p:cNvPr id="58" name="TextBox 57"/>
          <p:cNvSpPr txBox="1"/>
          <p:nvPr/>
        </p:nvSpPr>
        <p:spPr>
          <a:xfrm>
            <a:off x="8804629" y="2567664"/>
            <a:ext cx="1446214" cy="646331"/>
          </a:xfrm>
          <a:prstGeom prst="rect">
            <a:avLst/>
          </a:prstGeom>
          <a:solidFill>
            <a:schemeClr val="bg1"/>
          </a:solidFill>
          <a:ln w="25400">
            <a:solidFill>
              <a:srgbClr val="00B0F0"/>
            </a:solidFill>
          </a:ln>
        </p:spPr>
        <p:txBody>
          <a:bodyPr wrap="square" lIns="0" rIns="0" rtlCol="0">
            <a:spAutoFit/>
          </a:bodyPr>
          <a:lstStyle/>
          <a:p>
            <a:pPr algn="ctr">
              <a:spcBef>
                <a:spcPts val="0"/>
              </a:spcBef>
            </a:pPr>
            <a:r>
              <a:rPr lang="en-US" sz="1200" b="1" dirty="0">
                <a:solidFill>
                  <a:srgbClr val="7030A0"/>
                </a:solidFill>
              </a:rPr>
              <a:t>IMSI + AKA Keys</a:t>
            </a:r>
          </a:p>
          <a:p>
            <a:pPr algn="ctr">
              <a:spcBef>
                <a:spcPts val="0"/>
              </a:spcBef>
            </a:pPr>
            <a:r>
              <a:rPr lang="en-US" sz="1200" b="1" dirty="0">
                <a:solidFill>
                  <a:srgbClr val="C00000"/>
                </a:solidFill>
              </a:rPr>
              <a:t>non-3GPP Ids</a:t>
            </a:r>
          </a:p>
          <a:p>
            <a:pPr algn="ctr">
              <a:spcBef>
                <a:spcPts val="0"/>
              </a:spcBef>
            </a:pPr>
            <a:r>
              <a:rPr lang="en-US" sz="1200" b="1" dirty="0">
                <a:solidFill>
                  <a:srgbClr val="C00000"/>
                </a:solidFill>
              </a:rPr>
              <a:t>Alternative Keys</a:t>
            </a:r>
          </a:p>
        </p:txBody>
      </p:sp>
      <p:sp>
        <p:nvSpPr>
          <p:cNvPr id="59" name="TextBox 58"/>
          <p:cNvSpPr txBox="1"/>
          <p:nvPr/>
        </p:nvSpPr>
        <p:spPr>
          <a:xfrm>
            <a:off x="8867689" y="4957446"/>
            <a:ext cx="1446214" cy="461665"/>
          </a:xfrm>
          <a:prstGeom prst="rect">
            <a:avLst/>
          </a:prstGeom>
          <a:solidFill>
            <a:schemeClr val="bg1"/>
          </a:solidFill>
          <a:ln w="25400">
            <a:solidFill>
              <a:schemeClr val="accent2"/>
            </a:solidFill>
          </a:ln>
        </p:spPr>
        <p:txBody>
          <a:bodyPr wrap="square" lIns="0" rIns="0" rtlCol="0">
            <a:spAutoFit/>
          </a:bodyPr>
          <a:lstStyle/>
          <a:p>
            <a:pPr algn="ctr">
              <a:spcBef>
                <a:spcPts val="0"/>
              </a:spcBef>
            </a:pPr>
            <a:r>
              <a:rPr lang="en-US" sz="1200" b="1" dirty="0">
                <a:solidFill>
                  <a:srgbClr val="C00000"/>
                </a:solidFill>
              </a:rPr>
              <a:t>non-3GPP Ids</a:t>
            </a:r>
          </a:p>
          <a:p>
            <a:pPr algn="ctr">
              <a:spcBef>
                <a:spcPts val="0"/>
              </a:spcBef>
            </a:pPr>
            <a:r>
              <a:rPr lang="en-US" sz="1200" b="1" dirty="0">
                <a:solidFill>
                  <a:srgbClr val="C00000"/>
                </a:solidFill>
              </a:rPr>
              <a:t>Alternative Keys</a:t>
            </a:r>
          </a:p>
        </p:txBody>
      </p:sp>
      <p:cxnSp>
        <p:nvCxnSpPr>
          <p:cNvPr id="60" name="Straight Connector 59"/>
          <p:cNvCxnSpPr/>
          <p:nvPr/>
        </p:nvCxnSpPr>
        <p:spPr bwMode="auto">
          <a:xfrm>
            <a:off x="8204939" y="2905034"/>
            <a:ext cx="573697" cy="0"/>
          </a:xfrm>
          <a:prstGeom prst="line">
            <a:avLst/>
          </a:prstGeom>
          <a:noFill/>
          <a:ln w="25400">
            <a:solidFill>
              <a:srgbClr val="00B0F0"/>
            </a:solidFill>
            <a:prstDash val="sysDash"/>
            <a:round/>
            <a:headEnd/>
            <a:tailEnd/>
          </a:ln>
          <a:extLst>
            <a:ext uri="{909E8E84-426E-40DD-AFC4-6F175D3DCCD1}">
              <a14:hiddenFill xmlns:a14="http://schemas.microsoft.com/office/drawing/2010/main">
                <a:noFill/>
              </a14:hiddenFill>
            </a:ext>
          </a:extLst>
        </p:spPr>
      </p:cxnSp>
      <p:grpSp>
        <p:nvGrpSpPr>
          <p:cNvPr id="61" name="Group 45"/>
          <p:cNvGrpSpPr>
            <a:grpSpLocks noChangeAspect="1"/>
          </p:cNvGrpSpPr>
          <p:nvPr/>
        </p:nvGrpSpPr>
        <p:grpSpPr bwMode="auto">
          <a:xfrm>
            <a:off x="7649776" y="2030084"/>
            <a:ext cx="759595" cy="1019832"/>
            <a:chOff x="1051" y="1587"/>
            <a:chExt cx="369" cy="520"/>
          </a:xfrm>
        </p:grpSpPr>
        <p:sp>
          <p:nvSpPr>
            <p:cNvPr id="62"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63"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64"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altLang="en-US" sz="1800" dirty="0">
                  <a:solidFill>
                    <a:srgbClr val="00A9D4"/>
                  </a:solidFill>
                  <a:ea typeface="ＭＳ Ｐゴシック" pitchFamily="34" charset="-128"/>
                </a:rPr>
                <a:t>UDM</a:t>
              </a:r>
              <a:endParaRPr lang="en-US" altLang="en-US" sz="1050" dirty="0">
                <a:solidFill>
                  <a:srgbClr val="00A9D4"/>
                </a:solidFill>
                <a:ea typeface="ＭＳ Ｐゴシック" pitchFamily="34" charset="-128"/>
              </a:endParaRPr>
            </a:p>
          </p:txBody>
        </p:sp>
        <p:sp>
          <p:nvSpPr>
            <p:cNvPr id="6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endParaRPr lang="sv-SE" altLang="en-US" sz="600">
                <a:solidFill>
                  <a:srgbClr val="58585A"/>
                </a:solidFill>
              </a:endParaRPr>
            </a:p>
          </p:txBody>
        </p:sp>
        <p:sp>
          <p:nvSpPr>
            <p:cNvPr id="66" name="Freeform 11"/>
            <p:cNvSpPr>
              <a:spLocks noChangeAspect="1" noEditPoints="1"/>
            </p:cNvSpPr>
            <p:nvPr/>
          </p:nvSpPr>
          <p:spPr bwMode="auto">
            <a:xfrm>
              <a:off x="1051" y="1587"/>
              <a:ext cx="363" cy="520"/>
            </a:xfrm>
            <a:custGeom>
              <a:avLst/>
              <a:gdLst>
                <a:gd name="T0" fmla="*/ 43623 w 410"/>
                <a:gd name="T1" fmla="*/ 23686 h 589"/>
                <a:gd name="T2" fmla="*/ 40965 w 410"/>
                <a:gd name="T3" fmla="*/ 57264 h 589"/>
                <a:gd name="T4" fmla="*/ 1772 w 410"/>
                <a:gd name="T5" fmla="*/ 54866 h 589"/>
                <a:gd name="T6" fmla="*/ 22698 w 410"/>
                <a:gd name="T7" fmla="*/ 1600 h 589"/>
                <a:gd name="T8" fmla="*/ 44507 w 410"/>
                <a:gd name="T9" fmla="*/ 21287 h 589"/>
                <a:gd name="T10" fmla="*/ 45394 w 410"/>
                <a:gd name="T11" fmla="*/ 20487 h 589"/>
                <a:gd name="T12" fmla="*/ 0 w 410"/>
                <a:gd name="T13" fmla="*/ 20487 h 589"/>
                <a:gd name="T14" fmla="*/ 111 w 410"/>
                <a:gd name="T15" fmla="*/ 54866 h 589"/>
                <a:gd name="T16" fmla="*/ 40965 w 410"/>
                <a:gd name="T17" fmla="*/ 58864 h 589"/>
                <a:gd name="T18" fmla="*/ 45394 w 410"/>
                <a:gd name="T19" fmla="*/ 23686 h 589"/>
                <a:gd name="T20" fmla="*/ 16386 w 410"/>
                <a:gd name="T21" fmla="*/ 17290 h 589"/>
                <a:gd name="T22" fmla="*/ 29783 w 410"/>
                <a:gd name="T23" fmla="*/ 16890 h 589"/>
                <a:gd name="T24" fmla="*/ 23472 w 410"/>
                <a:gd name="T25" fmla="*/ 4797 h 589"/>
                <a:gd name="T26" fmla="*/ 21922 w 410"/>
                <a:gd name="T27" fmla="*/ 4797 h 589"/>
                <a:gd name="T28" fmla="*/ 15611 w 410"/>
                <a:gd name="T29" fmla="*/ 16890 h 589"/>
                <a:gd name="T30" fmla="*/ 22698 w 410"/>
                <a:gd name="T31" fmla="*/ 6896 h 589"/>
                <a:gd name="T32" fmla="*/ 17826 w 410"/>
                <a:gd name="T33" fmla="*/ 15690 h 589"/>
                <a:gd name="T34" fmla="*/ 9964 w 410"/>
                <a:gd name="T35" fmla="*/ 20987 h 589"/>
                <a:gd name="T36" fmla="*/ 8415 w 410"/>
                <a:gd name="T37" fmla="*/ 22587 h 589"/>
                <a:gd name="T38" fmla="*/ 8968 w 410"/>
                <a:gd name="T39" fmla="*/ 28382 h 589"/>
                <a:gd name="T40" fmla="*/ 22698 w 410"/>
                <a:gd name="T41" fmla="*/ 30281 h 589"/>
                <a:gd name="T42" fmla="*/ 35429 w 410"/>
                <a:gd name="T43" fmla="*/ 28982 h 589"/>
                <a:gd name="T44" fmla="*/ 36979 w 410"/>
                <a:gd name="T45" fmla="*/ 27382 h 589"/>
                <a:gd name="T46" fmla="*/ 36425 w 410"/>
                <a:gd name="T47" fmla="*/ 21587 h 589"/>
                <a:gd name="T48" fmla="*/ 22698 w 410"/>
                <a:gd name="T49" fmla="*/ 19688 h 589"/>
                <a:gd name="T50" fmla="*/ 9964 w 410"/>
                <a:gd name="T51" fmla="*/ 20987 h 589"/>
                <a:gd name="T52" fmla="*/ 33990 w 410"/>
                <a:gd name="T53" fmla="*/ 27682 h 589"/>
                <a:gd name="T54" fmla="*/ 13397 w 410"/>
                <a:gd name="T55" fmla="*/ 28082 h 589"/>
                <a:gd name="T56" fmla="*/ 10186 w 410"/>
                <a:gd name="T57" fmla="*/ 27183 h 589"/>
                <a:gd name="T58" fmla="*/ 10961 w 410"/>
                <a:gd name="T59" fmla="*/ 24386 h 589"/>
                <a:gd name="T60" fmla="*/ 32330 w 410"/>
                <a:gd name="T61" fmla="*/ 24785 h 589"/>
                <a:gd name="T62" fmla="*/ 35207 w 410"/>
                <a:gd name="T63" fmla="*/ 27183 h 589"/>
                <a:gd name="T64" fmla="*/ 34766 w 410"/>
                <a:gd name="T65" fmla="*/ 22486 h 589"/>
                <a:gd name="T66" fmla="*/ 33990 w 410"/>
                <a:gd name="T67" fmla="*/ 22886 h 589"/>
                <a:gd name="T68" fmla="*/ 13397 w 410"/>
                <a:gd name="T69" fmla="*/ 23287 h 589"/>
                <a:gd name="T70" fmla="*/ 10519 w 410"/>
                <a:gd name="T71" fmla="*/ 22587 h 589"/>
                <a:gd name="T72" fmla="*/ 22698 w 410"/>
                <a:gd name="T73" fmla="*/ 2128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solidFill>
                  <a:srgbClr val="58585A"/>
                </a:solidFill>
              </a:endParaRPr>
            </a:p>
          </p:txBody>
        </p:sp>
      </p:grpSp>
      <p:sp>
        <p:nvSpPr>
          <p:cNvPr id="67" name="Rounded Rectangle 88"/>
          <p:cNvSpPr/>
          <p:nvPr/>
        </p:nvSpPr>
        <p:spPr bwMode="auto">
          <a:xfrm>
            <a:off x="10115120" y="3957412"/>
            <a:ext cx="1859901" cy="615376"/>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rPr>
              <a:t>Additional UCs </a:t>
            </a:r>
          </a:p>
          <a:p>
            <a:pPr marL="171450" marR="0" indent="-171450" algn="l" defTabSz="914400" rtl="0" eaLnBrk="1" fontAlgn="base" latinLnBrk="0" hangingPunct="1">
              <a:lnSpc>
                <a:spcPct val="100000"/>
              </a:lnSpc>
              <a:spcBef>
                <a:spcPct val="50000"/>
              </a:spcBef>
              <a:spcAft>
                <a:spcPct val="0"/>
              </a:spcAft>
              <a:buClrTx/>
              <a:buSzTx/>
              <a:buFontTx/>
              <a:buChar char="-"/>
              <a:tabLst/>
            </a:pPr>
            <a:r>
              <a:rPr kumimoji="0" lang="en-GB" sz="1200" i="0" u="none" strike="noStrike" cap="none" normalizeH="0" dirty="0">
                <a:ln>
                  <a:noFill/>
                </a:ln>
                <a:solidFill>
                  <a:schemeClr val="tx1"/>
                </a:solidFill>
                <a:effectLst/>
                <a:latin typeface="Arial" charset="0"/>
              </a:rPr>
              <a:t>3PP Identity Provider</a:t>
            </a:r>
          </a:p>
        </p:txBody>
      </p:sp>
      <p:sp>
        <p:nvSpPr>
          <p:cNvPr id="68" name="Rounded Rectangle 89"/>
          <p:cNvSpPr/>
          <p:nvPr/>
        </p:nvSpPr>
        <p:spPr bwMode="auto">
          <a:xfrm>
            <a:off x="86199" y="3798148"/>
            <a:ext cx="2097831" cy="89500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r>
              <a:rPr lang="en-GB" sz="1200" b="1" dirty="0"/>
              <a:t>Additional Features:</a:t>
            </a:r>
          </a:p>
          <a:p>
            <a:pPr marL="171450" indent="-171450">
              <a:buFontTx/>
              <a:buChar char="-"/>
            </a:pPr>
            <a:r>
              <a:rPr kumimoji="0" lang="en-GB" sz="1200" i="0" u="none" strike="noStrike" cap="none" normalizeH="0" baseline="0" dirty="0">
                <a:ln>
                  <a:noFill/>
                </a:ln>
                <a:solidFill>
                  <a:schemeClr val="tx1"/>
                </a:solidFill>
                <a:effectLst/>
              </a:rPr>
              <a:t>User Id </a:t>
            </a:r>
            <a:r>
              <a:rPr kumimoji="0" lang="en-GB" sz="1200" i="0" u="none" strike="noStrike" cap="none" normalizeH="0" baseline="0" dirty="0" err="1">
                <a:ln>
                  <a:noFill/>
                </a:ln>
                <a:solidFill>
                  <a:schemeClr val="tx1"/>
                </a:solidFill>
                <a:effectLst/>
              </a:rPr>
              <a:t>Pseudonimity</a:t>
            </a:r>
            <a:endParaRPr kumimoji="0" lang="en-GB" sz="1200" i="0" u="none" strike="noStrike" cap="none" normalizeH="0" baseline="0" dirty="0">
              <a:ln>
                <a:noFill/>
              </a:ln>
              <a:solidFill>
                <a:schemeClr val="tx1"/>
              </a:solidFill>
              <a:effectLst/>
            </a:endParaRPr>
          </a:p>
          <a:p>
            <a:pPr marL="171450" indent="-171450">
              <a:buFontTx/>
              <a:buChar char="-"/>
            </a:pPr>
            <a:r>
              <a:rPr lang="en-GB" sz="1200" dirty="0"/>
              <a:t>Slice authorization</a:t>
            </a:r>
          </a:p>
          <a:p>
            <a:pPr marL="171450" indent="-171450">
              <a:buFontTx/>
              <a:buChar char="-"/>
            </a:pPr>
            <a:endParaRPr kumimoji="0" lang="en-GB" sz="1200" i="0" u="none" strike="noStrike" cap="none" normalizeH="0" baseline="0" dirty="0">
              <a:ln>
                <a:noFill/>
              </a:ln>
              <a:solidFill>
                <a:schemeClr val="tx1"/>
              </a:solidFill>
              <a:effectLst/>
            </a:endParaRPr>
          </a:p>
        </p:txBody>
      </p:sp>
      <p:sp>
        <p:nvSpPr>
          <p:cNvPr id="69" name="Rounded Rectangle 90"/>
          <p:cNvSpPr/>
          <p:nvPr/>
        </p:nvSpPr>
        <p:spPr bwMode="auto">
          <a:xfrm>
            <a:off x="86197" y="2742736"/>
            <a:ext cx="2102961" cy="88073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rPr>
              <a:t>Additional Credentials </a:t>
            </a:r>
          </a:p>
          <a:p>
            <a:pPr marL="171450" marR="0" indent="-171450" algn="l" defTabSz="914400" rtl="0" eaLnBrk="1" fontAlgn="base" latinLnBrk="0" hangingPunct="1">
              <a:lnSpc>
                <a:spcPct val="100000"/>
              </a:lnSpc>
              <a:spcBef>
                <a:spcPct val="50000"/>
              </a:spcBef>
              <a:spcAft>
                <a:spcPct val="0"/>
              </a:spcAft>
              <a:buClrTx/>
              <a:buSzTx/>
              <a:buFontTx/>
              <a:buChar char="-"/>
              <a:tabLst/>
            </a:pPr>
            <a:r>
              <a:rPr lang="en-GB" sz="1200" dirty="0"/>
              <a:t>non-3GPP Ids and keys</a:t>
            </a:r>
          </a:p>
          <a:p>
            <a:pPr marL="171450" marR="0" indent="-171450" algn="l" defTabSz="914400" rtl="0" eaLnBrk="1" fontAlgn="base" latinLnBrk="0" hangingPunct="1">
              <a:lnSpc>
                <a:spcPct val="100000"/>
              </a:lnSpc>
              <a:spcBef>
                <a:spcPct val="50000"/>
              </a:spcBef>
              <a:spcAft>
                <a:spcPct val="0"/>
              </a:spcAft>
              <a:buClrTx/>
              <a:buSzTx/>
              <a:buFontTx/>
              <a:buChar char="-"/>
              <a:tabLst/>
            </a:pPr>
            <a:r>
              <a:rPr kumimoji="0" lang="en-GB" sz="1200" i="0" u="none" strike="noStrike" cap="none" normalizeH="0" baseline="0" dirty="0">
                <a:ln>
                  <a:noFill/>
                </a:ln>
                <a:solidFill>
                  <a:schemeClr val="tx1"/>
                </a:solidFill>
                <a:effectLst/>
              </a:rPr>
              <a:t>Alternative </a:t>
            </a:r>
            <a:r>
              <a:rPr kumimoji="0" lang="en-GB" sz="1200" i="0" u="none" strike="noStrike" cap="none" normalizeH="0" baseline="0" dirty="0" err="1">
                <a:ln>
                  <a:noFill/>
                </a:ln>
                <a:solidFill>
                  <a:schemeClr val="tx1"/>
                </a:solidFill>
                <a:effectLst/>
              </a:rPr>
              <a:t>auth</a:t>
            </a:r>
            <a:r>
              <a:rPr kumimoji="0" lang="en-GB" sz="1200" i="0" u="none" strike="noStrike" cap="none" normalizeH="0" baseline="0" dirty="0">
                <a:ln>
                  <a:noFill/>
                </a:ln>
                <a:solidFill>
                  <a:schemeClr val="tx1"/>
                </a:solidFill>
                <a:effectLst/>
              </a:rPr>
              <a:t> methods</a:t>
            </a:r>
          </a:p>
        </p:txBody>
      </p:sp>
      <p:sp>
        <p:nvSpPr>
          <p:cNvPr id="70" name="Rounded Rectangle 76"/>
          <p:cNvSpPr/>
          <p:nvPr/>
        </p:nvSpPr>
        <p:spPr bwMode="auto">
          <a:xfrm>
            <a:off x="10418559" y="2546844"/>
            <a:ext cx="1083265" cy="694470"/>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200" b="1" dirty="0"/>
              <a:t>UDM as Credential Repository</a:t>
            </a:r>
          </a:p>
        </p:txBody>
      </p:sp>
      <p:sp>
        <p:nvSpPr>
          <p:cNvPr id="71" name="Rounded Rectangle 76"/>
          <p:cNvSpPr/>
          <p:nvPr/>
        </p:nvSpPr>
        <p:spPr bwMode="auto">
          <a:xfrm>
            <a:off x="5553640" y="5455076"/>
            <a:ext cx="2568355" cy="366139"/>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400" b="1" dirty="0"/>
              <a:t>AMF as EAP Authenticator</a:t>
            </a:r>
          </a:p>
        </p:txBody>
      </p:sp>
      <p:sp>
        <p:nvSpPr>
          <p:cNvPr id="4" name="Rounded Rectangle 76"/>
          <p:cNvSpPr/>
          <p:nvPr/>
        </p:nvSpPr>
        <p:spPr bwMode="auto">
          <a:xfrm>
            <a:off x="7497437" y="3394424"/>
            <a:ext cx="1926901" cy="357452"/>
          </a:xfrm>
          <a:prstGeom prst="roundRect">
            <a:avLst/>
          </a:prstGeom>
          <a:solidFill>
            <a:schemeClr val="accent5">
              <a:lumMod val="60000"/>
              <a:lumOff val="40000"/>
            </a:schemeClr>
          </a:solidFill>
          <a:ln w="12700" cap="flat" cmpd="sng" algn="ctr">
            <a:no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a:spcBef>
                <a:spcPts val="0"/>
              </a:spcBef>
            </a:pPr>
            <a:r>
              <a:rPr lang="en-US" sz="1400" b="1" dirty="0"/>
              <a:t>EAP Server (AUSF)</a:t>
            </a:r>
          </a:p>
        </p:txBody>
      </p:sp>
      <p:grpSp>
        <p:nvGrpSpPr>
          <p:cNvPr id="79" name="Group 78"/>
          <p:cNvGrpSpPr/>
          <p:nvPr/>
        </p:nvGrpSpPr>
        <p:grpSpPr>
          <a:xfrm>
            <a:off x="11302583" y="5806225"/>
            <a:ext cx="629553" cy="831466"/>
            <a:chOff x="2530204" y="1718022"/>
            <a:chExt cx="1186277" cy="1647323"/>
          </a:xfrm>
        </p:grpSpPr>
        <p:sp>
          <p:nvSpPr>
            <p:cNvPr id="80"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81"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82"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83" name="Group 274"/>
            <p:cNvGrpSpPr>
              <a:grpSpLocks noChangeAspect="1"/>
            </p:cNvGrpSpPr>
            <p:nvPr/>
          </p:nvGrpSpPr>
          <p:grpSpPr bwMode="auto">
            <a:xfrm>
              <a:off x="2590950" y="1853233"/>
              <a:ext cx="1125531" cy="1512112"/>
              <a:chOff x="3147" y="3024"/>
              <a:chExt cx="257" cy="366"/>
            </a:xfrm>
          </p:grpSpPr>
          <p:grpSp>
            <p:nvGrpSpPr>
              <p:cNvPr id="84" name="Group 7"/>
              <p:cNvGrpSpPr>
                <a:grpSpLocks noChangeAspect="1"/>
              </p:cNvGrpSpPr>
              <p:nvPr/>
            </p:nvGrpSpPr>
            <p:grpSpPr bwMode="auto">
              <a:xfrm>
                <a:off x="3147" y="3024"/>
                <a:ext cx="257" cy="366"/>
                <a:chOff x="2284" y="1695"/>
                <a:chExt cx="983" cy="1401"/>
              </a:xfrm>
            </p:grpSpPr>
            <p:pic>
              <p:nvPicPr>
                <p:cNvPr id="86"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85"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AUSF</a:t>
                </a:r>
              </a:p>
            </p:txBody>
          </p:sp>
        </p:grpSp>
      </p:grpSp>
    </p:spTree>
    <p:extLst>
      <p:ext uri="{BB962C8B-B14F-4D97-AF65-F5344CB8AC3E}">
        <p14:creationId xmlns:p14="http://schemas.microsoft.com/office/powerpoint/2010/main" val="2777427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fade">
                                      <p:cBhvr>
                                        <p:cTn id="16" dur="500"/>
                                        <p:tgtEl>
                                          <p:spTgt spid="5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10" presetClass="exit" presetSubtype="0" fill="hold" grpId="0" nodeType="withEffect">
                                  <p:stCondLst>
                                    <p:cond delay="0"/>
                                  </p:stCondLst>
                                  <p:childTnLst>
                                    <p:animEffect transition="out" filter="fade">
                                      <p:cBhvr>
                                        <p:cTn id="21" dur="500"/>
                                        <p:tgtEl>
                                          <p:spTgt spid="70"/>
                                        </p:tgtEl>
                                      </p:cBhvr>
                                    </p:animEffect>
                                    <p:set>
                                      <p:cBhvr>
                                        <p:cTn id="22" dur="1" fill="hold">
                                          <p:stCondLst>
                                            <p:cond delay="499"/>
                                          </p:stCondLst>
                                        </p:cTn>
                                        <p:tgtEl>
                                          <p:spTgt spid="70"/>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71"/>
                                        </p:tgtEl>
                                      </p:cBhvr>
                                    </p:animEffect>
                                    <p:set>
                                      <p:cBhvr>
                                        <p:cTn id="28" dur="1" fill="hold">
                                          <p:stCondLst>
                                            <p:cond delay="499"/>
                                          </p:stCondLst>
                                        </p:cTn>
                                        <p:tgtEl>
                                          <p:spTgt spid="71"/>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8"/>
                                        </p:tgtEl>
                                        <p:attrNameLst>
                                          <p:attrName>style.visibility</p:attrName>
                                        </p:attrNameLst>
                                      </p:cBhvr>
                                      <p:to>
                                        <p:strVal val="visible"/>
                                      </p:to>
                                    </p:set>
                                    <p:animEffect transition="in" filter="fade">
                                      <p:cBhvr>
                                        <p:cTn id="33"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9" grpId="0" animBg="1"/>
      <p:bldP spid="67" grpId="0" animBg="1"/>
      <p:bldP spid="68" grpId="0" animBg="1"/>
      <p:bldP spid="70" grpId="0" animBg="1"/>
      <p:bldP spid="71" grpId="0" animBg="1"/>
      <p:bldP spid="4"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slice Selection Function (NSSF)</a:t>
            </a:r>
          </a:p>
        </p:txBody>
      </p:sp>
      <p:sp>
        <p:nvSpPr>
          <p:cNvPr id="3" name="Text Placeholder 2"/>
          <p:cNvSpPr>
            <a:spLocks noGrp="1"/>
          </p:cNvSpPr>
          <p:nvPr>
            <p:ph type="body" idx="1"/>
          </p:nvPr>
        </p:nvSpPr>
        <p:spPr>
          <a:xfrm>
            <a:off x="529167" y="1800000"/>
            <a:ext cx="7620920" cy="3852000"/>
          </a:xfrm>
        </p:spPr>
        <p:txBody>
          <a:bodyPr/>
          <a:lstStyle/>
          <a:p>
            <a:pPr marL="0" indent="0">
              <a:buNone/>
            </a:pPr>
            <a:r>
              <a:rPr lang="en-US" dirty="0"/>
              <a:t>Main Functionality</a:t>
            </a:r>
          </a:p>
          <a:p>
            <a:r>
              <a:rPr lang="en-US" dirty="0"/>
              <a:t>Selecting the set of network slice instances serving the UE</a:t>
            </a:r>
          </a:p>
          <a:p>
            <a:r>
              <a:rPr lang="en-US" dirty="0"/>
              <a:t>Determining the Allowed NSSAI</a:t>
            </a:r>
            <a:br>
              <a:rPr lang="en-US" dirty="0"/>
            </a:br>
            <a:r>
              <a:rPr lang="en-US" sz="1600" dirty="0"/>
              <a:t>(NSSAI = Network Slice Selection Assistance Information)</a:t>
            </a:r>
          </a:p>
          <a:p>
            <a:r>
              <a:rPr lang="en-US" dirty="0"/>
              <a:t>Determining the AMF Set to be used to serve the UE</a:t>
            </a:r>
          </a:p>
        </p:txBody>
      </p:sp>
      <p:grpSp>
        <p:nvGrpSpPr>
          <p:cNvPr id="4" name="Group 3"/>
          <p:cNvGrpSpPr/>
          <p:nvPr/>
        </p:nvGrpSpPr>
        <p:grpSpPr>
          <a:xfrm>
            <a:off x="9597133" y="2371691"/>
            <a:ext cx="920586" cy="1329413"/>
            <a:chOff x="2530204" y="1718022"/>
            <a:chExt cx="1186277" cy="1647323"/>
          </a:xfrm>
        </p:grpSpPr>
        <p:sp>
          <p:nvSpPr>
            <p:cNvPr id="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sp>
          <p:nvSpPr>
            <p:cNvPr id="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400"/>
            </a:p>
          </p:txBody>
        </p:sp>
        <p:grpSp>
          <p:nvGrpSpPr>
            <p:cNvPr id="8" name="Group 274"/>
            <p:cNvGrpSpPr>
              <a:grpSpLocks noChangeAspect="1"/>
            </p:cNvGrpSpPr>
            <p:nvPr/>
          </p:nvGrpSpPr>
          <p:grpSpPr bwMode="auto">
            <a:xfrm>
              <a:off x="2590950" y="1853233"/>
              <a:ext cx="1125531" cy="1512112"/>
              <a:chOff x="3147" y="3024"/>
              <a:chExt cx="257" cy="366"/>
            </a:xfrm>
          </p:grpSpPr>
          <p:grpSp>
            <p:nvGrpSpPr>
              <p:cNvPr id="9" name="Group 7"/>
              <p:cNvGrpSpPr>
                <a:grpSpLocks noChangeAspect="1"/>
              </p:cNvGrpSpPr>
              <p:nvPr/>
            </p:nvGrpSpPr>
            <p:grpSpPr bwMode="auto">
              <a:xfrm>
                <a:off x="3147" y="3024"/>
                <a:ext cx="257" cy="366"/>
                <a:chOff x="2284" y="1695"/>
                <a:chExt cx="983" cy="1401"/>
              </a:xfrm>
            </p:grpSpPr>
            <p:pic>
              <p:nvPicPr>
                <p:cNvPr id="11"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4" y="1695"/>
                  <a:ext cx="983" cy="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11"/>
                <p:cNvSpPr>
                  <a:spLocks noChangeAspect="1" noEditPoints="1"/>
                </p:cNvSpPr>
                <p:nvPr/>
              </p:nvSpPr>
              <p:spPr bwMode="auto">
                <a:xfrm>
                  <a:off x="2291" y="1703"/>
                  <a:ext cx="969" cy="1392"/>
                </a:xfrm>
                <a:custGeom>
                  <a:avLst/>
                  <a:gdLst>
                    <a:gd name="T0" fmla="*/ 2147483647 w 410"/>
                    <a:gd name="T1" fmla="*/ 2147483647 h 589"/>
                    <a:gd name="T2" fmla="*/ 2147483647 w 410"/>
                    <a:gd name="T3" fmla="*/ 2147483647 h 589"/>
                    <a:gd name="T4" fmla="*/ 2147483647 w 410"/>
                    <a:gd name="T5" fmla="*/ 2147483647 h 589"/>
                    <a:gd name="T6" fmla="*/ 2147483647 w 410"/>
                    <a:gd name="T7" fmla="*/ 2147483647 h 589"/>
                    <a:gd name="T8" fmla="*/ 2147483647 w 410"/>
                    <a:gd name="T9" fmla="*/ 2147483647 h 589"/>
                    <a:gd name="T10" fmla="*/ 2147483647 w 410"/>
                    <a:gd name="T11" fmla="*/ 2147483647 h 589"/>
                    <a:gd name="T12" fmla="*/ 0 w 410"/>
                    <a:gd name="T13" fmla="*/ 2147483647 h 589"/>
                    <a:gd name="T14" fmla="*/ 2147483647 w 410"/>
                    <a:gd name="T15" fmla="*/ 2147483647 h 589"/>
                    <a:gd name="T16" fmla="*/ 2147483647 w 410"/>
                    <a:gd name="T17" fmla="*/ 2147483647 h 589"/>
                    <a:gd name="T18" fmla="*/ 2147483647 w 410"/>
                    <a:gd name="T19" fmla="*/ 2147483647 h 589"/>
                    <a:gd name="T20" fmla="*/ 2147483647 w 410"/>
                    <a:gd name="T21" fmla="*/ 2147483647 h 589"/>
                    <a:gd name="T22" fmla="*/ 2147483647 w 410"/>
                    <a:gd name="T23" fmla="*/ 2147483647 h 589"/>
                    <a:gd name="T24" fmla="*/ 2147483647 w 410"/>
                    <a:gd name="T25" fmla="*/ 2147483647 h 589"/>
                    <a:gd name="T26" fmla="*/ 2147483647 w 410"/>
                    <a:gd name="T27" fmla="*/ 2147483647 h 589"/>
                    <a:gd name="T28" fmla="*/ 2147483647 w 410"/>
                    <a:gd name="T29" fmla="*/ 2147483647 h 589"/>
                    <a:gd name="T30" fmla="*/ 2147483647 w 410"/>
                    <a:gd name="T31" fmla="*/ 2147483647 h 589"/>
                    <a:gd name="T32" fmla="*/ 2147483647 w 410"/>
                    <a:gd name="T33" fmla="*/ 2147483647 h 589"/>
                    <a:gd name="T34" fmla="*/ 2147483647 w 410"/>
                    <a:gd name="T35" fmla="*/ 2147483647 h 589"/>
                    <a:gd name="T36" fmla="*/ 2147483647 w 410"/>
                    <a:gd name="T37" fmla="*/ 2147483647 h 589"/>
                    <a:gd name="T38" fmla="*/ 2147483647 w 410"/>
                    <a:gd name="T39" fmla="*/ 2147483647 h 589"/>
                    <a:gd name="T40" fmla="*/ 2147483647 w 410"/>
                    <a:gd name="T41" fmla="*/ 2147483647 h 589"/>
                    <a:gd name="T42" fmla="*/ 2147483647 w 410"/>
                    <a:gd name="T43" fmla="*/ 2147483647 h 589"/>
                    <a:gd name="T44" fmla="*/ 2147483647 w 410"/>
                    <a:gd name="T45" fmla="*/ 2147483647 h 589"/>
                    <a:gd name="T46" fmla="*/ 2147483647 w 410"/>
                    <a:gd name="T47" fmla="*/ 2147483647 h 589"/>
                    <a:gd name="T48" fmla="*/ 2147483647 w 410"/>
                    <a:gd name="T49" fmla="*/ 2147483647 h 589"/>
                    <a:gd name="T50" fmla="*/ 2147483647 w 410"/>
                    <a:gd name="T51" fmla="*/ 2147483647 h 589"/>
                    <a:gd name="T52" fmla="*/ 2147483647 w 410"/>
                    <a:gd name="T53" fmla="*/ 2147483647 h 589"/>
                    <a:gd name="T54" fmla="*/ 2147483647 w 410"/>
                    <a:gd name="T55" fmla="*/ 2147483647 h 589"/>
                    <a:gd name="T56" fmla="*/ 2147483647 w 410"/>
                    <a:gd name="T57" fmla="*/ 2147483647 h 589"/>
                    <a:gd name="T58" fmla="*/ 2147483647 w 410"/>
                    <a:gd name="T59" fmla="*/ 2147483647 h 589"/>
                    <a:gd name="T60" fmla="*/ 2147483647 w 410"/>
                    <a:gd name="T61" fmla="*/ 2147483647 h 589"/>
                    <a:gd name="T62" fmla="*/ 2147483647 w 410"/>
                    <a:gd name="T63" fmla="*/ 2147483647 h 589"/>
                    <a:gd name="T64" fmla="*/ 2147483647 w 410"/>
                    <a:gd name="T65" fmla="*/ 2147483647 h 589"/>
                    <a:gd name="T66" fmla="*/ 2147483647 w 410"/>
                    <a:gd name="T67" fmla="*/ 2147483647 h 589"/>
                    <a:gd name="T68" fmla="*/ 2147483647 w 410"/>
                    <a:gd name="T69" fmla="*/ 2147483647 h 589"/>
                    <a:gd name="T70" fmla="*/ 2147483647 w 410"/>
                    <a:gd name="T71" fmla="*/ 2147483647 h 589"/>
                    <a:gd name="T72" fmla="*/ 2147483647 w 410"/>
                    <a:gd name="T73" fmla="*/ 2147483647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400"/>
                </a:p>
              </p:txBody>
            </p:sp>
          </p:grpSp>
          <p:sp>
            <p:nvSpPr>
              <p:cNvPr id="1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lgn="l" eaLnBrk="0" hangingPunct="0">
                  <a:spcBef>
                    <a:spcPct val="20000"/>
                  </a:spcBef>
                  <a:buClr>
                    <a:srgbClr val="00A9D4"/>
                  </a:buClr>
                  <a:buFont typeface="Arial" charset="0"/>
                  <a:buChar char="›"/>
                  <a:defRPr sz="2400">
                    <a:solidFill>
                      <a:schemeClr val="tx1"/>
                    </a:solidFill>
                    <a:latin typeface="Arial" charset="0"/>
                  </a:defRPr>
                </a:lvl1pPr>
                <a:lvl2pPr marL="742950" indent="-285750" algn="l"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algn="l"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algn="l"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algn="l"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ts val="600"/>
                  </a:spcBef>
                  <a:buClrTx/>
                  <a:buFontTx/>
                  <a:buNone/>
                </a:pPr>
                <a:r>
                  <a:rPr lang="en-US" altLang="en-US" sz="1400" dirty="0">
                    <a:ea typeface="MS PGothic" charset="-128"/>
                  </a:rPr>
                  <a:t>NSSF</a:t>
                </a:r>
              </a:p>
            </p:txBody>
          </p:sp>
        </p:grpSp>
      </p:grpSp>
      <p:sp>
        <p:nvSpPr>
          <p:cNvPr id="13" name="TextBox 12"/>
          <p:cNvSpPr txBox="1"/>
          <p:nvPr/>
        </p:nvSpPr>
        <p:spPr>
          <a:xfrm>
            <a:off x="9340502" y="2128606"/>
            <a:ext cx="643125" cy="307777"/>
          </a:xfrm>
          <a:prstGeom prst="rect">
            <a:avLst/>
          </a:prstGeom>
          <a:noFill/>
        </p:spPr>
        <p:txBody>
          <a:bodyPr wrap="none" rtlCol="0">
            <a:spAutoFit/>
          </a:bodyPr>
          <a:lstStyle/>
          <a:p>
            <a:r>
              <a:rPr lang="en-US" sz="1400" dirty="0" err="1">
                <a:solidFill>
                  <a:srgbClr val="FF0000"/>
                </a:solidFill>
              </a:rPr>
              <a:t>Nnssf</a:t>
            </a:r>
            <a:endParaRPr lang="en-US" sz="1400" dirty="0">
              <a:solidFill>
                <a:srgbClr val="FF0000"/>
              </a:solidFill>
            </a:endParaRPr>
          </a:p>
        </p:txBody>
      </p:sp>
      <p:grpSp>
        <p:nvGrpSpPr>
          <p:cNvPr id="14" name="Group 13"/>
          <p:cNvGrpSpPr/>
          <p:nvPr/>
        </p:nvGrpSpPr>
        <p:grpSpPr>
          <a:xfrm rot="10800000" flipH="1" flipV="1">
            <a:off x="9994118" y="2198626"/>
            <a:ext cx="145622" cy="280111"/>
            <a:chOff x="7128406" y="1476204"/>
            <a:chExt cx="145622" cy="280111"/>
          </a:xfrm>
        </p:grpSpPr>
        <p:cxnSp>
          <p:nvCxnSpPr>
            <p:cNvPr id="15" name="Straight Connector 14"/>
            <p:cNvCxnSpPr>
              <a:cxnSpLocks/>
            </p:cNvCxnSpPr>
            <p:nvPr/>
          </p:nvCxnSpPr>
          <p:spPr bwMode="auto">
            <a:xfrm flipH="1" flipV="1">
              <a:off x="7198594"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16" name="Oval 15"/>
            <p:cNvSpPr/>
            <p:nvPr/>
          </p:nvSpPr>
          <p:spPr bwMode="auto">
            <a:xfrm>
              <a:off x="7128406" y="1476204"/>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39540614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Exposure function</a:t>
            </a:r>
            <a:br>
              <a:rPr lang="en-US" dirty="0"/>
            </a:br>
            <a:r>
              <a:rPr lang="en-US" dirty="0"/>
              <a:t>(NEF)</a:t>
            </a:r>
          </a:p>
        </p:txBody>
      </p:sp>
      <p:sp>
        <p:nvSpPr>
          <p:cNvPr id="3" name="Text Placeholder 2"/>
          <p:cNvSpPr>
            <a:spLocks noGrp="1"/>
          </p:cNvSpPr>
          <p:nvPr>
            <p:ph type="body" idx="1"/>
          </p:nvPr>
        </p:nvSpPr>
        <p:spPr>
          <a:xfrm>
            <a:off x="357717" y="1813870"/>
            <a:ext cx="11135785" cy="4510730"/>
          </a:xfrm>
        </p:spPr>
        <p:txBody>
          <a:bodyPr/>
          <a:lstStyle/>
          <a:p>
            <a:pPr marL="0" indent="0">
              <a:buNone/>
            </a:pPr>
            <a:r>
              <a:rPr lang="en-US" dirty="0"/>
              <a:t>Main Functionality</a:t>
            </a:r>
          </a:p>
          <a:p>
            <a:r>
              <a:rPr lang="en-US" dirty="0"/>
              <a:t>Securely expose 3GPP network function services and capabilities for e.g.:</a:t>
            </a:r>
          </a:p>
          <a:p>
            <a:pPr lvl="1"/>
            <a:r>
              <a:rPr lang="en-US" dirty="0"/>
              <a:t>3</a:t>
            </a:r>
            <a:r>
              <a:rPr lang="en-US" baseline="30000" dirty="0"/>
              <a:t>rd</a:t>
            </a:r>
            <a:r>
              <a:rPr lang="en-US" dirty="0"/>
              <a:t> party</a:t>
            </a:r>
          </a:p>
          <a:p>
            <a:pPr lvl="1"/>
            <a:r>
              <a:rPr lang="en-US" dirty="0"/>
              <a:t>Internally </a:t>
            </a:r>
          </a:p>
          <a:p>
            <a:pPr lvl="1"/>
            <a:r>
              <a:rPr lang="en-US" dirty="0"/>
              <a:t>Application Functions</a:t>
            </a:r>
          </a:p>
          <a:p>
            <a:r>
              <a:rPr lang="en-US" dirty="0"/>
              <a:t>Translates information exchanged with AF and the 5G Core</a:t>
            </a:r>
          </a:p>
          <a:p>
            <a:pPr lvl="1"/>
            <a:r>
              <a:rPr lang="en-US" dirty="0"/>
              <a:t>I.e. between AF service identifier and 5G core info like DNN, S-NSSAI, etc.  </a:t>
            </a:r>
          </a:p>
          <a:p>
            <a:r>
              <a:rPr lang="en-US" dirty="0"/>
              <a:t> Receives and may store information from other network functions</a:t>
            </a:r>
          </a:p>
          <a:p>
            <a:pPr lvl="1"/>
            <a:r>
              <a:rPr lang="en-US" dirty="0"/>
              <a:t>The stored information can be “re-exposed” by the NEF to other network functions and application functions</a:t>
            </a:r>
          </a:p>
          <a:p>
            <a:pPr lvl="1"/>
            <a:r>
              <a:rPr lang="en-US" dirty="0"/>
              <a:t>The stored information can be used for other purposes such as analytics</a:t>
            </a:r>
          </a:p>
        </p:txBody>
      </p:sp>
      <p:grpSp>
        <p:nvGrpSpPr>
          <p:cNvPr id="17" name="Group 16"/>
          <p:cNvGrpSpPr/>
          <p:nvPr/>
        </p:nvGrpSpPr>
        <p:grpSpPr>
          <a:xfrm>
            <a:off x="10270069" y="3124084"/>
            <a:ext cx="1189914" cy="1214662"/>
            <a:chOff x="5060144" y="894459"/>
            <a:chExt cx="1189914" cy="1214662"/>
          </a:xfrm>
        </p:grpSpPr>
        <p:grpSp>
          <p:nvGrpSpPr>
            <p:cNvPr id="4" name="Group 115"/>
            <p:cNvGrpSpPr>
              <a:grpSpLocks/>
            </p:cNvGrpSpPr>
            <p:nvPr/>
          </p:nvGrpSpPr>
          <p:grpSpPr bwMode="auto">
            <a:xfrm>
              <a:off x="5060144" y="894459"/>
              <a:ext cx="705076" cy="971315"/>
              <a:chOff x="2530204" y="1718022"/>
              <a:chExt cx="1186277" cy="1647323"/>
            </a:xfrm>
          </p:grpSpPr>
          <p:sp>
            <p:nvSpPr>
              <p:cNvPr id="5" name="AutoShape 238"/>
              <p:cNvSpPr>
                <a:spLocks noChangeAspect="1" noChangeArrowheads="1"/>
              </p:cNvSpPr>
              <p:nvPr/>
            </p:nvSpPr>
            <p:spPr bwMode="auto">
              <a:xfrm>
                <a:off x="2551447" y="2169878"/>
                <a:ext cx="1062149" cy="111742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6" name="Oval 239"/>
              <p:cNvSpPr>
                <a:spLocks noChangeAspect="1" noChangeArrowheads="1"/>
              </p:cNvSpPr>
              <p:nvPr/>
            </p:nvSpPr>
            <p:spPr bwMode="auto">
              <a:xfrm>
                <a:off x="2545377" y="1739393"/>
                <a:ext cx="1068218" cy="1083842"/>
              </a:xfrm>
              <a:prstGeom prst="ellipse">
                <a:avLst/>
              </a:prstGeom>
              <a:solidFill>
                <a:schemeClr val="bg1"/>
              </a:solidFill>
              <a:ln w="12700" algn="ctr">
                <a:solidFill>
                  <a:schemeClr val="bg1"/>
                </a:solidFill>
                <a:round/>
                <a:headEnd/>
                <a:tailEnd/>
              </a:ln>
            </p:spPr>
            <p:txBody>
              <a:bodyPr wrap="none" lIns="0" r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sp>
            <p:nvSpPr>
              <p:cNvPr id="7" name="Rectangle 241"/>
              <p:cNvSpPr>
                <a:spLocks noChangeAspect="1" noChangeArrowheads="1"/>
              </p:cNvSpPr>
              <p:nvPr/>
            </p:nvSpPr>
            <p:spPr bwMode="auto">
              <a:xfrm>
                <a:off x="2530204" y="1718022"/>
                <a:ext cx="1101600" cy="15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sv-SE" altLang="en-US" sz="1400"/>
              </a:p>
            </p:txBody>
          </p:sp>
          <p:grpSp>
            <p:nvGrpSpPr>
              <p:cNvPr id="8" name="Group 274"/>
              <p:cNvGrpSpPr>
                <a:grpSpLocks noChangeAspect="1"/>
              </p:cNvGrpSpPr>
              <p:nvPr/>
            </p:nvGrpSpPr>
            <p:grpSpPr bwMode="auto">
              <a:xfrm>
                <a:off x="2590950" y="1853233"/>
                <a:ext cx="1125531" cy="1512112"/>
                <a:chOff x="3147" y="3024"/>
                <a:chExt cx="257" cy="366"/>
              </a:xfrm>
            </p:grpSpPr>
            <p:grpSp>
              <p:nvGrpSpPr>
                <p:cNvPr id="9" name="Group 7"/>
                <p:cNvGrpSpPr>
                  <a:grpSpLocks noChangeAspect="1"/>
                </p:cNvGrpSpPr>
                <p:nvPr/>
              </p:nvGrpSpPr>
              <p:grpSpPr bwMode="auto">
                <a:xfrm>
                  <a:off x="3147" y="3024"/>
                  <a:ext cx="257" cy="366"/>
                  <a:chOff x="2283" y="1698"/>
                  <a:chExt cx="983" cy="1402"/>
                </a:xfrm>
              </p:grpSpPr>
              <p:pic>
                <p:nvPicPr>
                  <p:cNvPr id="11" name="Bildobjekt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3" y="1698"/>
                    <a:ext cx="983"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11"/>
                  <p:cNvSpPr>
                    <a:spLocks noChangeAspect="1" noEditPoints="1"/>
                  </p:cNvSpPr>
                  <p:nvPr/>
                </p:nvSpPr>
                <p:spPr bwMode="auto">
                  <a:xfrm>
                    <a:off x="2291" y="1703"/>
                    <a:ext cx="969" cy="1392"/>
                  </a:xfrm>
                  <a:custGeom>
                    <a:avLst/>
                    <a:gdLst>
                      <a:gd name="T0" fmla="*/ 2147483646 w 410"/>
                      <a:gd name="T1" fmla="*/ 2147483646 h 589"/>
                      <a:gd name="T2" fmla="*/ 2147483646 w 410"/>
                      <a:gd name="T3" fmla="*/ 2147483646 h 589"/>
                      <a:gd name="T4" fmla="*/ 2147483646 w 410"/>
                      <a:gd name="T5" fmla="*/ 2147483646 h 589"/>
                      <a:gd name="T6" fmla="*/ 2147483646 w 410"/>
                      <a:gd name="T7" fmla="*/ 2147483646 h 589"/>
                      <a:gd name="T8" fmla="*/ 2147483646 w 410"/>
                      <a:gd name="T9" fmla="*/ 2147483646 h 589"/>
                      <a:gd name="T10" fmla="*/ 2147483646 w 410"/>
                      <a:gd name="T11" fmla="*/ 2147483646 h 589"/>
                      <a:gd name="T12" fmla="*/ 0 w 410"/>
                      <a:gd name="T13" fmla="*/ 2147483646 h 589"/>
                      <a:gd name="T14" fmla="*/ 2147483646 w 410"/>
                      <a:gd name="T15" fmla="*/ 2147483646 h 589"/>
                      <a:gd name="T16" fmla="*/ 2147483646 w 410"/>
                      <a:gd name="T17" fmla="*/ 2147483646 h 589"/>
                      <a:gd name="T18" fmla="*/ 2147483646 w 410"/>
                      <a:gd name="T19" fmla="*/ 2147483646 h 589"/>
                      <a:gd name="T20" fmla="*/ 2147483646 w 410"/>
                      <a:gd name="T21" fmla="*/ 2147483646 h 589"/>
                      <a:gd name="T22" fmla="*/ 2147483646 w 410"/>
                      <a:gd name="T23" fmla="*/ 2147483646 h 589"/>
                      <a:gd name="T24" fmla="*/ 2147483646 w 410"/>
                      <a:gd name="T25" fmla="*/ 2147483646 h 589"/>
                      <a:gd name="T26" fmla="*/ 2147483646 w 410"/>
                      <a:gd name="T27" fmla="*/ 2147483646 h 589"/>
                      <a:gd name="T28" fmla="*/ 2147483646 w 410"/>
                      <a:gd name="T29" fmla="*/ 2147483646 h 589"/>
                      <a:gd name="T30" fmla="*/ 2147483646 w 410"/>
                      <a:gd name="T31" fmla="*/ 2147483646 h 589"/>
                      <a:gd name="T32" fmla="*/ 2147483646 w 410"/>
                      <a:gd name="T33" fmla="*/ 2147483646 h 589"/>
                      <a:gd name="T34" fmla="*/ 2147483646 w 410"/>
                      <a:gd name="T35" fmla="*/ 2147483646 h 589"/>
                      <a:gd name="T36" fmla="*/ 2147483646 w 410"/>
                      <a:gd name="T37" fmla="*/ 2147483646 h 589"/>
                      <a:gd name="T38" fmla="*/ 2147483646 w 410"/>
                      <a:gd name="T39" fmla="*/ 2147483646 h 589"/>
                      <a:gd name="T40" fmla="*/ 2147483646 w 410"/>
                      <a:gd name="T41" fmla="*/ 2147483646 h 589"/>
                      <a:gd name="T42" fmla="*/ 2147483646 w 410"/>
                      <a:gd name="T43" fmla="*/ 2147483646 h 589"/>
                      <a:gd name="T44" fmla="*/ 2147483646 w 410"/>
                      <a:gd name="T45" fmla="*/ 2147483646 h 589"/>
                      <a:gd name="T46" fmla="*/ 2147483646 w 410"/>
                      <a:gd name="T47" fmla="*/ 2147483646 h 589"/>
                      <a:gd name="T48" fmla="*/ 2147483646 w 410"/>
                      <a:gd name="T49" fmla="*/ 2147483646 h 589"/>
                      <a:gd name="T50" fmla="*/ 2147483646 w 410"/>
                      <a:gd name="T51" fmla="*/ 2147483646 h 589"/>
                      <a:gd name="T52" fmla="*/ 2147483646 w 410"/>
                      <a:gd name="T53" fmla="*/ 2147483646 h 589"/>
                      <a:gd name="T54" fmla="*/ 2147483646 w 410"/>
                      <a:gd name="T55" fmla="*/ 2147483646 h 589"/>
                      <a:gd name="T56" fmla="*/ 2147483646 w 410"/>
                      <a:gd name="T57" fmla="*/ 2147483646 h 589"/>
                      <a:gd name="T58" fmla="*/ 2147483646 w 410"/>
                      <a:gd name="T59" fmla="*/ 2147483646 h 589"/>
                      <a:gd name="T60" fmla="*/ 2147483646 w 410"/>
                      <a:gd name="T61" fmla="*/ 2147483646 h 589"/>
                      <a:gd name="T62" fmla="*/ 2147483646 w 410"/>
                      <a:gd name="T63" fmla="*/ 2147483646 h 589"/>
                      <a:gd name="T64" fmla="*/ 2147483646 w 410"/>
                      <a:gd name="T65" fmla="*/ 2147483646 h 589"/>
                      <a:gd name="T66" fmla="*/ 2147483646 w 410"/>
                      <a:gd name="T67" fmla="*/ 2147483646 h 589"/>
                      <a:gd name="T68" fmla="*/ 2147483646 w 410"/>
                      <a:gd name="T69" fmla="*/ 2147483646 h 589"/>
                      <a:gd name="T70" fmla="*/ 2147483646 w 410"/>
                      <a:gd name="T71" fmla="*/ 2147483646 h 589"/>
                      <a:gd name="T72" fmla="*/ 2147483646 w 410"/>
                      <a:gd name="T73" fmla="*/ 2147483646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505256"/>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p>
                </p:txBody>
              </p:sp>
            </p:grpSp>
            <p:sp>
              <p:nvSpPr>
                <p:cNvPr id="10" name="Text Box 278"/>
                <p:cNvSpPr txBox="1">
                  <a:spLocks noChangeAspect="1" noChangeArrowheads="1"/>
                </p:cNvSpPr>
                <p:nvPr/>
              </p:nvSpPr>
              <p:spPr bwMode="auto">
                <a:xfrm>
                  <a:off x="3161" y="3231"/>
                  <a:ext cx="22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buClrTx/>
                    <a:buFontTx/>
                    <a:buNone/>
                  </a:pPr>
                  <a:r>
                    <a:rPr lang="en-US" altLang="en-US" sz="1400" dirty="0"/>
                    <a:t>NEF</a:t>
                  </a:r>
                </a:p>
              </p:txBody>
            </p:sp>
          </p:grpSp>
        </p:grpSp>
        <p:grpSp>
          <p:nvGrpSpPr>
            <p:cNvPr id="13" name="Group 12"/>
            <p:cNvGrpSpPr/>
            <p:nvPr/>
          </p:nvGrpSpPr>
          <p:grpSpPr>
            <a:xfrm>
              <a:off x="5372760" y="1832185"/>
              <a:ext cx="145622" cy="276936"/>
              <a:chOff x="7323671" y="1568309"/>
              <a:chExt cx="145622" cy="276936"/>
            </a:xfrm>
          </p:grpSpPr>
          <p:cxnSp>
            <p:nvCxnSpPr>
              <p:cNvPr id="14" name="Straight Connector 13"/>
              <p:cNvCxnSpPr>
                <a:cxnSpLocks/>
              </p:cNvCxnSpPr>
              <p:nvPr/>
            </p:nvCxnSpPr>
            <p:spPr bwMode="auto">
              <a:xfrm flipH="1" flipV="1">
                <a:off x="7389096" y="1568309"/>
                <a:ext cx="4272" cy="188006"/>
              </a:xfrm>
              <a:prstGeom prst="line">
                <a:avLst/>
              </a:prstGeom>
              <a:solidFill>
                <a:schemeClr val="accent1"/>
              </a:solidFill>
              <a:ln w="12700" cap="flat" cmpd="sng" algn="ctr">
                <a:solidFill>
                  <a:srgbClr val="E32119"/>
                </a:solidFill>
                <a:prstDash val="solid"/>
                <a:round/>
                <a:headEnd type="none" w="med" len="med"/>
                <a:tailEnd type="none" w="med" len="med"/>
              </a:ln>
              <a:effectLst/>
            </p:spPr>
          </p:cxnSp>
          <p:sp>
            <p:nvSpPr>
              <p:cNvPr id="15" name="Oval 14"/>
              <p:cNvSpPr/>
              <p:nvPr/>
            </p:nvSpPr>
            <p:spPr bwMode="auto">
              <a:xfrm>
                <a:off x="7323671" y="1704807"/>
                <a:ext cx="145622" cy="140438"/>
              </a:xfrm>
              <a:prstGeom prst="ellipse">
                <a:avLst/>
              </a:prstGeom>
              <a:solidFill>
                <a:srgbClr val="FF0000"/>
              </a:solidFill>
              <a:ln w="12700" cap="flat" cmpd="sng" algn="ctr">
                <a:solidFill>
                  <a:srgbClr val="E32119"/>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solidFill>
                    <a:schemeClr val="tx1"/>
                  </a:solidFill>
                  <a:effectLst/>
                  <a:latin typeface="Arial" charset="0"/>
                </a:endParaRPr>
              </a:p>
            </p:txBody>
          </p:sp>
        </p:grpSp>
        <p:sp>
          <p:nvSpPr>
            <p:cNvPr id="16" name="Text Box 144"/>
            <p:cNvSpPr txBox="1">
              <a:spLocks noChangeAspect="1" noChangeArrowheads="1"/>
            </p:cNvSpPr>
            <p:nvPr/>
          </p:nvSpPr>
          <p:spPr bwMode="auto">
            <a:xfrm>
              <a:off x="5257870" y="1916341"/>
              <a:ext cx="99218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spcBef>
                  <a:spcPct val="20000"/>
                </a:spcBef>
                <a:buClr>
                  <a:srgbClr val="00A9D4"/>
                </a:buClr>
                <a:buFont typeface="Arial" panose="020B0604020202020204" pitchFamily="34" charset="0"/>
                <a:buChar char="›"/>
                <a:defRPr sz="24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92CCE5"/>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Font typeface="Ericsson Capital TT" panose="02000503000000020004" pitchFamily="2" charset="0"/>
                <a:buChar char="›"/>
                <a:defRPr sz="20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spcBef>
                  <a:spcPct val="0"/>
                </a:spcBef>
                <a:buClrTx/>
                <a:buFontTx/>
                <a:buNone/>
              </a:pPr>
              <a:r>
                <a:rPr lang="en-US" altLang="en-US" sz="1400" dirty="0" err="1">
                  <a:solidFill>
                    <a:srgbClr val="FF0000"/>
                  </a:solidFill>
                </a:rPr>
                <a:t>Nnef</a:t>
              </a:r>
              <a:endParaRPr lang="en-US" altLang="en-US" sz="1400" dirty="0">
                <a:solidFill>
                  <a:srgbClr val="FF0000"/>
                </a:solidFill>
              </a:endParaRPr>
            </a:p>
          </p:txBody>
        </p:sp>
      </p:grpSp>
    </p:spTree>
    <p:extLst>
      <p:ext uri="{BB962C8B-B14F-4D97-AF65-F5344CB8AC3E}">
        <p14:creationId xmlns:p14="http://schemas.microsoft.com/office/powerpoint/2010/main" val="1760947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0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CQe.oGFRI.3Qm7KPKuGF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E2rLLXDTKapHpts8YD_q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noUQISqTPW4PpCFbT0g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oFf1jfoTMiJi6J2xBFL8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1BgGPMSYeNppG8ykmU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tKYZnj0Su6zdBRJnhvf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dfpAgRkSQ.ZBug6ypjw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8npAErBRc6LEOgWeqqe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gaMwm0MS9yiXTyqUzWg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063XzMNS4KDZia9azDM4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silz6uPRjaX.ORFQUuV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Vkw66mmStS497uPCz73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cE2FLFaQOK85HUO7lzE3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iVYiO7TQ1Sa1DUtLh0P1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bc48duZRwiPCi8Gj5PZM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jXCDOP9R4GNzzdzzxsp1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0Yc3kV5TcO6Ei6p3cCS7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nZvTafeRYm30frtGRLS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0ESUhEjLTrKsBpl1qc.q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0hHWO7iRWGUBBmqE5Nu.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tZZmX9dTGeHutpWHa8i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Pqt59nqTu2rdY_dWpbv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2rXLh3PQFuwOQzGhNnd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grms5SCQOyH1qSoBaT3S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rRwhvbVTQOiOCtk1kzh2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AQ3ILKmSteHwicvFf_b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sb0X2uwSzicGxEqCAqi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3N2GwQfTfq4aALR.7lZ3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VpqIhAFSuyoftaBh593xA"/>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YSxrFRgxUuOxjufgAUX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rBiTZUfsE6.kFwj4Did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4j2FDEGk5EK8gjHbX6W8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eEAmPSVQ26dkKZ2pCdcw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J0kURWRJUyifZOEO.nv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A5sYRu3x0KgXDW.4iA8i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7Vi6snm9m0egh.6xLCOm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tCwUcJprUWEfzJmvBq59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Ra8j0r2FU.LJaNimnsT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VDDpCh_JE2PElwUIFsDy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5wN4mcNrp0aXAYzjcMMz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SBYCFvLZ0OH.dMBSd_2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NGPXr_.yUSNqHvghLUZQ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T1YghVO9UmCHHj66xbf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PB2hB3qQXWAEAJp5lsH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SZGam7M70.6CKF.tKRgB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rFNGTLKeESQBbu96Xf_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VJ83skPUEurJcl0UZeo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2NP8j0zRp0SaJX8QqM737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nUjIZ_7i0ORHFpoknYJg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0R2ez0wei0ufGn1DkUOp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9vCu5f_RnEKaAL1GCGah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HECByFDQZqGho0gsbTCJ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sSZGam7M70.6CKF.tKRgB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rFNGTLKeESQBbu96Xf_z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VJ83skPUEurJcl0UZeo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2NP8j0zRp0SaJX8QqM737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tCwUcJprUWEfzJmvBq5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vRa8j0r2FU.LJaNimnsT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gnSs4D.Rkq8ahGyELsp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VDDpCh_JE2PElwUIFsD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5wN4mcNrp0aXAYzjcMMz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SZGam7M70.6CKF.tKRg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ojJxc2TRIyF8bAXW54b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rFNGTLKeESQBbu96Xf_z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VJ83skPUEurJcl0UZeo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2NP8j0zRp0SaJX8QqM737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tCwUcJprUWEfzJmvBq59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Ra8j0r2FU.LJaNimnsT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VVDDpCh_JE2PElwUIFsDy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5wN4mcNrp0aXAYzjcMMzm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AYnP65NSJK939bG5kn1A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TKHcF_UQvEqSf2ArNS4rK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hdwnCV890CIe_pHwWuVz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5YGt5PUTIkOVgTJVczPcHg"/>
</p:tagLst>
</file>

<file path=ppt/tags/tag183.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MgIdkbNS7KSrQi2SImVRQ"/>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iryJ46ASXSY5YrD.hyj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IsnTjqoS4WASeYVcN_m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j8qxkRVTK2JLSOC64US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HSmFyP7SnW9rKeI79fi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FD9Z5v6TMWjEcAzzViC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oW0FnjARUyePH2p953j8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xVY_lWMSZ.ZRjE8dzvI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tNHrJm9TQiaNvHe6ZnV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eIYgsVpSXa6QyKY9Bzv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iC9X.fsTIWzTfBFZLGXjA"/>
</p:tagLst>
</file>

<file path=ppt/tags/tag3.xml><?xml version="1.0" encoding="utf-8"?>
<p:tagLst xmlns:a="http://schemas.openxmlformats.org/drawingml/2006/main" xmlns:r="http://schemas.openxmlformats.org/officeDocument/2006/relationships" xmlns:p="http://schemas.openxmlformats.org/presentationml/2006/main">
  <p:tag name="TYPE" val="TitlePage"/>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ZcpCXucQ_efNybb08OO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OfX__tLRjOLyXRpGSQm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rVdFlijQJ.gkSV_D763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JAIm2hKTMOV87LgUCQA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HbCkmwZROamAQB1aZ6F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RvqvtEVSGuXT_CB_nDo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q5GSo_pSDehN7qSiGRh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ANoURG4Q.mtmGOvnm.3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ld5dcwSSsye2i8VGzcZ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2eBn6I3R4OatZi2mymH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7T9VhxVQa63OGC_aADAQ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ND2nZ7RM.Jkflfmh0C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P4jEmyaSzq5IJD17xj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0ka71u4S364GX9AHChK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HbIjXzKRYyO_OcrZD9E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Ddd0mupS9.VqhfCrR3Y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CbB31iLQCWiokG2NVHp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gEGYFX.Q3ityZsuz6ak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seSGacFSsSUTkF.Wzik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XtA4lMnQ2eKeDlUpi45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R1s.52KSiGUGBacij7W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Y_90a6rS4WLj9rYsHLT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BqonGFgSY6aJfCnKhTh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HvPAtnoTQ.UXCATLXob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f4n9xt.TqCBq6Yuh9OD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O7B0UUKRk.yUiS5DKUH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rksFwsDTEiUMomQbJZe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ecrl0LDQne4d7zN.TEV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SIZkIWLQTy5NBYDjZGq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TFjmfeqTyejy3D8NlOb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YRpxiC7QeKNqPvslbbt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wvcK1gsQ_u.OsxKtJOP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ks7kZutR8Cm8yb28lDN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rRwhvbVTQOiOCtk1kzh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0Yc3kV5TcO6Ei6p3cCS7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eww_4.fTPysI.fKVO2U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Pqt59nqTu2rdY_dWpbv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W5BDxEWQPuoqOrEeSPQ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Juo3gqRManPbSayhZh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6oi5ROmS4KJjb9Sr_N5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Nv3NeSR9yCwLo_.7NW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uP3cCn7QqmvbBaxTu7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ryhs_l7SqCHYKiOSHhj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aVzdvjnQMO5iXJulw2MN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RsfVkEDRJC6J9EhJkh6_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hOmpxXPTKCKMmnntKuw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RpShqo7Tdurbn8px0M7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tKYZnj0Su6zdBRJnhvf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Uz7mIKXT1iZNQGP4f9C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orBaPfnTLW2vT4.IRxgA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uBt_FhjTPiTU1PUFIOd0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NwEKrEATS24Mmfm1N2Q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nZy3Wg0S4O7LguP8Yo6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oFf1jfoTMiJi6J2xBFL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V2scUi1Rh2yjaOVVPBl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8npAErBRc6LEOgWeqqe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V2GdmtQROiSYqjCmuwi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9LRb5SIR8qwugrrThAG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xAaentARjGqjJQOXYkT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nZvTafeRYm30frtGRLS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AQ3ILKmSteHwicvFf_b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JAIm2hKTMOV87LgUCQA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YP5LJ39SGKd01zIYvRXh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rX8oqDWSfSwY.lXydw3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VwJtlhQQ9WqhiesJhCi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ojxNQhEScKx2fNfpb9.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9FggeNdSEStZEKeLgM0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aEer11DSX.fJrxKgqs9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3FWBwbuQWmW99tG.DUO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7uicYE.RTmxDV7z2E_2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vmOti7FRkOOX48osY8a2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_.9vOazQ7SEDuJflu08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1majSU2SPizcJhLuO29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UJAh3FvQo.eMRPB.roSB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WiZT3QtQt.gonPJcdI9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97tSqYKORYueYzUWbtRdaA"/>
</p:tagLst>
</file>

<file path=ppt/theme/theme1.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9BD47BB06B2344A3B6DF4207E9A967" ma:contentTypeVersion="0" ma:contentTypeDescription="Create a new document." ma:contentTypeScope="" ma:versionID="1d699046d5ad43094f66be08de39d9ae">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c3d31b72-c4b9-4223-ac69-1d9539891dc8" ContentTypeId="0x010100C5F30C9B16E14C8EACE5F2CC7B7AC7F4"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04BEF4-2AF0-4899-8B73-CF75A90BEA72}"/>
</file>

<file path=customXml/itemProps2.xml><?xml version="1.0" encoding="utf-8"?>
<ds:datastoreItem xmlns:ds="http://schemas.openxmlformats.org/officeDocument/2006/customXml" ds:itemID="{7BA568F7-449C-4F46-9FFF-AA68FDE397B4}"/>
</file>

<file path=customXml/itemProps3.xml><?xml version="1.0" encoding="utf-8"?>
<ds:datastoreItem xmlns:ds="http://schemas.openxmlformats.org/officeDocument/2006/customXml" ds:itemID="{DA49AF48-CD2B-4897-8512-180B7BF10939}"/>
</file>

<file path=customXml/itemProps4.xml><?xml version="1.0" encoding="utf-8"?>
<ds:datastoreItem xmlns:ds="http://schemas.openxmlformats.org/officeDocument/2006/customXml" ds:itemID="{6FDDE9F6-44F8-4BDE-A461-85D93293E56A}"/>
</file>

<file path=customXml/itemProps5.xml><?xml version="1.0" encoding="utf-8"?>
<ds:datastoreItem xmlns:ds="http://schemas.openxmlformats.org/officeDocument/2006/customXml" ds:itemID="{1AF96FFE-C071-4022-B16E-FA689EE4A29A}"/>
</file>

<file path=docProps/app.xml><?xml version="1.0" encoding="utf-8"?>
<Properties xmlns="http://schemas.openxmlformats.org/officeDocument/2006/extended-properties" xmlns:vt="http://schemas.openxmlformats.org/officeDocument/2006/docPropsVTypes">
  <Template/>
  <TotalTime>24998</TotalTime>
  <Words>40306</Words>
  <Application>Microsoft Office PowerPoint</Application>
  <PresentationFormat>Widescreen</PresentationFormat>
  <Paragraphs>5492</Paragraphs>
  <Slides>205</Slides>
  <Notes>205</Notes>
  <HiddenSlides>8</HiddenSlides>
  <MMClips>0</MMClips>
  <ScaleCrop>false</ScaleCrop>
  <HeadingPairs>
    <vt:vector size="6" baseType="variant">
      <vt:variant>
        <vt:lpstr>Fonts Used</vt:lpstr>
      </vt:variant>
      <vt:variant>
        <vt:i4>17</vt:i4>
      </vt:variant>
      <vt:variant>
        <vt:lpstr>Theme</vt:lpstr>
      </vt:variant>
      <vt:variant>
        <vt:i4>2</vt:i4>
      </vt:variant>
      <vt:variant>
        <vt:lpstr>Slide Titles</vt:lpstr>
      </vt:variant>
      <vt:variant>
        <vt:i4>205</vt:i4>
      </vt:variant>
    </vt:vector>
  </HeadingPairs>
  <TitlesOfParts>
    <vt:vector size="224" baseType="lpstr">
      <vt:lpstr>MS PGothic</vt:lpstr>
      <vt:lpstr>SimSun</vt:lpstr>
      <vt:lpstr>Arial Rounded MT Bold</vt:lpstr>
      <vt:lpstr>Arial Hebrew</vt:lpstr>
      <vt:lpstr>Microsoft YaHei</vt:lpstr>
      <vt:lpstr>MS PGothic</vt:lpstr>
      <vt:lpstr>Ericsson Sans</vt:lpstr>
      <vt:lpstr>Ericsson Capital TT</vt:lpstr>
      <vt:lpstr>Courier New</vt:lpstr>
      <vt:lpstr>DengXian</vt:lpstr>
      <vt:lpstr>Segoe UI</vt:lpstr>
      <vt:lpstr>Wingdings</vt:lpstr>
      <vt:lpstr>Times New Roman</vt:lpstr>
      <vt:lpstr>Arial</vt:lpstr>
      <vt:lpstr>Batang</vt:lpstr>
      <vt:lpstr>Calibri</vt:lpstr>
      <vt:lpstr>Ericsson Capital</vt:lpstr>
      <vt:lpstr>PresentationTemplate2011</vt:lpstr>
      <vt:lpstr>1_PresentationTemplate2011</vt:lpstr>
      <vt:lpstr>5G Core Concepts</vt:lpstr>
      <vt:lpstr>Course MAIN Objectives</vt:lpstr>
      <vt:lpstr>5G Core Concepts</vt:lpstr>
      <vt:lpstr>Chapter Objectives</vt:lpstr>
      <vt:lpstr>5G More thAn MOBILE BROADBAND </vt:lpstr>
      <vt:lpstr>5G – Classes of Use Cases</vt:lpstr>
      <vt:lpstr>5G Enabling Business Expansion</vt:lpstr>
      <vt:lpstr>Total operator addressable Revenues </vt:lpstr>
      <vt:lpstr>Digitalization revenues</vt:lpstr>
      <vt:lpstr>5G enabled digitalization revenues</vt:lpstr>
      <vt:lpstr>Operators´ share of the 5g Revenues</vt:lpstr>
      <vt:lpstr>5g Service provider eco-system</vt:lpstr>
      <vt:lpstr>New Span of requirements and customer segments</vt:lpstr>
      <vt:lpstr>One Network – Multiple Industries</vt:lpstr>
      <vt:lpstr>5g core – key concepts</vt:lpstr>
      <vt:lpstr>Ericsson 5g Core SysTeM Key System Areas</vt:lpstr>
      <vt:lpstr>PowerPoint Presentation</vt:lpstr>
      <vt:lpstr>5G Core Concepts</vt:lpstr>
      <vt:lpstr>Chapter Objectives</vt:lpstr>
      <vt:lpstr>5g Standards plan</vt:lpstr>
      <vt:lpstr>3GPP 5G Core Time plan Indicative</vt:lpstr>
      <vt:lpstr>REL-15 TIMING &amp; OPTIONS</vt:lpstr>
      <vt:lpstr>5G Architecture scope</vt:lpstr>
      <vt:lpstr>5G RAN-CN architecture options Two architecture tracks in 3GPP rel15</vt:lpstr>
      <vt:lpstr>NextGen Study – Key Issues TR 23.799 Key Issues (finalized Dec 2016)</vt:lpstr>
      <vt:lpstr>Phase 1: 5G system Rel 15 Features Key features to be covered based on TR 23.799 conclusions</vt:lpstr>
      <vt:lpstr>Phase 1: 5G Rel 15 Work item Stage 2 normative work started Q1 2017</vt:lpstr>
      <vt:lpstr>3GPP SA5 Telecom management</vt:lpstr>
      <vt:lpstr>NGMN Next Generation Mobile Networks alliance</vt:lpstr>
      <vt:lpstr>NGMN network SLICING White Paper Terminology </vt:lpstr>
      <vt:lpstr>Notes page</vt:lpstr>
      <vt:lpstr>NETWORK Slice instance</vt:lpstr>
      <vt:lpstr>5G Core Concepts</vt:lpstr>
      <vt:lpstr>Chapter Objectives</vt:lpstr>
      <vt:lpstr>Introduction of 5G EPC</vt:lpstr>
      <vt:lpstr>5G RAN – 5G EPC Option 3 </vt:lpstr>
      <vt:lpstr>5G EPC Architecture Overview</vt:lpstr>
      <vt:lpstr>5g EPC – enhancements to support option 3</vt:lpstr>
      <vt:lpstr>Network Slice selection mechanisms</vt:lpstr>
      <vt:lpstr>Slice Selection based on DECOR</vt:lpstr>
      <vt:lpstr>Notes page</vt:lpstr>
      <vt:lpstr>Slice Selection based on EDECOR</vt:lpstr>
      <vt:lpstr>Core Network CP/UP split (CUPS) Background and Drivers</vt:lpstr>
      <vt:lpstr>CP/UP split standardization Ongoing activities in 3GPP</vt:lpstr>
      <vt:lpstr>PowerPoint Presentation</vt:lpstr>
      <vt:lpstr>Cp PROTOCOL STACK OVER sX</vt:lpstr>
      <vt:lpstr>Dynamic Mobility Switching </vt:lpstr>
      <vt:lpstr>NB-IOT Core NW Separation</vt:lpstr>
      <vt:lpstr>PowerPoint Presentation</vt:lpstr>
      <vt:lpstr>PowerPoint Presentation</vt:lpstr>
      <vt:lpstr>5G Core Concepts</vt:lpstr>
      <vt:lpstr>Chapter Objectives</vt:lpstr>
      <vt:lpstr>PowerPoint Presentation</vt:lpstr>
      <vt:lpstr>Overall 5G Core Architecture General concept according to 3GPP TS 23.501</vt:lpstr>
      <vt:lpstr>Overall 5G Core Architecture (1/2) Key principles according to 3GPP TS 23.501</vt:lpstr>
      <vt:lpstr>Overall 5G Core Architecture (2/2) Key principles according to 3GPP TS 23.501</vt:lpstr>
      <vt:lpstr>PowerPoint Presentation</vt:lpstr>
      <vt:lpstr>5G system architecture 3GPP TS 23.501 V1.0.0 (2017-06)</vt:lpstr>
      <vt:lpstr>5G terms and definitions (1/5) 3GPP TS 23.501 </vt:lpstr>
      <vt:lpstr>3GPP 5G System 5G Core and 5G-RAN </vt:lpstr>
      <vt:lpstr>5G CORE architecture Service based Representation</vt:lpstr>
      <vt:lpstr>5G CORE architecture Reference Point Representation</vt:lpstr>
      <vt:lpstr>Notes page</vt:lpstr>
      <vt:lpstr>5G CORE architecture Reference Point Representation for Non-3GPP Access</vt:lpstr>
      <vt:lpstr>Reference points specific For non-3gpp access</vt:lpstr>
      <vt:lpstr>5G Core compared to EPC</vt:lpstr>
      <vt:lpstr>5G CP-UP split relation to CUPS</vt:lpstr>
      <vt:lpstr>Core Access and Mobility Management Function (AMF)</vt:lpstr>
      <vt:lpstr>Notes page</vt:lpstr>
      <vt:lpstr>Control Plane Protocol Stacks AN-AMF (N2)</vt:lpstr>
      <vt:lpstr>Example of NAS Transport (n1)</vt:lpstr>
      <vt:lpstr>Control Plane Protocol Stacks UE-AMF (N1)</vt:lpstr>
      <vt:lpstr>5g Mobility Management</vt:lpstr>
      <vt:lpstr>Registration Management (RM)</vt:lpstr>
      <vt:lpstr>5GS RM State Models</vt:lpstr>
      <vt:lpstr>Notes page</vt:lpstr>
      <vt:lpstr>UE Registered over both 3GPP and Non 3GPP access</vt:lpstr>
      <vt:lpstr>Connection Management (CM)</vt:lpstr>
      <vt:lpstr>5GS CM State models</vt:lpstr>
      <vt:lpstr>Notes page</vt:lpstr>
      <vt:lpstr>UE connected over both 3GPP and Non 3GPP access</vt:lpstr>
      <vt:lpstr>Identifiers 5G Globally unique Temporary Identity (5G-GUTI) </vt:lpstr>
      <vt:lpstr>Session Management Function (SMF)</vt:lpstr>
      <vt:lpstr>Control Plane Protocol Stacks AN-SMF (N2 &amp; N11)</vt:lpstr>
      <vt:lpstr>Control Plane Protocol Stacks UE-SMF (N1&amp;N11)</vt:lpstr>
      <vt:lpstr>AMF and SMF Interaction (N1&amp;N11)</vt:lpstr>
      <vt:lpstr>User Plane function (UPF)</vt:lpstr>
      <vt:lpstr>User Plane Protocol stack for a PDU session</vt:lpstr>
      <vt:lpstr>User Plane Tunneling</vt:lpstr>
      <vt:lpstr>Policy Control Function (PCF)</vt:lpstr>
      <vt:lpstr>UE Context Establishment during registration</vt:lpstr>
      <vt:lpstr>AMF-Initiated UE Context Termination</vt:lpstr>
      <vt:lpstr>Unified Data Management (UDM)</vt:lpstr>
      <vt:lpstr>IDENTIFIERS Subscriber Permanent Identifier (SUPI)</vt:lpstr>
      <vt:lpstr>IDENTIFIERS Permanent Equipment Identifier (PEI)</vt:lpstr>
      <vt:lpstr>Authentication Server Function (AUSF)</vt:lpstr>
      <vt:lpstr>Authentication Architecture Overview</vt:lpstr>
      <vt:lpstr>Network slice Selection Function (NSSF)</vt:lpstr>
      <vt:lpstr>Network Exposure function (NEF)</vt:lpstr>
      <vt:lpstr>NF Repository Function (NRF)</vt:lpstr>
      <vt:lpstr>N3 Interworking Function (N3IWF)</vt:lpstr>
      <vt:lpstr>5G terms and definitions (2/5) 3GPP TS 23.501 </vt:lpstr>
      <vt:lpstr>Service-based interface in 5GC Services and Operations</vt:lpstr>
      <vt:lpstr>5G terms and definitions (3/5) 3GPP TS 23.501 </vt:lpstr>
      <vt:lpstr>Network slicing</vt:lpstr>
      <vt:lpstr>NETWORK Slice Selection</vt:lpstr>
      <vt:lpstr>Subscription data for network slicing</vt:lpstr>
      <vt:lpstr>5G terms and definitions (4/5) 3GPP TS 23.501 </vt:lpstr>
      <vt:lpstr>PDU Session and QoS flows</vt:lpstr>
      <vt:lpstr>PDU Session Types</vt:lpstr>
      <vt:lpstr>PDU Session Establishment</vt:lpstr>
      <vt:lpstr>Multiple PDU Session Handling</vt:lpstr>
      <vt:lpstr>PDU Session Attributes</vt:lpstr>
      <vt:lpstr>AMF and SMF Interaction (N2&amp;N4)</vt:lpstr>
      <vt:lpstr>5g Policy Framework</vt:lpstr>
      <vt:lpstr>Policy Architecture</vt:lpstr>
      <vt:lpstr>5g quality OF SERVICE Principals</vt:lpstr>
      <vt:lpstr>Qos fLOWS</vt:lpstr>
      <vt:lpstr>Mapping of Qos flows to AN resources</vt:lpstr>
      <vt:lpstr>Standardized 5QI to QoS characteristics mapping Example</vt:lpstr>
      <vt:lpstr>5G terms and definitions (5/5) 3GPP TS 23.501 </vt:lpstr>
      <vt:lpstr>5G Core architecture Overview Distributed User Plane Function in serial</vt:lpstr>
      <vt:lpstr>Session and service continuity</vt:lpstr>
      <vt:lpstr>Session and Service Continuity (SSC) mode 1</vt:lpstr>
      <vt:lpstr>Session and Service Continuity (SSC) mode 2</vt:lpstr>
      <vt:lpstr>Session and Service Continuity (SSC) mode 3</vt:lpstr>
      <vt:lpstr>SSC mode selection</vt:lpstr>
      <vt:lpstr>5GC Charging Ericsson Focus Points</vt:lpstr>
      <vt:lpstr>Notes page</vt:lpstr>
      <vt:lpstr>5G Core Concepts</vt:lpstr>
      <vt:lpstr>Chapter Objectives</vt:lpstr>
      <vt:lpstr>NGMN Use Case Families</vt:lpstr>
      <vt:lpstr>NGMN USE CASE Breakdown</vt:lpstr>
      <vt:lpstr>architecture driving requirements From NGMN use-cases</vt:lpstr>
      <vt:lpstr>network slice types Defined by similarities in deployments, functional requirements &amp; business relations</vt:lpstr>
      <vt:lpstr>Architecture driving requirements Per network slice type</vt:lpstr>
      <vt:lpstr>Example of Network slice types</vt:lpstr>
      <vt:lpstr>NETWORK SLICE TYPES Characteristics</vt:lpstr>
      <vt:lpstr>Network Slicing Architectures</vt:lpstr>
      <vt:lpstr>Network Slicing Central Database Approach</vt:lpstr>
      <vt:lpstr>Federated Network Slicing</vt:lpstr>
      <vt:lpstr>Federated Network Slicing</vt:lpstr>
      <vt:lpstr>Dynamic network slicing Combining Automation (COMPA) with network slicing</vt:lpstr>
      <vt:lpstr>5G Core Concepts</vt:lpstr>
      <vt:lpstr>Chapter Objectives</vt:lpstr>
      <vt:lpstr>Business services/model</vt:lpstr>
      <vt:lpstr>Network slices Flexibility in several dimensions.. </vt:lpstr>
      <vt:lpstr>governance architecture</vt:lpstr>
      <vt:lpstr>Blueprints - philosophy </vt:lpstr>
      <vt:lpstr>Business and operational flexibility</vt:lpstr>
      <vt:lpstr>VNF Lifecycle Management VNF Packaging</vt:lpstr>
      <vt:lpstr>Life cycle Management</vt:lpstr>
      <vt:lpstr>Target architecture principles</vt:lpstr>
      <vt:lpstr>Notes page</vt:lpstr>
      <vt:lpstr>PowerPoint Presentation</vt:lpstr>
      <vt:lpstr>Ensuring the e2e service</vt:lpstr>
      <vt:lpstr>Service instantiation flow</vt:lpstr>
      <vt:lpstr>TOSCA and YANG Modeling Languages</vt:lpstr>
      <vt:lpstr>How many blueprints/Instances?</vt:lpstr>
      <vt:lpstr>ETSI NFV Architecture</vt:lpstr>
      <vt:lpstr>Ericsson Full Stack</vt:lpstr>
      <vt:lpstr>Ericsson small stack</vt:lpstr>
      <vt:lpstr>3PP OPENSTACK</vt:lpstr>
      <vt:lpstr>VMware stack</vt:lpstr>
      <vt:lpstr>VNF Use Case example </vt:lpstr>
      <vt:lpstr>5G Core Concepts</vt:lpstr>
      <vt:lpstr>Chapter Objectives</vt:lpstr>
      <vt:lpstr>5G in 3GPP: Architecture scope</vt:lpstr>
      <vt:lpstr>Deployment option 3 and IMS</vt:lpstr>
      <vt:lpstr>Voice, SIP signaling and other traffic in Option 3x</vt:lpstr>
      <vt:lpstr>IMS with 5G Epc Deployment and Interworking</vt:lpstr>
      <vt:lpstr>IMS with 5gc deployment 5GC Standalone</vt:lpstr>
      <vt:lpstr>IMS with 5GC Deployment Interworking via EPC </vt:lpstr>
      <vt:lpstr>Voice and emergency call on RAN</vt:lpstr>
      <vt:lpstr>SMS over NAS in 5GC</vt:lpstr>
      <vt:lpstr>Communication Services and Network slicing in 5GC </vt:lpstr>
      <vt:lpstr>Communication services on wi-fi</vt:lpstr>
      <vt:lpstr>5GC and EPC Interworking variants CN-Level </vt:lpstr>
      <vt:lpstr>5GC and EPC tight interworking </vt:lpstr>
      <vt:lpstr>5GS and IMS  Interfaces</vt:lpstr>
      <vt:lpstr>Summary</vt:lpstr>
      <vt:lpstr>5G Core Concepts</vt:lpstr>
      <vt:lpstr>Chapter Objectives</vt:lpstr>
      <vt:lpstr>REL-15 Timing &amp; Options</vt:lpstr>
      <vt:lpstr>5G RAN-CN option 3</vt:lpstr>
      <vt:lpstr>5G RAN-CN option 2 &amp; 4</vt:lpstr>
      <vt:lpstr>5G RAN-CN option 5 &amp; 7</vt:lpstr>
      <vt:lpstr>UE types supporting NR Assumptions on capabilities</vt:lpstr>
      <vt:lpstr>5G RAN-CN architecture options Two architecture tracks in 3GPP rel15</vt:lpstr>
      <vt:lpstr>3GPP Architecture options Specification Availabiltiy </vt:lpstr>
      <vt:lpstr>Migration Scenario Aspects</vt:lpstr>
      <vt:lpstr>POSSIBLE MIGRATION PATH – Opt 3 Introduce 5G EPC (Opt.3) in parallel to existing EPC (Opt. 1)</vt:lpstr>
      <vt:lpstr>POSSIBLE MIGRATION PATH – Opt 3 Migrating existing EPC to 5G EPC (Opt.3)</vt:lpstr>
      <vt:lpstr>PowerPoint Presentation</vt:lpstr>
      <vt:lpstr>PowerPoint Presentation</vt:lpstr>
      <vt:lpstr> </vt:lpstr>
      <vt:lpstr>PowerPoint Presentation</vt:lpstr>
      <vt:lpstr>4G to 5G migration per slice type</vt:lpstr>
      <vt:lpstr>Massive-MTC network slice</vt:lpstr>
      <vt:lpstr>Enhanced MBB network slice</vt:lpstr>
      <vt:lpstr>Enterprise &amp; C-MTC nw slice</vt:lpstr>
      <vt:lpstr>OPTION 1,2,3x Deployment Example of usage of connectivity options in a network</vt:lpstr>
      <vt:lpstr>option 1,2,5 deployment Example of usage of connectivity options in a network</vt:lpstr>
      <vt:lpstr>option 1,2,5,7x deployment Example of usage of connectivity options in a network</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The 5G Ready Core Network Architecture</dc:subject>
  <dc:creator>ERATCAG Torbjorn Cagenius</dc:creator>
  <cp:keywords/>
  <dc:description>BUCI-16:002710 Uen_x000d_
Rev C</dc:description>
  <cp:lastModifiedBy>Sofia Halléhn</cp:lastModifiedBy>
  <cp:revision>1069</cp:revision>
  <cp:lastPrinted>2017-09-25T11:39:51Z</cp:lastPrinted>
  <dcterms:created xsi:type="dcterms:W3CDTF">2011-05-24T09:22:48Z</dcterms:created>
  <dcterms:modified xsi:type="dcterms:W3CDTF">2017-09-26T11: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1A</vt:lpwstr>
  </property>
  <property fmtid="{D5CDD505-2E9C-101B-9397-08002B2CF9AE}" pid="5" name="EmbeddedFonts">
    <vt:bool>true</vt:bool>
  </property>
  <property fmtid="{D5CDD505-2E9C-101B-9397-08002B2CF9AE}" pid="6" name="PackageNo">
    <vt:lpwstr>LXA 119 603</vt:lpwstr>
  </property>
  <property fmtid="{D5CDD505-2E9C-101B-9397-08002B2CF9AE}" pid="7" name="PackageVersion">
    <vt:lpwstr>R5C</vt:lpwstr>
  </property>
  <property fmtid="{D5CDD505-2E9C-101B-9397-08002B2CF9AE}" pid="8" name="FooterType">
    <vt:lpwstr>PresTemp</vt:lpwstr>
  </property>
  <property fmtid="{D5CDD505-2E9C-101B-9397-08002B2CF9AE}" pid="9" name="UsedFont">
    <vt:lpwstr>Ericsson Capital TT</vt:lpwstr>
  </property>
  <property fmtid="{D5CDD505-2E9C-101B-9397-08002B2CF9AE}" pid="10" name="x">
    <vt:lpwstr>1</vt:lpwstr>
  </property>
  <property fmtid="{D5CDD505-2E9C-101B-9397-08002B2CF9AE}" pid="11" name="White">
    <vt:bool>true</vt:bool>
  </property>
  <property fmtid="{D5CDD505-2E9C-101B-9397-08002B2CF9AE}" pid="12" name="chkMetaData">
    <vt:bool>false</vt:bool>
  </property>
  <property fmtid="{D5CDD505-2E9C-101B-9397-08002B2CF9AE}" pid="13" name="chkTaglines">
    <vt:bool>false</vt:bool>
  </property>
  <property fmtid="{D5CDD505-2E9C-101B-9397-08002B2CF9AE}" pid="14" name="SecurityClass">
    <vt:lpwstr>Ericsson Internal</vt:lpwstr>
  </property>
  <property fmtid="{D5CDD505-2E9C-101B-9397-08002B2CF9AE}" pid="15" name="txtConfLabel">
    <vt:lpwstr>Commercial in confidence</vt:lpwstr>
  </property>
  <property fmtid="{D5CDD505-2E9C-101B-9397-08002B2CF9AE}" pid="16" name="optUseConfClass">
    <vt:bool>false</vt:bool>
  </property>
  <property fmtid="{D5CDD505-2E9C-101B-9397-08002B2CF9AE}" pid="17" name="optUseConfLabel">
    <vt:bool>true</vt:bool>
  </property>
  <property fmtid="{D5CDD505-2E9C-101B-9397-08002B2CF9AE}" pid="18" name="optFooterCVLDocNo">
    <vt:bool>false</vt:bool>
  </property>
  <property fmtid="{D5CDD505-2E9C-101B-9397-08002B2CF9AE}" pid="19" name="optFooterCVLCopyright">
    <vt:bool>false</vt:bool>
  </property>
  <property fmtid="{D5CDD505-2E9C-101B-9397-08002B2CF9AE}" pid="20" name="optEnterText1">
    <vt:bool>true</vt:bool>
  </property>
  <property fmtid="{D5CDD505-2E9C-101B-9397-08002B2CF9AE}" pid="21" name="optFooterCVLConfLabel">
    <vt:bool>false</vt:bool>
  </property>
  <property fmtid="{D5CDD505-2E9C-101B-9397-08002B2CF9AE}" pid="22" name="optEnterText2">
    <vt:bool>true</vt:bool>
  </property>
  <property fmtid="{D5CDD505-2E9C-101B-9397-08002B2CF9AE}" pid="23" name="optFooterCVLTitle">
    <vt:bool>false</vt:bool>
  </property>
  <property fmtid="{D5CDD505-2E9C-101B-9397-08002B2CF9AE}" pid="24" name="optFooterCVLPrep">
    <vt:bool>false</vt:bool>
  </property>
  <property fmtid="{D5CDD505-2E9C-101B-9397-08002B2CF9AE}" pid="25" name="optEnterText3">
    <vt:bool>true</vt:bool>
  </property>
  <property fmtid="{D5CDD505-2E9C-101B-9397-08002B2CF9AE}" pid="26" name="optFooterCVLDate">
    <vt:bool>false</vt:bool>
  </property>
  <property fmtid="{D5CDD505-2E9C-101B-9397-08002B2CF9AE}" pid="27" name="optEnterText4">
    <vt:bool>true</vt:bool>
  </property>
  <property fmtid="{D5CDD505-2E9C-101B-9397-08002B2CF9AE}" pid="28" name="LeftFooterField">
    <vt:lpwstr>LZU1081421223 PA2</vt:lpwstr>
  </property>
  <property fmtid="{D5CDD505-2E9C-101B-9397-08002B2CF9AE}" pid="29" name="MiddleFooterField">
    <vt:lpwstr/>
  </property>
  <property fmtid="{D5CDD505-2E9C-101B-9397-08002B2CF9AE}" pid="30" name="RightFooterField">
    <vt:lpwstr>© Ericsson AB 2017</vt:lpwstr>
  </property>
  <property fmtid="{D5CDD505-2E9C-101B-9397-08002B2CF9AE}" pid="31" name="RightFooterField2">
    <vt:lpwstr>Figure  1-X</vt:lpwstr>
  </property>
  <property fmtid="{D5CDD505-2E9C-101B-9397-08002B2CF9AE}" pid="32" name="TotalNumb">
    <vt:bool>false</vt:bool>
  </property>
  <property fmtid="{D5CDD505-2E9C-101B-9397-08002B2CF9AE}" pid="33" name="Pages">
    <vt:bool>false</vt:bool>
  </property>
  <property fmtid="{D5CDD505-2E9C-101B-9397-08002B2CF9AE}" pid="34" name="DocumentType2">
    <vt:lpwstr>Presentation2011</vt:lpwstr>
  </property>
  <property fmtid="{D5CDD505-2E9C-101B-9397-08002B2CF9AE}" pid="35" name="TemplateName2">
    <vt:lpwstr>CXC 173 2731/1</vt:lpwstr>
  </property>
  <property fmtid="{D5CDD505-2E9C-101B-9397-08002B2CF9AE}" pid="36" name="TemplateVersion2">
    <vt:lpwstr>R1A</vt:lpwstr>
  </property>
  <property fmtid="{D5CDD505-2E9C-101B-9397-08002B2CF9AE}" pid="37" name="Checked">
    <vt:lpwstr/>
  </property>
  <property fmtid="{D5CDD505-2E9C-101B-9397-08002B2CF9AE}" pid="38" name="Title">
    <vt:lpwstr/>
  </property>
  <property fmtid="{D5CDD505-2E9C-101B-9397-08002B2CF9AE}" pid="39" name="Reference">
    <vt:lpwstr/>
  </property>
  <property fmtid="{D5CDD505-2E9C-101B-9397-08002B2CF9AE}" pid="40" name="Keyword">
    <vt:lpwstr/>
  </property>
  <property fmtid="{D5CDD505-2E9C-101B-9397-08002B2CF9AE}" pid="41" name="UpdateProcess">
    <vt:lpwstr>End</vt:lpwstr>
  </property>
  <property fmtid="{D5CDD505-2E9C-101B-9397-08002B2CF9AE}" pid="42" name="ContentTypeId">
    <vt:lpwstr>0x010100CA9BD47BB06B2344A3B6DF4207E9A967</vt:lpwstr>
  </property>
  <property fmtid="{D5CDD505-2E9C-101B-9397-08002B2CF9AE}" pid="43" name="EriCOLLCategory">
    <vt:lpwstr/>
  </property>
  <property fmtid="{D5CDD505-2E9C-101B-9397-08002B2CF9AE}" pid="44" name="TaxKeyword">
    <vt:lpwstr/>
  </property>
  <property fmtid="{D5CDD505-2E9C-101B-9397-08002B2CF9AE}" pid="45" name="EriCOLLCountry">
    <vt:lpwstr/>
  </property>
  <property fmtid="{D5CDD505-2E9C-101B-9397-08002B2CF9AE}" pid="46" name="EriCOLLCompetence">
    <vt:lpwstr/>
  </property>
  <property fmtid="{D5CDD505-2E9C-101B-9397-08002B2CF9AE}" pid="47" name="EriCOLLProcess">
    <vt:lpwstr/>
  </property>
  <property fmtid="{D5CDD505-2E9C-101B-9397-08002B2CF9AE}" pid="48" name="EriCOLLOrganizationUnit">
    <vt:lpwstr/>
  </property>
  <property fmtid="{D5CDD505-2E9C-101B-9397-08002B2CF9AE}" pid="49" name="EriCOLLCustomer">
    <vt:lpwstr/>
  </property>
  <property fmtid="{D5CDD505-2E9C-101B-9397-08002B2CF9AE}" pid="50" name="EriCOLLProducts">
    <vt:lpwstr/>
  </property>
  <property fmtid="{D5CDD505-2E9C-101B-9397-08002B2CF9AE}" pid="51" name="EriCOLLProjects">
    <vt:lpwstr/>
  </property>
  <property fmtid="{D5CDD505-2E9C-101B-9397-08002B2CF9AE}" pid="52" name="Prepared">
    <vt:lpwstr>ERATCAG Torbjorn Cagenius</vt:lpwstr>
  </property>
  <property fmtid="{D5CDD505-2E9C-101B-9397-08002B2CF9AE}" pid="53" name="DocName">
    <vt:lpwstr>TRAINING MTRL</vt:lpwstr>
  </property>
  <property fmtid="{D5CDD505-2E9C-101B-9397-08002B2CF9AE}" pid="54" name="DocNo">
    <vt:lpwstr>BUCI-16:002710 Uen</vt:lpwstr>
  </property>
  <property fmtid="{D5CDD505-2E9C-101B-9397-08002B2CF9AE}" pid="55" name="Date">
    <vt:lpwstr>2017-01-01</vt:lpwstr>
  </property>
  <property fmtid="{D5CDD505-2E9C-101B-9397-08002B2CF9AE}" pid="56" name="ApprovedBy">
    <vt:lpwstr>BICPALD [Stig Puustinen]</vt:lpwstr>
  </property>
  <property fmtid="{D5CDD505-2E9C-101B-9397-08002B2CF9AE}" pid="57" name="Revision">
    <vt:lpwstr>C</vt:lpwstr>
  </property>
  <property fmtid="{D5CDD505-2E9C-101B-9397-08002B2CF9AE}" pid="58" name="ChapterName">
    <vt:lpwstr/>
  </property>
  <property fmtid="{D5CDD505-2E9C-101B-9397-08002B2CF9AE}" pid="59" name="ChapterNo">
    <vt:lpwstr> 1</vt:lpwstr>
  </property>
  <property fmtid="{D5CDD505-2E9C-101B-9397-08002B2CF9AE}" pid="60" name="Disclaimer">
    <vt:bool>false</vt:bool>
  </property>
  <property fmtid="{D5CDD505-2E9C-101B-9397-08002B2CF9AE}" pid="61" name="TitlePage">
    <vt:bool>false</vt:bool>
  </property>
  <property fmtid="{D5CDD505-2E9C-101B-9397-08002B2CF9AE}" pid="62" name="SkeletonType">
    <vt:lpwstr>LearningTTM1</vt:lpwstr>
  </property>
  <property fmtid="{D5CDD505-2E9C-101B-9397-08002B2CF9AE}" pid="63" name="CourseModuleName">
    <vt:lpwstr>5G Core Concepts</vt:lpwstr>
  </property>
  <property fmtid="{D5CDD505-2E9C-101B-9397-08002B2CF9AE}" pid="64" name="ProdNo">
    <vt:lpwstr>LZU1081421223</vt:lpwstr>
  </property>
  <property fmtid="{D5CDD505-2E9C-101B-9397-08002B2CF9AE}" pid="65" name="R-state">
    <vt:lpwstr>PA2</vt:lpwstr>
  </property>
  <property fmtid="{D5CDD505-2E9C-101B-9397-08002B2CF9AE}" pid="66" name="StudentTextNo">
    <vt:lpwstr>LZU1421223</vt:lpwstr>
  </property>
  <property fmtid="{D5CDD505-2E9C-101B-9397-08002B2CF9AE}" pid="67" name="StudentTextR-State">
    <vt:lpwstr>PA2</vt:lpwstr>
  </property>
  <property fmtid="{D5CDD505-2E9C-101B-9397-08002B2CF9AE}" pid="68" name="ArticulateGUID">
    <vt:lpwstr>8EAC72B8-F59F-4CA0-8E8A-42E27B1A1131</vt:lpwstr>
  </property>
  <property fmtid="{D5CDD505-2E9C-101B-9397-08002B2CF9AE}" pid="69" name="ArticulatePath">
    <vt:lpwstr>5G Core concepts_afterPilot_1</vt:lpwstr>
  </property>
  <property fmtid="{D5CDD505-2E9C-101B-9397-08002B2CF9AE}" pid="70" name="_dlc_DocIdItemGuid">
    <vt:lpwstr>3f1a1788-8357-4030-8ee3-40f1c69ea617</vt:lpwstr>
  </property>
  <property fmtid="{D5CDD505-2E9C-101B-9397-08002B2CF9AE}" pid="71" name="Comments">
    <vt:lpwstr/>
  </property>
  <property fmtid="{D5CDD505-2E9C-101B-9397-08002B2CF9AE}" pid="72" name="URL">
    <vt:lpwstr/>
  </property>
  <property fmtid="{D5CDD505-2E9C-101B-9397-08002B2CF9AE}" pid="73" name="Order">
    <vt:r8>16300</vt:r8>
  </property>
  <property fmtid="{D5CDD505-2E9C-101B-9397-08002B2CF9AE}" pid="74" name="xd_ProgID">
    <vt:lpwstr/>
  </property>
  <property fmtid="{D5CDD505-2E9C-101B-9397-08002B2CF9AE}" pid="75" name="_dlc_DocId">
    <vt:lpwstr>TTJF75XZCZXD-24-196</vt:lpwstr>
  </property>
  <property fmtid="{D5CDD505-2E9C-101B-9397-08002B2CF9AE}" pid="76" name="_SourceUrl">
    <vt:lpwstr/>
  </property>
  <property fmtid="{D5CDD505-2E9C-101B-9397-08002B2CF9AE}" pid="77" name="_SharedFileIndex">
    <vt:lpwstr/>
  </property>
  <property fmtid="{D5CDD505-2E9C-101B-9397-08002B2CF9AE}" pid="78" name="ComplianceAssetId">
    <vt:lpwstr/>
  </property>
  <property fmtid="{D5CDD505-2E9C-101B-9397-08002B2CF9AE}" pid="79" name="TemplateUrl">
    <vt:lpwstr/>
  </property>
  <property fmtid="{D5CDD505-2E9C-101B-9397-08002B2CF9AE}" pid="80" name="_dlc_DocIdUrl">
    <vt:lpwstr>https://ericsson.sharepoint.com/sites/SASN_and_DPI/SASNandDPI_EvolutionTeam/_layouts/15/DocIdRedir.aspx?ID=TTJF75XZCZXD-24-196, TTJF75XZCZXD-24-196</vt:lpwstr>
  </property>
  <property fmtid="{D5CDD505-2E9C-101B-9397-08002B2CF9AE}" pid="81" name="xd_Signature">
    <vt:bool>false</vt:bool>
  </property>
</Properties>
</file>